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2.xml" ContentType="application/vnd.openxmlformats-officedocument.presentationml.notesSlide+xml"/>
  <Override PartName="/ppt/tags/tag31.xml" ContentType="application/vnd.openxmlformats-officedocument.presentationml.tags+xml"/>
  <Override PartName="/ppt/notesSlides/notesSlide23.xml" ContentType="application/vnd.openxmlformats-officedocument.presentationml.notesSlide+xml"/>
  <Override PartName="/ppt/tags/tag32.xml" ContentType="application/vnd.openxmlformats-officedocument.presentationml.tags+xml"/>
  <Override PartName="/ppt/notesSlides/notesSlide24.xml" ContentType="application/vnd.openxmlformats-officedocument.presentationml.notesSlide+xml"/>
  <Override PartName="/ppt/tags/tag33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59" r:id="rId2"/>
    <p:sldId id="257" r:id="rId3"/>
    <p:sldId id="258" r:id="rId4"/>
    <p:sldId id="260" r:id="rId5"/>
    <p:sldId id="261" r:id="rId6"/>
    <p:sldId id="268" r:id="rId7"/>
    <p:sldId id="262" r:id="rId8"/>
    <p:sldId id="263" r:id="rId9"/>
    <p:sldId id="265" r:id="rId10"/>
    <p:sldId id="288" r:id="rId11"/>
    <p:sldId id="264" r:id="rId12"/>
    <p:sldId id="266" r:id="rId13"/>
    <p:sldId id="269" r:id="rId14"/>
    <p:sldId id="270" r:id="rId15"/>
    <p:sldId id="267" r:id="rId16"/>
    <p:sldId id="272" r:id="rId17"/>
    <p:sldId id="275" r:id="rId18"/>
    <p:sldId id="276" r:id="rId19"/>
    <p:sldId id="292" r:id="rId20"/>
    <p:sldId id="279" r:id="rId21"/>
    <p:sldId id="278" r:id="rId22"/>
    <p:sldId id="277" r:id="rId23"/>
    <p:sldId id="302" r:id="rId24"/>
    <p:sldId id="282" r:id="rId25"/>
    <p:sldId id="286" r:id="rId26"/>
    <p:sldId id="284" r:id="rId27"/>
    <p:sldId id="285" r:id="rId28"/>
    <p:sldId id="290" r:id="rId29"/>
    <p:sldId id="298" r:id="rId30"/>
    <p:sldId id="301" r:id="rId31"/>
    <p:sldId id="291" r:id="rId32"/>
  </p:sldIdLst>
  <p:sldSz cx="12192000" cy="6858000"/>
  <p:notesSz cx="6858000" cy="9144000"/>
  <p:custDataLst>
    <p:tags r:id="rId35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BAC6"/>
    <a:srgbClr val="DDF9B8"/>
    <a:srgbClr val="5D5B6F"/>
    <a:srgbClr val="14CE9F"/>
    <a:srgbClr val="F2F2F2"/>
    <a:srgbClr val="F6F6F9"/>
    <a:srgbClr val="C0BAA7"/>
    <a:srgbClr val="00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39" autoAdjust="0"/>
    <p:restoredTop sz="95604" autoAdjust="0"/>
  </p:normalViewPr>
  <p:slideViewPr>
    <p:cSldViewPr snapToGrid="0" showGuides="1">
      <p:cViewPr varScale="1">
        <p:scale>
          <a:sx n="86" d="100"/>
          <a:sy n="86" d="100"/>
        </p:scale>
        <p:origin x="98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5400" cap="rnd">
              <a:gradFill flip="none" rotWithShape="1">
                <a:gsLst>
                  <a:gs pos="43000">
                    <a:srgbClr val="5D5B6F"/>
                  </a:gs>
                  <a:gs pos="100000">
                    <a:srgbClr val="F6F6F9"/>
                  </a:gs>
                </a:gsLst>
                <a:lin ang="0" scaled="1"/>
                <a:tileRect/>
              </a:gradFill>
              <a:round/>
            </a:ln>
            <a:effectLst/>
          </c:spPr>
          <c:marker>
            <c:symbol val="circle"/>
            <c:size val="8"/>
            <c:spPr>
              <a:solidFill>
                <a:srgbClr val="14CE9F"/>
              </a:solidFill>
              <a:ln w="9525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F36-4E75-8824-0B17E01043C2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2F36-4E75-8824-0B17E01043C2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2F36-4E75-8824-0B17E01043C2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2F36-4E75-8824-0B17E01043C2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2F36-4E75-8824-0B17E01043C2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2F36-4E75-8824-0B17E01043C2}"/>
              </c:ext>
            </c:extLst>
          </c:dPt>
          <c:dPt>
            <c:idx val="6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2F36-4E75-8824-0B17E01043C2}"/>
              </c:ext>
            </c:extLst>
          </c:dPt>
          <c:dPt>
            <c:idx val="7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2F36-4E75-8824-0B17E01043C2}"/>
              </c:ext>
            </c:extLst>
          </c:dPt>
          <c:dPt>
            <c:idx val="8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0-2F36-4E75-8824-0B17E01043C2}"/>
              </c:ext>
            </c:extLst>
          </c:dPt>
          <c:dPt>
            <c:idx val="9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2-2F36-4E75-8824-0B17E01043C2}"/>
              </c:ext>
            </c:extLst>
          </c:dPt>
          <c:dPt>
            <c:idx val="10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4-2F36-4E75-8824-0B17E01043C2}"/>
              </c:ext>
            </c:extLst>
          </c:dPt>
          <c:dPt>
            <c:idx val="11"/>
            <c:marker>
              <c:symbol val="circle"/>
              <c:size val="8"/>
              <c:spPr>
                <a:solidFill>
                  <a:srgbClr val="14CE9F"/>
                </a:solidFill>
                <a:ln w="9525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14CE9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6-2F36-4E75-8824-0B17E01043C2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May</c:v>
                </c:pt>
                <c:pt idx="4">
                  <c:v>Apr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56</c:v>
                </c:pt>
                <c:pt idx="1">
                  <c:v>175</c:v>
                </c:pt>
                <c:pt idx="2">
                  <c:v>125</c:v>
                </c:pt>
                <c:pt idx="3">
                  <c:v>136</c:v>
                </c:pt>
                <c:pt idx="4">
                  <c:v>198</c:v>
                </c:pt>
                <c:pt idx="5">
                  <c:v>158</c:v>
                </c:pt>
                <c:pt idx="6">
                  <c:v>156</c:v>
                </c:pt>
                <c:pt idx="7">
                  <c:v>175</c:v>
                </c:pt>
                <c:pt idx="8">
                  <c:v>111</c:v>
                </c:pt>
                <c:pt idx="9">
                  <c:v>116</c:v>
                </c:pt>
                <c:pt idx="10">
                  <c:v>156</c:v>
                </c:pt>
                <c:pt idx="11">
                  <c:v>17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7-2F36-4E75-8824-0B17E01043C2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5400" cap="rnd">
              <a:gradFill flip="none" rotWithShape="1">
                <a:gsLst>
                  <a:gs pos="43000">
                    <a:srgbClr val="5D5B6F"/>
                  </a:gs>
                  <a:gs pos="100000">
                    <a:srgbClr val="F6F6F9"/>
                  </a:gs>
                </a:gsLst>
                <a:lin ang="0" scaled="1"/>
                <a:tileRect/>
              </a:gradFill>
              <a:round/>
            </a:ln>
            <a:effectLst/>
          </c:spPr>
          <c:marker>
            <c:symbol val="circle"/>
            <c:size val="8"/>
            <c:spPr>
              <a:solidFill>
                <a:srgbClr val="5D5B6F"/>
              </a:solidFill>
              <a:ln w="9525">
                <a:solidFill>
                  <a:srgbClr val="F6F6F9"/>
                </a:solidFill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F36-4E75-8824-0B17E01043C2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A-2F36-4E75-8824-0B17E01043C2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C-2F36-4E75-8824-0B17E01043C2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BBBAC6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E-2F36-4E75-8824-0B17E01043C2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BBBAC6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0-2F36-4E75-8824-0B17E01043C2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2-2F36-4E75-8824-0B17E01043C2}"/>
              </c:ext>
            </c:extLst>
          </c:dPt>
          <c:dPt>
            <c:idx val="6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4-2F36-4E75-8824-0B17E01043C2}"/>
              </c:ext>
            </c:extLst>
          </c:dPt>
          <c:dPt>
            <c:idx val="7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6-2F36-4E75-8824-0B17E01043C2}"/>
              </c:ext>
            </c:extLst>
          </c:dPt>
          <c:dPt>
            <c:idx val="8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8-2F36-4E75-8824-0B17E01043C2}"/>
              </c:ext>
            </c:extLst>
          </c:dPt>
          <c:dPt>
            <c:idx val="9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A-2F36-4E75-8824-0B17E01043C2}"/>
              </c:ext>
            </c:extLst>
          </c:dPt>
          <c:dPt>
            <c:idx val="10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C-2F36-4E75-8824-0B17E01043C2}"/>
              </c:ext>
            </c:extLst>
          </c:dPt>
          <c:dPt>
            <c:idx val="11"/>
            <c:marker>
              <c:symbol val="circle"/>
              <c:size val="8"/>
              <c:spPr>
                <a:solidFill>
                  <a:srgbClr val="5D5B6F"/>
                </a:solidFill>
                <a:ln w="9525">
                  <a:solidFill>
                    <a:srgbClr val="F6F6F9"/>
                  </a:solidFill>
                </a:ln>
                <a:effectLst/>
              </c:spPr>
            </c:marker>
            <c:bubble3D val="0"/>
            <c:spPr>
              <a:ln w="25400" cap="rnd">
                <a:solidFill>
                  <a:srgbClr val="5D5B6F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E-2F36-4E75-8824-0B17E01043C2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May</c:v>
                </c:pt>
                <c:pt idx="4">
                  <c:v>Apr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75</c:v>
                </c:pt>
                <c:pt idx="1">
                  <c:v>156</c:v>
                </c:pt>
                <c:pt idx="2">
                  <c:v>256</c:v>
                </c:pt>
                <c:pt idx="3">
                  <c:v>85</c:v>
                </c:pt>
                <c:pt idx="4">
                  <c:v>189</c:v>
                </c:pt>
                <c:pt idx="5">
                  <c:v>254</c:v>
                </c:pt>
                <c:pt idx="6">
                  <c:v>185</c:v>
                </c:pt>
                <c:pt idx="7">
                  <c:v>297</c:v>
                </c:pt>
                <c:pt idx="8">
                  <c:v>156</c:v>
                </c:pt>
                <c:pt idx="9">
                  <c:v>85</c:v>
                </c:pt>
                <c:pt idx="10">
                  <c:v>55</c:v>
                </c:pt>
                <c:pt idx="11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2F-2F36-4E75-8824-0B17E0104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91446752"/>
        <c:axId val="1391447144"/>
      </c:lineChart>
      <c:catAx>
        <c:axId val="1391446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BBBAC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1447144"/>
        <c:crosses val="autoZero"/>
        <c:auto val="1"/>
        <c:lblAlgn val="ctr"/>
        <c:lblOffset val="100"/>
        <c:noMultiLvlLbl val="0"/>
      </c:catAx>
      <c:valAx>
        <c:axId val="1391447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BBBAC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1446752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14CE9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D11-4294-9532-F8F68A220E64}"/>
              </c:ext>
            </c:extLst>
          </c:dPt>
          <c:dPt>
            <c:idx val="1"/>
            <c:bubble3D val="0"/>
            <c:spPr>
              <a:solidFill>
                <a:srgbClr val="DDF9B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D11-4294-9532-F8F68A220E64}"/>
              </c:ext>
            </c:extLst>
          </c:dPt>
          <c:dPt>
            <c:idx val="2"/>
            <c:bubble3D val="0"/>
            <c:spPr>
              <a:solidFill>
                <a:srgbClr val="5D5B6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11-4294-9532-F8F68A220E64}"/>
              </c:ext>
            </c:extLst>
          </c:dPt>
          <c:dPt>
            <c:idx val="3"/>
            <c:bubble3D val="0"/>
            <c:spPr>
              <a:solidFill>
                <a:srgbClr val="BBBAC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11-4294-9532-F8F68A220E64}"/>
              </c:ext>
            </c:extLst>
          </c:dPt>
          <c:cat>
            <c:strRef>
              <c:f>Sheet1!$A$2:$A$5</c:f>
              <c:strCache>
                <c:ptCount val="4"/>
                <c:pt idx="0">
                  <c:v>Carbon</c:v>
                </c:pt>
                <c:pt idx="1">
                  <c:v>Oxygen</c:v>
                </c:pt>
                <c:pt idx="2">
                  <c:v>Nitrogen</c:v>
                </c:pt>
                <c:pt idx="3">
                  <c:v>Calci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D11-4294-9532-F8F68A220E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DF9B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77-4738-8C10-C0F82E5B3BFA}"/>
              </c:ext>
            </c:extLst>
          </c:dPt>
          <c:dPt>
            <c:idx val="1"/>
            <c:bubble3D val="0"/>
            <c:spPr>
              <a:solidFill>
                <a:srgbClr val="14CE9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F77-4738-8C10-C0F82E5B3BFA}"/>
              </c:ext>
            </c:extLst>
          </c:dPt>
          <c:dPt>
            <c:idx val="2"/>
            <c:bubble3D val="0"/>
            <c:spPr>
              <a:solidFill>
                <a:srgbClr val="5D5B6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F77-4738-8C10-C0F82E5B3BFA}"/>
              </c:ext>
            </c:extLst>
          </c:dPt>
          <c:dPt>
            <c:idx val="3"/>
            <c:bubble3D val="0"/>
            <c:spPr>
              <a:solidFill>
                <a:srgbClr val="BBBAC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F77-4738-8C10-C0F82E5B3BFA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34</c:v>
                </c:pt>
                <c:pt idx="2">
                  <c:v>40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F77-4738-8C10-C0F82E5B3B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DF9B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1D-4702-8CE2-723CB2FAC7FB}"/>
              </c:ext>
            </c:extLst>
          </c:dPt>
          <c:dPt>
            <c:idx val="1"/>
            <c:bubble3D val="0"/>
            <c:spPr>
              <a:solidFill>
                <a:srgbClr val="14CE9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1D-4702-8CE2-723CB2FAC7FB}"/>
              </c:ext>
            </c:extLst>
          </c:dPt>
          <c:dPt>
            <c:idx val="2"/>
            <c:bubble3D val="0"/>
            <c:spPr>
              <a:solidFill>
                <a:srgbClr val="5D5B6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1D-4702-8CE2-723CB2FAC7FB}"/>
              </c:ext>
            </c:extLst>
          </c:dPt>
          <c:dPt>
            <c:idx val="3"/>
            <c:bubble3D val="0"/>
            <c:spPr>
              <a:solidFill>
                <a:srgbClr val="BBBAC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1D-4702-8CE2-723CB2FAC7FB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15</c:v>
                </c:pt>
                <c:pt idx="2">
                  <c:v>20</c:v>
                </c:pt>
                <c:pt idx="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1D-4702-8CE2-723CB2FAC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29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9478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398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6216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3052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9249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7957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5330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1824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403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671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1140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0249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6371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444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7580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85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344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868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906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9006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916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383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1.mp4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1.mp4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4.mp4"/><Relationship Id="rId7" Type="http://schemas.openxmlformats.org/officeDocument/2006/relationships/oleObject" Target="../embeddings/oleObject1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4.mp4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twitter.com/quarmony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quarmony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2.mp4"/><Relationship Id="rId7" Type="http://schemas.openxmlformats.org/officeDocument/2006/relationships/oleObject" Target="../embeddings/oleObject7.bin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2.mp4"/><Relationship Id="rId9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microsoft.com/office/2007/relationships/media" Target="../media/media5.mp4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5.mp4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7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29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7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3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3.mp4"/><Relationship Id="rId7" Type="http://schemas.openxmlformats.org/officeDocument/2006/relationships/oleObject" Target="../embeddings/oleObject10.bin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0.emf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0.emf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06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Mountains - 7418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90000"/>
                </a:srgbClr>
              </a:gs>
              <a:gs pos="10000">
                <a:srgbClr val="DDF9B8">
                  <a:alpha val="9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437166" y="2774975"/>
            <a:ext cx="1317668" cy="1308050"/>
          </a:xfrm>
          <a:prstGeom prst="rect">
            <a:avLst/>
          </a:prstGeom>
          <a:noFill/>
          <a:ln>
            <a:noFill/>
          </a:ln>
          <a:effectLst>
            <a:outerShdw blurRad="190500" dist="279400" dir="7560000" algn="ctr" rotWithShape="0">
              <a:srgbClr val="000000">
                <a:alpha val="25000"/>
              </a:srgb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8500" dirty="0" err="1">
                <a:solidFill>
                  <a:schemeClr val="lt1"/>
                </a:solidFill>
                <a:latin typeface="Gabriela" panose="00000500000000000000" pitchFamily="2" charset="0"/>
              </a:rPr>
              <a:t>Xe</a:t>
            </a:r>
            <a:endParaRPr lang="en-US" sz="85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62388" y="4185549"/>
            <a:ext cx="8784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kern="2000" spc="200" dirty="0">
                <a:solidFill>
                  <a:schemeClr val="bg1"/>
                </a:solidFill>
                <a:latin typeface="Montserrat Light" panose="00000400000000000000" pitchFamily="2" charset="-18"/>
              </a:rPr>
              <a:t>Xen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700057" y="2368652"/>
            <a:ext cx="2164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400" dirty="0">
                <a:solidFill>
                  <a:schemeClr val="bg1"/>
                </a:solidFill>
                <a:latin typeface="Montserrat" panose="00000500000000000000" pitchFamily="2" charset="-18"/>
              </a:rPr>
              <a:t>5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521923" y="3290500"/>
            <a:ext cx="168635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2017 Tren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02107" y="3290500"/>
            <a:ext cx="1756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Presenta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172460" y="2990850"/>
            <a:ext cx="1317240" cy="15620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4"/>
          <p:cNvSpPr/>
          <p:nvPr/>
        </p:nvSpPr>
        <p:spPr>
          <a:xfrm rot="10800000">
            <a:off x="6700057" y="2279211"/>
            <a:ext cx="319064" cy="156888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5264950" y="2327271"/>
            <a:ext cx="1425571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838825" y="6267450"/>
            <a:ext cx="285750" cy="285750"/>
            <a:chOff x="5838825" y="6267450"/>
            <a:chExt cx="285750" cy="285750"/>
          </a:xfrm>
        </p:grpSpPr>
        <p:sp>
          <p:nvSpPr>
            <p:cNvPr id="18" name="Oval 17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Rectangle 14"/>
          <p:cNvSpPr/>
          <p:nvPr/>
        </p:nvSpPr>
        <p:spPr>
          <a:xfrm rot="16200000">
            <a:off x="6522654" y="4056455"/>
            <a:ext cx="521468" cy="3190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271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440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" dur="11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1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4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4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12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12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3" dur="13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4" dur="13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11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11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37" fill="hold" display="0">
                      <p:stCondLst>
                        <p:cond delay="indefinite"/>
                      </p:stCondLst>
                    </p:cTn>
                    <p:tgtEl>
                      <p:spTgt spid="2"/>
                    </p:tgtEl>
                  </p:cMediaNode>
                </p:video>
              </p:childTnLst>
            </p:cTn>
          </p:par>
        </p:tnLst>
        <p:bldLst>
          <p:bldP spid="9" grpId="0"/>
          <p:bldP spid="10" grpId="0"/>
          <p:bldP spid="12" grpId="0"/>
          <p:bldP spid="13" grpId="0"/>
          <p:bldP spid="14" grpId="0"/>
          <p:bldP spid="15" grpId="0" animBg="1"/>
          <p:bldP spid="16" grpId="0" animBg="1"/>
          <p:bldP spid="17" grpId="0" animBg="1"/>
          <p:bldP spid="2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440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" dur="11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1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24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24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2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2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3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3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11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11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37" fill="hold" display="0">
                      <p:stCondLst>
                        <p:cond delay="indefinite"/>
                      </p:stCondLst>
                    </p:cTn>
                    <p:tgtEl>
                      <p:spTgt spid="2"/>
                    </p:tgtEl>
                  </p:cMediaNode>
                </p:video>
              </p:childTnLst>
            </p:cTn>
          </p:par>
        </p:tnLst>
        <p:bldLst>
          <p:bldP spid="9" grpId="0"/>
          <p:bldP spid="10" grpId="0"/>
          <p:bldP spid="12" grpId="0"/>
          <p:bldP spid="13" grpId="0"/>
          <p:bldP spid="14" grpId="0"/>
          <p:bldP spid="15" grpId="0" animBg="1"/>
          <p:bldP spid="16" grpId="0" animBg="1"/>
          <p:bldP spid="17" grpId="0" animBg="1"/>
          <p:bldP spid="21" grpId="0" animBg="1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60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 flipH="1">
            <a:off x="5343978" y="-41729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 flipH="1">
            <a:off x="5314951" y="-57151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14"/>
          <p:cNvSpPr/>
          <p:nvPr/>
        </p:nvSpPr>
        <p:spPr>
          <a:xfrm flipH="1">
            <a:off x="908297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882905" y="1706713"/>
            <a:ext cx="3736876" cy="1795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  <p:sp>
        <p:nvSpPr>
          <p:cNvPr id="73" name="Rectangle 14"/>
          <p:cNvSpPr/>
          <p:nvPr/>
        </p:nvSpPr>
        <p:spPr>
          <a:xfrm rot="5400000">
            <a:off x="1294398" y="35125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882905" y="1230974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YOUR TITLE HERE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5575300" y="-57150"/>
            <a:ext cx="6616701" cy="6915151"/>
          </a:xfrm>
          <a:custGeom>
            <a:avLst/>
            <a:gdLst>
              <a:gd name="connsiteX0" fmla="*/ 1650696 w 6616701"/>
              <a:gd name="connsiteY0" fmla="*/ 0 h 6915151"/>
              <a:gd name="connsiteX1" fmla="*/ 0 w 6616701"/>
              <a:gd name="connsiteY1" fmla="*/ 0 h 6915151"/>
              <a:gd name="connsiteX2" fmla="*/ 0 w 6616701"/>
              <a:gd name="connsiteY2" fmla="*/ 6915151 h 6915151"/>
              <a:gd name="connsiteX3" fmla="*/ 6616701 w 6616701"/>
              <a:gd name="connsiteY3" fmla="*/ 6915151 h 6915151"/>
              <a:gd name="connsiteX4" fmla="*/ 6616701 w 6616701"/>
              <a:gd name="connsiteY4" fmla="*/ 3336102 h 691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6701" h="6915151">
                <a:moveTo>
                  <a:pt x="1650696" y="0"/>
                </a:moveTo>
                <a:lnTo>
                  <a:pt x="0" y="0"/>
                </a:lnTo>
                <a:lnTo>
                  <a:pt x="0" y="6915151"/>
                </a:lnTo>
                <a:lnTo>
                  <a:pt x="6616701" y="6915151"/>
                </a:lnTo>
                <a:lnTo>
                  <a:pt x="6616701" y="3336102"/>
                </a:lnTo>
                <a:close/>
              </a:path>
            </a:pathLst>
          </a:custGeom>
        </p:spPr>
      </p:pic>
      <p:sp>
        <p:nvSpPr>
          <p:cNvPr id="21" name="Rectangle 14"/>
          <p:cNvSpPr/>
          <p:nvPr/>
        </p:nvSpPr>
        <p:spPr>
          <a:xfrm flipH="1">
            <a:off x="907299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211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Discussion - 8252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144393"/>
            <a:ext cx="345767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en-US" sz="6000" dirty="0">
                <a:solidFill>
                  <a:schemeClr val="lt1"/>
                </a:solidFill>
                <a:latin typeface="Gabriela" panose="00000500000000000000" pitchFamily="2" charset="0"/>
              </a:rPr>
              <a:t>Our team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5156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601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84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846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14"/>
          <p:cNvSpPr/>
          <p:nvPr/>
        </p:nvSpPr>
        <p:spPr>
          <a:xfrm>
            <a:off x="658813" y="1250173"/>
            <a:ext cx="3682415" cy="495060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5D5B6F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D5B6F"/>
              </a:solidFill>
            </a:endParaRPr>
          </a:p>
        </p:txBody>
      </p:sp>
      <p:sp>
        <p:nvSpPr>
          <p:cNvPr id="72" name="Rectangle 14"/>
          <p:cNvSpPr/>
          <p:nvPr/>
        </p:nvSpPr>
        <p:spPr>
          <a:xfrm rot="10800000">
            <a:off x="4889980" y="820866"/>
            <a:ext cx="1034245" cy="366404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5D5B6F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2838787" y="-1351347"/>
            <a:ext cx="782386" cy="485684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65398" y="902442"/>
            <a:ext cx="445533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YOUR TEXT TITLE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4" name="Rectangle 14"/>
          <p:cNvSpPr/>
          <p:nvPr/>
        </p:nvSpPr>
        <p:spPr>
          <a:xfrm flipH="1">
            <a:off x="4051706" y="2105130"/>
            <a:ext cx="1733665" cy="39508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5D5B6F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4123" y="0"/>
            <a:ext cx="5872392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519355" y="3429000"/>
            <a:ext cx="3012245" cy="27699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6000" dirty="0">
                <a:solidFill>
                  <a:srgbClr val="14CE9F"/>
                </a:solidFill>
                <a:latin typeface="Gabriela" panose="00000500000000000000" pitchFamily="2" charset="0"/>
              </a:rPr>
              <a:t>Your Title her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5399" y="1468269"/>
            <a:ext cx="4455330" cy="41036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  <a:p>
            <a:pPr>
              <a:lnSpc>
                <a:spcPts val="2000"/>
              </a:lnSpc>
            </a:pPr>
            <a:endParaRPr lang="en-US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loring book authentic til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olo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fu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in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hell of poutine direct tra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fingerstach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jean shorts humblebrag. Single-origin coffee cray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neutr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m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retro squid fou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lok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ombuch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hell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lksh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cte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ypewrite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qu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Humblebrag culpa salvia offal locavore VHS succulents ad. Blue bottle wok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u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axidermy, ramps cronut gochujang narwhal lo-fi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ru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umami tattooed. Pug photo booth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godar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waistcoat subway tile next level hoodie dreamcatcher slow-carb iPhon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tumptown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8840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  <p:bldP spid="72" grpId="0" animBg="1"/>
      <p:bldP spid="73" grpId="0" animBg="1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2631009" y="1468582"/>
            <a:ext cx="734291" cy="734291"/>
            <a:chOff x="2631009" y="1963882"/>
            <a:chExt cx="734291" cy="734291"/>
          </a:xfrm>
        </p:grpSpPr>
        <p:sp>
          <p:nvSpPr>
            <p:cNvPr id="3" name="Oval 2"/>
            <p:cNvSpPr/>
            <p:nvPr/>
          </p:nvSpPr>
          <p:spPr>
            <a:xfrm>
              <a:off x="2631009" y="1963882"/>
              <a:ext cx="734291" cy="734291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Freeform 36">
              <a:hlinkClick r:id="rId7"/>
            </p:cNvPr>
            <p:cNvSpPr>
              <a:spLocks/>
            </p:cNvSpPr>
            <p:nvPr/>
          </p:nvSpPr>
          <p:spPr bwMode="auto">
            <a:xfrm>
              <a:off x="2791692" y="2153256"/>
              <a:ext cx="438154" cy="355542"/>
            </a:xfrm>
            <a:custGeom>
              <a:avLst/>
              <a:gdLst>
                <a:gd name="T0" fmla="*/ 3173 w 4343"/>
                <a:gd name="T1" fmla="*/ 16 h 3525"/>
                <a:gd name="T2" fmla="*/ 3404 w 4343"/>
                <a:gd name="T3" fmla="*/ 92 h 3525"/>
                <a:gd name="T4" fmla="*/ 3600 w 4343"/>
                <a:gd name="T5" fmla="*/ 227 h 3525"/>
                <a:gd name="T6" fmla="*/ 3856 w 4343"/>
                <a:gd name="T7" fmla="*/ 231 h 3525"/>
                <a:gd name="T8" fmla="*/ 4135 w 4343"/>
                <a:gd name="T9" fmla="*/ 113 h 3525"/>
                <a:gd name="T10" fmla="*/ 4160 w 4343"/>
                <a:gd name="T11" fmla="*/ 215 h 3525"/>
                <a:gd name="T12" fmla="*/ 4018 w 4343"/>
                <a:gd name="T13" fmla="*/ 408 h 3525"/>
                <a:gd name="T14" fmla="*/ 3831 w 4343"/>
                <a:gd name="T15" fmla="*/ 558 h 3525"/>
                <a:gd name="T16" fmla="*/ 4145 w 4343"/>
                <a:gd name="T17" fmla="*/ 491 h 3525"/>
                <a:gd name="T18" fmla="*/ 4280 w 4343"/>
                <a:gd name="T19" fmla="*/ 504 h 3525"/>
                <a:gd name="T20" fmla="*/ 4064 w 4343"/>
                <a:gd name="T21" fmla="*/ 742 h 3525"/>
                <a:gd name="T22" fmla="*/ 3900 w 4343"/>
                <a:gd name="T23" fmla="*/ 994 h 3525"/>
                <a:gd name="T24" fmla="*/ 3881 w 4343"/>
                <a:gd name="T25" fmla="*/ 1299 h 3525"/>
                <a:gd name="T26" fmla="*/ 3823 w 4343"/>
                <a:gd name="T27" fmla="*/ 1607 h 3525"/>
                <a:gd name="T28" fmla="*/ 3725 w 4343"/>
                <a:gd name="T29" fmla="*/ 1910 h 3525"/>
                <a:gd name="T30" fmla="*/ 3591 w 4343"/>
                <a:gd name="T31" fmla="*/ 2204 h 3525"/>
                <a:gd name="T32" fmla="*/ 3420 w 4343"/>
                <a:gd name="T33" fmla="*/ 2483 h 3525"/>
                <a:gd name="T34" fmla="*/ 3210 w 4343"/>
                <a:gd name="T35" fmla="*/ 2741 h 3525"/>
                <a:gd name="T36" fmla="*/ 2966 w 4343"/>
                <a:gd name="T37" fmla="*/ 2973 h 3525"/>
                <a:gd name="T38" fmla="*/ 2686 w 4343"/>
                <a:gd name="T39" fmla="*/ 3172 h 3525"/>
                <a:gd name="T40" fmla="*/ 2371 w 4343"/>
                <a:gd name="T41" fmla="*/ 3331 h 3525"/>
                <a:gd name="T42" fmla="*/ 2022 w 4343"/>
                <a:gd name="T43" fmla="*/ 3447 h 3525"/>
                <a:gd name="T44" fmla="*/ 1640 w 4343"/>
                <a:gd name="T45" fmla="*/ 3512 h 3525"/>
                <a:gd name="T46" fmla="*/ 1229 w 4343"/>
                <a:gd name="T47" fmla="*/ 3522 h 3525"/>
                <a:gd name="T48" fmla="*/ 833 w 4343"/>
                <a:gd name="T49" fmla="*/ 3469 h 3525"/>
                <a:gd name="T50" fmla="*/ 457 w 4343"/>
                <a:gd name="T51" fmla="*/ 3357 h 3525"/>
                <a:gd name="T52" fmla="*/ 109 w 4343"/>
                <a:gd name="T53" fmla="*/ 3193 h 3525"/>
                <a:gd name="T54" fmla="*/ 212 w 4343"/>
                <a:gd name="T55" fmla="*/ 3139 h 3525"/>
                <a:gd name="T56" fmla="*/ 545 w 4343"/>
                <a:gd name="T57" fmla="*/ 3107 h 3525"/>
                <a:gd name="T58" fmla="*/ 859 w 4343"/>
                <a:gd name="T59" fmla="*/ 3019 h 3525"/>
                <a:gd name="T60" fmla="*/ 1145 w 4343"/>
                <a:gd name="T61" fmla="*/ 2878 h 3525"/>
                <a:gd name="T62" fmla="*/ 1237 w 4343"/>
                <a:gd name="T63" fmla="*/ 2752 h 3525"/>
                <a:gd name="T64" fmla="*/ 1004 w 4343"/>
                <a:gd name="T65" fmla="*/ 2694 h 3525"/>
                <a:gd name="T66" fmla="*/ 800 w 4343"/>
                <a:gd name="T67" fmla="*/ 2578 h 3525"/>
                <a:gd name="T68" fmla="*/ 634 w 4343"/>
                <a:gd name="T69" fmla="*/ 2415 h 3525"/>
                <a:gd name="T70" fmla="*/ 514 w 4343"/>
                <a:gd name="T71" fmla="*/ 2214 h 3525"/>
                <a:gd name="T72" fmla="*/ 598 w 4343"/>
                <a:gd name="T73" fmla="*/ 2153 h 3525"/>
                <a:gd name="T74" fmla="*/ 813 w 4343"/>
                <a:gd name="T75" fmla="*/ 2141 h 3525"/>
                <a:gd name="T76" fmla="*/ 732 w 4343"/>
                <a:gd name="T77" fmla="*/ 2077 h 3525"/>
                <a:gd name="T78" fmla="*/ 523 w 4343"/>
                <a:gd name="T79" fmla="*/ 1957 h 3525"/>
                <a:gd name="T80" fmla="*/ 354 w 4343"/>
                <a:gd name="T81" fmla="*/ 1787 h 3525"/>
                <a:gd name="T82" fmla="*/ 236 w 4343"/>
                <a:gd name="T83" fmla="*/ 1577 h 3525"/>
                <a:gd name="T84" fmla="*/ 178 w 4343"/>
                <a:gd name="T85" fmla="*/ 1336 h 3525"/>
                <a:gd name="T86" fmla="*/ 236 w 4343"/>
                <a:gd name="T87" fmla="*/ 1271 h 3525"/>
                <a:gd name="T88" fmla="*/ 435 w 4343"/>
                <a:gd name="T89" fmla="*/ 1335 h 3525"/>
                <a:gd name="T90" fmla="*/ 515 w 4343"/>
                <a:gd name="T91" fmla="*/ 1306 h 3525"/>
                <a:gd name="T92" fmla="*/ 353 w 4343"/>
                <a:gd name="T93" fmla="*/ 1136 h 3525"/>
                <a:gd name="T94" fmla="*/ 241 w 4343"/>
                <a:gd name="T95" fmla="*/ 929 h 3525"/>
                <a:gd name="T96" fmla="*/ 186 w 4343"/>
                <a:gd name="T97" fmla="*/ 694 h 3525"/>
                <a:gd name="T98" fmla="*/ 196 w 4343"/>
                <a:gd name="T99" fmla="*/ 452 h 3525"/>
                <a:gd name="T100" fmla="*/ 267 w 4343"/>
                <a:gd name="T101" fmla="*/ 231 h 3525"/>
                <a:gd name="T102" fmla="*/ 477 w 4343"/>
                <a:gd name="T103" fmla="*/ 356 h 3525"/>
                <a:gd name="T104" fmla="*/ 773 w 4343"/>
                <a:gd name="T105" fmla="*/ 610 h 3525"/>
                <a:gd name="T106" fmla="*/ 1108 w 4343"/>
                <a:gd name="T107" fmla="*/ 816 h 3525"/>
                <a:gd name="T108" fmla="*/ 1473 w 4343"/>
                <a:gd name="T109" fmla="*/ 969 h 3525"/>
                <a:gd name="T110" fmla="*/ 1865 w 4343"/>
                <a:gd name="T111" fmla="*/ 1065 h 3525"/>
                <a:gd name="T112" fmla="*/ 2126 w 4343"/>
                <a:gd name="T113" fmla="*/ 1027 h 3525"/>
                <a:gd name="T114" fmla="*/ 2119 w 4343"/>
                <a:gd name="T115" fmla="*/ 804 h 3525"/>
                <a:gd name="T116" fmla="*/ 2177 w 4343"/>
                <a:gd name="T117" fmla="*/ 562 h 3525"/>
                <a:gd name="T118" fmla="*/ 2297 w 4343"/>
                <a:gd name="T119" fmla="*/ 352 h 3525"/>
                <a:gd name="T120" fmla="*/ 2467 w 4343"/>
                <a:gd name="T121" fmla="*/ 182 h 3525"/>
                <a:gd name="T122" fmla="*/ 2679 w 4343"/>
                <a:gd name="T123" fmla="*/ 62 h 3525"/>
                <a:gd name="T124" fmla="*/ 2920 w 4343"/>
                <a:gd name="T125" fmla="*/ 4 h 3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43" h="3525">
                  <a:moveTo>
                    <a:pt x="3006" y="0"/>
                  </a:moveTo>
                  <a:lnTo>
                    <a:pt x="3092" y="4"/>
                  </a:lnTo>
                  <a:lnTo>
                    <a:pt x="3173" y="16"/>
                  </a:lnTo>
                  <a:lnTo>
                    <a:pt x="3254" y="35"/>
                  </a:lnTo>
                  <a:lnTo>
                    <a:pt x="3330" y="61"/>
                  </a:lnTo>
                  <a:lnTo>
                    <a:pt x="3404" y="92"/>
                  </a:lnTo>
                  <a:lnTo>
                    <a:pt x="3474" y="132"/>
                  </a:lnTo>
                  <a:lnTo>
                    <a:pt x="3540" y="175"/>
                  </a:lnTo>
                  <a:lnTo>
                    <a:pt x="3600" y="227"/>
                  </a:lnTo>
                  <a:lnTo>
                    <a:pt x="3657" y="281"/>
                  </a:lnTo>
                  <a:lnTo>
                    <a:pt x="3757" y="258"/>
                  </a:lnTo>
                  <a:lnTo>
                    <a:pt x="3856" y="231"/>
                  </a:lnTo>
                  <a:lnTo>
                    <a:pt x="3952" y="196"/>
                  </a:lnTo>
                  <a:lnTo>
                    <a:pt x="4045" y="158"/>
                  </a:lnTo>
                  <a:lnTo>
                    <a:pt x="4135" y="113"/>
                  </a:lnTo>
                  <a:lnTo>
                    <a:pt x="4223" y="65"/>
                  </a:lnTo>
                  <a:lnTo>
                    <a:pt x="4194" y="141"/>
                  </a:lnTo>
                  <a:lnTo>
                    <a:pt x="4160" y="215"/>
                  </a:lnTo>
                  <a:lnTo>
                    <a:pt x="4118" y="283"/>
                  </a:lnTo>
                  <a:lnTo>
                    <a:pt x="4070" y="348"/>
                  </a:lnTo>
                  <a:lnTo>
                    <a:pt x="4018" y="408"/>
                  </a:lnTo>
                  <a:lnTo>
                    <a:pt x="3961" y="463"/>
                  </a:lnTo>
                  <a:lnTo>
                    <a:pt x="3898" y="513"/>
                  </a:lnTo>
                  <a:lnTo>
                    <a:pt x="3831" y="558"/>
                  </a:lnTo>
                  <a:lnTo>
                    <a:pt x="3939" y="541"/>
                  </a:lnTo>
                  <a:lnTo>
                    <a:pt x="4043" y="519"/>
                  </a:lnTo>
                  <a:lnTo>
                    <a:pt x="4145" y="491"/>
                  </a:lnTo>
                  <a:lnTo>
                    <a:pt x="4246" y="457"/>
                  </a:lnTo>
                  <a:lnTo>
                    <a:pt x="4343" y="417"/>
                  </a:lnTo>
                  <a:lnTo>
                    <a:pt x="4280" y="504"/>
                  </a:lnTo>
                  <a:lnTo>
                    <a:pt x="4213" y="589"/>
                  </a:lnTo>
                  <a:lnTo>
                    <a:pt x="4142" y="667"/>
                  </a:lnTo>
                  <a:lnTo>
                    <a:pt x="4064" y="742"/>
                  </a:lnTo>
                  <a:lnTo>
                    <a:pt x="3983" y="814"/>
                  </a:lnTo>
                  <a:lnTo>
                    <a:pt x="3898" y="878"/>
                  </a:lnTo>
                  <a:lnTo>
                    <a:pt x="3900" y="994"/>
                  </a:lnTo>
                  <a:lnTo>
                    <a:pt x="3899" y="1095"/>
                  </a:lnTo>
                  <a:lnTo>
                    <a:pt x="3893" y="1196"/>
                  </a:lnTo>
                  <a:lnTo>
                    <a:pt x="3881" y="1299"/>
                  </a:lnTo>
                  <a:lnTo>
                    <a:pt x="3866" y="1402"/>
                  </a:lnTo>
                  <a:lnTo>
                    <a:pt x="3846" y="1504"/>
                  </a:lnTo>
                  <a:lnTo>
                    <a:pt x="3823" y="1607"/>
                  </a:lnTo>
                  <a:lnTo>
                    <a:pt x="3795" y="1708"/>
                  </a:lnTo>
                  <a:lnTo>
                    <a:pt x="3762" y="1810"/>
                  </a:lnTo>
                  <a:lnTo>
                    <a:pt x="3725" y="1910"/>
                  </a:lnTo>
                  <a:lnTo>
                    <a:pt x="3684" y="2010"/>
                  </a:lnTo>
                  <a:lnTo>
                    <a:pt x="3640" y="2108"/>
                  </a:lnTo>
                  <a:lnTo>
                    <a:pt x="3591" y="2204"/>
                  </a:lnTo>
                  <a:lnTo>
                    <a:pt x="3538" y="2299"/>
                  </a:lnTo>
                  <a:lnTo>
                    <a:pt x="3480" y="2393"/>
                  </a:lnTo>
                  <a:lnTo>
                    <a:pt x="3420" y="2483"/>
                  </a:lnTo>
                  <a:lnTo>
                    <a:pt x="3354" y="2573"/>
                  </a:lnTo>
                  <a:lnTo>
                    <a:pt x="3284" y="2658"/>
                  </a:lnTo>
                  <a:lnTo>
                    <a:pt x="3210" y="2741"/>
                  </a:lnTo>
                  <a:lnTo>
                    <a:pt x="3132" y="2821"/>
                  </a:lnTo>
                  <a:lnTo>
                    <a:pt x="3052" y="2899"/>
                  </a:lnTo>
                  <a:lnTo>
                    <a:pt x="2966" y="2973"/>
                  </a:lnTo>
                  <a:lnTo>
                    <a:pt x="2877" y="3043"/>
                  </a:lnTo>
                  <a:lnTo>
                    <a:pt x="2783" y="3110"/>
                  </a:lnTo>
                  <a:lnTo>
                    <a:pt x="2686" y="3172"/>
                  </a:lnTo>
                  <a:lnTo>
                    <a:pt x="2584" y="3229"/>
                  </a:lnTo>
                  <a:lnTo>
                    <a:pt x="2480" y="3282"/>
                  </a:lnTo>
                  <a:lnTo>
                    <a:pt x="2371" y="3331"/>
                  </a:lnTo>
                  <a:lnTo>
                    <a:pt x="2259" y="3375"/>
                  </a:lnTo>
                  <a:lnTo>
                    <a:pt x="2142" y="3414"/>
                  </a:lnTo>
                  <a:lnTo>
                    <a:pt x="2022" y="3447"/>
                  </a:lnTo>
                  <a:lnTo>
                    <a:pt x="1898" y="3474"/>
                  </a:lnTo>
                  <a:lnTo>
                    <a:pt x="1770" y="3497"/>
                  </a:lnTo>
                  <a:lnTo>
                    <a:pt x="1640" y="3512"/>
                  </a:lnTo>
                  <a:lnTo>
                    <a:pt x="1504" y="3523"/>
                  </a:lnTo>
                  <a:lnTo>
                    <a:pt x="1366" y="3525"/>
                  </a:lnTo>
                  <a:lnTo>
                    <a:pt x="1229" y="3522"/>
                  </a:lnTo>
                  <a:lnTo>
                    <a:pt x="1095" y="3511"/>
                  </a:lnTo>
                  <a:lnTo>
                    <a:pt x="963" y="3494"/>
                  </a:lnTo>
                  <a:lnTo>
                    <a:pt x="833" y="3469"/>
                  </a:lnTo>
                  <a:lnTo>
                    <a:pt x="705" y="3439"/>
                  </a:lnTo>
                  <a:lnTo>
                    <a:pt x="580" y="3400"/>
                  </a:lnTo>
                  <a:lnTo>
                    <a:pt x="457" y="3357"/>
                  </a:lnTo>
                  <a:lnTo>
                    <a:pt x="339" y="3308"/>
                  </a:lnTo>
                  <a:lnTo>
                    <a:pt x="223" y="3253"/>
                  </a:lnTo>
                  <a:lnTo>
                    <a:pt x="109" y="3193"/>
                  </a:lnTo>
                  <a:lnTo>
                    <a:pt x="0" y="3125"/>
                  </a:lnTo>
                  <a:lnTo>
                    <a:pt x="105" y="3135"/>
                  </a:lnTo>
                  <a:lnTo>
                    <a:pt x="212" y="3139"/>
                  </a:lnTo>
                  <a:lnTo>
                    <a:pt x="325" y="3135"/>
                  </a:lnTo>
                  <a:lnTo>
                    <a:pt x="436" y="3124"/>
                  </a:lnTo>
                  <a:lnTo>
                    <a:pt x="545" y="3107"/>
                  </a:lnTo>
                  <a:lnTo>
                    <a:pt x="652" y="3083"/>
                  </a:lnTo>
                  <a:lnTo>
                    <a:pt x="757" y="3054"/>
                  </a:lnTo>
                  <a:lnTo>
                    <a:pt x="859" y="3019"/>
                  </a:lnTo>
                  <a:lnTo>
                    <a:pt x="958" y="2977"/>
                  </a:lnTo>
                  <a:lnTo>
                    <a:pt x="1053" y="2929"/>
                  </a:lnTo>
                  <a:lnTo>
                    <a:pt x="1145" y="2878"/>
                  </a:lnTo>
                  <a:lnTo>
                    <a:pt x="1234" y="2820"/>
                  </a:lnTo>
                  <a:lnTo>
                    <a:pt x="1319" y="2757"/>
                  </a:lnTo>
                  <a:lnTo>
                    <a:pt x="1237" y="2752"/>
                  </a:lnTo>
                  <a:lnTo>
                    <a:pt x="1157" y="2739"/>
                  </a:lnTo>
                  <a:lnTo>
                    <a:pt x="1079" y="2720"/>
                  </a:lnTo>
                  <a:lnTo>
                    <a:pt x="1004" y="2694"/>
                  </a:lnTo>
                  <a:lnTo>
                    <a:pt x="931" y="2661"/>
                  </a:lnTo>
                  <a:lnTo>
                    <a:pt x="864" y="2623"/>
                  </a:lnTo>
                  <a:lnTo>
                    <a:pt x="800" y="2578"/>
                  </a:lnTo>
                  <a:lnTo>
                    <a:pt x="739" y="2528"/>
                  </a:lnTo>
                  <a:lnTo>
                    <a:pt x="684" y="2474"/>
                  </a:lnTo>
                  <a:lnTo>
                    <a:pt x="634" y="2415"/>
                  </a:lnTo>
                  <a:lnTo>
                    <a:pt x="588" y="2352"/>
                  </a:lnTo>
                  <a:lnTo>
                    <a:pt x="548" y="2285"/>
                  </a:lnTo>
                  <a:lnTo>
                    <a:pt x="514" y="2214"/>
                  </a:lnTo>
                  <a:lnTo>
                    <a:pt x="487" y="2139"/>
                  </a:lnTo>
                  <a:lnTo>
                    <a:pt x="541" y="2148"/>
                  </a:lnTo>
                  <a:lnTo>
                    <a:pt x="598" y="2153"/>
                  </a:lnTo>
                  <a:lnTo>
                    <a:pt x="655" y="2156"/>
                  </a:lnTo>
                  <a:lnTo>
                    <a:pt x="735" y="2152"/>
                  </a:lnTo>
                  <a:lnTo>
                    <a:pt x="813" y="2141"/>
                  </a:lnTo>
                  <a:lnTo>
                    <a:pt x="889" y="2124"/>
                  </a:lnTo>
                  <a:lnTo>
                    <a:pt x="809" y="2104"/>
                  </a:lnTo>
                  <a:lnTo>
                    <a:pt x="732" y="2077"/>
                  </a:lnTo>
                  <a:lnTo>
                    <a:pt x="659" y="2043"/>
                  </a:lnTo>
                  <a:lnTo>
                    <a:pt x="589" y="2003"/>
                  </a:lnTo>
                  <a:lnTo>
                    <a:pt x="523" y="1957"/>
                  </a:lnTo>
                  <a:lnTo>
                    <a:pt x="461" y="1906"/>
                  </a:lnTo>
                  <a:lnTo>
                    <a:pt x="406" y="1849"/>
                  </a:lnTo>
                  <a:lnTo>
                    <a:pt x="354" y="1787"/>
                  </a:lnTo>
                  <a:lnTo>
                    <a:pt x="308" y="1721"/>
                  </a:lnTo>
                  <a:lnTo>
                    <a:pt x="269" y="1650"/>
                  </a:lnTo>
                  <a:lnTo>
                    <a:pt x="236" y="1577"/>
                  </a:lnTo>
                  <a:lnTo>
                    <a:pt x="209" y="1499"/>
                  </a:lnTo>
                  <a:lnTo>
                    <a:pt x="190" y="1419"/>
                  </a:lnTo>
                  <a:lnTo>
                    <a:pt x="178" y="1336"/>
                  </a:lnTo>
                  <a:lnTo>
                    <a:pt x="174" y="1252"/>
                  </a:lnTo>
                  <a:lnTo>
                    <a:pt x="174" y="1240"/>
                  </a:lnTo>
                  <a:lnTo>
                    <a:pt x="236" y="1271"/>
                  </a:lnTo>
                  <a:lnTo>
                    <a:pt x="300" y="1298"/>
                  </a:lnTo>
                  <a:lnTo>
                    <a:pt x="366" y="1319"/>
                  </a:lnTo>
                  <a:lnTo>
                    <a:pt x="435" y="1335"/>
                  </a:lnTo>
                  <a:lnTo>
                    <a:pt x="506" y="1346"/>
                  </a:lnTo>
                  <a:lnTo>
                    <a:pt x="578" y="1352"/>
                  </a:lnTo>
                  <a:lnTo>
                    <a:pt x="515" y="1306"/>
                  </a:lnTo>
                  <a:lnTo>
                    <a:pt x="456" y="1253"/>
                  </a:lnTo>
                  <a:lnTo>
                    <a:pt x="402" y="1198"/>
                  </a:lnTo>
                  <a:lnTo>
                    <a:pt x="353" y="1136"/>
                  </a:lnTo>
                  <a:lnTo>
                    <a:pt x="310" y="1071"/>
                  </a:lnTo>
                  <a:lnTo>
                    <a:pt x="273" y="1002"/>
                  </a:lnTo>
                  <a:lnTo>
                    <a:pt x="241" y="929"/>
                  </a:lnTo>
                  <a:lnTo>
                    <a:pt x="215" y="853"/>
                  </a:lnTo>
                  <a:lnTo>
                    <a:pt x="196" y="775"/>
                  </a:lnTo>
                  <a:lnTo>
                    <a:pt x="186" y="694"/>
                  </a:lnTo>
                  <a:lnTo>
                    <a:pt x="182" y="611"/>
                  </a:lnTo>
                  <a:lnTo>
                    <a:pt x="186" y="529"/>
                  </a:lnTo>
                  <a:lnTo>
                    <a:pt x="196" y="452"/>
                  </a:lnTo>
                  <a:lnTo>
                    <a:pt x="213" y="375"/>
                  </a:lnTo>
                  <a:lnTo>
                    <a:pt x="237" y="302"/>
                  </a:lnTo>
                  <a:lnTo>
                    <a:pt x="267" y="231"/>
                  </a:lnTo>
                  <a:lnTo>
                    <a:pt x="303" y="163"/>
                  </a:lnTo>
                  <a:lnTo>
                    <a:pt x="387" y="262"/>
                  </a:lnTo>
                  <a:lnTo>
                    <a:pt x="477" y="356"/>
                  </a:lnTo>
                  <a:lnTo>
                    <a:pt x="572" y="445"/>
                  </a:lnTo>
                  <a:lnTo>
                    <a:pt x="670" y="531"/>
                  </a:lnTo>
                  <a:lnTo>
                    <a:pt x="773" y="610"/>
                  </a:lnTo>
                  <a:lnTo>
                    <a:pt x="881" y="685"/>
                  </a:lnTo>
                  <a:lnTo>
                    <a:pt x="993" y="753"/>
                  </a:lnTo>
                  <a:lnTo>
                    <a:pt x="1108" y="816"/>
                  </a:lnTo>
                  <a:lnTo>
                    <a:pt x="1226" y="873"/>
                  </a:lnTo>
                  <a:lnTo>
                    <a:pt x="1348" y="924"/>
                  </a:lnTo>
                  <a:lnTo>
                    <a:pt x="1473" y="969"/>
                  </a:lnTo>
                  <a:lnTo>
                    <a:pt x="1602" y="1008"/>
                  </a:lnTo>
                  <a:lnTo>
                    <a:pt x="1732" y="1040"/>
                  </a:lnTo>
                  <a:lnTo>
                    <a:pt x="1865" y="1065"/>
                  </a:lnTo>
                  <a:lnTo>
                    <a:pt x="2001" y="1082"/>
                  </a:lnTo>
                  <a:lnTo>
                    <a:pt x="2139" y="1092"/>
                  </a:lnTo>
                  <a:lnTo>
                    <a:pt x="2126" y="1027"/>
                  </a:lnTo>
                  <a:lnTo>
                    <a:pt x="2118" y="960"/>
                  </a:lnTo>
                  <a:lnTo>
                    <a:pt x="2116" y="890"/>
                  </a:lnTo>
                  <a:lnTo>
                    <a:pt x="2119" y="804"/>
                  </a:lnTo>
                  <a:lnTo>
                    <a:pt x="2131" y="721"/>
                  </a:lnTo>
                  <a:lnTo>
                    <a:pt x="2151" y="640"/>
                  </a:lnTo>
                  <a:lnTo>
                    <a:pt x="2177" y="562"/>
                  </a:lnTo>
                  <a:lnTo>
                    <a:pt x="2212" y="488"/>
                  </a:lnTo>
                  <a:lnTo>
                    <a:pt x="2251" y="417"/>
                  </a:lnTo>
                  <a:lnTo>
                    <a:pt x="2297" y="352"/>
                  </a:lnTo>
                  <a:lnTo>
                    <a:pt x="2349" y="290"/>
                  </a:lnTo>
                  <a:lnTo>
                    <a:pt x="2405" y="233"/>
                  </a:lnTo>
                  <a:lnTo>
                    <a:pt x="2467" y="182"/>
                  </a:lnTo>
                  <a:lnTo>
                    <a:pt x="2534" y="136"/>
                  </a:lnTo>
                  <a:lnTo>
                    <a:pt x="2604" y="96"/>
                  </a:lnTo>
                  <a:lnTo>
                    <a:pt x="2679" y="62"/>
                  </a:lnTo>
                  <a:lnTo>
                    <a:pt x="2757" y="36"/>
                  </a:lnTo>
                  <a:lnTo>
                    <a:pt x="2837" y="16"/>
                  </a:lnTo>
                  <a:lnTo>
                    <a:pt x="2920" y="4"/>
                  </a:lnTo>
                  <a:lnTo>
                    <a:pt x="3006" y="0"/>
                  </a:lnTo>
                  <a:close/>
                </a:path>
              </a:pathLst>
            </a:custGeom>
            <a:solidFill>
              <a:srgbClr val="BBBAC6"/>
            </a:solidFill>
            <a:ln w="1270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243602" y="1468582"/>
            <a:ext cx="734291" cy="734291"/>
            <a:chOff x="6243602" y="1963882"/>
            <a:chExt cx="734291" cy="734291"/>
          </a:xfrm>
        </p:grpSpPr>
        <p:sp>
          <p:nvSpPr>
            <p:cNvPr id="32" name="Oval 31"/>
            <p:cNvSpPr/>
            <p:nvPr/>
          </p:nvSpPr>
          <p:spPr>
            <a:xfrm>
              <a:off x="6243602" y="1963882"/>
              <a:ext cx="734291" cy="734291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Freeform 38">
              <a:hlinkClick r:id="rId7"/>
            </p:cNvPr>
            <p:cNvSpPr>
              <a:spLocks/>
            </p:cNvSpPr>
            <p:nvPr/>
          </p:nvSpPr>
          <p:spPr bwMode="auto">
            <a:xfrm>
              <a:off x="6391670" y="2153256"/>
              <a:ext cx="438154" cy="355542"/>
            </a:xfrm>
            <a:custGeom>
              <a:avLst/>
              <a:gdLst>
                <a:gd name="T0" fmla="*/ 3173 w 4343"/>
                <a:gd name="T1" fmla="*/ 16 h 3525"/>
                <a:gd name="T2" fmla="*/ 3404 w 4343"/>
                <a:gd name="T3" fmla="*/ 92 h 3525"/>
                <a:gd name="T4" fmla="*/ 3600 w 4343"/>
                <a:gd name="T5" fmla="*/ 227 h 3525"/>
                <a:gd name="T6" fmla="*/ 3856 w 4343"/>
                <a:gd name="T7" fmla="*/ 231 h 3525"/>
                <a:gd name="T8" fmla="*/ 4135 w 4343"/>
                <a:gd name="T9" fmla="*/ 113 h 3525"/>
                <a:gd name="T10" fmla="*/ 4160 w 4343"/>
                <a:gd name="T11" fmla="*/ 215 h 3525"/>
                <a:gd name="T12" fmla="*/ 4018 w 4343"/>
                <a:gd name="T13" fmla="*/ 408 h 3525"/>
                <a:gd name="T14" fmla="*/ 3831 w 4343"/>
                <a:gd name="T15" fmla="*/ 558 h 3525"/>
                <a:gd name="T16" fmla="*/ 4145 w 4343"/>
                <a:gd name="T17" fmla="*/ 491 h 3525"/>
                <a:gd name="T18" fmla="*/ 4280 w 4343"/>
                <a:gd name="T19" fmla="*/ 504 h 3525"/>
                <a:gd name="T20" fmla="*/ 4064 w 4343"/>
                <a:gd name="T21" fmla="*/ 742 h 3525"/>
                <a:gd name="T22" fmla="*/ 3900 w 4343"/>
                <a:gd name="T23" fmla="*/ 994 h 3525"/>
                <a:gd name="T24" fmla="*/ 3881 w 4343"/>
                <a:gd name="T25" fmla="*/ 1299 h 3525"/>
                <a:gd name="T26" fmla="*/ 3823 w 4343"/>
                <a:gd name="T27" fmla="*/ 1607 h 3525"/>
                <a:gd name="T28" fmla="*/ 3725 w 4343"/>
                <a:gd name="T29" fmla="*/ 1910 h 3525"/>
                <a:gd name="T30" fmla="*/ 3591 w 4343"/>
                <a:gd name="T31" fmla="*/ 2204 h 3525"/>
                <a:gd name="T32" fmla="*/ 3420 w 4343"/>
                <a:gd name="T33" fmla="*/ 2483 h 3525"/>
                <a:gd name="T34" fmla="*/ 3210 w 4343"/>
                <a:gd name="T35" fmla="*/ 2741 h 3525"/>
                <a:gd name="T36" fmla="*/ 2966 w 4343"/>
                <a:gd name="T37" fmla="*/ 2973 h 3525"/>
                <a:gd name="T38" fmla="*/ 2686 w 4343"/>
                <a:gd name="T39" fmla="*/ 3172 h 3525"/>
                <a:gd name="T40" fmla="*/ 2371 w 4343"/>
                <a:gd name="T41" fmla="*/ 3331 h 3525"/>
                <a:gd name="T42" fmla="*/ 2022 w 4343"/>
                <a:gd name="T43" fmla="*/ 3447 h 3525"/>
                <a:gd name="T44" fmla="*/ 1640 w 4343"/>
                <a:gd name="T45" fmla="*/ 3512 h 3525"/>
                <a:gd name="T46" fmla="*/ 1229 w 4343"/>
                <a:gd name="T47" fmla="*/ 3522 h 3525"/>
                <a:gd name="T48" fmla="*/ 833 w 4343"/>
                <a:gd name="T49" fmla="*/ 3469 h 3525"/>
                <a:gd name="T50" fmla="*/ 457 w 4343"/>
                <a:gd name="T51" fmla="*/ 3357 h 3525"/>
                <a:gd name="T52" fmla="*/ 109 w 4343"/>
                <a:gd name="T53" fmla="*/ 3193 h 3525"/>
                <a:gd name="T54" fmla="*/ 212 w 4343"/>
                <a:gd name="T55" fmla="*/ 3139 h 3525"/>
                <a:gd name="T56" fmla="*/ 545 w 4343"/>
                <a:gd name="T57" fmla="*/ 3107 h 3525"/>
                <a:gd name="T58" fmla="*/ 859 w 4343"/>
                <a:gd name="T59" fmla="*/ 3019 h 3525"/>
                <a:gd name="T60" fmla="*/ 1145 w 4343"/>
                <a:gd name="T61" fmla="*/ 2878 h 3525"/>
                <a:gd name="T62" fmla="*/ 1237 w 4343"/>
                <a:gd name="T63" fmla="*/ 2752 h 3525"/>
                <a:gd name="T64" fmla="*/ 1004 w 4343"/>
                <a:gd name="T65" fmla="*/ 2694 h 3525"/>
                <a:gd name="T66" fmla="*/ 800 w 4343"/>
                <a:gd name="T67" fmla="*/ 2578 h 3525"/>
                <a:gd name="T68" fmla="*/ 634 w 4343"/>
                <a:gd name="T69" fmla="*/ 2415 h 3525"/>
                <a:gd name="T70" fmla="*/ 514 w 4343"/>
                <a:gd name="T71" fmla="*/ 2214 h 3525"/>
                <a:gd name="T72" fmla="*/ 598 w 4343"/>
                <a:gd name="T73" fmla="*/ 2153 h 3525"/>
                <a:gd name="T74" fmla="*/ 813 w 4343"/>
                <a:gd name="T75" fmla="*/ 2141 h 3525"/>
                <a:gd name="T76" fmla="*/ 732 w 4343"/>
                <a:gd name="T77" fmla="*/ 2077 h 3525"/>
                <a:gd name="T78" fmla="*/ 523 w 4343"/>
                <a:gd name="T79" fmla="*/ 1957 h 3525"/>
                <a:gd name="T80" fmla="*/ 354 w 4343"/>
                <a:gd name="T81" fmla="*/ 1787 h 3525"/>
                <a:gd name="T82" fmla="*/ 236 w 4343"/>
                <a:gd name="T83" fmla="*/ 1577 h 3525"/>
                <a:gd name="T84" fmla="*/ 178 w 4343"/>
                <a:gd name="T85" fmla="*/ 1336 h 3525"/>
                <a:gd name="T86" fmla="*/ 236 w 4343"/>
                <a:gd name="T87" fmla="*/ 1271 h 3525"/>
                <a:gd name="T88" fmla="*/ 435 w 4343"/>
                <a:gd name="T89" fmla="*/ 1335 h 3525"/>
                <a:gd name="T90" fmla="*/ 515 w 4343"/>
                <a:gd name="T91" fmla="*/ 1306 h 3525"/>
                <a:gd name="T92" fmla="*/ 353 w 4343"/>
                <a:gd name="T93" fmla="*/ 1136 h 3525"/>
                <a:gd name="T94" fmla="*/ 241 w 4343"/>
                <a:gd name="T95" fmla="*/ 929 h 3525"/>
                <a:gd name="T96" fmla="*/ 186 w 4343"/>
                <a:gd name="T97" fmla="*/ 694 h 3525"/>
                <a:gd name="T98" fmla="*/ 196 w 4343"/>
                <a:gd name="T99" fmla="*/ 452 h 3525"/>
                <a:gd name="T100" fmla="*/ 267 w 4343"/>
                <a:gd name="T101" fmla="*/ 231 h 3525"/>
                <a:gd name="T102" fmla="*/ 477 w 4343"/>
                <a:gd name="T103" fmla="*/ 356 h 3525"/>
                <a:gd name="T104" fmla="*/ 773 w 4343"/>
                <a:gd name="T105" fmla="*/ 610 h 3525"/>
                <a:gd name="T106" fmla="*/ 1108 w 4343"/>
                <a:gd name="T107" fmla="*/ 816 h 3525"/>
                <a:gd name="T108" fmla="*/ 1473 w 4343"/>
                <a:gd name="T109" fmla="*/ 969 h 3525"/>
                <a:gd name="T110" fmla="*/ 1865 w 4343"/>
                <a:gd name="T111" fmla="*/ 1065 h 3525"/>
                <a:gd name="T112" fmla="*/ 2126 w 4343"/>
                <a:gd name="T113" fmla="*/ 1027 h 3525"/>
                <a:gd name="T114" fmla="*/ 2119 w 4343"/>
                <a:gd name="T115" fmla="*/ 804 h 3525"/>
                <a:gd name="T116" fmla="*/ 2177 w 4343"/>
                <a:gd name="T117" fmla="*/ 562 h 3525"/>
                <a:gd name="T118" fmla="*/ 2297 w 4343"/>
                <a:gd name="T119" fmla="*/ 352 h 3525"/>
                <a:gd name="T120" fmla="*/ 2467 w 4343"/>
                <a:gd name="T121" fmla="*/ 182 h 3525"/>
                <a:gd name="T122" fmla="*/ 2679 w 4343"/>
                <a:gd name="T123" fmla="*/ 62 h 3525"/>
                <a:gd name="T124" fmla="*/ 2920 w 4343"/>
                <a:gd name="T125" fmla="*/ 4 h 3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43" h="3525">
                  <a:moveTo>
                    <a:pt x="3006" y="0"/>
                  </a:moveTo>
                  <a:lnTo>
                    <a:pt x="3092" y="4"/>
                  </a:lnTo>
                  <a:lnTo>
                    <a:pt x="3173" y="16"/>
                  </a:lnTo>
                  <a:lnTo>
                    <a:pt x="3254" y="35"/>
                  </a:lnTo>
                  <a:lnTo>
                    <a:pt x="3330" y="61"/>
                  </a:lnTo>
                  <a:lnTo>
                    <a:pt x="3404" y="92"/>
                  </a:lnTo>
                  <a:lnTo>
                    <a:pt x="3474" y="132"/>
                  </a:lnTo>
                  <a:lnTo>
                    <a:pt x="3540" y="175"/>
                  </a:lnTo>
                  <a:lnTo>
                    <a:pt x="3600" y="227"/>
                  </a:lnTo>
                  <a:lnTo>
                    <a:pt x="3657" y="281"/>
                  </a:lnTo>
                  <a:lnTo>
                    <a:pt x="3757" y="258"/>
                  </a:lnTo>
                  <a:lnTo>
                    <a:pt x="3856" y="231"/>
                  </a:lnTo>
                  <a:lnTo>
                    <a:pt x="3952" y="196"/>
                  </a:lnTo>
                  <a:lnTo>
                    <a:pt x="4045" y="158"/>
                  </a:lnTo>
                  <a:lnTo>
                    <a:pt x="4135" y="113"/>
                  </a:lnTo>
                  <a:lnTo>
                    <a:pt x="4223" y="65"/>
                  </a:lnTo>
                  <a:lnTo>
                    <a:pt x="4194" y="141"/>
                  </a:lnTo>
                  <a:lnTo>
                    <a:pt x="4160" y="215"/>
                  </a:lnTo>
                  <a:lnTo>
                    <a:pt x="4118" y="283"/>
                  </a:lnTo>
                  <a:lnTo>
                    <a:pt x="4070" y="348"/>
                  </a:lnTo>
                  <a:lnTo>
                    <a:pt x="4018" y="408"/>
                  </a:lnTo>
                  <a:lnTo>
                    <a:pt x="3961" y="463"/>
                  </a:lnTo>
                  <a:lnTo>
                    <a:pt x="3898" y="513"/>
                  </a:lnTo>
                  <a:lnTo>
                    <a:pt x="3831" y="558"/>
                  </a:lnTo>
                  <a:lnTo>
                    <a:pt x="3939" y="541"/>
                  </a:lnTo>
                  <a:lnTo>
                    <a:pt x="4043" y="519"/>
                  </a:lnTo>
                  <a:lnTo>
                    <a:pt x="4145" y="491"/>
                  </a:lnTo>
                  <a:lnTo>
                    <a:pt x="4246" y="457"/>
                  </a:lnTo>
                  <a:lnTo>
                    <a:pt x="4343" y="417"/>
                  </a:lnTo>
                  <a:lnTo>
                    <a:pt x="4280" y="504"/>
                  </a:lnTo>
                  <a:lnTo>
                    <a:pt x="4213" y="589"/>
                  </a:lnTo>
                  <a:lnTo>
                    <a:pt x="4142" y="667"/>
                  </a:lnTo>
                  <a:lnTo>
                    <a:pt x="4064" y="742"/>
                  </a:lnTo>
                  <a:lnTo>
                    <a:pt x="3983" y="814"/>
                  </a:lnTo>
                  <a:lnTo>
                    <a:pt x="3898" y="878"/>
                  </a:lnTo>
                  <a:lnTo>
                    <a:pt x="3900" y="994"/>
                  </a:lnTo>
                  <a:lnTo>
                    <a:pt x="3899" y="1095"/>
                  </a:lnTo>
                  <a:lnTo>
                    <a:pt x="3893" y="1196"/>
                  </a:lnTo>
                  <a:lnTo>
                    <a:pt x="3881" y="1299"/>
                  </a:lnTo>
                  <a:lnTo>
                    <a:pt x="3866" y="1402"/>
                  </a:lnTo>
                  <a:lnTo>
                    <a:pt x="3846" y="1504"/>
                  </a:lnTo>
                  <a:lnTo>
                    <a:pt x="3823" y="1607"/>
                  </a:lnTo>
                  <a:lnTo>
                    <a:pt x="3795" y="1708"/>
                  </a:lnTo>
                  <a:lnTo>
                    <a:pt x="3762" y="1810"/>
                  </a:lnTo>
                  <a:lnTo>
                    <a:pt x="3725" y="1910"/>
                  </a:lnTo>
                  <a:lnTo>
                    <a:pt x="3684" y="2010"/>
                  </a:lnTo>
                  <a:lnTo>
                    <a:pt x="3640" y="2108"/>
                  </a:lnTo>
                  <a:lnTo>
                    <a:pt x="3591" y="2204"/>
                  </a:lnTo>
                  <a:lnTo>
                    <a:pt x="3538" y="2299"/>
                  </a:lnTo>
                  <a:lnTo>
                    <a:pt x="3480" y="2393"/>
                  </a:lnTo>
                  <a:lnTo>
                    <a:pt x="3420" y="2483"/>
                  </a:lnTo>
                  <a:lnTo>
                    <a:pt x="3354" y="2573"/>
                  </a:lnTo>
                  <a:lnTo>
                    <a:pt x="3284" y="2658"/>
                  </a:lnTo>
                  <a:lnTo>
                    <a:pt x="3210" y="2741"/>
                  </a:lnTo>
                  <a:lnTo>
                    <a:pt x="3132" y="2821"/>
                  </a:lnTo>
                  <a:lnTo>
                    <a:pt x="3052" y="2899"/>
                  </a:lnTo>
                  <a:lnTo>
                    <a:pt x="2966" y="2973"/>
                  </a:lnTo>
                  <a:lnTo>
                    <a:pt x="2877" y="3043"/>
                  </a:lnTo>
                  <a:lnTo>
                    <a:pt x="2783" y="3110"/>
                  </a:lnTo>
                  <a:lnTo>
                    <a:pt x="2686" y="3172"/>
                  </a:lnTo>
                  <a:lnTo>
                    <a:pt x="2584" y="3229"/>
                  </a:lnTo>
                  <a:lnTo>
                    <a:pt x="2480" y="3282"/>
                  </a:lnTo>
                  <a:lnTo>
                    <a:pt x="2371" y="3331"/>
                  </a:lnTo>
                  <a:lnTo>
                    <a:pt x="2259" y="3375"/>
                  </a:lnTo>
                  <a:lnTo>
                    <a:pt x="2142" y="3414"/>
                  </a:lnTo>
                  <a:lnTo>
                    <a:pt x="2022" y="3447"/>
                  </a:lnTo>
                  <a:lnTo>
                    <a:pt x="1898" y="3474"/>
                  </a:lnTo>
                  <a:lnTo>
                    <a:pt x="1770" y="3497"/>
                  </a:lnTo>
                  <a:lnTo>
                    <a:pt x="1640" y="3512"/>
                  </a:lnTo>
                  <a:lnTo>
                    <a:pt x="1504" y="3523"/>
                  </a:lnTo>
                  <a:lnTo>
                    <a:pt x="1366" y="3525"/>
                  </a:lnTo>
                  <a:lnTo>
                    <a:pt x="1229" y="3522"/>
                  </a:lnTo>
                  <a:lnTo>
                    <a:pt x="1095" y="3511"/>
                  </a:lnTo>
                  <a:lnTo>
                    <a:pt x="963" y="3494"/>
                  </a:lnTo>
                  <a:lnTo>
                    <a:pt x="833" y="3469"/>
                  </a:lnTo>
                  <a:lnTo>
                    <a:pt x="705" y="3439"/>
                  </a:lnTo>
                  <a:lnTo>
                    <a:pt x="580" y="3400"/>
                  </a:lnTo>
                  <a:lnTo>
                    <a:pt x="457" y="3357"/>
                  </a:lnTo>
                  <a:lnTo>
                    <a:pt x="339" y="3308"/>
                  </a:lnTo>
                  <a:lnTo>
                    <a:pt x="223" y="3253"/>
                  </a:lnTo>
                  <a:lnTo>
                    <a:pt x="109" y="3193"/>
                  </a:lnTo>
                  <a:lnTo>
                    <a:pt x="0" y="3125"/>
                  </a:lnTo>
                  <a:lnTo>
                    <a:pt x="105" y="3135"/>
                  </a:lnTo>
                  <a:lnTo>
                    <a:pt x="212" y="3139"/>
                  </a:lnTo>
                  <a:lnTo>
                    <a:pt x="325" y="3135"/>
                  </a:lnTo>
                  <a:lnTo>
                    <a:pt x="436" y="3124"/>
                  </a:lnTo>
                  <a:lnTo>
                    <a:pt x="545" y="3107"/>
                  </a:lnTo>
                  <a:lnTo>
                    <a:pt x="652" y="3083"/>
                  </a:lnTo>
                  <a:lnTo>
                    <a:pt x="757" y="3054"/>
                  </a:lnTo>
                  <a:lnTo>
                    <a:pt x="859" y="3019"/>
                  </a:lnTo>
                  <a:lnTo>
                    <a:pt x="958" y="2977"/>
                  </a:lnTo>
                  <a:lnTo>
                    <a:pt x="1053" y="2929"/>
                  </a:lnTo>
                  <a:lnTo>
                    <a:pt x="1145" y="2878"/>
                  </a:lnTo>
                  <a:lnTo>
                    <a:pt x="1234" y="2820"/>
                  </a:lnTo>
                  <a:lnTo>
                    <a:pt x="1319" y="2757"/>
                  </a:lnTo>
                  <a:lnTo>
                    <a:pt x="1237" y="2752"/>
                  </a:lnTo>
                  <a:lnTo>
                    <a:pt x="1157" y="2739"/>
                  </a:lnTo>
                  <a:lnTo>
                    <a:pt x="1079" y="2720"/>
                  </a:lnTo>
                  <a:lnTo>
                    <a:pt x="1004" y="2694"/>
                  </a:lnTo>
                  <a:lnTo>
                    <a:pt x="931" y="2661"/>
                  </a:lnTo>
                  <a:lnTo>
                    <a:pt x="864" y="2623"/>
                  </a:lnTo>
                  <a:lnTo>
                    <a:pt x="800" y="2578"/>
                  </a:lnTo>
                  <a:lnTo>
                    <a:pt x="739" y="2528"/>
                  </a:lnTo>
                  <a:lnTo>
                    <a:pt x="684" y="2474"/>
                  </a:lnTo>
                  <a:lnTo>
                    <a:pt x="634" y="2415"/>
                  </a:lnTo>
                  <a:lnTo>
                    <a:pt x="588" y="2352"/>
                  </a:lnTo>
                  <a:lnTo>
                    <a:pt x="548" y="2285"/>
                  </a:lnTo>
                  <a:lnTo>
                    <a:pt x="514" y="2214"/>
                  </a:lnTo>
                  <a:lnTo>
                    <a:pt x="487" y="2139"/>
                  </a:lnTo>
                  <a:lnTo>
                    <a:pt x="541" y="2148"/>
                  </a:lnTo>
                  <a:lnTo>
                    <a:pt x="598" y="2153"/>
                  </a:lnTo>
                  <a:lnTo>
                    <a:pt x="655" y="2156"/>
                  </a:lnTo>
                  <a:lnTo>
                    <a:pt x="735" y="2152"/>
                  </a:lnTo>
                  <a:lnTo>
                    <a:pt x="813" y="2141"/>
                  </a:lnTo>
                  <a:lnTo>
                    <a:pt x="889" y="2124"/>
                  </a:lnTo>
                  <a:lnTo>
                    <a:pt x="809" y="2104"/>
                  </a:lnTo>
                  <a:lnTo>
                    <a:pt x="732" y="2077"/>
                  </a:lnTo>
                  <a:lnTo>
                    <a:pt x="659" y="2043"/>
                  </a:lnTo>
                  <a:lnTo>
                    <a:pt x="589" y="2003"/>
                  </a:lnTo>
                  <a:lnTo>
                    <a:pt x="523" y="1957"/>
                  </a:lnTo>
                  <a:lnTo>
                    <a:pt x="461" y="1906"/>
                  </a:lnTo>
                  <a:lnTo>
                    <a:pt x="406" y="1849"/>
                  </a:lnTo>
                  <a:lnTo>
                    <a:pt x="354" y="1787"/>
                  </a:lnTo>
                  <a:lnTo>
                    <a:pt x="308" y="1721"/>
                  </a:lnTo>
                  <a:lnTo>
                    <a:pt x="269" y="1650"/>
                  </a:lnTo>
                  <a:lnTo>
                    <a:pt x="236" y="1577"/>
                  </a:lnTo>
                  <a:lnTo>
                    <a:pt x="209" y="1499"/>
                  </a:lnTo>
                  <a:lnTo>
                    <a:pt x="190" y="1419"/>
                  </a:lnTo>
                  <a:lnTo>
                    <a:pt x="178" y="1336"/>
                  </a:lnTo>
                  <a:lnTo>
                    <a:pt x="174" y="1252"/>
                  </a:lnTo>
                  <a:lnTo>
                    <a:pt x="174" y="1240"/>
                  </a:lnTo>
                  <a:lnTo>
                    <a:pt x="236" y="1271"/>
                  </a:lnTo>
                  <a:lnTo>
                    <a:pt x="300" y="1298"/>
                  </a:lnTo>
                  <a:lnTo>
                    <a:pt x="366" y="1319"/>
                  </a:lnTo>
                  <a:lnTo>
                    <a:pt x="435" y="1335"/>
                  </a:lnTo>
                  <a:lnTo>
                    <a:pt x="506" y="1346"/>
                  </a:lnTo>
                  <a:lnTo>
                    <a:pt x="578" y="1352"/>
                  </a:lnTo>
                  <a:lnTo>
                    <a:pt x="515" y="1306"/>
                  </a:lnTo>
                  <a:lnTo>
                    <a:pt x="456" y="1253"/>
                  </a:lnTo>
                  <a:lnTo>
                    <a:pt x="402" y="1198"/>
                  </a:lnTo>
                  <a:lnTo>
                    <a:pt x="353" y="1136"/>
                  </a:lnTo>
                  <a:lnTo>
                    <a:pt x="310" y="1071"/>
                  </a:lnTo>
                  <a:lnTo>
                    <a:pt x="273" y="1002"/>
                  </a:lnTo>
                  <a:lnTo>
                    <a:pt x="241" y="929"/>
                  </a:lnTo>
                  <a:lnTo>
                    <a:pt x="215" y="853"/>
                  </a:lnTo>
                  <a:lnTo>
                    <a:pt x="196" y="775"/>
                  </a:lnTo>
                  <a:lnTo>
                    <a:pt x="186" y="694"/>
                  </a:lnTo>
                  <a:lnTo>
                    <a:pt x="182" y="611"/>
                  </a:lnTo>
                  <a:lnTo>
                    <a:pt x="186" y="529"/>
                  </a:lnTo>
                  <a:lnTo>
                    <a:pt x="196" y="452"/>
                  </a:lnTo>
                  <a:lnTo>
                    <a:pt x="213" y="375"/>
                  </a:lnTo>
                  <a:lnTo>
                    <a:pt x="237" y="302"/>
                  </a:lnTo>
                  <a:lnTo>
                    <a:pt x="267" y="231"/>
                  </a:lnTo>
                  <a:lnTo>
                    <a:pt x="303" y="163"/>
                  </a:lnTo>
                  <a:lnTo>
                    <a:pt x="387" y="262"/>
                  </a:lnTo>
                  <a:lnTo>
                    <a:pt x="477" y="356"/>
                  </a:lnTo>
                  <a:lnTo>
                    <a:pt x="572" y="445"/>
                  </a:lnTo>
                  <a:lnTo>
                    <a:pt x="670" y="531"/>
                  </a:lnTo>
                  <a:lnTo>
                    <a:pt x="773" y="610"/>
                  </a:lnTo>
                  <a:lnTo>
                    <a:pt x="881" y="685"/>
                  </a:lnTo>
                  <a:lnTo>
                    <a:pt x="993" y="753"/>
                  </a:lnTo>
                  <a:lnTo>
                    <a:pt x="1108" y="816"/>
                  </a:lnTo>
                  <a:lnTo>
                    <a:pt x="1226" y="873"/>
                  </a:lnTo>
                  <a:lnTo>
                    <a:pt x="1348" y="924"/>
                  </a:lnTo>
                  <a:lnTo>
                    <a:pt x="1473" y="969"/>
                  </a:lnTo>
                  <a:lnTo>
                    <a:pt x="1602" y="1008"/>
                  </a:lnTo>
                  <a:lnTo>
                    <a:pt x="1732" y="1040"/>
                  </a:lnTo>
                  <a:lnTo>
                    <a:pt x="1865" y="1065"/>
                  </a:lnTo>
                  <a:lnTo>
                    <a:pt x="2001" y="1082"/>
                  </a:lnTo>
                  <a:lnTo>
                    <a:pt x="2139" y="1092"/>
                  </a:lnTo>
                  <a:lnTo>
                    <a:pt x="2126" y="1027"/>
                  </a:lnTo>
                  <a:lnTo>
                    <a:pt x="2118" y="960"/>
                  </a:lnTo>
                  <a:lnTo>
                    <a:pt x="2116" y="890"/>
                  </a:lnTo>
                  <a:lnTo>
                    <a:pt x="2119" y="804"/>
                  </a:lnTo>
                  <a:lnTo>
                    <a:pt x="2131" y="721"/>
                  </a:lnTo>
                  <a:lnTo>
                    <a:pt x="2151" y="640"/>
                  </a:lnTo>
                  <a:lnTo>
                    <a:pt x="2177" y="562"/>
                  </a:lnTo>
                  <a:lnTo>
                    <a:pt x="2212" y="488"/>
                  </a:lnTo>
                  <a:lnTo>
                    <a:pt x="2251" y="417"/>
                  </a:lnTo>
                  <a:lnTo>
                    <a:pt x="2297" y="352"/>
                  </a:lnTo>
                  <a:lnTo>
                    <a:pt x="2349" y="290"/>
                  </a:lnTo>
                  <a:lnTo>
                    <a:pt x="2405" y="233"/>
                  </a:lnTo>
                  <a:lnTo>
                    <a:pt x="2467" y="182"/>
                  </a:lnTo>
                  <a:lnTo>
                    <a:pt x="2534" y="136"/>
                  </a:lnTo>
                  <a:lnTo>
                    <a:pt x="2604" y="96"/>
                  </a:lnTo>
                  <a:lnTo>
                    <a:pt x="2679" y="62"/>
                  </a:lnTo>
                  <a:lnTo>
                    <a:pt x="2757" y="36"/>
                  </a:lnTo>
                  <a:lnTo>
                    <a:pt x="2837" y="16"/>
                  </a:lnTo>
                  <a:lnTo>
                    <a:pt x="2920" y="4"/>
                  </a:lnTo>
                  <a:lnTo>
                    <a:pt x="3006" y="0"/>
                  </a:lnTo>
                  <a:close/>
                </a:path>
              </a:pathLst>
            </a:custGeom>
            <a:solidFill>
              <a:srgbClr val="BBBAC6"/>
            </a:solidFill>
            <a:ln w="1270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9933350" y="1468582"/>
            <a:ext cx="734291" cy="734291"/>
            <a:chOff x="9933350" y="1963882"/>
            <a:chExt cx="734291" cy="734291"/>
          </a:xfrm>
        </p:grpSpPr>
        <p:sp>
          <p:nvSpPr>
            <p:cNvPr id="33" name="Oval 32"/>
            <p:cNvSpPr/>
            <p:nvPr/>
          </p:nvSpPr>
          <p:spPr>
            <a:xfrm>
              <a:off x="9933350" y="1963882"/>
              <a:ext cx="734291" cy="734291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Freeform 39">
              <a:hlinkClick r:id="rId7"/>
            </p:cNvPr>
            <p:cNvSpPr>
              <a:spLocks/>
            </p:cNvSpPr>
            <p:nvPr/>
          </p:nvSpPr>
          <p:spPr bwMode="auto">
            <a:xfrm>
              <a:off x="10081418" y="2153256"/>
              <a:ext cx="438154" cy="355542"/>
            </a:xfrm>
            <a:custGeom>
              <a:avLst/>
              <a:gdLst>
                <a:gd name="T0" fmla="*/ 3173 w 4343"/>
                <a:gd name="T1" fmla="*/ 16 h 3525"/>
                <a:gd name="T2" fmla="*/ 3404 w 4343"/>
                <a:gd name="T3" fmla="*/ 92 h 3525"/>
                <a:gd name="T4" fmla="*/ 3600 w 4343"/>
                <a:gd name="T5" fmla="*/ 227 h 3525"/>
                <a:gd name="T6" fmla="*/ 3856 w 4343"/>
                <a:gd name="T7" fmla="*/ 231 h 3525"/>
                <a:gd name="T8" fmla="*/ 4135 w 4343"/>
                <a:gd name="T9" fmla="*/ 113 h 3525"/>
                <a:gd name="T10" fmla="*/ 4160 w 4343"/>
                <a:gd name="T11" fmla="*/ 215 h 3525"/>
                <a:gd name="T12" fmla="*/ 4018 w 4343"/>
                <a:gd name="T13" fmla="*/ 408 h 3525"/>
                <a:gd name="T14" fmla="*/ 3831 w 4343"/>
                <a:gd name="T15" fmla="*/ 558 h 3525"/>
                <a:gd name="T16" fmla="*/ 4145 w 4343"/>
                <a:gd name="T17" fmla="*/ 491 h 3525"/>
                <a:gd name="T18" fmla="*/ 4280 w 4343"/>
                <a:gd name="T19" fmla="*/ 504 h 3525"/>
                <a:gd name="T20" fmla="*/ 4064 w 4343"/>
                <a:gd name="T21" fmla="*/ 742 h 3525"/>
                <a:gd name="T22" fmla="*/ 3900 w 4343"/>
                <a:gd name="T23" fmla="*/ 994 h 3525"/>
                <a:gd name="T24" fmla="*/ 3881 w 4343"/>
                <a:gd name="T25" fmla="*/ 1299 h 3525"/>
                <a:gd name="T26" fmla="*/ 3823 w 4343"/>
                <a:gd name="T27" fmla="*/ 1607 h 3525"/>
                <a:gd name="T28" fmla="*/ 3725 w 4343"/>
                <a:gd name="T29" fmla="*/ 1910 h 3525"/>
                <a:gd name="T30" fmla="*/ 3591 w 4343"/>
                <a:gd name="T31" fmla="*/ 2204 h 3525"/>
                <a:gd name="T32" fmla="*/ 3420 w 4343"/>
                <a:gd name="T33" fmla="*/ 2483 h 3525"/>
                <a:gd name="T34" fmla="*/ 3210 w 4343"/>
                <a:gd name="T35" fmla="*/ 2741 h 3525"/>
                <a:gd name="T36" fmla="*/ 2966 w 4343"/>
                <a:gd name="T37" fmla="*/ 2973 h 3525"/>
                <a:gd name="T38" fmla="*/ 2686 w 4343"/>
                <a:gd name="T39" fmla="*/ 3172 h 3525"/>
                <a:gd name="T40" fmla="*/ 2371 w 4343"/>
                <a:gd name="T41" fmla="*/ 3331 h 3525"/>
                <a:gd name="T42" fmla="*/ 2022 w 4343"/>
                <a:gd name="T43" fmla="*/ 3447 h 3525"/>
                <a:gd name="T44" fmla="*/ 1640 w 4343"/>
                <a:gd name="T45" fmla="*/ 3512 h 3525"/>
                <a:gd name="T46" fmla="*/ 1229 w 4343"/>
                <a:gd name="T47" fmla="*/ 3522 h 3525"/>
                <a:gd name="T48" fmla="*/ 833 w 4343"/>
                <a:gd name="T49" fmla="*/ 3469 h 3525"/>
                <a:gd name="T50" fmla="*/ 457 w 4343"/>
                <a:gd name="T51" fmla="*/ 3357 h 3525"/>
                <a:gd name="T52" fmla="*/ 109 w 4343"/>
                <a:gd name="T53" fmla="*/ 3193 h 3525"/>
                <a:gd name="T54" fmla="*/ 212 w 4343"/>
                <a:gd name="T55" fmla="*/ 3139 h 3525"/>
                <a:gd name="T56" fmla="*/ 545 w 4343"/>
                <a:gd name="T57" fmla="*/ 3107 h 3525"/>
                <a:gd name="T58" fmla="*/ 859 w 4343"/>
                <a:gd name="T59" fmla="*/ 3019 h 3525"/>
                <a:gd name="T60" fmla="*/ 1145 w 4343"/>
                <a:gd name="T61" fmla="*/ 2878 h 3525"/>
                <a:gd name="T62" fmla="*/ 1237 w 4343"/>
                <a:gd name="T63" fmla="*/ 2752 h 3525"/>
                <a:gd name="T64" fmla="*/ 1004 w 4343"/>
                <a:gd name="T65" fmla="*/ 2694 h 3525"/>
                <a:gd name="T66" fmla="*/ 800 w 4343"/>
                <a:gd name="T67" fmla="*/ 2578 h 3525"/>
                <a:gd name="T68" fmla="*/ 634 w 4343"/>
                <a:gd name="T69" fmla="*/ 2415 h 3525"/>
                <a:gd name="T70" fmla="*/ 514 w 4343"/>
                <a:gd name="T71" fmla="*/ 2214 h 3525"/>
                <a:gd name="T72" fmla="*/ 598 w 4343"/>
                <a:gd name="T73" fmla="*/ 2153 h 3525"/>
                <a:gd name="T74" fmla="*/ 813 w 4343"/>
                <a:gd name="T75" fmla="*/ 2141 h 3525"/>
                <a:gd name="T76" fmla="*/ 732 w 4343"/>
                <a:gd name="T77" fmla="*/ 2077 h 3525"/>
                <a:gd name="T78" fmla="*/ 523 w 4343"/>
                <a:gd name="T79" fmla="*/ 1957 h 3525"/>
                <a:gd name="T80" fmla="*/ 354 w 4343"/>
                <a:gd name="T81" fmla="*/ 1787 h 3525"/>
                <a:gd name="T82" fmla="*/ 236 w 4343"/>
                <a:gd name="T83" fmla="*/ 1577 h 3525"/>
                <a:gd name="T84" fmla="*/ 178 w 4343"/>
                <a:gd name="T85" fmla="*/ 1336 h 3525"/>
                <a:gd name="T86" fmla="*/ 236 w 4343"/>
                <a:gd name="T87" fmla="*/ 1271 h 3525"/>
                <a:gd name="T88" fmla="*/ 435 w 4343"/>
                <a:gd name="T89" fmla="*/ 1335 h 3525"/>
                <a:gd name="T90" fmla="*/ 515 w 4343"/>
                <a:gd name="T91" fmla="*/ 1306 h 3525"/>
                <a:gd name="T92" fmla="*/ 353 w 4343"/>
                <a:gd name="T93" fmla="*/ 1136 h 3525"/>
                <a:gd name="T94" fmla="*/ 241 w 4343"/>
                <a:gd name="T95" fmla="*/ 929 h 3525"/>
                <a:gd name="T96" fmla="*/ 186 w 4343"/>
                <a:gd name="T97" fmla="*/ 694 h 3525"/>
                <a:gd name="T98" fmla="*/ 196 w 4343"/>
                <a:gd name="T99" fmla="*/ 452 h 3525"/>
                <a:gd name="T100" fmla="*/ 267 w 4343"/>
                <a:gd name="T101" fmla="*/ 231 h 3525"/>
                <a:gd name="T102" fmla="*/ 477 w 4343"/>
                <a:gd name="T103" fmla="*/ 356 h 3525"/>
                <a:gd name="T104" fmla="*/ 773 w 4343"/>
                <a:gd name="T105" fmla="*/ 610 h 3525"/>
                <a:gd name="T106" fmla="*/ 1108 w 4343"/>
                <a:gd name="T107" fmla="*/ 816 h 3525"/>
                <a:gd name="T108" fmla="*/ 1473 w 4343"/>
                <a:gd name="T109" fmla="*/ 969 h 3525"/>
                <a:gd name="T110" fmla="*/ 1865 w 4343"/>
                <a:gd name="T111" fmla="*/ 1065 h 3525"/>
                <a:gd name="T112" fmla="*/ 2126 w 4343"/>
                <a:gd name="T113" fmla="*/ 1027 h 3525"/>
                <a:gd name="T114" fmla="*/ 2119 w 4343"/>
                <a:gd name="T115" fmla="*/ 804 h 3525"/>
                <a:gd name="T116" fmla="*/ 2177 w 4343"/>
                <a:gd name="T117" fmla="*/ 562 h 3525"/>
                <a:gd name="T118" fmla="*/ 2297 w 4343"/>
                <a:gd name="T119" fmla="*/ 352 h 3525"/>
                <a:gd name="T120" fmla="*/ 2467 w 4343"/>
                <a:gd name="T121" fmla="*/ 182 h 3525"/>
                <a:gd name="T122" fmla="*/ 2679 w 4343"/>
                <a:gd name="T123" fmla="*/ 62 h 3525"/>
                <a:gd name="T124" fmla="*/ 2920 w 4343"/>
                <a:gd name="T125" fmla="*/ 4 h 3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43" h="3525">
                  <a:moveTo>
                    <a:pt x="3006" y="0"/>
                  </a:moveTo>
                  <a:lnTo>
                    <a:pt x="3092" y="4"/>
                  </a:lnTo>
                  <a:lnTo>
                    <a:pt x="3173" y="16"/>
                  </a:lnTo>
                  <a:lnTo>
                    <a:pt x="3254" y="35"/>
                  </a:lnTo>
                  <a:lnTo>
                    <a:pt x="3330" y="61"/>
                  </a:lnTo>
                  <a:lnTo>
                    <a:pt x="3404" y="92"/>
                  </a:lnTo>
                  <a:lnTo>
                    <a:pt x="3474" y="132"/>
                  </a:lnTo>
                  <a:lnTo>
                    <a:pt x="3540" y="175"/>
                  </a:lnTo>
                  <a:lnTo>
                    <a:pt x="3600" y="227"/>
                  </a:lnTo>
                  <a:lnTo>
                    <a:pt x="3657" y="281"/>
                  </a:lnTo>
                  <a:lnTo>
                    <a:pt x="3757" y="258"/>
                  </a:lnTo>
                  <a:lnTo>
                    <a:pt x="3856" y="231"/>
                  </a:lnTo>
                  <a:lnTo>
                    <a:pt x="3952" y="196"/>
                  </a:lnTo>
                  <a:lnTo>
                    <a:pt x="4045" y="158"/>
                  </a:lnTo>
                  <a:lnTo>
                    <a:pt x="4135" y="113"/>
                  </a:lnTo>
                  <a:lnTo>
                    <a:pt x="4223" y="65"/>
                  </a:lnTo>
                  <a:lnTo>
                    <a:pt x="4194" y="141"/>
                  </a:lnTo>
                  <a:lnTo>
                    <a:pt x="4160" y="215"/>
                  </a:lnTo>
                  <a:lnTo>
                    <a:pt x="4118" y="283"/>
                  </a:lnTo>
                  <a:lnTo>
                    <a:pt x="4070" y="348"/>
                  </a:lnTo>
                  <a:lnTo>
                    <a:pt x="4018" y="408"/>
                  </a:lnTo>
                  <a:lnTo>
                    <a:pt x="3961" y="463"/>
                  </a:lnTo>
                  <a:lnTo>
                    <a:pt x="3898" y="513"/>
                  </a:lnTo>
                  <a:lnTo>
                    <a:pt x="3831" y="558"/>
                  </a:lnTo>
                  <a:lnTo>
                    <a:pt x="3939" y="541"/>
                  </a:lnTo>
                  <a:lnTo>
                    <a:pt x="4043" y="519"/>
                  </a:lnTo>
                  <a:lnTo>
                    <a:pt x="4145" y="491"/>
                  </a:lnTo>
                  <a:lnTo>
                    <a:pt x="4246" y="457"/>
                  </a:lnTo>
                  <a:lnTo>
                    <a:pt x="4343" y="417"/>
                  </a:lnTo>
                  <a:lnTo>
                    <a:pt x="4280" y="504"/>
                  </a:lnTo>
                  <a:lnTo>
                    <a:pt x="4213" y="589"/>
                  </a:lnTo>
                  <a:lnTo>
                    <a:pt x="4142" y="667"/>
                  </a:lnTo>
                  <a:lnTo>
                    <a:pt x="4064" y="742"/>
                  </a:lnTo>
                  <a:lnTo>
                    <a:pt x="3983" y="814"/>
                  </a:lnTo>
                  <a:lnTo>
                    <a:pt x="3898" y="878"/>
                  </a:lnTo>
                  <a:lnTo>
                    <a:pt x="3900" y="994"/>
                  </a:lnTo>
                  <a:lnTo>
                    <a:pt x="3899" y="1095"/>
                  </a:lnTo>
                  <a:lnTo>
                    <a:pt x="3893" y="1196"/>
                  </a:lnTo>
                  <a:lnTo>
                    <a:pt x="3881" y="1299"/>
                  </a:lnTo>
                  <a:lnTo>
                    <a:pt x="3866" y="1402"/>
                  </a:lnTo>
                  <a:lnTo>
                    <a:pt x="3846" y="1504"/>
                  </a:lnTo>
                  <a:lnTo>
                    <a:pt x="3823" y="1607"/>
                  </a:lnTo>
                  <a:lnTo>
                    <a:pt x="3795" y="1708"/>
                  </a:lnTo>
                  <a:lnTo>
                    <a:pt x="3762" y="1810"/>
                  </a:lnTo>
                  <a:lnTo>
                    <a:pt x="3725" y="1910"/>
                  </a:lnTo>
                  <a:lnTo>
                    <a:pt x="3684" y="2010"/>
                  </a:lnTo>
                  <a:lnTo>
                    <a:pt x="3640" y="2108"/>
                  </a:lnTo>
                  <a:lnTo>
                    <a:pt x="3591" y="2204"/>
                  </a:lnTo>
                  <a:lnTo>
                    <a:pt x="3538" y="2299"/>
                  </a:lnTo>
                  <a:lnTo>
                    <a:pt x="3480" y="2393"/>
                  </a:lnTo>
                  <a:lnTo>
                    <a:pt x="3420" y="2483"/>
                  </a:lnTo>
                  <a:lnTo>
                    <a:pt x="3354" y="2573"/>
                  </a:lnTo>
                  <a:lnTo>
                    <a:pt x="3284" y="2658"/>
                  </a:lnTo>
                  <a:lnTo>
                    <a:pt x="3210" y="2741"/>
                  </a:lnTo>
                  <a:lnTo>
                    <a:pt x="3132" y="2821"/>
                  </a:lnTo>
                  <a:lnTo>
                    <a:pt x="3052" y="2899"/>
                  </a:lnTo>
                  <a:lnTo>
                    <a:pt x="2966" y="2973"/>
                  </a:lnTo>
                  <a:lnTo>
                    <a:pt x="2877" y="3043"/>
                  </a:lnTo>
                  <a:lnTo>
                    <a:pt x="2783" y="3110"/>
                  </a:lnTo>
                  <a:lnTo>
                    <a:pt x="2686" y="3172"/>
                  </a:lnTo>
                  <a:lnTo>
                    <a:pt x="2584" y="3229"/>
                  </a:lnTo>
                  <a:lnTo>
                    <a:pt x="2480" y="3282"/>
                  </a:lnTo>
                  <a:lnTo>
                    <a:pt x="2371" y="3331"/>
                  </a:lnTo>
                  <a:lnTo>
                    <a:pt x="2259" y="3375"/>
                  </a:lnTo>
                  <a:lnTo>
                    <a:pt x="2142" y="3414"/>
                  </a:lnTo>
                  <a:lnTo>
                    <a:pt x="2022" y="3447"/>
                  </a:lnTo>
                  <a:lnTo>
                    <a:pt x="1898" y="3474"/>
                  </a:lnTo>
                  <a:lnTo>
                    <a:pt x="1770" y="3497"/>
                  </a:lnTo>
                  <a:lnTo>
                    <a:pt x="1640" y="3512"/>
                  </a:lnTo>
                  <a:lnTo>
                    <a:pt x="1504" y="3523"/>
                  </a:lnTo>
                  <a:lnTo>
                    <a:pt x="1366" y="3525"/>
                  </a:lnTo>
                  <a:lnTo>
                    <a:pt x="1229" y="3522"/>
                  </a:lnTo>
                  <a:lnTo>
                    <a:pt x="1095" y="3511"/>
                  </a:lnTo>
                  <a:lnTo>
                    <a:pt x="963" y="3494"/>
                  </a:lnTo>
                  <a:lnTo>
                    <a:pt x="833" y="3469"/>
                  </a:lnTo>
                  <a:lnTo>
                    <a:pt x="705" y="3439"/>
                  </a:lnTo>
                  <a:lnTo>
                    <a:pt x="580" y="3400"/>
                  </a:lnTo>
                  <a:lnTo>
                    <a:pt x="457" y="3357"/>
                  </a:lnTo>
                  <a:lnTo>
                    <a:pt x="339" y="3308"/>
                  </a:lnTo>
                  <a:lnTo>
                    <a:pt x="223" y="3253"/>
                  </a:lnTo>
                  <a:lnTo>
                    <a:pt x="109" y="3193"/>
                  </a:lnTo>
                  <a:lnTo>
                    <a:pt x="0" y="3125"/>
                  </a:lnTo>
                  <a:lnTo>
                    <a:pt x="105" y="3135"/>
                  </a:lnTo>
                  <a:lnTo>
                    <a:pt x="212" y="3139"/>
                  </a:lnTo>
                  <a:lnTo>
                    <a:pt x="325" y="3135"/>
                  </a:lnTo>
                  <a:lnTo>
                    <a:pt x="436" y="3124"/>
                  </a:lnTo>
                  <a:lnTo>
                    <a:pt x="545" y="3107"/>
                  </a:lnTo>
                  <a:lnTo>
                    <a:pt x="652" y="3083"/>
                  </a:lnTo>
                  <a:lnTo>
                    <a:pt x="757" y="3054"/>
                  </a:lnTo>
                  <a:lnTo>
                    <a:pt x="859" y="3019"/>
                  </a:lnTo>
                  <a:lnTo>
                    <a:pt x="958" y="2977"/>
                  </a:lnTo>
                  <a:lnTo>
                    <a:pt x="1053" y="2929"/>
                  </a:lnTo>
                  <a:lnTo>
                    <a:pt x="1145" y="2878"/>
                  </a:lnTo>
                  <a:lnTo>
                    <a:pt x="1234" y="2820"/>
                  </a:lnTo>
                  <a:lnTo>
                    <a:pt x="1319" y="2757"/>
                  </a:lnTo>
                  <a:lnTo>
                    <a:pt x="1237" y="2752"/>
                  </a:lnTo>
                  <a:lnTo>
                    <a:pt x="1157" y="2739"/>
                  </a:lnTo>
                  <a:lnTo>
                    <a:pt x="1079" y="2720"/>
                  </a:lnTo>
                  <a:lnTo>
                    <a:pt x="1004" y="2694"/>
                  </a:lnTo>
                  <a:lnTo>
                    <a:pt x="931" y="2661"/>
                  </a:lnTo>
                  <a:lnTo>
                    <a:pt x="864" y="2623"/>
                  </a:lnTo>
                  <a:lnTo>
                    <a:pt x="800" y="2578"/>
                  </a:lnTo>
                  <a:lnTo>
                    <a:pt x="739" y="2528"/>
                  </a:lnTo>
                  <a:lnTo>
                    <a:pt x="684" y="2474"/>
                  </a:lnTo>
                  <a:lnTo>
                    <a:pt x="634" y="2415"/>
                  </a:lnTo>
                  <a:lnTo>
                    <a:pt x="588" y="2352"/>
                  </a:lnTo>
                  <a:lnTo>
                    <a:pt x="548" y="2285"/>
                  </a:lnTo>
                  <a:lnTo>
                    <a:pt x="514" y="2214"/>
                  </a:lnTo>
                  <a:lnTo>
                    <a:pt x="487" y="2139"/>
                  </a:lnTo>
                  <a:lnTo>
                    <a:pt x="541" y="2148"/>
                  </a:lnTo>
                  <a:lnTo>
                    <a:pt x="598" y="2153"/>
                  </a:lnTo>
                  <a:lnTo>
                    <a:pt x="655" y="2156"/>
                  </a:lnTo>
                  <a:lnTo>
                    <a:pt x="735" y="2152"/>
                  </a:lnTo>
                  <a:lnTo>
                    <a:pt x="813" y="2141"/>
                  </a:lnTo>
                  <a:lnTo>
                    <a:pt x="889" y="2124"/>
                  </a:lnTo>
                  <a:lnTo>
                    <a:pt x="809" y="2104"/>
                  </a:lnTo>
                  <a:lnTo>
                    <a:pt x="732" y="2077"/>
                  </a:lnTo>
                  <a:lnTo>
                    <a:pt x="659" y="2043"/>
                  </a:lnTo>
                  <a:lnTo>
                    <a:pt x="589" y="2003"/>
                  </a:lnTo>
                  <a:lnTo>
                    <a:pt x="523" y="1957"/>
                  </a:lnTo>
                  <a:lnTo>
                    <a:pt x="461" y="1906"/>
                  </a:lnTo>
                  <a:lnTo>
                    <a:pt x="406" y="1849"/>
                  </a:lnTo>
                  <a:lnTo>
                    <a:pt x="354" y="1787"/>
                  </a:lnTo>
                  <a:lnTo>
                    <a:pt x="308" y="1721"/>
                  </a:lnTo>
                  <a:lnTo>
                    <a:pt x="269" y="1650"/>
                  </a:lnTo>
                  <a:lnTo>
                    <a:pt x="236" y="1577"/>
                  </a:lnTo>
                  <a:lnTo>
                    <a:pt x="209" y="1499"/>
                  </a:lnTo>
                  <a:lnTo>
                    <a:pt x="190" y="1419"/>
                  </a:lnTo>
                  <a:lnTo>
                    <a:pt x="178" y="1336"/>
                  </a:lnTo>
                  <a:lnTo>
                    <a:pt x="174" y="1252"/>
                  </a:lnTo>
                  <a:lnTo>
                    <a:pt x="174" y="1240"/>
                  </a:lnTo>
                  <a:lnTo>
                    <a:pt x="236" y="1271"/>
                  </a:lnTo>
                  <a:lnTo>
                    <a:pt x="300" y="1298"/>
                  </a:lnTo>
                  <a:lnTo>
                    <a:pt x="366" y="1319"/>
                  </a:lnTo>
                  <a:lnTo>
                    <a:pt x="435" y="1335"/>
                  </a:lnTo>
                  <a:lnTo>
                    <a:pt x="506" y="1346"/>
                  </a:lnTo>
                  <a:lnTo>
                    <a:pt x="578" y="1352"/>
                  </a:lnTo>
                  <a:lnTo>
                    <a:pt x="515" y="1306"/>
                  </a:lnTo>
                  <a:lnTo>
                    <a:pt x="456" y="1253"/>
                  </a:lnTo>
                  <a:lnTo>
                    <a:pt x="402" y="1198"/>
                  </a:lnTo>
                  <a:lnTo>
                    <a:pt x="353" y="1136"/>
                  </a:lnTo>
                  <a:lnTo>
                    <a:pt x="310" y="1071"/>
                  </a:lnTo>
                  <a:lnTo>
                    <a:pt x="273" y="1002"/>
                  </a:lnTo>
                  <a:lnTo>
                    <a:pt x="241" y="929"/>
                  </a:lnTo>
                  <a:lnTo>
                    <a:pt x="215" y="853"/>
                  </a:lnTo>
                  <a:lnTo>
                    <a:pt x="196" y="775"/>
                  </a:lnTo>
                  <a:lnTo>
                    <a:pt x="186" y="694"/>
                  </a:lnTo>
                  <a:lnTo>
                    <a:pt x="182" y="611"/>
                  </a:lnTo>
                  <a:lnTo>
                    <a:pt x="186" y="529"/>
                  </a:lnTo>
                  <a:lnTo>
                    <a:pt x="196" y="452"/>
                  </a:lnTo>
                  <a:lnTo>
                    <a:pt x="213" y="375"/>
                  </a:lnTo>
                  <a:lnTo>
                    <a:pt x="237" y="302"/>
                  </a:lnTo>
                  <a:lnTo>
                    <a:pt x="267" y="231"/>
                  </a:lnTo>
                  <a:lnTo>
                    <a:pt x="303" y="163"/>
                  </a:lnTo>
                  <a:lnTo>
                    <a:pt x="387" y="262"/>
                  </a:lnTo>
                  <a:lnTo>
                    <a:pt x="477" y="356"/>
                  </a:lnTo>
                  <a:lnTo>
                    <a:pt x="572" y="445"/>
                  </a:lnTo>
                  <a:lnTo>
                    <a:pt x="670" y="531"/>
                  </a:lnTo>
                  <a:lnTo>
                    <a:pt x="773" y="610"/>
                  </a:lnTo>
                  <a:lnTo>
                    <a:pt x="881" y="685"/>
                  </a:lnTo>
                  <a:lnTo>
                    <a:pt x="993" y="753"/>
                  </a:lnTo>
                  <a:lnTo>
                    <a:pt x="1108" y="816"/>
                  </a:lnTo>
                  <a:lnTo>
                    <a:pt x="1226" y="873"/>
                  </a:lnTo>
                  <a:lnTo>
                    <a:pt x="1348" y="924"/>
                  </a:lnTo>
                  <a:lnTo>
                    <a:pt x="1473" y="969"/>
                  </a:lnTo>
                  <a:lnTo>
                    <a:pt x="1602" y="1008"/>
                  </a:lnTo>
                  <a:lnTo>
                    <a:pt x="1732" y="1040"/>
                  </a:lnTo>
                  <a:lnTo>
                    <a:pt x="1865" y="1065"/>
                  </a:lnTo>
                  <a:lnTo>
                    <a:pt x="2001" y="1082"/>
                  </a:lnTo>
                  <a:lnTo>
                    <a:pt x="2139" y="1092"/>
                  </a:lnTo>
                  <a:lnTo>
                    <a:pt x="2126" y="1027"/>
                  </a:lnTo>
                  <a:lnTo>
                    <a:pt x="2118" y="960"/>
                  </a:lnTo>
                  <a:lnTo>
                    <a:pt x="2116" y="890"/>
                  </a:lnTo>
                  <a:lnTo>
                    <a:pt x="2119" y="804"/>
                  </a:lnTo>
                  <a:lnTo>
                    <a:pt x="2131" y="721"/>
                  </a:lnTo>
                  <a:lnTo>
                    <a:pt x="2151" y="640"/>
                  </a:lnTo>
                  <a:lnTo>
                    <a:pt x="2177" y="562"/>
                  </a:lnTo>
                  <a:lnTo>
                    <a:pt x="2212" y="488"/>
                  </a:lnTo>
                  <a:lnTo>
                    <a:pt x="2251" y="417"/>
                  </a:lnTo>
                  <a:lnTo>
                    <a:pt x="2297" y="352"/>
                  </a:lnTo>
                  <a:lnTo>
                    <a:pt x="2349" y="290"/>
                  </a:lnTo>
                  <a:lnTo>
                    <a:pt x="2405" y="233"/>
                  </a:lnTo>
                  <a:lnTo>
                    <a:pt x="2467" y="182"/>
                  </a:lnTo>
                  <a:lnTo>
                    <a:pt x="2534" y="136"/>
                  </a:lnTo>
                  <a:lnTo>
                    <a:pt x="2604" y="96"/>
                  </a:lnTo>
                  <a:lnTo>
                    <a:pt x="2679" y="62"/>
                  </a:lnTo>
                  <a:lnTo>
                    <a:pt x="2757" y="36"/>
                  </a:lnTo>
                  <a:lnTo>
                    <a:pt x="2837" y="16"/>
                  </a:lnTo>
                  <a:lnTo>
                    <a:pt x="2920" y="4"/>
                  </a:lnTo>
                  <a:lnTo>
                    <a:pt x="3006" y="0"/>
                  </a:lnTo>
                  <a:close/>
                </a:path>
              </a:pathLst>
            </a:custGeom>
            <a:solidFill>
              <a:srgbClr val="BBBAC6"/>
            </a:solidFill>
            <a:ln w="1270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Rectangle 11"/>
          <p:cNvSpPr/>
          <p:nvPr/>
        </p:nvSpPr>
        <p:spPr>
          <a:xfrm>
            <a:off x="658813" y="2392247"/>
            <a:ext cx="11095037" cy="4465753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0" y="3588327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075949" y="3601057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pl-PL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John </a:t>
            </a:r>
            <a:r>
              <a:rPr lang="en-US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Do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720840" y="3601057"/>
            <a:ext cx="1810760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US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Laura </a:t>
            </a:r>
            <a:r>
              <a:rPr lang="pl-PL" sz="1400" dirty="0" err="1">
                <a:solidFill>
                  <a:srgbClr val="14CE9F"/>
                </a:solidFill>
                <a:latin typeface="Montserrat Medium" panose="00000600000000000000" pitchFamily="2" charset="-18"/>
              </a:rPr>
              <a:t>Walsh</a:t>
            </a:r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420223" y="3601057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US" sz="1400" dirty="0" err="1">
                <a:solidFill>
                  <a:srgbClr val="14CE9F"/>
                </a:solidFill>
                <a:latin typeface="Montserrat Medium" panose="00000600000000000000" pitchFamily="2" charset="-18"/>
              </a:rPr>
              <a:t>Izabel</a:t>
            </a:r>
            <a:r>
              <a:rPr lang="en-US" sz="1400" dirty="0">
                <a:solidFill>
                  <a:srgbClr val="14CE9F"/>
                </a:solidFill>
                <a:latin typeface="Montserrat Medium" panose="00000600000000000000" pitchFamily="2" charset="-18"/>
              </a:rPr>
              <a:t> Do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962436" y="1551709"/>
            <a:ext cx="2417471" cy="2417433"/>
            <a:chOff x="6960949" y="914287"/>
            <a:chExt cx="2705565" cy="2705523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60991" y="914287"/>
              <a:ext cx="2705523" cy="2705523"/>
            </a:xfrm>
            <a:prstGeom prst="ellipse">
              <a:avLst/>
            </a:prstGeom>
          </p:spPr>
        </p:pic>
        <p:sp>
          <p:nvSpPr>
            <p:cNvPr id="17" name="Oval 16"/>
            <p:cNvSpPr/>
            <p:nvPr/>
          </p:nvSpPr>
          <p:spPr>
            <a:xfrm>
              <a:off x="6960949" y="914361"/>
              <a:ext cx="2705336" cy="2705336"/>
            </a:xfrm>
            <a:prstGeom prst="ellipse">
              <a:avLst/>
            </a:prstGeom>
            <a:noFill/>
            <a:ln w="60325">
              <a:solidFill>
                <a:srgbClr val="14CE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1122217" y="4432362"/>
            <a:ext cx="280554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774029" y="4432362"/>
            <a:ext cx="280554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425840" y="4432362"/>
            <a:ext cx="280554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420223" y="3996402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pl-PL" sz="105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Coordinator</a:t>
            </a:r>
            <a:endParaRPr lang="en-US" sz="105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075949" y="3996402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pl-PL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IT </a:t>
            </a:r>
            <a:r>
              <a:rPr lang="pl-PL" sz="105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support</a:t>
            </a:r>
            <a:endParaRPr lang="en-US" sz="105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9720840" y="3996402"/>
            <a:ext cx="1810760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n-US" sz="1050" dirty="0">
                <a:solidFill>
                  <a:srgbClr val="5D5B6F"/>
                </a:solidFill>
                <a:latin typeface="Montserrat Light" panose="00000400000000000000" pitchFamily="2" charset="-18"/>
              </a:rPr>
              <a:t>Graphic designer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abriela" panose="00000500000000000000" pitchFamily="2" charset="0"/>
              </a:rPr>
              <a:t>Meet our team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4327332" y="1551763"/>
            <a:ext cx="2417266" cy="2417266"/>
            <a:chOff x="658813" y="914361"/>
            <a:chExt cx="2705336" cy="2705336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813" y="914401"/>
              <a:ext cx="2705295" cy="2705295"/>
            </a:xfrm>
            <a:prstGeom prst="ellipse">
              <a:avLst/>
            </a:prstGeom>
          </p:spPr>
        </p:pic>
        <p:sp>
          <p:nvSpPr>
            <p:cNvPr id="44" name="Oval 43"/>
            <p:cNvSpPr/>
            <p:nvPr/>
          </p:nvSpPr>
          <p:spPr>
            <a:xfrm>
              <a:off x="658813" y="914361"/>
              <a:ext cx="2705336" cy="2705336"/>
            </a:xfrm>
            <a:prstGeom prst="ellipse">
              <a:avLst/>
            </a:prstGeom>
            <a:noFill/>
            <a:ln w="60325">
              <a:solidFill>
                <a:srgbClr val="14CE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54227" y="1551763"/>
            <a:ext cx="2417763" cy="2417763"/>
            <a:chOff x="3753419" y="2811167"/>
            <a:chExt cx="2417763" cy="2417763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pic>
          <p:nvPicPr>
            <p:cNvPr id="38" name="Picture 37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53419" y="2811167"/>
              <a:ext cx="2417763" cy="2417763"/>
            </a:xfrm>
            <a:prstGeom prst="ellipse">
              <a:avLst/>
            </a:prstGeom>
          </p:spPr>
        </p:pic>
        <p:sp>
          <p:nvSpPr>
            <p:cNvPr id="45" name="Oval 44"/>
            <p:cNvSpPr/>
            <p:nvPr/>
          </p:nvSpPr>
          <p:spPr>
            <a:xfrm>
              <a:off x="3753667" y="2811415"/>
              <a:ext cx="2417266" cy="2417266"/>
            </a:xfrm>
            <a:prstGeom prst="ellipse">
              <a:avLst/>
            </a:prstGeom>
            <a:noFill/>
            <a:ln w="60325">
              <a:solidFill>
                <a:srgbClr val="14CE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52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52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194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9207374" y="6005742"/>
            <a:ext cx="3098926" cy="275879"/>
          </a:xfrm>
          <a:prstGeom prst="rect">
            <a:avLst/>
          </a:prstGeom>
          <a:noFill/>
          <a:ln>
            <a:solidFill>
              <a:srgbClr val="14CE9F"/>
            </a:solidFill>
          </a:ln>
          <a:effectLst>
            <a:outerShdw blurRad="63500" dist="127000" dir="9060000" algn="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571216" cy="6858000"/>
          </a:xfrm>
          <a:prstGeom prst="rect">
            <a:avLst/>
          </a:prstGeom>
        </p:spPr>
      </p:pic>
      <p:sp>
        <p:nvSpPr>
          <p:cNvPr id="27" name="Rectangle 14"/>
          <p:cNvSpPr/>
          <p:nvPr/>
        </p:nvSpPr>
        <p:spPr>
          <a:xfrm>
            <a:off x="207551" y="1442787"/>
            <a:ext cx="4042334" cy="51554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14"/>
          <p:cNvSpPr/>
          <p:nvPr/>
        </p:nvSpPr>
        <p:spPr>
          <a:xfrm rot="10800000">
            <a:off x="2717224" y="455825"/>
            <a:ext cx="1626176" cy="574494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14"/>
          <p:cNvSpPr/>
          <p:nvPr/>
        </p:nvSpPr>
        <p:spPr>
          <a:xfrm rot="5400000">
            <a:off x="1837525" y="-1360766"/>
            <a:ext cx="782386" cy="404233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5016341" y="660400"/>
            <a:ext cx="6515258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rgbClr val="5D5B6F"/>
                </a:solidFill>
                <a:latin typeface="Gabriela" panose="00000500000000000000" pitchFamily="2" charset="0"/>
              </a:rPr>
              <a:t>Member </a:t>
            </a:r>
            <a:r>
              <a:rPr lang="en-US" sz="4000" dirty="0" err="1">
                <a:solidFill>
                  <a:srgbClr val="5D5B6F"/>
                </a:solidFill>
                <a:latin typeface="Gabriela" panose="00000500000000000000" pitchFamily="2" charset="0"/>
              </a:rPr>
              <a:t>detailes</a:t>
            </a:r>
            <a:endParaRPr lang="en-US" sz="4000" dirty="0">
              <a:solidFill>
                <a:srgbClr val="5D5B6F"/>
              </a:solidFill>
              <a:latin typeface="Gabriela" panose="00000500000000000000" pitchFamily="2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016340" y="2762998"/>
            <a:ext cx="6515259" cy="1098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016341" y="2176547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 err="1">
                <a:solidFill>
                  <a:srgbClr val="14CE9F"/>
                </a:solidFill>
                <a:latin typeface="Montserrat SemiBold" panose="00000700000000000000" pitchFamily="2" charset="-18"/>
              </a:rPr>
              <a:t>Izabel</a:t>
            </a: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 Doe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016341" y="2414417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dirty="0">
                <a:solidFill>
                  <a:srgbClr val="14CE9F"/>
                </a:solidFill>
              </a:rPr>
              <a:t>Expert</a:t>
            </a:r>
            <a:endParaRPr lang="en-US" sz="1200" kern="2000" dirty="0">
              <a:solidFill>
                <a:srgbClr val="14CE9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016342" y="4076608"/>
            <a:ext cx="2836158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dirty="0">
                <a:solidFill>
                  <a:srgbClr val="5D5B6F"/>
                </a:solidFill>
              </a:rPr>
              <a:t>SKILLS</a:t>
            </a:r>
            <a:endParaRPr lang="en-US" sz="1200" kern="2000" dirty="0">
              <a:solidFill>
                <a:srgbClr val="5D5B6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016341" y="4393531"/>
            <a:ext cx="657095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Product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016341" y="4736550"/>
            <a:ext cx="657095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Product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016341" y="5079569"/>
            <a:ext cx="657095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Product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016340" y="4705378"/>
            <a:ext cx="2836159" cy="353410"/>
            <a:chOff x="5016340" y="4705378"/>
            <a:chExt cx="6369627" cy="353410"/>
          </a:xfrm>
        </p:grpSpPr>
        <p:cxnSp>
          <p:nvCxnSpPr>
            <p:cNvPr id="46" name="Straight Connector 45"/>
            <p:cNvCxnSpPr/>
            <p:nvPr/>
          </p:nvCxnSpPr>
          <p:spPr>
            <a:xfrm rot="5400000">
              <a:off x="8201154" y="1520564"/>
              <a:ext cx="0" cy="6369627"/>
            </a:xfrm>
            <a:prstGeom prst="line">
              <a:avLst/>
            </a:prstGeom>
            <a:ln>
              <a:solidFill>
                <a:srgbClr val="5D5B6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rot="5400000">
              <a:off x="8201154" y="1873974"/>
              <a:ext cx="0" cy="6369627"/>
            </a:xfrm>
            <a:prstGeom prst="line">
              <a:avLst/>
            </a:prstGeom>
            <a:ln>
              <a:solidFill>
                <a:srgbClr val="5D5B6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Oval 9"/>
          <p:cNvSpPr/>
          <p:nvPr/>
        </p:nvSpPr>
        <p:spPr>
          <a:xfrm>
            <a:off x="5771284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Oval 47"/>
          <p:cNvSpPr/>
          <p:nvPr/>
        </p:nvSpPr>
        <p:spPr>
          <a:xfrm>
            <a:off x="5986935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Oval 48"/>
          <p:cNvSpPr/>
          <p:nvPr/>
        </p:nvSpPr>
        <p:spPr>
          <a:xfrm>
            <a:off x="6202586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Oval 49"/>
          <p:cNvSpPr/>
          <p:nvPr/>
        </p:nvSpPr>
        <p:spPr>
          <a:xfrm>
            <a:off x="6418237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Oval 50"/>
          <p:cNvSpPr/>
          <p:nvPr/>
        </p:nvSpPr>
        <p:spPr>
          <a:xfrm>
            <a:off x="6633888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Oval 51"/>
          <p:cNvSpPr/>
          <p:nvPr/>
        </p:nvSpPr>
        <p:spPr>
          <a:xfrm>
            <a:off x="6849539" y="4488343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Oval 52"/>
          <p:cNvSpPr/>
          <p:nvPr/>
        </p:nvSpPr>
        <p:spPr>
          <a:xfrm>
            <a:off x="7065190" y="4488343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Oval 53"/>
          <p:cNvSpPr/>
          <p:nvPr/>
        </p:nvSpPr>
        <p:spPr>
          <a:xfrm>
            <a:off x="7280841" y="4488343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Oval 54"/>
          <p:cNvSpPr/>
          <p:nvPr/>
        </p:nvSpPr>
        <p:spPr>
          <a:xfrm>
            <a:off x="7496492" y="4488343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7712143" y="4488343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5771284" y="482486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5986935" y="482486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Oval 58"/>
          <p:cNvSpPr/>
          <p:nvPr/>
        </p:nvSpPr>
        <p:spPr>
          <a:xfrm>
            <a:off x="6202586" y="482486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Oval 59"/>
          <p:cNvSpPr/>
          <p:nvPr/>
        </p:nvSpPr>
        <p:spPr>
          <a:xfrm>
            <a:off x="6418237" y="482486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Oval 60"/>
          <p:cNvSpPr/>
          <p:nvPr/>
        </p:nvSpPr>
        <p:spPr>
          <a:xfrm>
            <a:off x="6633888" y="482486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/>
          <p:cNvSpPr/>
          <p:nvPr/>
        </p:nvSpPr>
        <p:spPr>
          <a:xfrm>
            <a:off x="6849539" y="482486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Oval 62"/>
          <p:cNvSpPr/>
          <p:nvPr/>
        </p:nvSpPr>
        <p:spPr>
          <a:xfrm>
            <a:off x="7065190" y="482486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Oval 63"/>
          <p:cNvSpPr/>
          <p:nvPr/>
        </p:nvSpPr>
        <p:spPr>
          <a:xfrm>
            <a:off x="7280841" y="482486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/>
          <p:cNvSpPr/>
          <p:nvPr/>
        </p:nvSpPr>
        <p:spPr>
          <a:xfrm>
            <a:off x="7496492" y="482486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Oval 65"/>
          <p:cNvSpPr/>
          <p:nvPr/>
        </p:nvSpPr>
        <p:spPr>
          <a:xfrm>
            <a:off x="7712143" y="482486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/>
          <p:cNvSpPr/>
          <p:nvPr/>
        </p:nvSpPr>
        <p:spPr>
          <a:xfrm>
            <a:off x="5771284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Oval 67"/>
          <p:cNvSpPr/>
          <p:nvPr/>
        </p:nvSpPr>
        <p:spPr>
          <a:xfrm>
            <a:off x="5986935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Oval 68"/>
          <p:cNvSpPr/>
          <p:nvPr/>
        </p:nvSpPr>
        <p:spPr>
          <a:xfrm>
            <a:off x="6202586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Oval 69"/>
          <p:cNvSpPr/>
          <p:nvPr/>
        </p:nvSpPr>
        <p:spPr>
          <a:xfrm>
            <a:off x="6418237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Oval 70"/>
          <p:cNvSpPr/>
          <p:nvPr/>
        </p:nvSpPr>
        <p:spPr>
          <a:xfrm>
            <a:off x="6633888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Oval 71"/>
          <p:cNvSpPr/>
          <p:nvPr/>
        </p:nvSpPr>
        <p:spPr>
          <a:xfrm>
            <a:off x="6849539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Oval 72"/>
          <p:cNvSpPr/>
          <p:nvPr/>
        </p:nvSpPr>
        <p:spPr>
          <a:xfrm>
            <a:off x="7065190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Oval 73"/>
          <p:cNvSpPr/>
          <p:nvPr/>
        </p:nvSpPr>
        <p:spPr>
          <a:xfrm>
            <a:off x="7280841" y="5150540"/>
            <a:ext cx="140356" cy="140356"/>
          </a:xfrm>
          <a:prstGeom prst="ellipse">
            <a:avLst/>
          </a:prstGeom>
          <a:gradFill flip="none" rotWithShape="1">
            <a:gsLst>
              <a:gs pos="92000">
                <a:srgbClr val="14CE9F"/>
              </a:gs>
              <a:gs pos="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Oval 74"/>
          <p:cNvSpPr/>
          <p:nvPr/>
        </p:nvSpPr>
        <p:spPr>
          <a:xfrm>
            <a:off x="7496492" y="515054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Oval 75"/>
          <p:cNvSpPr/>
          <p:nvPr/>
        </p:nvSpPr>
        <p:spPr>
          <a:xfrm>
            <a:off x="7712143" y="5150540"/>
            <a:ext cx="140356" cy="140356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innerShdw blurRad="25400" dist="25400" dir="13500000">
              <a:prstClr val="black">
                <a:alpha val="2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5" name="TextBox 114"/>
          <p:cNvSpPr txBox="1"/>
          <p:nvPr/>
        </p:nvSpPr>
        <p:spPr>
          <a:xfrm>
            <a:off x="8695441" y="4076608"/>
            <a:ext cx="2836158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200" dirty="0">
                <a:solidFill>
                  <a:srgbClr val="5D5B6F"/>
                </a:solidFill>
              </a:rPr>
              <a:t>OTHER</a:t>
            </a:r>
            <a:endParaRPr lang="en-US" sz="1200" kern="2000" dirty="0">
              <a:solidFill>
                <a:srgbClr val="5D5B6F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8695440" y="4393531"/>
            <a:ext cx="819752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Languages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8695440" y="4736550"/>
            <a:ext cx="819752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Diploma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8695440" y="5079569"/>
            <a:ext cx="819752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5D5B6F"/>
                </a:solidFill>
              </a:rPr>
              <a:t>Hobby</a:t>
            </a:r>
            <a:endParaRPr lang="en-US" sz="1000" kern="2000" dirty="0">
              <a:solidFill>
                <a:srgbClr val="5D5B6F"/>
              </a:solidFill>
            </a:endParaRPr>
          </a:p>
        </p:txBody>
      </p:sp>
      <p:grpSp>
        <p:nvGrpSpPr>
          <p:cNvPr id="119" name="Group 118"/>
          <p:cNvGrpSpPr/>
          <p:nvPr/>
        </p:nvGrpSpPr>
        <p:grpSpPr>
          <a:xfrm>
            <a:off x="8695439" y="4705378"/>
            <a:ext cx="2836159" cy="353410"/>
            <a:chOff x="5016340" y="4705378"/>
            <a:chExt cx="6369627" cy="353410"/>
          </a:xfrm>
        </p:grpSpPr>
        <p:cxnSp>
          <p:nvCxnSpPr>
            <p:cNvPr id="120" name="Straight Connector 119"/>
            <p:cNvCxnSpPr/>
            <p:nvPr/>
          </p:nvCxnSpPr>
          <p:spPr>
            <a:xfrm rot="5400000">
              <a:off x="8201154" y="1520564"/>
              <a:ext cx="0" cy="6369627"/>
            </a:xfrm>
            <a:prstGeom prst="line">
              <a:avLst/>
            </a:prstGeom>
            <a:ln>
              <a:solidFill>
                <a:srgbClr val="5D5B6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rot="5400000">
              <a:off x="8201154" y="1873974"/>
              <a:ext cx="0" cy="6369627"/>
            </a:xfrm>
            <a:prstGeom prst="line">
              <a:avLst/>
            </a:prstGeom>
            <a:ln>
              <a:solidFill>
                <a:srgbClr val="5D5B6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2" name="TextBox 151"/>
          <p:cNvSpPr txBox="1"/>
          <p:nvPr/>
        </p:nvSpPr>
        <p:spPr>
          <a:xfrm>
            <a:off x="9558044" y="4393531"/>
            <a:ext cx="1973556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BBBAC6"/>
                </a:solidFill>
                <a:latin typeface="Montserrat Light" panose="00000400000000000000" pitchFamily="2" charset="-18"/>
              </a:rPr>
              <a:t>English, Spanish, German</a:t>
            </a:r>
            <a:endParaRPr lang="en-US" sz="1000" kern="2000" dirty="0">
              <a:solidFill>
                <a:srgbClr val="BBBAC6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9558044" y="4746940"/>
            <a:ext cx="1973556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BBBAC6"/>
                </a:solidFill>
                <a:latin typeface="Montserrat Light" panose="00000400000000000000" pitchFamily="2" charset="-18"/>
              </a:rPr>
              <a:t>University of Manchester</a:t>
            </a:r>
            <a:endParaRPr lang="en-US" sz="1000" kern="2000" dirty="0">
              <a:solidFill>
                <a:srgbClr val="BBBAC6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9558044" y="5114155"/>
            <a:ext cx="1973556" cy="25648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>
                <a:solidFill>
                  <a:srgbClr val="BBBAC6"/>
                </a:solidFill>
                <a:latin typeface="Montserrat Light" panose="00000400000000000000" pitchFamily="2" charset="-18"/>
              </a:rPr>
              <a:t>Movie, Fashion, Photography </a:t>
            </a:r>
            <a:endParaRPr lang="en-US" sz="1000" kern="2000" dirty="0">
              <a:solidFill>
                <a:srgbClr val="BBBAC6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155" name="Freeform 49"/>
          <p:cNvSpPr>
            <a:spLocks noEditPoints="1"/>
          </p:cNvSpPr>
          <p:nvPr/>
        </p:nvSpPr>
        <p:spPr bwMode="auto">
          <a:xfrm>
            <a:off x="9731197" y="6068178"/>
            <a:ext cx="163855" cy="155798"/>
          </a:xfrm>
          <a:custGeom>
            <a:avLst/>
            <a:gdLst>
              <a:gd name="T0" fmla="*/ 775 w 3416"/>
              <a:gd name="T1" fmla="*/ 3248 h 3248"/>
              <a:gd name="T2" fmla="*/ 2573 w 3416"/>
              <a:gd name="T3" fmla="*/ 1005 h 3248"/>
              <a:gd name="T4" fmla="*/ 2755 w 3416"/>
              <a:gd name="T5" fmla="*/ 1021 h 3248"/>
              <a:gd name="T6" fmla="*/ 2921 w 3416"/>
              <a:gd name="T7" fmla="*/ 1070 h 3248"/>
              <a:gd name="T8" fmla="*/ 3069 w 3416"/>
              <a:gd name="T9" fmla="*/ 1152 h 3248"/>
              <a:gd name="T10" fmla="*/ 3194 w 3416"/>
              <a:gd name="T11" fmla="*/ 1267 h 3248"/>
              <a:gd name="T12" fmla="*/ 3295 w 3416"/>
              <a:gd name="T13" fmla="*/ 1417 h 3248"/>
              <a:gd name="T14" fmla="*/ 3367 w 3416"/>
              <a:gd name="T15" fmla="*/ 1603 h 3248"/>
              <a:gd name="T16" fmla="*/ 3408 w 3416"/>
              <a:gd name="T17" fmla="*/ 1824 h 3248"/>
              <a:gd name="T18" fmla="*/ 3416 w 3416"/>
              <a:gd name="T19" fmla="*/ 3248 h 3248"/>
              <a:gd name="T20" fmla="*/ 2683 w 3416"/>
              <a:gd name="T21" fmla="*/ 2025 h 3248"/>
              <a:gd name="T22" fmla="*/ 2666 w 3416"/>
              <a:gd name="T23" fmla="*/ 1885 h 3248"/>
              <a:gd name="T24" fmla="*/ 2626 w 3416"/>
              <a:gd name="T25" fmla="*/ 1767 h 3248"/>
              <a:gd name="T26" fmla="*/ 2563 w 3416"/>
              <a:gd name="T27" fmla="*/ 1675 h 3248"/>
              <a:gd name="T28" fmla="*/ 2474 w 3416"/>
              <a:gd name="T29" fmla="*/ 1612 h 3248"/>
              <a:gd name="T30" fmla="*/ 2358 w 3416"/>
              <a:gd name="T31" fmla="*/ 1582 h 3248"/>
              <a:gd name="T32" fmla="*/ 2226 w 3416"/>
              <a:gd name="T33" fmla="*/ 1589 h 3248"/>
              <a:gd name="T34" fmla="*/ 2115 w 3416"/>
              <a:gd name="T35" fmla="*/ 1633 h 3248"/>
              <a:gd name="T36" fmla="*/ 2029 w 3416"/>
              <a:gd name="T37" fmla="*/ 1702 h 3248"/>
              <a:gd name="T38" fmla="*/ 1967 w 3416"/>
              <a:gd name="T39" fmla="*/ 1786 h 3248"/>
              <a:gd name="T40" fmla="*/ 1927 w 3416"/>
              <a:gd name="T41" fmla="*/ 1877 h 3248"/>
              <a:gd name="T42" fmla="*/ 1914 w 3416"/>
              <a:gd name="T43" fmla="*/ 1985 h 3248"/>
              <a:gd name="T44" fmla="*/ 1180 w 3416"/>
              <a:gd name="T45" fmla="*/ 3248 h 3248"/>
              <a:gd name="T46" fmla="*/ 1181 w 3416"/>
              <a:gd name="T47" fmla="*/ 3215 h 3248"/>
              <a:gd name="T48" fmla="*/ 1181 w 3416"/>
              <a:gd name="T49" fmla="*/ 3121 h 3248"/>
              <a:gd name="T50" fmla="*/ 1182 w 3416"/>
              <a:gd name="T51" fmla="*/ 2977 h 3248"/>
              <a:gd name="T52" fmla="*/ 1182 w 3416"/>
              <a:gd name="T53" fmla="*/ 2793 h 3248"/>
              <a:gd name="T54" fmla="*/ 1183 w 3416"/>
              <a:gd name="T55" fmla="*/ 2581 h 3248"/>
              <a:gd name="T56" fmla="*/ 1184 w 3416"/>
              <a:gd name="T57" fmla="*/ 2350 h 3248"/>
              <a:gd name="T58" fmla="*/ 1184 w 3416"/>
              <a:gd name="T59" fmla="*/ 2109 h 3248"/>
              <a:gd name="T60" fmla="*/ 1185 w 3416"/>
              <a:gd name="T61" fmla="*/ 1870 h 3248"/>
              <a:gd name="T62" fmla="*/ 1185 w 3416"/>
              <a:gd name="T63" fmla="*/ 1642 h 3248"/>
              <a:gd name="T64" fmla="*/ 1184 w 3416"/>
              <a:gd name="T65" fmla="*/ 1437 h 3248"/>
              <a:gd name="T66" fmla="*/ 1184 w 3416"/>
              <a:gd name="T67" fmla="*/ 1264 h 3248"/>
              <a:gd name="T68" fmla="*/ 1182 w 3416"/>
              <a:gd name="T69" fmla="*/ 1134 h 3248"/>
              <a:gd name="T70" fmla="*/ 1180 w 3416"/>
              <a:gd name="T71" fmla="*/ 1057 h 3248"/>
              <a:gd name="T72" fmla="*/ 1911 w 3416"/>
              <a:gd name="T73" fmla="*/ 1371 h 3248"/>
              <a:gd name="T74" fmla="*/ 1913 w 3416"/>
              <a:gd name="T75" fmla="*/ 1367 h 3248"/>
              <a:gd name="T76" fmla="*/ 1969 w 3416"/>
              <a:gd name="T77" fmla="*/ 1289 h 3248"/>
              <a:gd name="T78" fmla="*/ 2041 w 3416"/>
              <a:gd name="T79" fmla="*/ 1207 h 3248"/>
              <a:gd name="T80" fmla="*/ 2133 w 3416"/>
              <a:gd name="T81" fmla="*/ 1130 h 3248"/>
              <a:gd name="T82" fmla="*/ 2250 w 3416"/>
              <a:gd name="T83" fmla="*/ 1066 h 3248"/>
              <a:gd name="T84" fmla="*/ 2395 w 3416"/>
              <a:gd name="T85" fmla="*/ 1022 h 3248"/>
              <a:gd name="T86" fmla="*/ 2573 w 3416"/>
              <a:gd name="T87" fmla="*/ 1005 h 3248"/>
              <a:gd name="T88" fmla="*/ 516 w 3416"/>
              <a:gd name="T89" fmla="*/ 10 h 3248"/>
              <a:gd name="T90" fmla="*/ 644 w 3416"/>
              <a:gd name="T91" fmla="*/ 58 h 3248"/>
              <a:gd name="T92" fmla="*/ 739 w 3416"/>
              <a:gd name="T93" fmla="*/ 139 h 3248"/>
              <a:gd name="T94" fmla="*/ 800 w 3416"/>
              <a:gd name="T95" fmla="*/ 248 h 3248"/>
              <a:gd name="T96" fmla="*/ 824 w 3416"/>
              <a:gd name="T97" fmla="*/ 379 h 3248"/>
              <a:gd name="T98" fmla="*/ 802 w 3416"/>
              <a:gd name="T99" fmla="*/ 507 h 3248"/>
              <a:gd name="T100" fmla="*/ 741 w 3416"/>
              <a:gd name="T101" fmla="*/ 616 h 3248"/>
              <a:gd name="T102" fmla="*/ 644 w 3416"/>
              <a:gd name="T103" fmla="*/ 699 h 3248"/>
              <a:gd name="T104" fmla="*/ 513 w 3416"/>
              <a:gd name="T105" fmla="*/ 748 h 3248"/>
              <a:gd name="T106" fmla="*/ 405 w 3416"/>
              <a:gd name="T107" fmla="*/ 757 h 3248"/>
              <a:gd name="T108" fmla="*/ 260 w 3416"/>
              <a:gd name="T109" fmla="*/ 736 h 3248"/>
              <a:gd name="T110" fmla="*/ 143 w 3416"/>
              <a:gd name="T111" fmla="*/ 675 h 3248"/>
              <a:gd name="T112" fmla="*/ 58 w 3416"/>
              <a:gd name="T113" fmla="*/ 582 h 3248"/>
              <a:gd name="T114" fmla="*/ 9 w 3416"/>
              <a:gd name="T115" fmla="*/ 466 h 3248"/>
              <a:gd name="T116" fmla="*/ 2 w 3416"/>
              <a:gd name="T117" fmla="*/ 334 h 3248"/>
              <a:gd name="T118" fmla="*/ 38 w 3416"/>
              <a:gd name="T119" fmla="*/ 209 h 3248"/>
              <a:gd name="T120" fmla="*/ 113 w 3416"/>
              <a:gd name="T121" fmla="*/ 109 h 3248"/>
              <a:gd name="T122" fmla="*/ 223 w 3416"/>
              <a:gd name="T123" fmla="*/ 37 h 3248"/>
              <a:gd name="T124" fmla="*/ 362 w 3416"/>
              <a:gd name="T125" fmla="*/ 2 h 3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16" h="3248">
                <a:moveTo>
                  <a:pt x="43" y="1057"/>
                </a:moveTo>
                <a:lnTo>
                  <a:pt x="775" y="1057"/>
                </a:lnTo>
                <a:lnTo>
                  <a:pt x="775" y="3248"/>
                </a:lnTo>
                <a:lnTo>
                  <a:pt x="43" y="3248"/>
                </a:lnTo>
                <a:lnTo>
                  <a:pt x="43" y="1057"/>
                </a:lnTo>
                <a:close/>
                <a:moveTo>
                  <a:pt x="2573" y="1005"/>
                </a:moveTo>
                <a:lnTo>
                  <a:pt x="2635" y="1007"/>
                </a:lnTo>
                <a:lnTo>
                  <a:pt x="2696" y="1013"/>
                </a:lnTo>
                <a:lnTo>
                  <a:pt x="2755" y="1021"/>
                </a:lnTo>
                <a:lnTo>
                  <a:pt x="2813" y="1034"/>
                </a:lnTo>
                <a:lnTo>
                  <a:pt x="2867" y="1050"/>
                </a:lnTo>
                <a:lnTo>
                  <a:pt x="2921" y="1070"/>
                </a:lnTo>
                <a:lnTo>
                  <a:pt x="2973" y="1094"/>
                </a:lnTo>
                <a:lnTo>
                  <a:pt x="3022" y="1121"/>
                </a:lnTo>
                <a:lnTo>
                  <a:pt x="3069" y="1152"/>
                </a:lnTo>
                <a:lnTo>
                  <a:pt x="3114" y="1187"/>
                </a:lnTo>
                <a:lnTo>
                  <a:pt x="3155" y="1225"/>
                </a:lnTo>
                <a:lnTo>
                  <a:pt x="3194" y="1267"/>
                </a:lnTo>
                <a:lnTo>
                  <a:pt x="3231" y="1313"/>
                </a:lnTo>
                <a:lnTo>
                  <a:pt x="3265" y="1364"/>
                </a:lnTo>
                <a:lnTo>
                  <a:pt x="3295" y="1417"/>
                </a:lnTo>
                <a:lnTo>
                  <a:pt x="3323" y="1475"/>
                </a:lnTo>
                <a:lnTo>
                  <a:pt x="3347" y="1537"/>
                </a:lnTo>
                <a:lnTo>
                  <a:pt x="3367" y="1603"/>
                </a:lnTo>
                <a:lnTo>
                  <a:pt x="3385" y="1673"/>
                </a:lnTo>
                <a:lnTo>
                  <a:pt x="3398" y="1746"/>
                </a:lnTo>
                <a:lnTo>
                  <a:pt x="3408" y="1824"/>
                </a:lnTo>
                <a:lnTo>
                  <a:pt x="3414" y="1906"/>
                </a:lnTo>
                <a:lnTo>
                  <a:pt x="3416" y="1991"/>
                </a:lnTo>
                <a:lnTo>
                  <a:pt x="3416" y="3248"/>
                </a:lnTo>
                <a:lnTo>
                  <a:pt x="2684" y="3248"/>
                </a:lnTo>
                <a:lnTo>
                  <a:pt x="2684" y="2076"/>
                </a:lnTo>
                <a:lnTo>
                  <a:pt x="2683" y="2025"/>
                </a:lnTo>
                <a:lnTo>
                  <a:pt x="2679" y="1976"/>
                </a:lnTo>
                <a:lnTo>
                  <a:pt x="2674" y="1929"/>
                </a:lnTo>
                <a:lnTo>
                  <a:pt x="2666" y="1885"/>
                </a:lnTo>
                <a:lnTo>
                  <a:pt x="2655" y="1843"/>
                </a:lnTo>
                <a:lnTo>
                  <a:pt x="2642" y="1804"/>
                </a:lnTo>
                <a:lnTo>
                  <a:pt x="2626" y="1767"/>
                </a:lnTo>
                <a:lnTo>
                  <a:pt x="2608" y="1734"/>
                </a:lnTo>
                <a:lnTo>
                  <a:pt x="2587" y="1703"/>
                </a:lnTo>
                <a:lnTo>
                  <a:pt x="2563" y="1675"/>
                </a:lnTo>
                <a:lnTo>
                  <a:pt x="2536" y="1650"/>
                </a:lnTo>
                <a:lnTo>
                  <a:pt x="2507" y="1630"/>
                </a:lnTo>
                <a:lnTo>
                  <a:pt x="2474" y="1612"/>
                </a:lnTo>
                <a:lnTo>
                  <a:pt x="2439" y="1599"/>
                </a:lnTo>
                <a:lnTo>
                  <a:pt x="2399" y="1588"/>
                </a:lnTo>
                <a:lnTo>
                  <a:pt x="2358" y="1582"/>
                </a:lnTo>
                <a:lnTo>
                  <a:pt x="2313" y="1580"/>
                </a:lnTo>
                <a:lnTo>
                  <a:pt x="2268" y="1582"/>
                </a:lnTo>
                <a:lnTo>
                  <a:pt x="2226" y="1589"/>
                </a:lnTo>
                <a:lnTo>
                  <a:pt x="2186" y="1600"/>
                </a:lnTo>
                <a:lnTo>
                  <a:pt x="2149" y="1614"/>
                </a:lnTo>
                <a:lnTo>
                  <a:pt x="2115" y="1633"/>
                </a:lnTo>
                <a:lnTo>
                  <a:pt x="2084" y="1653"/>
                </a:lnTo>
                <a:lnTo>
                  <a:pt x="2055" y="1676"/>
                </a:lnTo>
                <a:lnTo>
                  <a:pt x="2029" y="1702"/>
                </a:lnTo>
                <a:lnTo>
                  <a:pt x="2006" y="1728"/>
                </a:lnTo>
                <a:lnTo>
                  <a:pt x="1984" y="1757"/>
                </a:lnTo>
                <a:lnTo>
                  <a:pt x="1967" y="1786"/>
                </a:lnTo>
                <a:lnTo>
                  <a:pt x="1950" y="1816"/>
                </a:lnTo>
                <a:lnTo>
                  <a:pt x="1937" y="1847"/>
                </a:lnTo>
                <a:lnTo>
                  <a:pt x="1927" y="1877"/>
                </a:lnTo>
                <a:lnTo>
                  <a:pt x="1920" y="1911"/>
                </a:lnTo>
                <a:lnTo>
                  <a:pt x="1916" y="1947"/>
                </a:lnTo>
                <a:lnTo>
                  <a:pt x="1914" y="1985"/>
                </a:lnTo>
                <a:lnTo>
                  <a:pt x="1913" y="2024"/>
                </a:lnTo>
                <a:lnTo>
                  <a:pt x="1913" y="3248"/>
                </a:lnTo>
                <a:lnTo>
                  <a:pt x="1180" y="3248"/>
                </a:lnTo>
                <a:lnTo>
                  <a:pt x="1180" y="3245"/>
                </a:lnTo>
                <a:lnTo>
                  <a:pt x="1181" y="3233"/>
                </a:lnTo>
                <a:lnTo>
                  <a:pt x="1181" y="3215"/>
                </a:lnTo>
                <a:lnTo>
                  <a:pt x="1181" y="3189"/>
                </a:lnTo>
                <a:lnTo>
                  <a:pt x="1181" y="3158"/>
                </a:lnTo>
                <a:lnTo>
                  <a:pt x="1181" y="3121"/>
                </a:lnTo>
                <a:lnTo>
                  <a:pt x="1181" y="3078"/>
                </a:lnTo>
                <a:lnTo>
                  <a:pt x="1181" y="3030"/>
                </a:lnTo>
                <a:lnTo>
                  <a:pt x="1182" y="2977"/>
                </a:lnTo>
                <a:lnTo>
                  <a:pt x="1182" y="2920"/>
                </a:lnTo>
                <a:lnTo>
                  <a:pt x="1182" y="2858"/>
                </a:lnTo>
                <a:lnTo>
                  <a:pt x="1182" y="2793"/>
                </a:lnTo>
                <a:lnTo>
                  <a:pt x="1183" y="2725"/>
                </a:lnTo>
                <a:lnTo>
                  <a:pt x="1183" y="2654"/>
                </a:lnTo>
                <a:lnTo>
                  <a:pt x="1183" y="2581"/>
                </a:lnTo>
                <a:lnTo>
                  <a:pt x="1183" y="2505"/>
                </a:lnTo>
                <a:lnTo>
                  <a:pt x="1184" y="2428"/>
                </a:lnTo>
                <a:lnTo>
                  <a:pt x="1184" y="2350"/>
                </a:lnTo>
                <a:lnTo>
                  <a:pt x="1184" y="2269"/>
                </a:lnTo>
                <a:lnTo>
                  <a:pt x="1184" y="2189"/>
                </a:lnTo>
                <a:lnTo>
                  <a:pt x="1184" y="2109"/>
                </a:lnTo>
                <a:lnTo>
                  <a:pt x="1184" y="2028"/>
                </a:lnTo>
                <a:lnTo>
                  <a:pt x="1185" y="1949"/>
                </a:lnTo>
                <a:lnTo>
                  <a:pt x="1185" y="1870"/>
                </a:lnTo>
                <a:lnTo>
                  <a:pt x="1185" y="1792"/>
                </a:lnTo>
                <a:lnTo>
                  <a:pt x="1185" y="1716"/>
                </a:lnTo>
                <a:lnTo>
                  <a:pt x="1185" y="1642"/>
                </a:lnTo>
                <a:lnTo>
                  <a:pt x="1185" y="1571"/>
                </a:lnTo>
                <a:lnTo>
                  <a:pt x="1185" y="1503"/>
                </a:lnTo>
                <a:lnTo>
                  <a:pt x="1184" y="1437"/>
                </a:lnTo>
                <a:lnTo>
                  <a:pt x="1184" y="1375"/>
                </a:lnTo>
                <a:lnTo>
                  <a:pt x="1184" y="1318"/>
                </a:lnTo>
                <a:lnTo>
                  <a:pt x="1184" y="1264"/>
                </a:lnTo>
                <a:lnTo>
                  <a:pt x="1183" y="1216"/>
                </a:lnTo>
                <a:lnTo>
                  <a:pt x="1183" y="1172"/>
                </a:lnTo>
                <a:lnTo>
                  <a:pt x="1182" y="1134"/>
                </a:lnTo>
                <a:lnTo>
                  <a:pt x="1182" y="1102"/>
                </a:lnTo>
                <a:lnTo>
                  <a:pt x="1181" y="1076"/>
                </a:lnTo>
                <a:lnTo>
                  <a:pt x="1180" y="1057"/>
                </a:lnTo>
                <a:lnTo>
                  <a:pt x="1913" y="1057"/>
                </a:lnTo>
                <a:lnTo>
                  <a:pt x="1913" y="1367"/>
                </a:lnTo>
                <a:lnTo>
                  <a:pt x="1911" y="1371"/>
                </a:lnTo>
                <a:lnTo>
                  <a:pt x="1908" y="1374"/>
                </a:lnTo>
                <a:lnTo>
                  <a:pt x="1913" y="1374"/>
                </a:lnTo>
                <a:lnTo>
                  <a:pt x="1913" y="1367"/>
                </a:lnTo>
                <a:lnTo>
                  <a:pt x="1930" y="1342"/>
                </a:lnTo>
                <a:lnTo>
                  <a:pt x="1948" y="1315"/>
                </a:lnTo>
                <a:lnTo>
                  <a:pt x="1969" y="1289"/>
                </a:lnTo>
                <a:lnTo>
                  <a:pt x="1991" y="1262"/>
                </a:lnTo>
                <a:lnTo>
                  <a:pt x="2014" y="1234"/>
                </a:lnTo>
                <a:lnTo>
                  <a:pt x="2041" y="1207"/>
                </a:lnTo>
                <a:lnTo>
                  <a:pt x="2069" y="1181"/>
                </a:lnTo>
                <a:lnTo>
                  <a:pt x="2100" y="1155"/>
                </a:lnTo>
                <a:lnTo>
                  <a:pt x="2133" y="1130"/>
                </a:lnTo>
                <a:lnTo>
                  <a:pt x="2170" y="1107"/>
                </a:lnTo>
                <a:lnTo>
                  <a:pt x="2209" y="1086"/>
                </a:lnTo>
                <a:lnTo>
                  <a:pt x="2250" y="1066"/>
                </a:lnTo>
                <a:lnTo>
                  <a:pt x="2296" y="1049"/>
                </a:lnTo>
                <a:lnTo>
                  <a:pt x="2344" y="1033"/>
                </a:lnTo>
                <a:lnTo>
                  <a:pt x="2395" y="1022"/>
                </a:lnTo>
                <a:lnTo>
                  <a:pt x="2451" y="1013"/>
                </a:lnTo>
                <a:lnTo>
                  <a:pt x="2510" y="1008"/>
                </a:lnTo>
                <a:lnTo>
                  <a:pt x="2573" y="1005"/>
                </a:lnTo>
                <a:close/>
                <a:moveTo>
                  <a:pt x="414" y="0"/>
                </a:moveTo>
                <a:lnTo>
                  <a:pt x="467" y="2"/>
                </a:lnTo>
                <a:lnTo>
                  <a:pt x="516" y="10"/>
                </a:lnTo>
                <a:lnTo>
                  <a:pt x="562" y="22"/>
                </a:lnTo>
                <a:lnTo>
                  <a:pt x="605" y="37"/>
                </a:lnTo>
                <a:lnTo>
                  <a:pt x="644" y="58"/>
                </a:lnTo>
                <a:lnTo>
                  <a:pt x="679" y="82"/>
                </a:lnTo>
                <a:lnTo>
                  <a:pt x="711" y="109"/>
                </a:lnTo>
                <a:lnTo>
                  <a:pt x="739" y="139"/>
                </a:lnTo>
                <a:lnTo>
                  <a:pt x="764" y="173"/>
                </a:lnTo>
                <a:lnTo>
                  <a:pt x="785" y="209"/>
                </a:lnTo>
                <a:lnTo>
                  <a:pt x="800" y="248"/>
                </a:lnTo>
                <a:lnTo>
                  <a:pt x="813" y="290"/>
                </a:lnTo>
                <a:lnTo>
                  <a:pt x="821" y="334"/>
                </a:lnTo>
                <a:lnTo>
                  <a:pt x="824" y="379"/>
                </a:lnTo>
                <a:lnTo>
                  <a:pt x="821" y="424"/>
                </a:lnTo>
                <a:lnTo>
                  <a:pt x="815" y="466"/>
                </a:lnTo>
                <a:lnTo>
                  <a:pt x="802" y="507"/>
                </a:lnTo>
                <a:lnTo>
                  <a:pt x="787" y="546"/>
                </a:lnTo>
                <a:lnTo>
                  <a:pt x="766" y="582"/>
                </a:lnTo>
                <a:lnTo>
                  <a:pt x="741" y="616"/>
                </a:lnTo>
                <a:lnTo>
                  <a:pt x="712" y="647"/>
                </a:lnTo>
                <a:lnTo>
                  <a:pt x="680" y="675"/>
                </a:lnTo>
                <a:lnTo>
                  <a:pt x="644" y="699"/>
                </a:lnTo>
                <a:lnTo>
                  <a:pt x="603" y="719"/>
                </a:lnTo>
                <a:lnTo>
                  <a:pt x="560" y="736"/>
                </a:lnTo>
                <a:lnTo>
                  <a:pt x="513" y="748"/>
                </a:lnTo>
                <a:lnTo>
                  <a:pt x="463" y="755"/>
                </a:lnTo>
                <a:lnTo>
                  <a:pt x="410" y="757"/>
                </a:lnTo>
                <a:lnTo>
                  <a:pt x="405" y="757"/>
                </a:lnTo>
                <a:lnTo>
                  <a:pt x="353" y="755"/>
                </a:lnTo>
                <a:lnTo>
                  <a:pt x="305" y="748"/>
                </a:lnTo>
                <a:lnTo>
                  <a:pt x="260" y="736"/>
                </a:lnTo>
                <a:lnTo>
                  <a:pt x="217" y="719"/>
                </a:lnTo>
                <a:lnTo>
                  <a:pt x="178" y="699"/>
                </a:lnTo>
                <a:lnTo>
                  <a:pt x="143" y="675"/>
                </a:lnTo>
                <a:lnTo>
                  <a:pt x="111" y="647"/>
                </a:lnTo>
                <a:lnTo>
                  <a:pt x="82" y="616"/>
                </a:lnTo>
                <a:lnTo>
                  <a:pt x="58" y="582"/>
                </a:lnTo>
                <a:lnTo>
                  <a:pt x="37" y="546"/>
                </a:lnTo>
                <a:lnTo>
                  <a:pt x="21" y="507"/>
                </a:lnTo>
                <a:lnTo>
                  <a:pt x="9" y="466"/>
                </a:lnTo>
                <a:lnTo>
                  <a:pt x="2" y="424"/>
                </a:lnTo>
                <a:lnTo>
                  <a:pt x="0" y="379"/>
                </a:lnTo>
                <a:lnTo>
                  <a:pt x="2" y="334"/>
                </a:lnTo>
                <a:lnTo>
                  <a:pt x="9" y="290"/>
                </a:lnTo>
                <a:lnTo>
                  <a:pt x="22" y="248"/>
                </a:lnTo>
                <a:lnTo>
                  <a:pt x="38" y="209"/>
                </a:lnTo>
                <a:lnTo>
                  <a:pt x="59" y="173"/>
                </a:lnTo>
                <a:lnTo>
                  <a:pt x="84" y="139"/>
                </a:lnTo>
                <a:lnTo>
                  <a:pt x="113" y="109"/>
                </a:lnTo>
                <a:lnTo>
                  <a:pt x="146" y="82"/>
                </a:lnTo>
                <a:lnTo>
                  <a:pt x="182" y="58"/>
                </a:lnTo>
                <a:lnTo>
                  <a:pt x="223" y="37"/>
                </a:lnTo>
                <a:lnTo>
                  <a:pt x="266" y="22"/>
                </a:lnTo>
                <a:lnTo>
                  <a:pt x="313" y="10"/>
                </a:lnTo>
                <a:lnTo>
                  <a:pt x="362" y="2"/>
                </a:lnTo>
                <a:lnTo>
                  <a:pt x="414" y="0"/>
                </a:lnTo>
                <a:close/>
              </a:path>
            </a:pathLst>
          </a:custGeom>
          <a:solidFill>
            <a:srgbClr val="14CE9F"/>
          </a:solidFill>
          <a:ln w="1270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6" name="Freeform 36">
            <a:hlinkClick r:id="rId8"/>
          </p:cNvPr>
          <p:cNvSpPr>
            <a:spLocks/>
          </p:cNvSpPr>
          <p:nvPr/>
        </p:nvSpPr>
        <p:spPr bwMode="auto">
          <a:xfrm>
            <a:off x="9358386" y="6077980"/>
            <a:ext cx="190151" cy="154301"/>
          </a:xfrm>
          <a:custGeom>
            <a:avLst/>
            <a:gdLst>
              <a:gd name="T0" fmla="*/ 3173 w 4343"/>
              <a:gd name="T1" fmla="*/ 16 h 3525"/>
              <a:gd name="T2" fmla="*/ 3404 w 4343"/>
              <a:gd name="T3" fmla="*/ 92 h 3525"/>
              <a:gd name="T4" fmla="*/ 3600 w 4343"/>
              <a:gd name="T5" fmla="*/ 227 h 3525"/>
              <a:gd name="T6" fmla="*/ 3856 w 4343"/>
              <a:gd name="T7" fmla="*/ 231 h 3525"/>
              <a:gd name="T8" fmla="*/ 4135 w 4343"/>
              <a:gd name="T9" fmla="*/ 113 h 3525"/>
              <a:gd name="T10" fmla="*/ 4160 w 4343"/>
              <a:gd name="T11" fmla="*/ 215 h 3525"/>
              <a:gd name="T12" fmla="*/ 4018 w 4343"/>
              <a:gd name="T13" fmla="*/ 408 h 3525"/>
              <a:gd name="T14" fmla="*/ 3831 w 4343"/>
              <a:gd name="T15" fmla="*/ 558 h 3525"/>
              <a:gd name="T16" fmla="*/ 4145 w 4343"/>
              <a:gd name="T17" fmla="*/ 491 h 3525"/>
              <a:gd name="T18" fmla="*/ 4280 w 4343"/>
              <a:gd name="T19" fmla="*/ 504 h 3525"/>
              <a:gd name="T20" fmla="*/ 4064 w 4343"/>
              <a:gd name="T21" fmla="*/ 742 h 3525"/>
              <a:gd name="T22" fmla="*/ 3900 w 4343"/>
              <a:gd name="T23" fmla="*/ 994 h 3525"/>
              <a:gd name="T24" fmla="*/ 3881 w 4343"/>
              <a:gd name="T25" fmla="*/ 1299 h 3525"/>
              <a:gd name="T26" fmla="*/ 3823 w 4343"/>
              <a:gd name="T27" fmla="*/ 1607 h 3525"/>
              <a:gd name="T28" fmla="*/ 3725 w 4343"/>
              <a:gd name="T29" fmla="*/ 1910 h 3525"/>
              <a:gd name="T30" fmla="*/ 3591 w 4343"/>
              <a:gd name="T31" fmla="*/ 2204 h 3525"/>
              <a:gd name="T32" fmla="*/ 3420 w 4343"/>
              <a:gd name="T33" fmla="*/ 2483 h 3525"/>
              <a:gd name="T34" fmla="*/ 3210 w 4343"/>
              <a:gd name="T35" fmla="*/ 2741 h 3525"/>
              <a:gd name="T36" fmla="*/ 2966 w 4343"/>
              <a:gd name="T37" fmla="*/ 2973 h 3525"/>
              <a:gd name="T38" fmla="*/ 2686 w 4343"/>
              <a:gd name="T39" fmla="*/ 3172 h 3525"/>
              <a:gd name="T40" fmla="*/ 2371 w 4343"/>
              <a:gd name="T41" fmla="*/ 3331 h 3525"/>
              <a:gd name="T42" fmla="*/ 2022 w 4343"/>
              <a:gd name="T43" fmla="*/ 3447 h 3525"/>
              <a:gd name="T44" fmla="*/ 1640 w 4343"/>
              <a:gd name="T45" fmla="*/ 3512 h 3525"/>
              <a:gd name="T46" fmla="*/ 1229 w 4343"/>
              <a:gd name="T47" fmla="*/ 3522 h 3525"/>
              <a:gd name="T48" fmla="*/ 833 w 4343"/>
              <a:gd name="T49" fmla="*/ 3469 h 3525"/>
              <a:gd name="T50" fmla="*/ 457 w 4343"/>
              <a:gd name="T51" fmla="*/ 3357 h 3525"/>
              <a:gd name="T52" fmla="*/ 109 w 4343"/>
              <a:gd name="T53" fmla="*/ 3193 h 3525"/>
              <a:gd name="T54" fmla="*/ 212 w 4343"/>
              <a:gd name="T55" fmla="*/ 3139 h 3525"/>
              <a:gd name="T56" fmla="*/ 545 w 4343"/>
              <a:gd name="T57" fmla="*/ 3107 h 3525"/>
              <a:gd name="T58" fmla="*/ 859 w 4343"/>
              <a:gd name="T59" fmla="*/ 3019 h 3525"/>
              <a:gd name="T60" fmla="*/ 1145 w 4343"/>
              <a:gd name="T61" fmla="*/ 2878 h 3525"/>
              <a:gd name="T62" fmla="*/ 1237 w 4343"/>
              <a:gd name="T63" fmla="*/ 2752 h 3525"/>
              <a:gd name="T64" fmla="*/ 1004 w 4343"/>
              <a:gd name="T65" fmla="*/ 2694 h 3525"/>
              <a:gd name="T66" fmla="*/ 800 w 4343"/>
              <a:gd name="T67" fmla="*/ 2578 h 3525"/>
              <a:gd name="T68" fmla="*/ 634 w 4343"/>
              <a:gd name="T69" fmla="*/ 2415 h 3525"/>
              <a:gd name="T70" fmla="*/ 514 w 4343"/>
              <a:gd name="T71" fmla="*/ 2214 h 3525"/>
              <a:gd name="T72" fmla="*/ 598 w 4343"/>
              <a:gd name="T73" fmla="*/ 2153 h 3525"/>
              <a:gd name="T74" fmla="*/ 813 w 4343"/>
              <a:gd name="T75" fmla="*/ 2141 h 3525"/>
              <a:gd name="T76" fmla="*/ 732 w 4343"/>
              <a:gd name="T77" fmla="*/ 2077 h 3525"/>
              <a:gd name="T78" fmla="*/ 523 w 4343"/>
              <a:gd name="T79" fmla="*/ 1957 h 3525"/>
              <a:gd name="T80" fmla="*/ 354 w 4343"/>
              <a:gd name="T81" fmla="*/ 1787 h 3525"/>
              <a:gd name="T82" fmla="*/ 236 w 4343"/>
              <a:gd name="T83" fmla="*/ 1577 h 3525"/>
              <a:gd name="T84" fmla="*/ 178 w 4343"/>
              <a:gd name="T85" fmla="*/ 1336 h 3525"/>
              <a:gd name="T86" fmla="*/ 236 w 4343"/>
              <a:gd name="T87" fmla="*/ 1271 h 3525"/>
              <a:gd name="T88" fmla="*/ 435 w 4343"/>
              <a:gd name="T89" fmla="*/ 1335 h 3525"/>
              <a:gd name="T90" fmla="*/ 515 w 4343"/>
              <a:gd name="T91" fmla="*/ 1306 h 3525"/>
              <a:gd name="T92" fmla="*/ 353 w 4343"/>
              <a:gd name="T93" fmla="*/ 1136 h 3525"/>
              <a:gd name="T94" fmla="*/ 241 w 4343"/>
              <a:gd name="T95" fmla="*/ 929 h 3525"/>
              <a:gd name="T96" fmla="*/ 186 w 4343"/>
              <a:gd name="T97" fmla="*/ 694 h 3525"/>
              <a:gd name="T98" fmla="*/ 196 w 4343"/>
              <a:gd name="T99" fmla="*/ 452 h 3525"/>
              <a:gd name="T100" fmla="*/ 267 w 4343"/>
              <a:gd name="T101" fmla="*/ 231 h 3525"/>
              <a:gd name="T102" fmla="*/ 477 w 4343"/>
              <a:gd name="T103" fmla="*/ 356 h 3525"/>
              <a:gd name="T104" fmla="*/ 773 w 4343"/>
              <a:gd name="T105" fmla="*/ 610 h 3525"/>
              <a:gd name="T106" fmla="*/ 1108 w 4343"/>
              <a:gd name="T107" fmla="*/ 816 h 3525"/>
              <a:gd name="T108" fmla="*/ 1473 w 4343"/>
              <a:gd name="T109" fmla="*/ 969 h 3525"/>
              <a:gd name="T110" fmla="*/ 1865 w 4343"/>
              <a:gd name="T111" fmla="*/ 1065 h 3525"/>
              <a:gd name="T112" fmla="*/ 2126 w 4343"/>
              <a:gd name="T113" fmla="*/ 1027 h 3525"/>
              <a:gd name="T114" fmla="*/ 2119 w 4343"/>
              <a:gd name="T115" fmla="*/ 804 h 3525"/>
              <a:gd name="T116" fmla="*/ 2177 w 4343"/>
              <a:gd name="T117" fmla="*/ 562 h 3525"/>
              <a:gd name="T118" fmla="*/ 2297 w 4343"/>
              <a:gd name="T119" fmla="*/ 352 h 3525"/>
              <a:gd name="T120" fmla="*/ 2467 w 4343"/>
              <a:gd name="T121" fmla="*/ 182 h 3525"/>
              <a:gd name="T122" fmla="*/ 2679 w 4343"/>
              <a:gd name="T123" fmla="*/ 62 h 3525"/>
              <a:gd name="T124" fmla="*/ 2920 w 4343"/>
              <a:gd name="T125" fmla="*/ 4 h 3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43" h="3525">
                <a:moveTo>
                  <a:pt x="3006" y="0"/>
                </a:moveTo>
                <a:lnTo>
                  <a:pt x="3092" y="4"/>
                </a:lnTo>
                <a:lnTo>
                  <a:pt x="3173" y="16"/>
                </a:lnTo>
                <a:lnTo>
                  <a:pt x="3254" y="35"/>
                </a:lnTo>
                <a:lnTo>
                  <a:pt x="3330" y="61"/>
                </a:lnTo>
                <a:lnTo>
                  <a:pt x="3404" y="92"/>
                </a:lnTo>
                <a:lnTo>
                  <a:pt x="3474" y="132"/>
                </a:lnTo>
                <a:lnTo>
                  <a:pt x="3540" y="175"/>
                </a:lnTo>
                <a:lnTo>
                  <a:pt x="3600" y="227"/>
                </a:lnTo>
                <a:lnTo>
                  <a:pt x="3657" y="281"/>
                </a:lnTo>
                <a:lnTo>
                  <a:pt x="3757" y="258"/>
                </a:lnTo>
                <a:lnTo>
                  <a:pt x="3856" y="231"/>
                </a:lnTo>
                <a:lnTo>
                  <a:pt x="3952" y="196"/>
                </a:lnTo>
                <a:lnTo>
                  <a:pt x="4045" y="158"/>
                </a:lnTo>
                <a:lnTo>
                  <a:pt x="4135" y="113"/>
                </a:lnTo>
                <a:lnTo>
                  <a:pt x="4223" y="65"/>
                </a:lnTo>
                <a:lnTo>
                  <a:pt x="4194" y="141"/>
                </a:lnTo>
                <a:lnTo>
                  <a:pt x="4160" y="215"/>
                </a:lnTo>
                <a:lnTo>
                  <a:pt x="4118" y="283"/>
                </a:lnTo>
                <a:lnTo>
                  <a:pt x="4070" y="348"/>
                </a:lnTo>
                <a:lnTo>
                  <a:pt x="4018" y="408"/>
                </a:lnTo>
                <a:lnTo>
                  <a:pt x="3961" y="463"/>
                </a:lnTo>
                <a:lnTo>
                  <a:pt x="3898" y="513"/>
                </a:lnTo>
                <a:lnTo>
                  <a:pt x="3831" y="558"/>
                </a:lnTo>
                <a:lnTo>
                  <a:pt x="3939" y="541"/>
                </a:lnTo>
                <a:lnTo>
                  <a:pt x="4043" y="519"/>
                </a:lnTo>
                <a:lnTo>
                  <a:pt x="4145" y="491"/>
                </a:lnTo>
                <a:lnTo>
                  <a:pt x="4246" y="457"/>
                </a:lnTo>
                <a:lnTo>
                  <a:pt x="4343" y="417"/>
                </a:lnTo>
                <a:lnTo>
                  <a:pt x="4280" y="504"/>
                </a:lnTo>
                <a:lnTo>
                  <a:pt x="4213" y="589"/>
                </a:lnTo>
                <a:lnTo>
                  <a:pt x="4142" y="667"/>
                </a:lnTo>
                <a:lnTo>
                  <a:pt x="4064" y="742"/>
                </a:lnTo>
                <a:lnTo>
                  <a:pt x="3983" y="814"/>
                </a:lnTo>
                <a:lnTo>
                  <a:pt x="3898" y="878"/>
                </a:lnTo>
                <a:lnTo>
                  <a:pt x="3900" y="994"/>
                </a:lnTo>
                <a:lnTo>
                  <a:pt x="3899" y="1095"/>
                </a:lnTo>
                <a:lnTo>
                  <a:pt x="3893" y="1196"/>
                </a:lnTo>
                <a:lnTo>
                  <a:pt x="3881" y="1299"/>
                </a:lnTo>
                <a:lnTo>
                  <a:pt x="3866" y="1402"/>
                </a:lnTo>
                <a:lnTo>
                  <a:pt x="3846" y="1504"/>
                </a:lnTo>
                <a:lnTo>
                  <a:pt x="3823" y="1607"/>
                </a:lnTo>
                <a:lnTo>
                  <a:pt x="3795" y="1708"/>
                </a:lnTo>
                <a:lnTo>
                  <a:pt x="3762" y="1810"/>
                </a:lnTo>
                <a:lnTo>
                  <a:pt x="3725" y="1910"/>
                </a:lnTo>
                <a:lnTo>
                  <a:pt x="3684" y="2010"/>
                </a:lnTo>
                <a:lnTo>
                  <a:pt x="3640" y="2108"/>
                </a:lnTo>
                <a:lnTo>
                  <a:pt x="3591" y="2204"/>
                </a:lnTo>
                <a:lnTo>
                  <a:pt x="3538" y="2299"/>
                </a:lnTo>
                <a:lnTo>
                  <a:pt x="3480" y="2393"/>
                </a:lnTo>
                <a:lnTo>
                  <a:pt x="3420" y="2483"/>
                </a:lnTo>
                <a:lnTo>
                  <a:pt x="3354" y="2573"/>
                </a:lnTo>
                <a:lnTo>
                  <a:pt x="3284" y="2658"/>
                </a:lnTo>
                <a:lnTo>
                  <a:pt x="3210" y="2741"/>
                </a:lnTo>
                <a:lnTo>
                  <a:pt x="3132" y="2821"/>
                </a:lnTo>
                <a:lnTo>
                  <a:pt x="3052" y="2899"/>
                </a:lnTo>
                <a:lnTo>
                  <a:pt x="2966" y="2973"/>
                </a:lnTo>
                <a:lnTo>
                  <a:pt x="2877" y="3043"/>
                </a:lnTo>
                <a:lnTo>
                  <a:pt x="2783" y="3110"/>
                </a:lnTo>
                <a:lnTo>
                  <a:pt x="2686" y="3172"/>
                </a:lnTo>
                <a:lnTo>
                  <a:pt x="2584" y="3229"/>
                </a:lnTo>
                <a:lnTo>
                  <a:pt x="2480" y="3282"/>
                </a:lnTo>
                <a:lnTo>
                  <a:pt x="2371" y="3331"/>
                </a:lnTo>
                <a:lnTo>
                  <a:pt x="2259" y="3375"/>
                </a:lnTo>
                <a:lnTo>
                  <a:pt x="2142" y="3414"/>
                </a:lnTo>
                <a:lnTo>
                  <a:pt x="2022" y="3447"/>
                </a:lnTo>
                <a:lnTo>
                  <a:pt x="1898" y="3474"/>
                </a:lnTo>
                <a:lnTo>
                  <a:pt x="1770" y="3497"/>
                </a:lnTo>
                <a:lnTo>
                  <a:pt x="1640" y="3512"/>
                </a:lnTo>
                <a:lnTo>
                  <a:pt x="1504" y="3523"/>
                </a:lnTo>
                <a:lnTo>
                  <a:pt x="1366" y="3525"/>
                </a:lnTo>
                <a:lnTo>
                  <a:pt x="1229" y="3522"/>
                </a:lnTo>
                <a:lnTo>
                  <a:pt x="1095" y="3511"/>
                </a:lnTo>
                <a:lnTo>
                  <a:pt x="963" y="3494"/>
                </a:lnTo>
                <a:lnTo>
                  <a:pt x="833" y="3469"/>
                </a:lnTo>
                <a:lnTo>
                  <a:pt x="705" y="3439"/>
                </a:lnTo>
                <a:lnTo>
                  <a:pt x="580" y="3400"/>
                </a:lnTo>
                <a:lnTo>
                  <a:pt x="457" y="3357"/>
                </a:lnTo>
                <a:lnTo>
                  <a:pt x="339" y="3308"/>
                </a:lnTo>
                <a:lnTo>
                  <a:pt x="223" y="3253"/>
                </a:lnTo>
                <a:lnTo>
                  <a:pt x="109" y="3193"/>
                </a:lnTo>
                <a:lnTo>
                  <a:pt x="0" y="3125"/>
                </a:lnTo>
                <a:lnTo>
                  <a:pt x="105" y="3135"/>
                </a:lnTo>
                <a:lnTo>
                  <a:pt x="212" y="3139"/>
                </a:lnTo>
                <a:lnTo>
                  <a:pt x="325" y="3135"/>
                </a:lnTo>
                <a:lnTo>
                  <a:pt x="436" y="3124"/>
                </a:lnTo>
                <a:lnTo>
                  <a:pt x="545" y="3107"/>
                </a:lnTo>
                <a:lnTo>
                  <a:pt x="652" y="3083"/>
                </a:lnTo>
                <a:lnTo>
                  <a:pt x="757" y="3054"/>
                </a:lnTo>
                <a:lnTo>
                  <a:pt x="859" y="3019"/>
                </a:lnTo>
                <a:lnTo>
                  <a:pt x="958" y="2977"/>
                </a:lnTo>
                <a:lnTo>
                  <a:pt x="1053" y="2929"/>
                </a:lnTo>
                <a:lnTo>
                  <a:pt x="1145" y="2878"/>
                </a:lnTo>
                <a:lnTo>
                  <a:pt x="1234" y="2820"/>
                </a:lnTo>
                <a:lnTo>
                  <a:pt x="1319" y="2757"/>
                </a:lnTo>
                <a:lnTo>
                  <a:pt x="1237" y="2752"/>
                </a:lnTo>
                <a:lnTo>
                  <a:pt x="1157" y="2739"/>
                </a:lnTo>
                <a:lnTo>
                  <a:pt x="1079" y="2720"/>
                </a:lnTo>
                <a:lnTo>
                  <a:pt x="1004" y="2694"/>
                </a:lnTo>
                <a:lnTo>
                  <a:pt x="931" y="2661"/>
                </a:lnTo>
                <a:lnTo>
                  <a:pt x="864" y="2623"/>
                </a:lnTo>
                <a:lnTo>
                  <a:pt x="800" y="2578"/>
                </a:lnTo>
                <a:lnTo>
                  <a:pt x="739" y="2528"/>
                </a:lnTo>
                <a:lnTo>
                  <a:pt x="684" y="2474"/>
                </a:lnTo>
                <a:lnTo>
                  <a:pt x="634" y="2415"/>
                </a:lnTo>
                <a:lnTo>
                  <a:pt x="588" y="2352"/>
                </a:lnTo>
                <a:lnTo>
                  <a:pt x="548" y="2285"/>
                </a:lnTo>
                <a:lnTo>
                  <a:pt x="514" y="2214"/>
                </a:lnTo>
                <a:lnTo>
                  <a:pt x="487" y="2139"/>
                </a:lnTo>
                <a:lnTo>
                  <a:pt x="541" y="2148"/>
                </a:lnTo>
                <a:lnTo>
                  <a:pt x="598" y="2153"/>
                </a:lnTo>
                <a:lnTo>
                  <a:pt x="655" y="2156"/>
                </a:lnTo>
                <a:lnTo>
                  <a:pt x="735" y="2152"/>
                </a:lnTo>
                <a:lnTo>
                  <a:pt x="813" y="2141"/>
                </a:lnTo>
                <a:lnTo>
                  <a:pt x="889" y="2124"/>
                </a:lnTo>
                <a:lnTo>
                  <a:pt x="809" y="2104"/>
                </a:lnTo>
                <a:lnTo>
                  <a:pt x="732" y="2077"/>
                </a:lnTo>
                <a:lnTo>
                  <a:pt x="659" y="2043"/>
                </a:lnTo>
                <a:lnTo>
                  <a:pt x="589" y="2003"/>
                </a:lnTo>
                <a:lnTo>
                  <a:pt x="523" y="1957"/>
                </a:lnTo>
                <a:lnTo>
                  <a:pt x="461" y="1906"/>
                </a:lnTo>
                <a:lnTo>
                  <a:pt x="406" y="1849"/>
                </a:lnTo>
                <a:lnTo>
                  <a:pt x="354" y="1787"/>
                </a:lnTo>
                <a:lnTo>
                  <a:pt x="308" y="1721"/>
                </a:lnTo>
                <a:lnTo>
                  <a:pt x="269" y="1650"/>
                </a:lnTo>
                <a:lnTo>
                  <a:pt x="236" y="1577"/>
                </a:lnTo>
                <a:lnTo>
                  <a:pt x="209" y="1499"/>
                </a:lnTo>
                <a:lnTo>
                  <a:pt x="190" y="1419"/>
                </a:lnTo>
                <a:lnTo>
                  <a:pt x="178" y="1336"/>
                </a:lnTo>
                <a:lnTo>
                  <a:pt x="174" y="1252"/>
                </a:lnTo>
                <a:lnTo>
                  <a:pt x="174" y="1240"/>
                </a:lnTo>
                <a:lnTo>
                  <a:pt x="236" y="1271"/>
                </a:lnTo>
                <a:lnTo>
                  <a:pt x="300" y="1298"/>
                </a:lnTo>
                <a:lnTo>
                  <a:pt x="366" y="1319"/>
                </a:lnTo>
                <a:lnTo>
                  <a:pt x="435" y="1335"/>
                </a:lnTo>
                <a:lnTo>
                  <a:pt x="506" y="1346"/>
                </a:lnTo>
                <a:lnTo>
                  <a:pt x="578" y="1352"/>
                </a:lnTo>
                <a:lnTo>
                  <a:pt x="515" y="1306"/>
                </a:lnTo>
                <a:lnTo>
                  <a:pt x="456" y="1253"/>
                </a:lnTo>
                <a:lnTo>
                  <a:pt x="402" y="1198"/>
                </a:lnTo>
                <a:lnTo>
                  <a:pt x="353" y="1136"/>
                </a:lnTo>
                <a:lnTo>
                  <a:pt x="310" y="1071"/>
                </a:lnTo>
                <a:lnTo>
                  <a:pt x="273" y="1002"/>
                </a:lnTo>
                <a:lnTo>
                  <a:pt x="241" y="929"/>
                </a:lnTo>
                <a:lnTo>
                  <a:pt x="215" y="853"/>
                </a:lnTo>
                <a:lnTo>
                  <a:pt x="196" y="775"/>
                </a:lnTo>
                <a:lnTo>
                  <a:pt x="186" y="694"/>
                </a:lnTo>
                <a:lnTo>
                  <a:pt x="182" y="611"/>
                </a:lnTo>
                <a:lnTo>
                  <a:pt x="186" y="529"/>
                </a:lnTo>
                <a:lnTo>
                  <a:pt x="196" y="452"/>
                </a:lnTo>
                <a:lnTo>
                  <a:pt x="213" y="375"/>
                </a:lnTo>
                <a:lnTo>
                  <a:pt x="237" y="302"/>
                </a:lnTo>
                <a:lnTo>
                  <a:pt x="267" y="231"/>
                </a:lnTo>
                <a:lnTo>
                  <a:pt x="303" y="163"/>
                </a:lnTo>
                <a:lnTo>
                  <a:pt x="387" y="262"/>
                </a:lnTo>
                <a:lnTo>
                  <a:pt x="477" y="356"/>
                </a:lnTo>
                <a:lnTo>
                  <a:pt x="572" y="445"/>
                </a:lnTo>
                <a:lnTo>
                  <a:pt x="670" y="531"/>
                </a:lnTo>
                <a:lnTo>
                  <a:pt x="773" y="610"/>
                </a:lnTo>
                <a:lnTo>
                  <a:pt x="881" y="685"/>
                </a:lnTo>
                <a:lnTo>
                  <a:pt x="993" y="753"/>
                </a:lnTo>
                <a:lnTo>
                  <a:pt x="1108" y="816"/>
                </a:lnTo>
                <a:lnTo>
                  <a:pt x="1226" y="873"/>
                </a:lnTo>
                <a:lnTo>
                  <a:pt x="1348" y="924"/>
                </a:lnTo>
                <a:lnTo>
                  <a:pt x="1473" y="969"/>
                </a:lnTo>
                <a:lnTo>
                  <a:pt x="1602" y="1008"/>
                </a:lnTo>
                <a:lnTo>
                  <a:pt x="1732" y="1040"/>
                </a:lnTo>
                <a:lnTo>
                  <a:pt x="1865" y="1065"/>
                </a:lnTo>
                <a:lnTo>
                  <a:pt x="2001" y="1082"/>
                </a:lnTo>
                <a:lnTo>
                  <a:pt x="2139" y="1092"/>
                </a:lnTo>
                <a:lnTo>
                  <a:pt x="2126" y="1027"/>
                </a:lnTo>
                <a:lnTo>
                  <a:pt x="2118" y="960"/>
                </a:lnTo>
                <a:lnTo>
                  <a:pt x="2116" y="890"/>
                </a:lnTo>
                <a:lnTo>
                  <a:pt x="2119" y="804"/>
                </a:lnTo>
                <a:lnTo>
                  <a:pt x="2131" y="721"/>
                </a:lnTo>
                <a:lnTo>
                  <a:pt x="2151" y="640"/>
                </a:lnTo>
                <a:lnTo>
                  <a:pt x="2177" y="562"/>
                </a:lnTo>
                <a:lnTo>
                  <a:pt x="2212" y="488"/>
                </a:lnTo>
                <a:lnTo>
                  <a:pt x="2251" y="417"/>
                </a:lnTo>
                <a:lnTo>
                  <a:pt x="2297" y="352"/>
                </a:lnTo>
                <a:lnTo>
                  <a:pt x="2349" y="290"/>
                </a:lnTo>
                <a:lnTo>
                  <a:pt x="2405" y="233"/>
                </a:lnTo>
                <a:lnTo>
                  <a:pt x="2467" y="182"/>
                </a:lnTo>
                <a:lnTo>
                  <a:pt x="2534" y="136"/>
                </a:lnTo>
                <a:lnTo>
                  <a:pt x="2604" y="96"/>
                </a:lnTo>
                <a:lnTo>
                  <a:pt x="2679" y="62"/>
                </a:lnTo>
                <a:lnTo>
                  <a:pt x="2757" y="36"/>
                </a:lnTo>
                <a:lnTo>
                  <a:pt x="2837" y="16"/>
                </a:lnTo>
                <a:lnTo>
                  <a:pt x="2920" y="4"/>
                </a:lnTo>
                <a:lnTo>
                  <a:pt x="3006" y="0"/>
                </a:lnTo>
                <a:close/>
              </a:path>
            </a:pathLst>
          </a:custGeom>
          <a:solidFill>
            <a:srgbClr val="14CE9F"/>
          </a:solidFill>
          <a:ln w="1270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8" name="Freeform 23"/>
          <p:cNvSpPr>
            <a:spLocks noEditPoints="1"/>
          </p:cNvSpPr>
          <p:nvPr/>
        </p:nvSpPr>
        <p:spPr bwMode="auto">
          <a:xfrm>
            <a:off x="10070321" y="6086096"/>
            <a:ext cx="223392" cy="138069"/>
          </a:xfrm>
          <a:custGeom>
            <a:avLst/>
            <a:gdLst>
              <a:gd name="T0" fmla="*/ 1053 w 3456"/>
              <a:gd name="T1" fmla="*/ 1762 h 2139"/>
              <a:gd name="T2" fmla="*/ 1224 w 3456"/>
              <a:gd name="T3" fmla="*/ 1693 h 2139"/>
              <a:gd name="T4" fmla="*/ 1303 w 3456"/>
              <a:gd name="T5" fmla="*/ 1544 h 2139"/>
              <a:gd name="T6" fmla="*/ 1290 w 3456"/>
              <a:gd name="T7" fmla="*/ 1353 h 2139"/>
              <a:gd name="T8" fmla="*/ 1173 w 3456"/>
              <a:gd name="T9" fmla="*/ 1234 h 2139"/>
              <a:gd name="T10" fmla="*/ 957 w 3456"/>
              <a:gd name="T11" fmla="*/ 1197 h 2139"/>
              <a:gd name="T12" fmla="*/ 2571 w 3456"/>
              <a:gd name="T13" fmla="*/ 846 h 2139"/>
              <a:gd name="T14" fmla="*/ 2424 w 3456"/>
              <a:gd name="T15" fmla="*/ 948 h 2139"/>
              <a:gd name="T16" fmla="*/ 2344 w 3456"/>
              <a:gd name="T17" fmla="*/ 1156 h 2139"/>
              <a:gd name="T18" fmla="*/ 2997 w 3456"/>
              <a:gd name="T19" fmla="*/ 998 h 2139"/>
              <a:gd name="T20" fmla="*/ 2861 w 3456"/>
              <a:gd name="T21" fmla="*/ 867 h 2139"/>
              <a:gd name="T22" fmla="*/ 2691 w 3456"/>
              <a:gd name="T23" fmla="*/ 499 h 2139"/>
              <a:gd name="T24" fmla="*/ 2998 w 3456"/>
              <a:gd name="T25" fmla="*/ 549 h 2139"/>
              <a:gd name="T26" fmla="*/ 3243 w 3456"/>
              <a:gd name="T27" fmla="*/ 705 h 2139"/>
              <a:gd name="T28" fmla="*/ 3397 w 3456"/>
              <a:gd name="T29" fmla="*/ 946 h 2139"/>
              <a:gd name="T30" fmla="*/ 3451 w 3456"/>
              <a:gd name="T31" fmla="*/ 1195 h 2139"/>
              <a:gd name="T32" fmla="*/ 3456 w 3456"/>
              <a:gd name="T33" fmla="*/ 1419 h 2139"/>
              <a:gd name="T34" fmla="*/ 2370 w 3456"/>
              <a:gd name="T35" fmla="*/ 1597 h 2139"/>
              <a:gd name="T36" fmla="*/ 2495 w 3456"/>
              <a:gd name="T37" fmla="*/ 1743 h 2139"/>
              <a:gd name="T38" fmla="*/ 2717 w 3456"/>
              <a:gd name="T39" fmla="*/ 1801 h 2139"/>
              <a:gd name="T40" fmla="*/ 2910 w 3456"/>
              <a:gd name="T41" fmla="*/ 1752 h 2139"/>
              <a:gd name="T42" fmla="*/ 3023 w 3456"/>
              <a:gd name="T43" fmla="*/ 1624 h 2139"/>
              <a:gd name="T44" fmla="*/ 3361 w 3456"/>
              <a:gd name="T45" fmla="*/ 1809 h 2139"/>
              <a:gd name="T46" fmla="*/ 3146 w 3456"/>
              <a:gd name="T47" fmla="*/ 2016 h 2139"/>
              <a:gd name="T48" fmla="*/ 2849 w 3456"/>
              <a:gd name="T49" fmla="*/ 2116 h 2139"/>
              <a:gd name="T50" fmla="*/ 2485 w 3456"/>
              <a:gd name="T51" fmla="*/ 2098 h 2139"/>
              <a:gd name="T52" fmla="*/ 2164 w 3456"/>
              <a:gd name="T53" fmla="*/ 1937 h 2139"/>
              <a:gd name="T54" fmla="*/ 1998 w 3456"/>
              <a:gd name="T55" fmla="*/ 1716 h 2139"/>
              <a:gd name="T56" fmla="*/ 1930 w 3456"/>
              <a:gd name="T57" fmla="*/ 1398 h 2139"/>
              <a:gd name="T58" fmla="*/ 1963 w 3456"/>
              <a:gd name="T59" fmla="*/ 1034 h 2139"/>
              <a:gd name="T60" fmla="*/ 2100 w 3456"/>
              <a:gd name="T61" fmla="*/ 757 h 2139"/>
              <a:gd name="T62" fmla="*/ 2330 w 3456"/>
              <a:gd name="T63" fmla="*/ 576 h 2139"/>
              <a:gd name="T64" fmla="*/ 2624 w 3456"/>
              <a:gd name="T65" fmla="*/ 501 h 2139"/>
              <a:gd name="T66" fmla="*/ 996 w 3456"/>
              <a:gd name="T67" fmla="*/ 842 h 2139"/>
              <a:gd name="T68" fmla="*/ 1178 w 3456"/>
              <a:gd name="T69" fmla="*/ 791 h 2139"/>
              <a:gd name="T70" fmla="*/ 1259 w 3456"/>
              <a:gd name="T71" fmla="*/ 673 h 2139"/>
              <a:gd name="T72" fmla="*/ 1249 w 3456"/>
              <a:gd name="T73" fmla="*/ 505 h 2139"/>
              <a:gd name="T74" fmla="*/ 1150 w 3456"/>
              <a:gd name="T75" fmla="*/ 406 h 2139"/>
              <a:gd name="T76" fmla="*/ 896 w 3456"/>
              <a:gd name="T77" fmla="*/ 371 h 2139"/>
              <a:gd name="T78" fmla="*/ 2255 w 3456"/>
              <a:gd name="T79" fmla="*/ 304 h 2139"/>
              <a:gd name="T80" fmla="*/ 1174 w 3456"/>
              <a:gd name="T81" fmla="*/ 10 h 2139"/>
              <a:gd name="T82" fmla="*/ 1446 w 3456"/>
              <a:gd name="T83" fmla="*/ 95 h 2139"/>
              <a:gd name="T84" fmla="*/ 1621 w 3456"/>
              <a:gd name="T85" fmla="*/ 268 h 2139"/>
              <a:gd name="T86" fmla="*/ 1692 w 3456"/>
              <a:gd name="T87" fmla="*/ 501 h 2139"/>
              <a:gd name="T88" fmla="*/ 1661 w 3456"/>
              <a:gd name="T89" fmla="*/ 754 h 2139"/>
              <a:gd name="T90" fmla="*/ 1526 w 3456"/>
              <a:gd name="T91" fmla="*/ 934 h 2139"/>
              <a:gd name="T92" fmla="*/ 1556 w 3456"/>
              <a:gd name="T93" fmla="*/ 1056 h 2139"/>
              <a:gd name="T94" fmla="*/ 1704 w 3456"/>
              <a:gd name="T95" fmla="*/ 1225 h 2139"/>
              <a:gd name="T96" fmla="*/ 1763 w 3456"/>
              <a:gd name="T97" fmla="*/ 1494 h 2139"/>
              <a:gd name="T98" fmla="*/ 1697 w 3456"/>
              <a:gd name="T99" fmla="*/ 1784 h 2139"/>
              <a:gd name="T100" fmla="*/ 1514 w 3456"/>
              <a:gd name="T101" fmla="*/ 2003 h 2139"/>
              <a:gd name="T102" fmla="*/ 1272 w 3456"/>
              <a:gd name="T103" fmla="*/ 2111 h 2139"/>
              <a:gd name="T104" fmla="*/ 0 w 3456"/>
              <a:gd name="T105" fmla="*/ 2139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56" h="2139">
                <a:moveTo>
                  <a:pt x="496" y="1197"/>
                </a:moveTo>
                <a:lnTo>
                  <a:pt x="496" y="1768"/>
                </a:lnTo>
                <a:lnTo>
                  <a:pt x="951" y="1768"/>
                </a:lnTo>
                <a:lnTo>
                  <a:pt x="1004" y="1766"/>
                </a:lnTo>
                <a:lnTo>
                  <a:pt x="1053" y="1762"/>
                </a:lnTo>
                <a:lnTo>
                  <a:pt x="1095" y="1755"/>
                </a:lnTo>
                <a:lnTo>
                  <a:pt x="1134" y="1744"/>
                </a:lnTo>
                <a:lnTo>
                  <a:pt x="1168" y="1731"/>
                </a:lnTo>
                <a:lnTo>
                  <a:pt x="1198" y="1713"/>
                </a:lnTo>
                <a:lnTo>
                  <a:pt x="1224" y="1693"/>
                </a:lnTo>
                <a:lnTo>
                  <a:pt x="1246" y="1669"/>
                </a:lnTo>
                <a:lnTo>
                  <a:pt x="1266" y="1643"/>
                </a:lnTo>
                <a:lnTo>
                  <a:pt x="1282" y="1614"/>
                </a:lnTo>
                <a:lnTo>
                  <a:pt x="1293" y="1581"/>
                </a:lnTo>
                <a:lnTo>
                  <a:pt x="1303" y="1544"/>
                </a:lnTo>
                <a:lnTo>
                  <a:pt x="1308" y="1506"/>
                </a:lnTo>
                <a:lnTo>
                  <a:pt x="1309" y="1463"/>
                </a:lnTo>
                <a:lnTo>
                  <a:pt x="1307" y="1423"/>
                </a:lnTo>
                <a:lnTo>
                  <a:pt x="1301" y="1386"/>
                </a:lnTo>
                <a:lnTo>
                  <a:pt x="1290" y="1353"/>
                </a:lnTo>
                <a:lnTo>
                  <a:pt x="1276" y="1322"/>
                </a:lnTo>
                <a:lnTo>
                  <a:pt x="1256" y="1295"/>
                </a:lnTo>
                <a:lnTo>
                  <a:pt x="1233" y="1271"/>
                </a:lnTo>
                <a:lnTo>
                  <a:pt x="1204" y="1252"/>
                </a:lnTo>
                <a:lnTo>
                  <a:pt x="1173" y="1234"/>
                </a:lnTo>
                <a:lnTo>
                  <a:pt x="1139" y="1221"/>
                </a:lnTo>
                <a:lnTo>
                  <a:pt x="1102" y="1212"/>
                </a:lnTo>
                <a:lnTo>
                  <a:pt x="1059" y="1205"/>
                </a:lnTo>
                <a:lnTo>
                  <a:pt x="1011" y="1199"/>
                </a:lnTo>
                <a:lnTo>
                  <a:pt x="957" y="1197"/>
                </a:lnTo>
                <a:lnTo>
                  <a:pt x="496" y="1197"/>
                </a:lnTo>
                <a:close/>
                <a:moveTo>
                  <a:pt x="2691" y="830"/>
                </a:moveTo>
                <a:lnTo>
                  <a:pt x="2649" y="832"/>
                </a:lnTo>
                <a:lnTo>
                  <a:pt x="2609" y="837"/>
                </a:lnTo>
                <a:lnTo>
                  <a:pt x="2571" y="846"/>
                </a:lnTo>
                <a:lnTo>
                  <a:pt x="2536" y="859"/>
                </a:lnTo>
                <a:lnTo>
                  <a:pt x="2505" y="875"/>
                </a:lnTo>
                <a:lnTo>
                  <a:pt x="2477" y="895"/>
                </a:lnTo>
                <a:lnTo>
                  <a:pt x="2452" y="918"/>
                </a:lnTo>
                <a:lnTo>
                  <a:pt x="2424" y="948"/>
                </a:lnTo>
                <a:lnTo>
                  <a:pt x="2401" y="983"/>
                </a:lnTo>
                <a:lnTo>
                  <a:pt x="2381" y="1021"/>
                </a:lnTo>
                <a:lnTo>
                  <a:pt x="2366" y="1062"/>
                </a:lnTo>
                <a:lnTo>
                  <a:pt x="2353" y="1107"/>
                </a:lnTo>
                <a:lnTo>
                  <a:pt x="2344" y="1156"/>
                </a:lnTo>
                <a:lnTo>
                  <a:pt x="3038" y="1156"/>
                </a:lnTo>
                <a:lnTo>
                  <a:pt x="3033" y="1111"/>
                </a:lnTo>
                <a:lnTo>
                  <a:pt x="3025" y="1070"/>
                </a:lnTo>
                <a:lnTo>
                  <a:pt x="3012" y="1033"/>
                </a:lnTo>
                <a:lnTo>
                  <a:pt x="2997" y="998"/>
                </a:lnTo>
                <a:lnTo>
                  <a:pt x="2978" y="966"/>
                </a:lnTo>
                <a:lnTo>
                  <a:pt x="2955" y="938"/>
                </a:lnTo>
                <a:lnTo>
                  <a:pt x="2930" y="913"/>
                </a:lnTo>
                <a:lnTo>
                  <a:pt x="2897" y="888"/>
                </a:lnTo>
                <a:lnTo>
                  <a:pt x="2861" y="867"/>
                </a:lnTo>
                <a:lnTo>
                  <a:pt x="2822" y="850"/>
                </a:lnTo>
                <a:lnTo>
                  <a:pt x="2782" y="839"/>
                </a:lnTo>
                <a:lnTo>
                  <a:pt x="2738" y="833"/>
                </a:lnTo>
                <a:lnTo>
                  <a:pt x="2691" y="830"/>
                </a:lnTo>
                <a:close/>
                <a:moveTo>
                  <a:pt x="2691" y="499"/>
                </a:moveTo>
                <a:lnTo>
                  <a:pt x="2757" y="501"/>
                </a:lnTo>
                <a:lnTo>
                  <a:pt x="2821" y="508"/>
                </a:lnTo>
                <a:lnTo>
                  <a:pt x="2882" y="518"/>
                </a:lnTo>
                <a:lnTo>
                  <a:pt x="2942" y="532"/>
                </a:lnTo>
                <a:lnTo>
                  <a:pt x="2998" y="549"/>
                </a:lnTo>
                <a:lnTo>
                  <a:pt x="3054" y="571"/>
                </a:lnTo>
                <a:lnTo>
                  <a:pt x="3106" y="597"/>
                </a:lnTo>
                <a:lnTo>
                  <a:pt x="3154" y="629"/>
                </a:lnTo>
                <a:lnTo>
                  <a:pt x="3200" y="664"/>
                </a:lnTo>
                <a:lnTo>
                  <a:pt x="3243" y="705"/>
                </a:lnTo>
                <a:lnTo>
                  <a:pt x="3283" y="748"/>
                </a:lnTo>
                <a:lnTo>
                  <a:pt x="3320" y="798"/>
                </a:lnTo>
                <a:lnTo>
                  <a:pt x="3349" y="845"/>
                </a:lnTo>
                <a:lnTo>
                  <a:pt x="3375" y="894"/>
                </a:lnTo>
                <a:lnTo>
                  <a:pt x="3397" y="946"/>
                </a:lnTo>
                <a:lnTo>
                  <a:pt x="3416" y="1000"/>
                </a:lnTo>
                <a:lnTo>
                  <a:pt x="3431" y="1057"/>
                </a:lnTo>
                <a:lnTo>
                  <a:pt x="3442" y="1115"/>
                </a:lnTo>
                <a:lnTo>
                  <a:pt x="3447" y="1153"/>
                </a:lnTo>
                <a:lnTo>
                  <a:pt x="3451" y="1195"/>
                </a:lnTo>
                <a:lnTo>
                  <a:pt x="3454" y="1244"/>
                </a:lnTo>
                <a:lnTo>
                  <a:pt x="3455" y="1297"/>
                </a:lnTo>
                <a:lnTo>
                  <a:pt x="3456" y="1355"/>
                </a:lnTo>
                <a:lnTo>
                  <a:pt x="3456" y="1358"/>
                </a:lnTo>
                <a:lnTo>
                  <a:pt x="3456" y="1419"/>
                </a:lnTo>
                <a:lnTo>
                  <a:pt x="2334" y="1419"/>
                </a:lnTo>
                <a:lnTo>
                  <a:pt x="2338" y="1469"/>
                </a:lnTo>
                <a:lnTo>
                  <a:pt x="2345" y="1515"/>
                </a:lnTo>
                <a:lnTo>
                  <a:pt x="2356" y="1558"/>
                </a:lnTo>
                <a:lnTo>
                  <a:pt x="2370" y="1597"/>
                </a:lnTo>
                <a:lnTo>
                  <a:pt x="2389" y="1633"/>
                </a:lnTo>
                <a:lnTo>
                  <a:pt x="2410" y="1666"/>
                </a:lnTo>
                <a:lnTo>
                  <a:pt x="2435" y="1695"/>
                </a:lnTo>
                <a:lnTo>
                  <a:pt x="2463" y="1720"/>
                </a:lnTo>
                <a:lnTo>
                  <a:pt x="2495" y="1743"/>
                </a:lnTo>
                <a:lnTo>
                  <a:pt x="2533" y="1764"/>
                </a:lnTo>
                <a:lnTo>
                  <a:pt x="2574" y="1780"/>
                </a:lnTo>
                <a:lnTo>
                  <a:pt x="2619" y="1791"/>
                </a:lnTo>
                <a:lnTo>
                  <a:pt x="2666" y="1798"/>
                </a:lnTo>
                <a:lnTo>
                  <a:pt x="2717" y="1801"/>
                </a:lnTo>
                <a:lnTo>
                  <a:pt x="2762" y="1798"/>
                </a:lnTo>
                <a:lnTo>
                  <a:pt x="2803" y="1792"/>
                </a:lnTo>
                <a:lnTo>
                  <a:pt x="2841" y="1783"/>
                </a:lnTo>
                <a:lnTo>
                  <a:pt x="2878" y="1769"/>
                </a:lnTo>
                <a:lnTo>
                  <a:pt x="2910" y="1752"/>
                </a:lnTo>
                <a:lnTo>
                  <a:pt x="2941" y="1730"/>
                </a:lnTo>
                <a:lnTo>
                  <a:pt x="2964" y="1709"/>
                </a:lnTo>
                <a:lnTo>
                  <a:pt x="2985" y="1685"/>
                </a:lnTo>
                <a:lnTo>
                  <a:pt x="3005" y="1657"/>
                </a:lnTo>
                <a:lnTo>
                  <a:pt x="3023" y="1624"/>
                </a:lnTo>
                <a:lnTo>
                  <a:pt x="3434" y="1624"/>
                </a:lnTo>
                <a:lnTo>
                  <a:pt x="3426" y="1670"/>
                </a:lnTo>
                <a:lnTo>
                  <a:pt x="3411" y="1716"/>
                </a:lnTo>
                <a:lnTo>
                  <a:pt x="3389" y="1762"/>
                </a:lnTo>
                <a:lnTo>
                  <a:pt x="3361" y="1809"/>
                </a:lnTo>
                <a:lnTo>
                  <a:pt x="3326" y="1855"/>
                </a:lnTo>
                <a:lnTo>
                  <a:pt x="3285" y="1902"/>
                </a:lnTo>
                <a:lnTo>
                  <a:pt x="3242" y="1944"/>
                </a:lnTo>
                <a:lnTo>
                  <a:pt x="3196" y="1982"/>
                </a:lnTo>
                <a:lnTo>
                  <a:pt x="3146" y="2016"/>
                </a:lnTo>
                <a:lnTo>
                  <a:pt x="3094" y="2045"/>
                </a:lnTo>
                <a:lnTo>
                  <a:pt x="3037" y="2069"/>
                </a:lnTo>
                <a:lnTo>
                  <a:pt x="2977" y="2090"/>
                </a:lnTo>
                <a:lnTo>
                  <a:pt x="2915" y="2106"/>
                </a:lnTo>
                <a:lnTo>
                  <a:pt x="2849" y="2116"/>
                </a:lnTo>
                <a:lnTo>
                  <a:pt x="2778" y="2123"/>
                </a:lnTo>
                <a:lnTo>
                  <a:pt x="2706" y="2126"/>
                </a:lnTo>
                <a:lnTo>
                  <a:pt x="2630" y="2122"/>
                </a:lnTo>
                <a:lnTo>
                  <a:pt x="2556" y="2114"/>
                </a:lnTo>
                <a:lnTo>
                  <a:pt x="2485" y="2098"/>
                </a:lnTo>
                <a:lnTo>
                  <a:pt x="2416" y="2079"/>
                </a:lnTo>
                <a:lnTo>
                  <a:pt x="2350" y="2052"/>
                </a:lnTo>
                <a:lnTo>
                  <a:pt x="2285" y="2019"/>
                </a:lnTo>
                <a:lnTo>
                  <a:pt x="2223" y="1981"/>
                </a:lnTo>
                <a:lnTo>
                  <a:pt x="2164" y="1937"/>
                </a:lnTo>
                <a:lnTo>
                  <a:pt x="2123" y="1901"/>
                </a:lnTo>
                <a:lnTo>
                  <a:pt x="2085" y="1861"/>
                </a:lnTo>
                <a:lnTo>
                  <a:pt x="2053" y="1816"/>
                </a:lnTo>
                <a:lnTo>
                  <a:pt x="2023" y="1768"/>
                </a:lnTo>
                <a:lnTo>
                  <a:pt x="1998" y="1716"/>
                </a:lnTo>
                <a:lnTo>
                  <a:pt x="1977" y="1661"/>
                </a:lnTo>
                <a:lnTo>
                  <a:pt x="1959" y="1602"/>
                </a:lnTo>
                <a:lnTo>
                  <a:pt x="1946" y="1537"/>
                </a:lnTo>
                <a:lnTo>
                  <a:pt x="1936" y="1470"/>
                </a:lnTo>
                <a:lnTo>
                  <a:pt x="1930" y="1398"/>
                </a:lnTo>
                <a:lnTo>
                  <a:pt x="1928" y="1323"/>
                </a:lnTo>
                <a:lnTo>
                  <a:pt x="1930" y="1245"/>
                </a:lnTo>
                <a:lnTo>
                  <a:pt x="1936" y="1171"/>
                </a:lnTo>
                <a:lnTo>
                  <a:pt x="1948" y="1100"/>
                </a:lnTo>
                <a:lnTo>
                  <a:pt x="1963" y="1034"/>
                </a:lnTo>
                <a:lnTo>
                  <a:pt x="1981" y="971"/>
                </a:lnTo>
                <a:lnTo>
                  <a:pt x="2004" y="912"/>
                </a:lnTo>
                <a:lnTo>
                  <a:pt x="2032" y="857"/>
                </a:lnTo>
                <a:lnTo>
                  <a:pt x="2064" y="805"/>
                </a:lnTo>
                <a:lnTo>
                  <a:pt x="2100" y="757"/>
                </a:lnTo>
                <a:lnTo>
                  <a:pt x="2141" y="712"/>
                </a:lnTo>
                <a:lnTo>
                  <a:pt x="2185" y="672"/>
                </a:lnTo>
                <a:lnTo>
                  <a:pt x="2231" y="636"/>
                </a:lnTo>
                <a:lnTo>
                  <a:pt x="2279" y="604"/>
                </a:lnTo>
                <a:lnTo>
                  <a:pt x="2330" y="576"/>
                </a:lnTo>
                <a:lnTo>
                  <a:pt x="2385" y="553"/>
                </a:lnTo>
                <a:lnTo>
                  <a:pt x="2441" y="534"/>
                </a:lnTo>
                <a:lnTo>
                  <a:pt x="2500" y="519"/>
                </a:lnTo>
                <a:lnTo>
                  <a:pt x="2561" y="509"/>
                </a:lnTo>
                <a:lnTo>
                  <a:pt x="2624" y="501"/>
                </a:lnTo>
                <a:lnTo>
                  <a:pt x="2691" y="499"/>
                </a:lnTo>
                <a:close/>
                <a:moveTo>
                  <a:pt x="496" y="371"/>
                </a:moveTo>
                <a:lnTo>
                  <a:pt x="496" y="844"/>
                </a:lnTo>
                <a:lnTo>
                  <a:pt x="951" y="844"/>
                </a:lnTo>
                <a:lnTo>
                  <a:pt x="996" y="842"/>
                </a:lnTo>
                <a:lnTo>
                  <a:pt x="1039" y="838"/>
                </a:lnTo>
                <a:lnTo>
                  <a:pt x="1078" y="831"/>
                </a:lnTo>
                <a:lnTo>
                  <a:pt x="1114" y="820"/>
                </a:lnTo>
                <a:lnTo>
                  <a:pt x="1148" y="807"/>
                </a:lnTo>
                <a:lnTo>
                  <a:pt x="1178" y="791"/>
                </a:lnTo>
                <a:lnTo>
                  <a:pt x="1201" y="773"/>
                </a:lnTo>
                <a:lnTo>
                  <a:pt x="1221" y="754"/>
                </a:lnTo>
                <a:lnTo>
                  <a:pt x="1237" y="731"/>
                </a:lnTo>
                <a:lnTo>
                  <a:pt x="1249" y="704"/>
                </a:lnTo>
                <a:lnTo>
                  <a:pt x="1259" y="673"/>
                </a:lnTo>
                <a:lnTo>
                  <a:pt x="1264" y="640"/>
                </a:lnTo>
                <a:lnTo>
                  <a:pt x="1265" y="603"/>
                </a:lnTo>
                <a:lnTo>
                  <a:pt x="1264" y="567"/>
                </a:lnTo>
                <a:lnTo>
                  <a:pt x="1258" y="534"/>
                </a:lnTo>
                <a:lnTo>
                  <a:pt x="1249" y="505"/>
                </a:lnTo>
                <a:lnTo>
                  <a:pt x="1237" y="479"/>
                </a:lnTo>
                <a:lnTo>
                  <a:pt x="1220" y="456"/>
                </a:lnTo>
                <a:lnTo>
                  <a:pt x="1200" y="436"/>
                </a:lnTo>
                <a:lnTo>
                  <a:pt x="1177" y="419"/>
                </a:lnTo>
                <a:lnTo>
                  <a:pt x="1150" y="406"/>
                </a:lnTo>
                <a:lnTo>
                  <a:pt x="1108" y="393"/>
                </a:lnTo>
                <a:lnTo>
                  <a:pt x="1062" y="384"/>
                </a:lnTo>
                <a:lnTo>
                  <a:pt x="1011" y="377"/>
                </a:lnTo>
                <a:lnTo>
                  <a:pt x="956" y="373"/>
                </a:lnTo>
                <a:lnTo>
                  <a:pt x="896" y="371"/>
                </a:lnTo>
                <a:lnTo>
                  <a:pt x="496" y="371"/>
                </a:lnTo>
                <a:close/>
                <a:moveTo>
                  <a:pt x="2255" y="89"/>
                </a:moveTo>
                <a:lnTo>
                  <a:pt x="3121" y="89"/>
                </a:lnTo>
                <a:lnTo>
                  <a:pt x="3121" y="304"/>
                </a:lnTo>
                <a:lnTo>
                  <a:pt x="2255" y="304"/>
                </a:lnTo>
                <a:lnTo>
                  <a:pt x="2255" y="89"/>
                </a:lnTo>
                <a:close/>
                <a:moveTo>
                  <a:pt x="0" y="0"/>
                </a:moveTo>
                <a:lnTo>
                  <a:pt x="1039" y="0"/>
                </a:lnTo>
                <a:lnTo>
                  <a:pt x="1108" y="4"/>
                </a:lnTo>
                <a:lnTo>
                  <a:pt x="1174" y="10"/>
                </a:lnTo>
                <a:lnTo>
                  <a:pt x="1236" y="20"/>
                </a:lnTo>
                <a:lnTo>
                  <a:pt x="1294" y="34"/>
                </a:lnTo>
                <a:lnTo>
                  <a:pt x="1348" y="50"/>
                </a:lnTo>
                <a:lnTo>
                  <a:pt x="1399" y="71"/>
                </a:lnTo>
                <a:lnTo>
                  <a:pt x="1446" y="95"/>
                </a:lnTo>
                <a:lnTo>
                  <a:pt x="1489" y="123"/>
                </a:lnTo>
                <a:lnTo>
                  <a:pt x="1528" y="155"/>
                </a:lnTo>
                <a:lnTo>
                  <a:pt x="1564" y="190"/>
                </a:lnTo>
                <a:lnTo>
                  <a:pt x="1595" y="229"/>
                </a:lnTo>
                <a:lnTo>
                  <a:pt x="1621" y="268"/>
                </a:lnTo>
                <a:lnTo>
                  <a:pt x="1644" y="311"/>
                </a:lnTo>
                <a:lnTo>
                  <a:pt x="1662" y="355"/>
                </a:lnTo>
                <a:lnTo>
                  <a:pt x="1676" y="401"/>
                </a:lnTo>
                <a:lnTo>
                  <a:pt x="1686" y="450"/>
                </a:lnTo>
                <a:lnTo>
                  <a:pt x="1692" y="501"/>
                </a:lnTo>
                <a:lnTo>
                  <a:pt x="1693" y="555"/>
                </a:lnTo>
                <a:lnTo>
                  <a:pt x="1691" y="610"/>
                </a:lnTo>
                <a:lnTo>
                  <a:pt x="1686" y="661"/>
                </a:lnTo>
                <a:lnTo>
                  <a:pt x="1676" y="709"/>
                </a:lnTo>
                <a:lnTo>
                  <a:pt x="1661" y="754"/>
                </a:lnTo>
                <a:lnTo>
                  <a:pt x="1643" y="795"/>
                </a:lnTo>
                <a:lnTo>
                  <a:pt x="1621" y="834"/>
                </a:lnTo>
                <a:lnTo>
                  <a:pt x="1595" y="869"/>
                </a:lnTo>
                <a:lnTo>
                  <a:pt x="1564" y="903"/>
                </a:lnTo>
                <a:lnTo>
                  <a:pt x="1526" y="934"/>
                </a:lnTo>
                <a:lnTo>
                  <a:pt x="1482" y="963"/>
                </a:lnTo>
                <a:lnTo>
                  <a:pt x="1431" y="991"/>
                </a:lnTo>
                <a:lnTo>
                  <a:pt x="1476" y="1010"/>
                </a:lnTo>
                <a:lnTo>
                  <a:pt x="1517" y="1032"/>
                </a:lnTo>
                <a:lnTo>
                  <a:pt x="1556" y="1056"/>
                </a:lnTo>
                <a:lnTo>
                  <a:pt x="1592" y="1083"/>
                </a:lnTo>
                <a:lnTo>
                  <a:pt x="1624" y="1112"/>
                </a:lnTo>
                <a:lnTo>
                  <a:pt x="1654" y="1145"/>
                </a:lnTo>
                <a:lnTo>
                  <a:pt x="1679" y="1181"/>
                </a:lnTo>
                <a:lnTo>
                  <a:pt x="1704" y="1225"/>
                </a:lnTo>
                <a:lnTo>
                  <a:pt x="1725" y="1272"/>
                </a:lnTo>
                <a:lnTo>
                  <a:pt x="1742" y="1323"/>
                </a:lnTo>
                <a:lnTo>
                  <a:pt x="1753" y="1378"/>
                </a:lnTo>
                <a:lnTo>
                  <a:pt x="1760" y="1434"/>
                </a:lnTo>
                <a:lnTo>
                  <a:pt x="1763" y="1494"/>
                </a:lnTo>
                <a:lnTo>
                  <a:pt x="1759" y="1556"/>
                </a:lnTo>
                <a:lnTo>
                  <a:pt x="1752" y="1616"/>
                </a:lnTo>
                <a:lnTo>
                  <a:pt x="1738" y="1674"/>
                </a:lnTo>
                <a:lnTo>
                  <a:pt x="1721" y="1730"/>
                </a:lnTo>
                <a:lnTo>
                  <a:pt x="1697" y="1784"/>
                </a:lnTo>
                <a:lnTo>
                  <a:pt x="1667" y="1835"/>
                </a:lnTo>
                <a:lnTo>
                  <a:pt x="1635" y="1883"/>
                </a:lnTo>
                <a:lnTo>
                  <a:pt x="1598" y="1927"/>
                </a:lnTo>
                <a:lnTo>
                  <a:pt x="1558" y="1967"/>
                </a:lnTo>
                <a:lnTo>
                  <a:pt x="1514" y="2003"/>
                </a:lnTo>
                <a:lnTo>
                  <a:pt x="1472" y="2033"/>
                </a:lnTo>
                <a:lnTo>
                  <a:pt x="1426" y="2058"/>
                </a:lnTo>
                <a:lnTo>
                  <a:pt x="1378" y="2080"/>
                </a:lnTo>
                <a:lnTo>
                  <a:pt x="1327" y="2097"/>
                </a:lnTo>
                <a:lnTo>
                  <a:pt x="1272" y="2111"/>
                </a:lnTo>
                <a:lnTo>
                  <a:pt x="1200" y="2123"/>
                </a:lnTo>
                <a:lnTo>
                  <a:pt x="1126" y="2132"/>
                </a:lnTo>
                <a:lnTo>
                  <a:pt x="1048" y="2138"/>
                </a:lnTo>
                <a:lnTo>
                  <a:pt x="969" y="2139"/>
                </a:lnTo>
                <a:lnTo>
                  <a:pt x="0" y="2139"/>
                </a:lnTo>
                <a:lnTo>
                  <a:pt x="0" y="0"/>
                </a:lnTo>
                <a:close/>
              </a:path>
            </a:pathLst>
          </a:custGeom>
          <a:solidFill>
            <a:srgbClr val="14CE9F"/>
          </a:solidFill>
          <a:ln w="1270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900721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0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0" dur="10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1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3" dur="14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4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2" fill="hold" grpId="0" nodeType="withEffect" p14:presetBounceEnd="46250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250">
                                          <p:cBhvr additive="base">
                                            <p:cTn id="28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250">
                                          <p:cBhvr additive="base">
                                            <p:cTn id="29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27" grpId="0" animBg="1"/>
          <p:bldP spid="32" grpId="0" animBg="1"/>
          <p:bldP spid="33" grpId="0" animBg="1"/>
          <p:bldP spid="155" grpId="0" animBg="1"/>
          <p:bldP spid="156" grpId="0" animBg="1"/>
          <p:bldP spid="15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0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0" dur="10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1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3" dur="14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4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2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27" grpId="0" animBg="1"/>
          <p:bldP spid="32" grpId="0" animBg="1"/>
          <p:bldP spid="33" grpId="0" animBg="1"/>
          <p:bldP spid="155" grpId="0" animBg="1"/>
          <p:bldP spid="156" grpId="0" animBg="1"/>
          <p:bldP spid="158" grpId="0" animBg="1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150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5301" y="0"/>
            <a:ext cx="4076699" cy="423817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78514" cy="42381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6699" y="0"/>
            <a:ext cx="4056289" cy="4238171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0" y="0"/>
            <a:ext cx="12192000" cy="4238172"/>
          </a:xfrm>
          <a:prstGeom prst="rect">
            <a:avLst/>
          </a:prstGeom>
          <a:gradFill>
            <a:gsLst>
              <a:gs pos="92000">
                <a:srgbClr val="14CE9F">
                  <a:alpha val="50000"/>
                </a:srgbClr>
              </a:gs>
              <a:gs pos="2000">
                <a:srgbClr val="DDF9B8">
                  <a:alpha val="5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1150" y="4661892"/>
            <a:ext cx="343353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dirty="0">
                <a:solidFill>
                  <a:srgbClr val="14CE9F"/>
                </a:solidFill>
                <a:latin typeface="Montserrat Medium" panose="00000600000000000000" pitchFamily="2" charset="-18"/>
              </a:rPr>
              <a:t>PICTURE TIT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31607" y="4661892"/>
            <a:ext cx="343353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dirty="0">
                <a:solidFill>
                  <a:srgbClr val="14CE9F"/>
                </a:solidFill>
                <a:latin typeface="Montserrat Medium" panose="00000600000000000000" pitchFamily="2" charset="-18"/>
              </a:rPr>
              <a:t>PICTURE TIT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497207" y="4661892"/>
            <a:ext cx="343353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dirty="0">
                <a:solidFill>
                  <a:srgbClr val="14CE9F"/>
                </a:solidFill>
                <a:latin typeface="Montserrat Medium" panose="00000600000000000000" pitchFamily="2" charset="-18"/>
              </a:rPr>
              <a:t>PICTURE TITLE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311150" y="4095296"/>
            <a:ext cx="285750" cy="285750"/>
            <a:chOff x="5838825" y="6267450"/>
            <a:chExt cx="285750" cy="285750"/>
          </a:xfrm>
        </p:grpSpPr>
        <p:sp>
          <p:nvSpPr>
            <p:cNvPr id="37" name="Oval 36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331607" y="4095296"/>
            <a:ext cx="285750" cy="285750"/>
            <a:chOff x="5838825" y="6267450"/>
            <a:chExt cx="285750" cy="285750"/>
          </a:xfrm>
        </p:grpSpPr>
        <p:sp>
          <p:nvSpPr>
            <p:cNvPr id="40" name="Oval 39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497207" y="4095296"/>
            <a:ext cx="285750" cy="285750"/>
            <a:chOff x="5838825" y="6267450"/>
            <a:chExt cx="285750" cy="285750"/>
          </a:xfrm>
        </p:grpSpPr>
        <p:sp>
          <p:nvSpPr>
            <p:cNvPr id="43" name="Oval 42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5D5B6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5" name="Rectangle 14"/>
          <p:cNvSpPr/>
          <p:nvPr/>
        </p:nvSpPr>
        <p:spPr>
          <a:xfrm rot="5400000">
            <a:off x="1571866" y="-1187152"/>
            <a:ext cx="782386" cy="356325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14"/>
          <p:cNvSpPr/>
          <p:nvPr/>
        </p:nvSpPr>
        <p:spPr>
          <a:xfrm rot="5400000" flipH="1" flipV="1">
            <a:off x="10565618" y="2622843"/>
            <a:ext cx="782386" cy="210162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4918372"/>
            <a:ext cx="12192000" cy="1939628"/>
          </a:xfrm>
          <a:prstGeom prst="rect">
            <a:avLst/>
          </a:prstGeom>
          <a:solidFill>
            <a:srgbClr val="F6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311150" y="5102283"/>
            <a:ext cx="3433536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loring book authentic til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olo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fu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in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hell of poutine direct tra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fingerstach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jean shorts humblebrag. Single-origin coffee cray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neutr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m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retro squid fou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loko</a:t>
            </a:r>
            <a:endParaRPr lang="en-US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31607" y="5102283"/>
            <a:ext cx="3433536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loring book authentic til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olo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fu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in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hell of poutine direct tra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fingerstach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jean shorts humblebrag. Single-origin coffee cray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neutr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m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retro squid fou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loko</a:t>
            </a:r>
            <a:endParaRPr lang="en-US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497207" y="5102283"/>
            <a:ext cx="3433536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loring book authentic til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olo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fu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in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hell of poutine direct trad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fingerstach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jean shorts humblebrag. Single-origin coffee cray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neutr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m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retro squid fou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loko</a:t>
            </a:r>
            <a:endParaRPr lang="en-US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4076699" y="4489747"/>
            <a:ext cx="0" cy="1711028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8110654" y="4489747"/>
            <a:ext cx="0" cy="1711028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98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3" grpId="0"/>
      <p:bldP spid="25" grpId="0"/>
      <p:bldP spid="20" grpId="0"/>
      <p:bldP spid="22" grpId="0"/>
      <p:bldP spid="2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289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 flipH="1">
            <a:off x="2739073" y="2774707"/>
            <a:ext cx="3494043" cy="3426068"/>
          </a:xfrm>
          <a:prstGeom prst="line">
            <a:avLst/>
          </a:prstGeom>
          <a:ln>
            <a:solidFill>
              <a:srgbClr val="BBBA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739073" y="4247590"/>
            <a:ext cx="2503487" cy="2454783"/>
          </a:xfrm>
          <a:prstGeom prst="line">
            <a:avLst/>
          </a:prstGeom>
          <a:ln w="28575">
            <a:solidFill>
              <a:srgbClr val="BBBAC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rgbClr val="5D5B6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200" y="0"/>
            <a:ext cx="60198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8" cstate="screen">
            <a:duotone>
              <a:prstClr val="black"/>
              <a:srgbClr val="14CE9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custGeom>
            <a:avLst/>
            <a:gdLst>
              <a:gd name="connsiteX0" fmla="*/ 3517891 w 6629400"/>
              <a:gd name="connsiteY0" fmla="*/ 0 h 6858000"/>
              <a:gd name="connsiteX1" fmla="*/ 6629400 w 6629400"/>
              <a:gd name="connsiteY1" fmla="*/ 0 h 6858000"/>
              <a:gd name="connsiteX2" fmla="*/ 3111509 w 6629400"/>
              <a:gd name="connsiteY2" fmla="*/ 3429000 h 6858000"/>
              <a:gd name="connsiteX3" fmla="*/ 6629400 w 6629400"/>
              <a:gd name="connsiteY3" fmla="*/ 6858000 h 6858000"/>
              <a:gd name="connsiteX4" fmla="*/ 3517891 w 6629400"/>
              <a:gd name="connsiteY4" fmla="*/ 6858000 h 6858000"/>
              <a:gd name="connsiteX5" fmla="*/ 0 w 66294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6858000">
                <a:moveTo>
                  <a:pt x="3517891" y="0"/>
                </a:moveTo>
                <a:lnTo>
                  <a:pt x="6629400" y="0"/>
                </a:lnTo>
                <a:lnTo>
                  <a:pt x="3111509" y="3429000"/>
                </a:lnTo>
                <a:lnTo>
                  <a:pt x="6629400" y="6858000"/>
                </a:lnTo>
                <a:lnTo>
                  <a:pt x="3517891" y="6858000"/>
                </a:lnTo>
                <a:lnTo>
                  <a:pt x="0" y="3429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609600"/>
          </a:xfrm>
        </p:spPr>
        <p:txBody>
          <a:bodyPr/>
          <a:lstStyle/>
          <a:p>
            <a:r>
              <a:rPr lang="en-US" dirty="0">
                <a:latin typeface="Gabriela" panose="00000500000000000000" pitchFamily="2" charset="0"/>
              </a:rPr>
              <a:t>Know how</a:t>
            </a: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4940300" y="2660946"/>
            <a:ext cx="1029525" cy="1009495"/>
          </a:xfrm>
          <a:prstGeom prst="line">
            <a:avLst/>
          </a:prstGeom>
          <a:ln w="28575">
            <a:solidFill>
              <a:srgbClr val="14CE9F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/>
          <p:cNvSpPr/>
          <p:nvPr/>
        </p:nvSpPr>
        <p:spPr>
          <a:xfrm>
            <a:off x="1068791" y="1781862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client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387341" y="1781862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strategy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705891" y="1781862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solution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068791" y="3083398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data </a:t>
            </a:r>
            <a:br>
              <a:rPr lang="en-US" sz="1400" dirty="0">
                <a:solidFill>
                  <a:srgbClr val="5D5B6F"/>
                </a:solidFill>
              </a:rPr>
            </a:br>
            <a:r>
              <a:rPr lang="en-US" sz="1400" dirty="0">
                <a:solidFill>
                  <a:srgbClr val="5D5B6F"/>
                </a:solidFill>
              </a:rPr>
              <a:t>bas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3705891" y="3083398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law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1068791" y="4384935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recipe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387341" y="4384935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ideas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705891" y="4384935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>
                <a:solidFill>
                  <a:srgbClr val="5D5B6F"/>
                </a:solidFill>
              </a:rPr>
              <a:t>archive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2387341" y="3083398"/>
            <a:ext cx="992846" cy="992845"/>
            <a:chOff x="1977363" y="3083398"/>
            <a:chExt cx="992846" cy="992845"/>
          </a:xfrm>
        </p:grpSpPr>
        <p:sp>
          <p:nvSpPr>
            <p:cNvPr id="19" name="Rounded Rectangle 18"/>
            <p:cNvSpPr/>
            <p:nvPr/>
          </p:nvSpPr>
          <p:spPr>
            <a:xfrm>
              <a:off x="1977363" y="3083398"/>
              <a:ext cx="992846" cy="992845"/>
            </a:xfrm>
            <a:prstGeom prst="roundRect">
              <a:avLst>
                <a:gd name="adj" fmla="val 8216"/>
              </a:avLst>
            </a:prstGeom>
            <a:solidFill>
              <a:srgbClr val="14CE9F"/>
            </a:solidFill>
            <a:ln w="28575">
              <a:solidFill>
                <a:srgbClr val="FFFFFF"/>
              </a:solidFill>
            </a:ln>
            <a:effectLst>
              <a:outerShdw blurRad="190500" sx="105000" sy="105000" algn="ctr" rotWithShape="0">
                <a:srgbClr val="14CE9F">
                  <a:alpha val="56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2189431" y="3321944"/>
              <a:ext cx="560995" cy="485433"/>
              <a:chOff x="4689475" y="5686660"/>
              <a:chExt cx="777875" cy="673101"/>
            </a:xfrm>
          </p:grpSpPr>
          <p:sp>
            <p:nvSpPr>
              <p:cNvPr id="43" name="Freeform 37"/>
              <p:cNvSpPr>
                <a:spLocks noEditPoints="1"/>
              </p:cNvSpPr>
              <p:nvPr/>
            </p:nvSpPr>
            <p:spPr bwMode="auto">
              <a:xfrm>
                <a:off x="4981575" y="5686660"/>
                <a:ext cx="315913" cy="447675"/>
              </a:xfrm>
              <a:custGeom>
                <a:avLst/>
                <a:gdLst>
                  <a:gd name="T0" fmla="*/ 45 w 83"/>
                  <a:gd name="T1" fmla="*/ 117 h 117"/>
                  <a:gd name="T2" fmla="*/ 38 w 83"/>
                  <a:gd name="T3" fmla="*/ 117 h 117"/>
                  <a:gd name="T4" fmla="*/ 0 w 83"/>
                  <a:gd name="T5" fmla="*/ 79 h 117"/>
                  <a:gd name="T6" fmla="*/ 0 w 83"/>
                  <a:gd name="T7" fmla="*/ 38 h 117"/>
                  <a:gd name="T8" fmla="*/ 38 w 83"/>
                  <a:gd name="T9" fmla="*/ 0 h 117"/>
                  <a:gd name="T10" fmla="*/ 45 w 83"/>
                  <a:gd name="T11" fmla="*/ 0 h 117"/>
                  <a:gd name="T12" fmla="*/ 83 w 83"/>
                  <a:gd name="T13" fmla="*/ 38 h 117"/>
                  <a:gd name="T14" fmla="*/ 83 w 83"/>
                  <a:gd name="T15" fmla="*/ 79 h 117"/>
                  <a:gd name="T16" fmla="*/ 45 w 83"/>
                  <a:gd name="T17" fmla="*/ 117 h 117"/>
                  <a:gd name="T18" fmla="*/ 38 w 83"/>
                  <a:gd name="T19" fmla="*/ 12 h 117"/>
                  <a:gd name="T20" fmla="*/ 12 w 83"/>
                  <a:gd name="T21" fmla="*/ 38 h 117"/>
                  <a:gd name="T22" fmla="*/ 12 w 83"/>
                  <a:gd name="T23" fmla="*/ 79 h 117"/>
                  <a:gd name="T24" fmla="*/ 38 w 83"/>
                  <a:gd name="T25" fmla="*/ 105 h 117"/>
                  <a:gd name="T26" fmla="*/ 45 w 83"/>
                  <a:gd name="T27" fmla="*/ 105 h 117"/>
                  <a:gd name="T28" fmla="*/ 71 w 83"/>
                  <a:gd name="T29" fmla="*/ 79 h 117"/>
                  <a:gd name="T30" fmla="*/ 71 w 83"/>
                  <a:gd name="T31" fmla="*/ 38 h 117"/>
                  <a:gd name="T32" fmla="*/ 45 w 83"/>
                  <a:gd name="T33" fmla="*/ 12 h 117"/>
                  <a:gd name="T34" fmla="*/ 38 w 83"/>
                  <a:gd name="T35" fmla="*/ 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3" h="117">
                    <a:moveTo>
                      <a:pt x="45" y="117"/>
                    </a:moveTo>
                    <a:cubicBezTo>
                      <a:pt x="38" y="117"/>
                      <a:pt x="38" y="117"/>
                      <a:pt x="38" y="117"/>
                    </a:cubicBezTo>
                    <a:cubicBezTo>
                      <a:pt x="17" y="117"/>
                      <a:pt x="0" y="100"/>
                      <a:pt x="0" y="7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66" y="0"/>
                      <a:pt x="83" y="17"/>
                      <a:pt x="83" y="38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3" y="100"/>
                      <a:pt x="66" y="117"/>
                      <a:pt x="45" y="117"/>
                    </a:cubicBezTo>
                    <a:close/>
                    <a:moveTo>
                      <a:pt x="38" y="12"/>
                    </a:moveTo>
                    <a:cubicBezTo>
                      <a:pt x="24" y="12"/>
                      <a:pt x="12" y="23"/>
                      <a:pt x="12" y="3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2" y="93"/>
                      <a:pt x="24" y="105"/>
                      <a:pt x="38" y="105"/>
                    </a:cubicBezTo>
                    <a:cubicBezTo>
                      <a:pt x="45" y="105"/>
                      <a:pt x="45" y="105"/>
                      <a:pt x="45" y="105"/>
                    </a:cubicBezTo>
                    <a:cubicBezTo>
                      <a:pt x="60" y="105"/>
                      <a:pt x="71" y="93"/>
                      <a:pt x="71" y="79"/>
                    </a:cubicBezTo>
                    <a:cubicBezTo>
                      <a:pt x="71" y="38"/>
                      <a:pt x="71" y="38"/>
                      <a:pt x="71" y="38"/>
                    </a:cubicBezTo>
                    <a:cubicBezTo>
                      <a:pt x="71" y="23"/>
                      <a:pt x="60" y="12"/>
                      <a:pt x="45" y="12"/>
                    </a:cubicBezTo>
                    <a:lnTo>
                      <a:pt x="38" y="1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38"/>
              <p:cNvSpPr>
                <a:spLocks/>
              </p:cNvSpPr>
              <p:nvPr/>
            </p:nvSpPr>
            <p:spPr bwMode="auto">
              <a:xfrm>
                <a:off x="4814888" y="6088298"/>
                <a:ext cx="649288" cy="271463"/>
              </a:xfrm>
              <a:custGeom>
                <a:avLst/>
                <a:gdLst>
                  <a:gd name="T0" fmla="*/ 165 w 171"/>
                  <a:gd name="T1" fmla="*/ 71 h 71"/>
                  <a:gd name="T2" fmla="*/ 6 w 171"/>
                  <a:gd name="T3" fmla="*/ 71 h 71"/>
                  <a:gd name="T4" fmla="*/ 0 w 171"/>
                  <a:gd name="T5" fmla="*/ 65 h 71"/>
                  <a:gd name="T6" fmla="*/ 0 w 171"/>
                  <a:gd name="T7" fmla="*/ 51 h 71"/>
                  <a:gd name="T8" fmla="*/ 65 w 171"/>
                  <a:gd name="T9" fmla="*/ 17 h 71"/>
                  <a:gd name="T10" fmla="*/ 65 w 171"/>
                  <a:gd name="T11" fmla="*/ 6 h 71"/>
                  <a:gd name="T12" fmla="*/ 71 w 171"/>
                  <a:gd name="T13" fmla="*/ 0 h 71"/>
                  <a:gd name="T14" fmla="*/ 77 w 171"/>
                  <a:gd name="T15" fmla="*/ 6 h 71"/>
                  <a:gd name="T16" fmla="*/ 77 w 171"/>
                  <a:gd name="T17" fmla="*/ 22 h 71"/>
                  <a:gd name="T18" fmla="*/ 72 w 171"/>
                  <a:gd name="T19" fmla="*/ 28 h 71"/>
                  <a:gd name="T20" fmla="*/ 12 w 171"/>
                  <a:gd name="T21" fmla="*/ 51 h 71"/>
                  <a:gd name="T22" fmla="*/ 12 w 171"/>
                  <a:gd name="T23" fmla="*/ 59 h 71"/>
                  <a:gd name="T24" fmla="*/ 165 w 171"/>
                  <a:gd name="T25" fmla="*/ 59 h 71"/>
                  <a:gd name="T26" fmla="*/ 171 w 171"/>
                  <a:gd name="T27" fmla="*/ 65 h 71"/>
                  <a:gd name="T28" fmla="*/ 165 w 171"/>
                  <a:gd name="T2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1" h="71">
                    <a:moveTo>
                      <a:pt x="165" y="71"/>
                    </a:moveTo>
                    <a:cubicBezTo>
                      <a:pt x="6" y="71"/>
                      <a:pt x="6" y="71"/>
                      <a:pt x="6" y="71"/>
                    </a:cubicBezTo>
                    <a:cubicBezTo>
                      <a:pt x="3" y="71"/>
                      <a:pt x="0" y="68"/>
                      <a:pt x="0" y="65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35"/>
                      <a:pt x="39" y="24"/>
                      <a:pt x="65" y="17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5" y="3"/>
                      <a:pt x="68" y="0"/>
                      <a:pt x="71" y="0"/>
                    </a:cubicBezTo>
                    <a:cubicBezTo>
                      <a:pt x="74" y="0"/>
                      <a:pt x="77" y="3"/>
                      <a:pt x="77" y="6"/>
                    </a:cubicBezTo>
                    <a:cubicBezTo>
                      <a:pt x="77" y="22"/>
                      <a:pt x="77" y="22"/>
                      <a:pt x="77" y="22"/>
                    </a:cubicBezTo>
                    <a:cubicBezTo>
                      <a:pt x="77" y="25"/>
                      <a:pt x="75" y="27"/>
                      <a:pt x="72" y="28"/>
                    </a:cubicBezTo>
                    <a:cubicBezTo>
                      <a:pt x="42" y="35"/>
                      <a:pt x="14" y="46"/>
                      <a:pt x="12" y="51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8" y="59"/>
                      <a:pt x="171" y="62"/>
                      <a:pt x="171" y="65"/>
                    </a:cubicBezTo>
                    <a:cubicBezTo>
                      <a:pt x="171" y="68"/>
                      <a:pt x="168" y="71"/>
                      <a:pt x="165" y="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39"/>
              <p:cNvSpPr>
                <a:spLocks/>
              </p:cNvSpPr>
              <p:nvPr/>
            </p:nvSpPr>
            <p:spPr bwMode="auto">
              <a:xfrm>
                <a:off x="5172075" y="6148623"/>
                <a:ext cx="295275" cy="211138"/>
              </a:xfrm>
              <a:custGeom>
                <a:avLst/>
                <a:gdLst>
                  <a:gd name="T0" fmla="*/ 71 w 78"/>
                  <a:gd name="T1" fmla="*/ 55 h 55"/>
                  <a:gd name="T2" fmla="*/ 65 w 78"/>
                  <a:gd name="T3" fmla="*/ 49 h 55"/>
                  <a:gd name="T4" fmla="*/ 65 w 78"/>
                  <a:gd name="T5" fmla="*/ 35 h 55"/>
                  <a:gd name="T6" fmla="*/ 5 w 78"/>
                  <a:gd name="T7" fmla="*/ 12 h 55"/>
                  <a:gd name="T8" fmla="*/ 0 w 78"/>
                  <a:gd name="T9" fmla="*/ 5 h 55"/>
                  <a:gd name="T10" fmla="*/ 8 w 78"/>
                  <a:gd name="T11" fmla="*/ 0 h 55"/>
                  <a:gd name="T12" fmla="*/ 77 w 78"/>
                  <a:gd name="T13" fmla="*/ 35 h 55"/>
                  <a:gd name="T14" fmla="*/ 77 w 78"/>
                  <a:gd name="T15" fmla="*/ 49 h 55"/>
                  <a:gd name="T16" fmla="*/ 71 w 78"/>
                  <a:gd name="T1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55">
                    <a:moveTo>
                      <a:pt x="71" y="55"/>
                    </a:moveTo>
                    <a:cubicBezTo>
                      <a:pt x="68" y="55"/>
                      <a:pt x="65" y="52"/>
                      <a:pt x="65" y="49"/>
                    </a:cubicBezTo>
                    <a:cubicBezTo>
                      <a:pt x="65" y="35"/>
                      <a:pt x="65" y="35"/>
                      <a:pt x="65" y="35"/>
                    </a:cubicBezTo>
                    <a:cubicBezTo>
                      <a:pt x="63" y="29"/>
                      <a:pt x="35" y="19"/>
                      <a:pt x="5" y="12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1" y="2"/>
                      <a:pt x="4" y="0"/>
                      <a:pt x="8" y="0"/>
                    </a:cubicBezTo>
                    <a:cubicBezTo>
                      <a:pt x="34" y="6"/>
                      <a:pt x="78" y="18"/>
                      <a:pt x="77" y="35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2"/>
                      <a:pt x="74" y="55"/>
                      <a:pt x="71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0"/>
              <p:cNvSpPr>
                <a:spLocks/>
              </p:cNvSpPr>
              <p:nvPr/>
            </p:nvSpPr>
            <p:spPr bwMode="auto">
              <a:xfrm>
                <a:off x="4826000" y="5754923"/>
                <a:ext cx="160338" cy="363538"/>
              </a:xfrm>
              <a:custGeom>
                <a:avLst/>
                <a:gdLst>
                  <a:gd name="T0" fmla="*/ 36 w 42"/>
                  <a:gd name="T1" fmla="*/ 95 h 95"/>
                  <a:gd name="T2" fmla="*/ 31 w 42"/>
                  <a:gd name="T3" fmla="*/ 95 h 95"/>
                  <a:gd name="T4" fmla="*/ 0 w 42"/>
                  <a:gd name="T5" fmla="*/ 64 h 95"/>
                  <a:gd name="T6" fmla="*/ 0 w 42"/>
                  <a:gd name="T7" fmla="*/ 31 h 95"/>
                  <a:gd name="T8" fmla="*/ 31 w 42"/>
                  <a:gd name="T9" fmla="*/ 0 h 95"/>
                  <a:gd name="T10" fmla="*/ 36 w 42"/>
                  <a:gd name="T11" fmla="*/ 0 h 95"/>
                  <a:gd name="T12" fmla="*/ 42 w 42"/>
                  <a:gd name="T13" fmla="*/ 6 h 95"/>
                  <a:gd name="T14" fmla="*/ 36 w 42"/>
                  <a:gd name="T15" fmla="*/ 11 h 95"/>
                  <a:gd name="T16" fmla="*/ 31 w 42"/>
                  <a:gd name="T17" fmla="*/ 11 h 95"/>
                  <a:gd name="T18" fmla="*/ 10 w 42"/>
                  <a:gd name="T19" fmla="*/ 31 h 95"/>
                  <a:gd name="T20" fmla="*/ 10 w 42"/>
                  <a:gd name="T21" fmla="*/ 64 h 95"/>
                  <a:gd name="T22" fmla="*/ 31 w 42"/>
                  <a:gd name="T23" fmla="*/ 85 h 95"/>
                  <a:gd name="T24" fmla="*/ 36 w 42"/>
                  <a:gd name="T25" fmla="*/ 85 h 95"/>
                  <a:gd name="T26" fmla="*/ 42 w 42"/>
                  <a:gd name="T27" fmla="*/ 90 h 95"/>
                  <a:gd name="T28" fmla="*/ 36 w 42"/>
                  <a:gd name="T2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95">
                    <a:moveTo>
                      <a:pt x="36" y="95"/>
                    </a:moveTo>
                    <a:cubicBezTo>
                      <a:pt x="31" y="95"/>
                      <a:pt x="31" y="95"/>
                      <a:pt x="31" y="95"/>
                    </a:cubicBezTo>
                    <a:cubicBezTo>
                      <a:pt x="14" y="95"/>
                      <a:pt x="0" y="81"/>
                      <a:pt x="0" y="6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14"/>
                      <a:pt x="14" y="0"/>
                      <a:pt x="3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9" y="0"/>
                      <a:pt x="42" y="3"/>
                      <a:pt x="42" y="6"/>
                    </a:cubicBezTo>
                    <a:cubicBezTo>
                      <a:pt x="42" y="8"/>
                      <a:pt x="39" y="11"/>
                      <a:pt x="36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19" y="11"/>
                      <a:pt x="10" y="20"/>
                      <a:pt x="10" y="31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75"/>
                      <a:pt x="19" y="85"/>
                      <a:pt x="31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9" y="85"/>
                      <a:pt x="42" y="87"/>
                      <a:pt x="42" y="90"/>
                    </a:cubicBezTo>
                    <a:cubicBezTo>
                      <a:pt x="42" y="93"/>
                      <a:pt x="39" y="95"/>
                      <a:pt x="36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1"/>
              <p:cNvSpPr>
                <a:spLocks noEditPoints="1"/>
              </p:cNvSpPr>
              <p:nvPr/>
            </p:nvSpPr>
            <p:spPr bwMode="auto">
              <a:xfrm>
                <a:off x="4689475" y="6080360"/>
                <a:ext cx="239713" cy="279400"/>
              </a:xfrm>
              <a:custGeom>
                <a:avLst/>
                <a:gdLst>
                  <a:gd name="T0" fmla="*/ 6 w 63"/>
                  <a:gd name="T1" fmla="*/ 73 h 73"/>
                  <a:gd name="T2" fmla="*/ 1 w 63"/>
                  <a:gd name="T3" fmla="*/ 67 h 73"/>
                  <a:gd name="T4" fmla="*/ 1 w 63"/>
                  <a:gd name="T5" fmla="*/ 41 h 73"/>
                  <a:gd name="T6" fmla="*/ 53 w 63"/>
                  <a:gd name="T7" fmla="*/ 14 h 73"/>
                  <a:gd name="T8" fmla="*/ 53 w 63"/>
                  <a:gd name="T9" fmla="*/ 5 h 73"/>
                  <a:gd name="T10" fmla="*/ 58 w 63"/>
                  <a:gd name="T11" fmla="*/ 0 h 73"/>
                  <a:gd name="T12" fmla="*/ 63 w 63"/>
                  <a:gd name="T13" fmla="*/ 5 h 73"/>
                  <a:gd name="T14" fmla="*/ 63 w 63"/>
                  <a:gd name="T15" fmla="*/ 18 h 73"/>
                  <a:gd name="T16" fmla="*/ 59 w 63"/>
                  <a:gd name="T17" fmla="*/ 23 h 73"/>
                  <a:gd name="T18" fmla="*/ 11 w 63"/>
                  <a:gd name="T19" fmla="*/ 41 h 73"/>
                  <a:gd name="T20" fmla="*/ 11 w 63"/>
                  <a:gd name="T21" fmla="*/ 67 h 73"/>
                  <a:gd name="T22" fmla="*/ 6 w 63"/>
                  <a:gd name="T23" fmla="*/ 73 h 73"/>
                  <a:gd name="T24" fmla="*/ 11 w 63"/>
                  <a:gd name="T25" fmla="*/ 41 h 73"/>
                  <a:gd name="T26" fmla="*/ 11 w 63"/>
                  <a:gd name="T27" fmla="*/ 41 h 73"/>
                  <a:gd name="T28" fmla="*/ 11 w 63"/>
                  <a:gd name="T29" fmla="*/ 4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73">
                    <a:moveTo>
                      <a:pt x="6" y="73"/>
                    </a:moveTo>
                    <a:cubicBezTo>
                      <a:pt x="3" y="73"/>
                      <a:pt x="1" y="70"/>
                      <a:pt x="1" y="67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29"/>
                      <a:pt x="28" y="20"/>
                      <a:pt x="53" y="14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2"/>
                      <a:pt x="55" y="0"/>
                      <a:pt x="58" y="0"/>
                    </a:cubicBezTo>
                    <a:cubicBezTo>
                      <a:pt x="61" y="0"/>
                      <a:pt x="63" y="2"/>
                      <a:pt x="63" y="5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3" y="20"/>
                      <a:pt x="61" y="22"/>
                      <a:pt x="59" y="23"/>
                    </a:cubicBezTo>
                    <a:cubicBezTo>
                      <a:pt x="36" y="28"/>
                      <a:pt x="13" y="37"/>
                      <a:pt x="11" y="4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0"/>
                      <a:pt x="9" y="73"/>
                      <a:pt x="6" y="73"/>
                    </a:cubicBezTo>
                    <a:close/>
                    <a:moveTo>
                      <a:pt x="11" y="41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6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9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8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6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9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8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8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93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2"/>
          <p:cNvSpPr/>
          <p:nvPr/>
        </p:nvSpPr>
        <p:spPr>
          <a:xfrm>
            <a:off x="514350" y="4362450"/>
            <a:ext cx="4991100" cy="4914900"/>
          </a:xfrm>
          <a:custGeom>
            <a:avLst/>
            <a:gdLst>
              <a:gd name="connsiteX0" fmla="*/ 4724400 w 4991100"/>
              <a:gd name="connsiteY0" fmla="*/ 0 h 4914900"/>
              <a:gd name="connsiteX1" fmla="*/ 0 w 4991100"/>
              <a:gd name="connsiteY1" fmla="*/ 304800 h 4914900"/>
              <a:gd name="connsiteX2" fmla="*/ 266700 w 4991100"/>
              <a:gd name="connsiteY2" fmla="*/ 4914900 h 4914900"/>
              <a:gd name="connsiteX3" fmla="*/ 4991100 w 4991100"/>
              <a:gd name="connsiteY3" fmla="*/ 4648200 h 4914900"/>
              <a:gd name="connsiteX4" fmla="*/ 4724400 w 4991100"/>
              <a:gd name="connsiteY4" fmla="*/ 0 h 491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0" h="4914900">
                <a:moveTo>
                  <a:pt x="4724400" y="0"/>
                </a:moveTo>
                <a:lnTo>
                  <a:pt x="0" y="304800"/>
                </a:lnTo>
                <a:lnTo>
                  <a:pt x="266700" y="4914900"/>
                </a:lnTo>
                <a:lnTo>
                  <a:pt x="4991100" y="4648200"/>
                </a:lnTo>
                <a:lnTo>
                  <a:pt x="4724400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ion step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8813" y="1861298"/>
            <a:ext cx="3455987" cy="1098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478713" y="1997504"/>
            <a:ext cx="3455987" cy="871682"/>
            <a:chOff x="7478713" y="1997504"/>
            <a:chExt cx="3455987" cy="871682"/>
          </a:xfrm>
        </p:grpSpPr>
        <p:sp>
          <p:nvSpPr>
            <p:cNvPr id="16" name="TextBox 15"/>
            <p:cNvSpPr txBox="1"/>
            <p:nvPr/>
          </p:nvSpPr>
          <p:spPr>
            <a:xfrm>
              <a:off x="7478713" y="1997504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478713" y="2279384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7053311" y="1536700"/>
            <a:ext cx="0" cy="532130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7478713" y="3663299"/>
            <a:ext cx="3455987" cy="871682"/>
            <a:chOff x="7478713" y="3595195"/>
            <a:chExt cx="3455987" cy="871682"/>
          </a:xfrm>
        </p:grpSpPr>
        <p:sp>
          <p:nvSpPr>
            <p:cNvPr id="20" name="TextBox 19"/>
            <p:cNvSpPr txBox="1"/>
            <p:nvPr/>
          </p:nvSpPr>
          <p:spPr>
            <a:xfrm>
              <a:off x="7478713" y="3595195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78713" y="3877075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478713" y="5329093"/>
            <a:ext cx="3455987" cy="871682"/>
            <a:chOff x="7478713" y="5329093"/>
            <a:chExt cx="3455987" cy="871682"/>
          </a:xfrm>
        </p:grpSpPr>
        <p:sp>
          <p:nvSpPr>
            <p:cNvPr id="22" name="TextBox 21"/>
            <p:cNvSpPr txBox="1"/>
            <p:nvPr/>
          </p:nvSpPr>
          <p:spPr>
            <a:xfrm>
              <a:off x="7478713" y="5329093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478713" y="5610973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910436" y="1982869"/>
            <a:ext cx="285750" cy="285750"/>
            <a:chOff x="5838825" y="6267450"/>
            <a:chExt cx="285750" cy="285750"/>
          </a:xfrm>
        </p:grpSpPr>
        <p:sp>
          <p:nvSpPr>
            <p:cNvPr id="30" name="Oval 29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10436" y="3630043"/>
            <a:ext cx="285750" cy="285750"/>
            <a:chOff x="5838825" y="6267450"/>
            <a:chExt cx="285750" cy="285750"/>
          </a:xfrm>
        </p:grpSpPr>
        <p:sp>
          <p:nvSpPr>
            <p:cNvPr id="33" name="Oval 32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6910436" y="5343622"/>
            <a:ext cx="285750" cy="285750"/>
            <a:chOff x="5838825" y="6267450"/>
            <a:chExt cx="285750" cy="285750"/>
          </a:xfrm>
        </p:grpSpPr>
        <p:sp>
          <p:nvSpPr>
            <p:cNvPr id="36" name="Oval 35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7" name="Picture 4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6113" y="4484181"/>
            <a:ext cx="4737100" cy="4737100"/>
          </a:xfrm>
          <a:custGeom>
            <a:avLst/>
            <a:gdLst>
              <a:gd name="connsiteX0" fmla="*/ 759199 w 4737100"/>
              <a:gd name="connsiteY0" fmla="*/ 759199 h 4737100"/>
              <a:gd name="connsiteX1" fmla="*/ 759199 w 4737100"/>
              <a:gd name="connsiteY1" fmla="*/ 3977901 h 4737100"/>
              <a:gd name="connsiteX2" fmla="*/ 3977901 w 4737100"/>
              <a:gd name="connsiteY2" fmla="*/ 3977901 h 4737100"/>
              <a:gd name="connsiteX3" fmla="*/ 3977901 w 4737100"/>
              <a:gd name="connsiteY3" fmla="*/ 759199 h 4737100"/>
              <a:gd name="connsiteX4" fmla="*/ 0 w 4737100"/>
              <a:gd name="connsiteY4" fmla="*/ 0 h 4737100"/>
              <a:gd name="connsiteX5" fmla="*/ 4737100 w 4737100"/>
              <a:gd name="connsiteY5" fmla="*/ 0 h 4737100"/>
              <a:gd name="connsiteX6" fmla="*/ 4737100 w 4737100"/>
              <a:gd name="connsiteY6" fmla="*/ 4737100 h 4737100"/>
              <a:gd name="connsiteX7" fmla="*/ 0 w 4737100"/>
              <a:gd name="connsiteY7" fmla="*/ 4737100 h 473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37100" h="4737100">
                <a:moveTo>
                  <a:pt x="759199" y="759199"/>
                </a:moveTo>
                <a:lnTo>
                  <a:pt x="759199" y="3977901"/>
                </a:lnTo>
                <a:lnTo>
                  <a:pt x="3977901" y="3977901"/>
                </a:lnTo>
                <a:lnTo>
                  <a:pt x="3977901" y="759199"/>
                </a:lnTo>
                <a:close/>
                <a:moveTo>
                  <a:pt x="0" y="0"/>
                </a:moveTo>
                <a:lnTo>
                  <a:pt x="4737100" y="0"/>
                </a:lnTo>
                <a:lnTo>
                  <a:pt x="4737100" y="4737100"/>
                </a:lnTo>
                <a:lnTo>
                  <a:pt x="0" y="4737100"/>
                </a:lnTo>
                <a:close/>
              </a:path>
            </a:pathLst>
          </a:custGeom>
        </p:spPr>
      </p:pic>
      <p:sp>
        <p:nvSpPr>
          <p:cNvPr id="49" name="TextBox 48"/>
          <p:cNvSpPr txBox="1"/>
          <p:nvPr/>
        </p:nvSpPr>
        <p:spPr>
          <a:xfrm>
            <a:off x="2006997" y="6200775"/>
            <a:ext cx="2015331" cy="4759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8000" dirty="0">
                <a:solidFill>
                  <a:schemeClr val="bg1"/>
                </a:solidFill>
                <a:latin typeface="Gabriela" charset="0"/>
                <a:ea typeface="Gabriela" charset="0"/>
                <a:cs typeface="Gabriela" charset="0"/>
              </a:rPr>
              <a:t>01</a:t>
            </a:r>
            <a:endParaRPr lang="en-US" sz="8000" kern="2000" dirty="0">
              <a:solidFill>
                <a:schemeClr val="bg1"/>
              </a:solidFill>
              <a:latin typeface="Gabriela" charset="0"/>
              <a:ea typeface="Gabriela" charset="0"/>
              <a:cs typeface="Gabriel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8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134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form 37"/>
          <p:cNvSpPr/>
          <p:nvPr/>
        </p:nvSpPr>
        <p:spPr>
          <a:xfrm>
            <a:off x="514350" y="-2490281"/>
            <a:ext cx="4991100" cy="4914900"/>
          </a:xfrm>
          <a:custGeom>
            <a:avLst/>
            <a:gdLst>
              <a:gd name="connsiteX0" fmla="*/ 4724400 w 4991100"/>
              <a:gd name="connsiteY0" fmla="*/ 0 h 4914900"/>
              <a:gd name="connsiteX1" fmla="*/ 0 w 4991100"/>
              <a:gd name="connsiteY1" fmla="*/ 304800 h 4914900"/>
              <a:gd name="connsiteX2" fmla="*/ 266700 w 4991100"/>
              <a:gd name="connsiteY2" fmla="*/ 4914900 h 4914900"/>
              <a:gd name="connsiteX3" fmla="*/ 4991100 w 4991100"/>
              <a:gd name="connsiteY3" fmla="*/ 4648200 h 4914900"/>
              <a:gd name="connsiteX4" fmla="*/ 4724400 w 4991100"/>
              <a:gd name="connsiteY4" fmla="*/ 0 h 491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0" h="4914900">
                <a:moveTo>
                  <a:pt x="4724400" y="0"/>
                </a:moveTo>
                <a:lnTo>
                  <a:pt x="0" y="304800"/>
                </a:lnTo>
                <a:lnTo>
                  <a:pt x="266700" y="4914900"/>
                </a:lnTo>
                <a:lnTo>
                  <a:pt x="4991100" y="4648200"/>
                </a:lnTo>
                <a:lnTo>
                  <a:pt x="4724400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6113" y="-2368550"/>
            <a:ext cx="4737100" cy="4737100"/>
          </a:xfrm>
          <a:custGeom>
            <a:avLst/>
            <a:gdLst>
              <a:gd name="connsiteX0" fmla="*/ 759199 w 4737100"/>
              <a:gd name="connsiteY0" fmla="*/ 759199 h 4737100"/>
              <a:gd name="connsiteX1" fmla="*/ 759199 w 4737100"/>
              <a:gd name="connsiteY1" fmla="*/ 3977901 h 4737100"/>
              <a:gd name="connsiteX2" fmla="*/ 3977901 w 4737100"/>
              <a:gd name="connsiteY2" fmla="*/ 3977901 h 4737100"/>
              <a:gd name="connsiteX3" fmla="*/ 3977901 w 4737100"/>
              <a:gd name="connsiteY3" fmla="*/ 759199 h 4737100"/>
              <a:gd name="connsiteX4" fmla="*/ 0 w 4737100"/>
              <a:gd name="connsiteY4" fmla="*/ 0 h 4737100"/>
              <a:gd name="connsiteX5" fmla="*/ 4737100 w 4737100"/>
              <a:gd name="connsiteY5" fmla="*/ 0 h 4737100"/>
              <a:gd name="connsiteX6" fmla="*/ 4737100 w 4737100"/>
              <a:gd name="connsiteY6" fmla="*/ 4737100 h 4737100"/>
              <a:gd name="connsiteX7" fmla="*/ 0 w 4737100"/>
              <a:gd name="connsiteY7" fmla="*/ 4737100 h 473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37100" h="4737100">
                <a:moveTo>
                  <a:pt x="759199" y="759199"/>
                </a:moveTo>
                <a:lnTo>
                  <a:pt x="759199" y="3977901"/>
                </a:lnTo>
                <a:lnTo>
                  <a:pt x="3977901" y="3977901"/>
                </a:lnTo>
                <a:lnTo>
                  <a:pt x="3977901" y="759199"/>
                </a:lnTo>
                <a:close/>
                <a:moveTo>
                  <a:pt x="0" y="0"/>
                </a:moveTo>
                <a:lnTo>
                  <a:pt x="4737100" y="0"/>
                </a:lnTo>
                <a:lnTo>
                  <a:pt x="4737100" y="4737100"/>
                </a:lnTo>
                <a:lnTo>
                  <a:pt x="0" y="4737100"/>
                </a:lnTo>
                <a:close/>
              </a:path>
            </a:pathLst>
          </a:cu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58813" y="5633386"/>
            <a:ext cx="4281487" cy="546100"/>
          </a:xfrm>
        </p:spPr>
        <p:txBody>
          <a:bodyPr/>
          <a:lstStyle/>
          <a:p>
            <a:r>
              <a:rPr lang="en-US" dirty="0">
                <a:solidFill>
                  <a:srgbClr val="BBBAC6"/>
                </a:solidFill>
              </a:rPr>
              <a:t>This is amaz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8813" y="3091785"/>
            <a:ext cx="3455987" cy="21011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478713" y="989616"/>
            <a:ext cx="3455987" cy="871682"/>
            <a:chOff x="7478713" y="1997504"/>
            <a:chExt cx="3455987" cy="871682"/>
          </a:xfrm>
        </p:grpSpPr>
        <p:sp>
          <p:nvSpPr>
            <p:cNvPr id="16" name="TextBox 15"/>
            <p:cNvSpPr txBox="1"/>
            <p:nvPr/>
          </p:nvSpPr>
          <p:spPr>
            <a:xfrm>
              <a:off x="7478713" y="1997504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478713" y="2279384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7053311" y="0"/>
            <a:ext cx="0" cy="5192887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7478713" y="2655411"/>
            <a:ext cx="3455987" cy="871682"/>
            <a:chOff x="7478713" y="3595195"/>
            <a:chExt cx="3455987" cy="871682"/>
          </a:xfrm>
        </p:grpSpPr>
        <p:sp>
          <p:nvSpPr>
            <p:cNvPr id="20" name="TextBox 19"/>
            <p:cNvSpPr txBox="1"/>
            <p:nvPr/>
          </p:nvSpPr>
          <p:spPr>
            <a:xfrm>
              <a:off x="7478713" y="3595195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78713" y="3877075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478713" y="4321205"/>
            <a:ext cx="3455987" cy="871682"/>
            <a:chOff x="7478713" y="5329093"/>
            <a:chExt cx="3455987" cy="871682"/>
          </a:xfrm>
        </p:grpSpPr>
        <p:sp>
          <p:nvSpPr>
            <p:cNvPr id="22" name="TextBox 21"/>
            <p:cNvSpPr txBox="1"/>
            <p:nvPr/>
          </p:nvSpPr>
          <p:spPr>
            <a:xfrm>
              <a:off x="7478713" y="5329093"/>
              <a:ext cx="1830387" cy="2564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600" dirty="0">
                  <a:solidFill>
                    <a:srgbClr val="14CE9F"/>
                  </a:solidFill>
                  <a:latin typeface="Montserrat SemiBold" panose="00000700000000000000" pitchFamily="2" charset="-18"/>
                </a:rPr>
                <a:t>Production Title</a:t>
              </a:r>
              <a:endPara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478713" y="5610973"/>
              <a:ext cx="3455987" cy="5898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Aliqu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normcore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arfa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tote bag poke echo park banjo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gochujang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ork belly sustainable.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910436" y="974981"/>
            <a:ext cx="285750" cy="285750"/>
            <a:chOff x="5838825" y="6267450"/>
            <a:chExt cx="285750" cy="285750"/>
          </a:xfrm>
        </p:grpSpPr>
        <p:sp>
          <p:nvSpPr>
            <p:cNvPr id="30" name="Oval 29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10436" y="2622155"/>
            <a:ext cx="285750" cy="285750"/>
            <a:chOff x="5838825" y="6267450"/>
            <a:chExt cx="285750" cy="285750"/>
          </a:xfrm>
        </p:grpSpPr>
        <p:sp>
          <p:nvSpPr>
            <p:cNvPr id="33" name="Oval 32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5" name="Group 34"/>
          <p:cNvGrpSpPr/>
          <p:nvPr/>
        </p:nvGrpSpPr>
        <p:grpSpPr>
          <a:xfrm rot="16200000">
            <a:off x="6910436" y="4323034"/>
            <a:ext cx="285750" cy="285750"/>
            <a:chOff x="5838825" y="6267450"/>
            <a:chExt cx="285750" cy="285750"/>
          </a:xfrm>
        </p:grpSpPr>
        <p:sp>
          <p:nvSpPr>
            <p:cNvPr id="36" name="Oval 35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2006997" y="980091"/>
            <a:ext cx="2015331" cy="4759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8000" dirty="0">
                <a:solidFill>
                  <a:schemeClr val="bg1"/>
                </a:solidFill>
                <a:latin typeface="Gabriela" charset="0"/>
                <a:ea typeface="Gabriela" charset="0"/>
                <a:cs typeface="Gabriela" charset="0"/>
              </a:rPr>
              <a:t>02</a:t>
            </a:r>
            <a:endParaRPr lang="en-US" sz="8000" kern="2000" dirty="0">
              <a:solidFill>
                <a:schemeClr val="bg1"/>
              </a:solidFill>
              <a:latin typeface="Gabriela" charset="0"/>
              <a:ea typeface="Gabriela" charset="0"/>
              <a:cs typeface="Gabriel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671283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964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Oval 27"/>
          <p:cNvSpPr/>
          <p:nvPr/>
        </p:nvSpPr>
        <p:spPr>
          <a:xfrm>
            <a:off x="3864529" y="2092657"/>
            <a:ext cx="1635052" cy="1635052"/>
          </a:xfrm>
          <a:prstGeom prst="ellipse">
            <a:avLst/>
          </a:prstGeom>
          <a:solidFill>
            <a:srgbClr val="BBBAC6">
              <a:alpha val="30196"/>
            </a:srgb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1038226" y="2092657"/>
            <a:ext cx="1635052" cy="1635052"/>
          </a:xfrm>
          <a:prstGeom prst="ellipse">
            <a:avLst/>
          </a:prstGeom>
          <a:solidFill>
            <a:srgbClr val="BBBAC6">
              <a:alpha val="30196"/>
            </a:srgb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6690832" y="2092657"/>
            <a:ext cx="1635052" cy="1635052"/>
          </a:xfrm>
          <a:prstGeom prst="ellipse">
            <a:avLst/>
          </a:prstGeom>
          <a:solidFill>
            <a:srgbClr val="BBBAC6">
              <a:alpha val="30196"/>
            </a:srgb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9576819" y="2092657"/>
            <a:ext cx="1635052" cy="1635052"/>
          </a:xfrm>
          <a:prstGeom prst="ellipse">
            <a:avLst/>
          </a:prstGeom>
          <a:solidFill>
            <a:srgbClr val="BBBAC6">
              <a:alpha val="30196"/>
            </a:srgb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Our value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54104" y="3999842"/>
            <a:ext cx="141443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QUALITY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02996" y="3999842"/>
            <a:ext cx="1414435" cy="243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PASSION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87128" y="3999842"/>
            <a:ext cx="1414435" cy="243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SIMPLICITY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978550" y="3999842"/>
            <a:ext cx="1414435" cy="243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INNOVATION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3782777" y="2003069"/>
            <a:ext cx="1798557" cy="1798557"/>
            <a:chOff x="3782777" y="2003069"/>
            <a:chExt cx="1798557" cy="1798557"/>
          </a:xfrm>
        </p:grpSpPr>
        <p:sp>
          <p:nvSpPr>
            <p:cNvPr id="5" name="Oval 4"/>
            <p:cNvSpPr/>
            <p:nvPr/>
          </p:nvSpPr>
          <p:spPr>
            <a:xfrm>
              <a:off x="3782777" y="2003069"/>
              <a:ext cx="1798557" cy="1798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79400" sx="94000" sy="94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99599" y="2525487"/>
              <a:ext cx="564914" cy="875614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956474" y="2003069"/>
            <a:ext cx="1798557" cy="1798557"/>
            <a:chOff x="956474" y="2383315"/>
            <a:chExt cx="1798557" cy="1798557"/>
          </a:xfrm>
        </p:grpSpPr>
        <p:sp>
          <p:nvSpPr>
            <p:cNvPr id="4" name="Oval 3"/>
            <p:cNvSpPr/>
            <p:nvPr/>
          </p:nvSpPr>
          <p:spPr>
            <a:xfrm>
              <a:off x="956474" y="2383315"/>
              <a:ext cx="1798557" cy="1798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79400" sx="94000" sy="94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8590" y="2920851"/>
              <a:ext cx="1194324" cy="723484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6609080" y="2003069"/>
            <a:ext cx="1798557" cy="1798557"/>
            <a:chOff x="6609080" y="2383315"/>
            <a:chExt cx="1798557" cy="1798557"/>
          </a:xfrm>
        </p:grpSpPr>
        <p:sp>
          <p:nvSpPr>
            <p:cNvPr id="6" name="Oval 5"/>
            <p:cNvSpPr/>
            <p:nvPr/>
          </p:nvSpPr>
          <p:spPr>
            <a:xfrm>
              <a:off x="6609080" y="2383315"/>
              <a:ext cx="1798557" cy="1798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79400" sx="94000" sy="94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35798" y="2951660"/>
              <a:ext cx="945120" cy="783758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9495067" y="2003069"/>
            <a:ext cx="1798557" cy="1798557"/>
            <a:chOff x="9435382" y="2383315"/>
            <a:chExt cx="1798557" cy="1798557"/>
          </a:xfrm>
        </p:grpSpPr>
        <p:sp>
          <p:nvSpPr>
            <p:cNvPr id="7" name="Oval 6"/>
            <p:cNvSpPr/>
            <p:nvPr/>
          </p:nvSpPr>
          <p:spPr>
            <a:xfrm>
              <a:off x="9435382" y="2383315"/>
              <a:ext cx="1798557" cy="179855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79400" sx="94000" sy="94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19730" y="2847397"/>
              <a:ext cx="829861" cy="883649"/>
            </a:xfrm>
            <a:prstGeom prst="rect">
              <a:avLst/>
            </a:prstGeom>
          </p:spPr>
        </p:pic>
      </p:grpSp>
      <p:sp>
        <p:nvSpPr>
          <p:cNvPr id="22" name="TextBox 21"/>
          <p:cNvSpPr txBox="1"/>
          <p:nvPr/>
        </p:nvSpPr>
        <p:spPr>
          <a:xfrm>
            <a:off x="658814" y="4547416"/>
            <a:ext cx="2274510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24906" y="4547416"/>
            <a:ext cx="2274510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390998" y="4547416"/>
            <a:ext cx="2274510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257090" y="4547416"/>
            <a:ext cx="2274510" cy="10259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</a:t>
            </a:r>
          </a:p>
        </p:txBody>
      </p:sp>
    </p:spTree>
    <p:extLst>
      <p:ext uri="{BB962C8B-B14F-4D97-AF65-F5344CB8AC3E}">
        <p14:creationId xmlns:p14="http://schemas.microsoft.com/office/powerpoint/2010/main" val="4270092481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4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7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8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44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11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12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44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1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4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1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2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 p14:presetBounceEnd="4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23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24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44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2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2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 p14:presetBounceEnd="44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31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32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4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4000">
                                          <p:cBhvr additive="base">
                                            <p:cTn id="35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4000">
                                          <p:cBhvr additive="base">
                                            <p:cTn id="36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1" grpId="0"/>
          <p:bldP spid="12" grpId="0"/>
          <p:bldP spid="10" grpId="0"/>
          <p:bldP spid="22" grpId="0"/>
          <p:bldP spid="23" grpId="0"/>
          <p:bldP spid="24" grpId="0"/>
          <p:bldP spid="2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1" grpId="0"/>
          <p:bldP spid="12" grpId="0"/>
          <p:bldP spid="10" grpId="0"/>
          <p:bldP spid="22" grpId="0"/>
          <p:bldP spid="23" grpId="0"/>
          <p:bldP spid="24" grpId="0"/>
          <p:bldP spid="25" grpId="0"/>
        </p:bldLst>
      </p:timing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0" y="2855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en-US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Ethical </a:t>
            </a:r>
            <a:r>
              <a:rPr lang="en-US" dirty="0" err="1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est</a:t>
            </a:r>
            <a:r>
              <a:rPr lang="en-US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 banh mi poke pug. Photo booth distillery banjo roof party messenger bag </a:t>
            </a:r>
            <a:r>
              <a:rPr lang="en-US" dirty="0" err="1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adaptogen</a:t>
            </a:r>
            <a:r>
              <a:rPr lang="en-US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 </a:t>
            </a:r>
            <a:r>
              <a:rPr lang="en-US" dirty="0" err="1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affogato</a:t>
            </a:r>
            <a:r>
              <a:rPr lang="en-US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 ipsum ennui ex vegan fashion axe messenger ipsum ennui bag poke.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016452" y="4370454"/>
            <a:ext cx="773883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 err="1">
                <a:solidFill>
                  <a:srgbClr val="14CE9F"/>
                </a:solidFill>
                <a:latin typeface="Gabriela" panose="00000500000000000000" pitchFamily="2" charset="0"/>
              </a:rPr>
              <a:t>Johny</a:t>
            </a:r>
            <a:r>
              <a:rPr lang="en-US" sz="2000" b="1" dirty="0">
                <a:solidFill>
                  <a:srgbClr val="14CE9F"/>
                </a:solidFill>
                <a:latin typeface="Gabriela" panose="00000500000000000000" pitchFamily="2" charset="0"/>
              </a:rPr>
              <a:t> Doe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09" y="2705343"/>
            <a:ext cx="7408907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503617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206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138" y="0"/>
            <a:ext cx="11991861" cy="68580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200138" y="0"/>
            <a:ext cx="11991861" cy="6858000"/>
          </a:xfrm>
          <a:prstGeom prst="rect">
            <a:avLst/>
          </a:prstGeom>
          <a:solidFill>
            <a:srgbClr val="5D5B6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tatistic chapter</a:t>
            </a:r>
          </a:p>
        </p:txBody>
      </p:sp>
      <p:sp>
        <p:nvSpPr>
          <p:cNvPr id="3" name="Rectangle 2"/>
          <p:cNvSpPr/>
          <p:nvPr/>
        </p:nvSpPr>
        <p:spPr>
          <a:xfrm>
            <a:off x="1914209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/>
          <p:cNvSpPr/>
          <p:nvPr/>
        </p:nvSpPr>
        <p:spPr>
          <a:xfrm>
            <a:off x="2516431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3118653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Rectangle 56"/>
          <p:cNvSpPr/>
          <p:nvPr/>
        </p:nvSpPr>
        <p:spPr>
          <a:xfrm>
            <a:off x="3720875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4323097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4925319" y="4758873"/>
            <a:ext cx="604157" cy="228600"/>
          </a:xfrm>
          <a:prstGeom prst="rect">
            <a:avLst/>
          </a:prstGeom>
          <a:solidFill>
            <a:srgbClr val="14CE9F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ectangle 59"/>
          <p:cNvSpPr/>
          <p:nvPr/>
        </p:nvSpPr>
        <p:spPr>
          <a:xfrm>
            <a:off x="5527541" y="4758873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Rectangle 60"/>
          <p:cNvSpPr/>
          <p:nvPr/>
        </p:nvSpPr>
        <p:spPr>
          <a:xfrm>
            <a:off x="6129763" y="4758873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/>
        </p:nvSpPr>
        <p:spPr>
          <a:xfrm>
            <a:off x="6731985" y="4758873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/>
          <p:cNvSpPr/>
          <p:nvPr/>
        </p:nvSpPr>
        <p:spPr>
          <a:xfrm>
            <a:off x="7334206" y="4758873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ectangle 64"/>
          <p:cNvSpPr/>
          <p:nvPr/>
        </p:nvSpPr>
        <p:spPr>
          <a:xfrm>
            <a:off x="1914209" y="5653631"/>
            <a:ext cx="604157" cy="228600"/>
          </a:xfrm>
          <a:prstGeom prst="rect">
            <a:avLst/>
          </a:prstGeom>
          <a:solidFill>
            <a:srgbClr val="F2F2F2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Rectangle 65"/>
          <p:cNvSpPr/>
          <p:nvPr/>
        </p:nvSpPr>
        <p:spPr>
          <a:xfrm>
            <a:off x="2516431" y="5653631"/>
            <a:ext cx="604157" cy="228600"/>
          </a:xfrm>
          <a:prstGeom prst="rect">
            <a:avLst/>
          </a:prstGeom>
          <a:solidFill>
            <a:srgbClr val="F2F2F2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/>
          <p:cNvSpPr/>
          <p:nvPr/>
        </p:nvSpPr>
        <p:spPr>
          <a:xfrm>
            <a:off x="3118653" y="5653631"/>
            <a:ext cx="604157" cy="228600"/>
          </a:xfrm>
          <a:prstGeom prst="rect">
            <a:avLst/>
          </a:prstGeom>
          <a:solidFill>
            <a:srgbClr val="F2F2F2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67"/>
          <p:cNvSpPr/>
          <p:nvPr/>
        </p:nvSpPr>
        <p:spPr>
          <a:xfrm>
            <a:off x="3720875" y="5653631"/>
            <a:ext cx="604157" cy="228600"/>
          </a:xfrm>
          <a:prstGeom prst="rect">
            <a:avLst/>
          </a:prstGeom>
          <a:solidFill>
            <a:srgbClr val="F2F2F2">
              <a:alpha val="5019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tangle 68"/>
          <p:cNvSpPr/>
          <p:nvPr/>
        </p:nvSpPr>
        <p:spPr>
          <a:xfrm>
            <a:off x="4323097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/>
          <p:cNvSpPr/>
          <p:nvPr/>
        </p:nvSpPr>
        <p:spPr>
          <a:xfrm>
            <a:off x="4925319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70"/>
          <p:cNvSpPr/>
          <p:nvPr/>
        </p:nvSpPr>
        <p:spPr>
          <a:xfrm>
            <a:off x="5527541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>
            <a:off x="6129763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/>
          <p:cNvSpPr/>
          <p:nvPr/>
        </p:nvSpPr>
        <p:spPr>
          <a:xfrm>
            <a:off x="6731985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/>
          <p:cNvSpPr/>
          <p:nvPr/>
        </p:nvSpPr>
        <p:spPr>
          <a:xfrm>
            <a:off x="7334206" y="5653631"/>
            <a:ext cx="604157" cy="228600"/>
          </a:xfrm>
          <a:prstGeom prst="rect">
            <a:avLst/>
          </a:prstGeom>
          <a:solidFill>
            <a:srgbClr val="5D5B6F">
              <a:alpha val="40000"/>
            </a:srgb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44799" y="5305287"/>
            <a:ext cx="7293564" cy="0"/>
          </a:xfrm>
          <a:prstGeom prst="line">
            <a:avLst/>
          </a:prstGeom>
          <a:ln>
            <a:solidFill>
              <a:srgbClr val="BBBAC6">
                <a:alpha val="4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658813" y="4629393"/>
            <a:ext cx="1105174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Category</a:t>
            </a:r>
          </a:p>
          <a:p>
            <a:pPr>
              <a:lnSpc>
                <a:spcPts val="2000"/>
              </a:lnSpc>
            </a:pPr>
            <a:r>
              <a:rPr lang="en-US" sz="1600" kern="20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60%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58813" y="5480293"/>
            <a:ext cx="1105174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chemeClr val="bg1"/>
                </a:solidFill>
                <a:latin typeface="Montserrat SemiBold" panose="00000700000000000000" pitchFamily="2" charset="-18"/>
              </a:rPr>
              <a:t>Category</a:t>
            </a:r>
          </a:p>
          <a:p>
            <a:pPr>
              <a:lnSpc>
                <a:spcPts val="2000"/>
              </a:lnSpc>
            </a:pPr>
            <a:r>
              <a:rPr lang="en-US" sz="1600" kern="2000" dirty="0">
                <a:solidFill>
                  <a:schemeClr val="bg1"/>
                </a:solidFill>
                <a:latin typeface="Montserrat SemiBold" panose="00000700000000000000" pitchFamily="2" charset="-18"/>
              </a:rPr>
              <a:t>40%</a:t>
            </a:r>
          </a:p>
        </p:txBody>
      </p:sp>
      <p:sp>
        <p:nvSpPr>
          <p:cNvPr id="77" name="Freeform 76"/>
          <p:cNvSpPr/>
          <p:nvPr/>
        </p:nvSpPr>
        <p:spPr>
          <a:xfrm>
            <a:off x="5179421" y="-92667"/>
            <a:ext cx="7230006" cy="4629393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rgbClr val="F8F8F8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914209" y="4758873"/>
            <a:ext cx="3615267" cy="1123358"/>
            <a:chOff x="2066609" y="4911273"/>
            <a:chExt cx="3615267" cy="1123358"/>
          </a:xfrm>
          <a:noFill/>
        </p:grpSpPr>
        <p:sp>
          <p:nvSpPr>
            <p:cNvPr id="30" name="Rectangle 29"/>
            <p:cNvSpPr/>
            <p:nvPr/>
          </p:nvSpPr>
          <p:spPr>
            <a:xfrm>
              <a:off x="2066609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668831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271053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873275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475497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077719" y="4911273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066609" y="5806031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668831" y="5806031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71053" y="5806031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873275" y="5806031"/>
              <a:ext cx="604157" cy="228600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71968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00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t with data</a:t>
            </a: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63685508"/>
              </p:ext>
            </p:extLst>
          </p:nvPr>
        </p:nvGraphicFramePr>
        <p:xfrm>
          <a:off x="658812" y="2069432"/>
          <a:ext cx="7256463" cy="4045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Freeform 10"/>
          <p:cNvSpPr/>
          <p:nvPr/>
        </p:nvSpPr>
        <p:spPr>
          <a:xfrm>
            <a:off x="5387898" y="2480963"/>
            <a:ext cx="1558917" cy="493244"/>
          </a:xfrm>
          <a:custGeom>
            <a:avLst/>
            <a:gdLst>
              <a:gd name="connsiteX0" fmla="*/ 0 w 1558917"/>
              <a:gd name="connsiteY0" fmla="*/ 0 h 493244"/>
              <a:gd name="connsiteX1" fmla="*/ 255316 w 1558917"/>
              <a:gd name="connsiteY1" fmla="*/ 0 h 493244"/>
              <a:gd name="connsiteX2" fmla="*/ 332509 w 1558917"/>
              <a:gd name="connsiteY2" fmla="*/ 0 h 493244"/>
              <a:gd name="connsiteX3" fmla="*/ 1558917 w 1558917"/>
              <a:gd name="connsiteY3" fmla="*/ 0 h 493244"/>
              <a:gd name="connsiteX4" fmla="*/ 1558917 w 1558917"/>
              <a:gd name="connsiteY4" fmla="*/ 493244 h 493244"/>
              <a:gd name="connsiteX5" fmla="*/ 255316 w 1558917"/>
              <a:gd name="connsiteY5" fmla="*/ 493244 h 493244"/>
              <a:gd name="connsiteX6" fmla="*/ 255316 w 1558917"/>
              <a:gd name="connsiteY6" fmla="*/ 255316 h 493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8917" h="493244">
                <a:moveTo>
                  <a:pt x="0" y="0"/>
                </a:moveTo>
                <a:lnTo>
                  <a:pt x="255316" y="0"/>
                </a:lnTo>
                <a:lnTo>
                  <a:pt x="332509" y="0"/>
                </a:lnTo>
                <a:lnTo>
                  <a:pt x="1558917" y="0"/>
                </a:lnTo>
                <a:lnTo>
                  <a:pt x="1558917" y="493244"/>
                </a:lnTo>
                <a:lnTo>
                  <a:pt x="255316" y="493244"/>
                </a:lnTo>
                <a:lnTo>
                  <a:pt x="255316" y="2553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355600">
              <a:spcAft>
                <a:spcPts val="300"/>
              </a:spcAft>
            </a:pPr>
            <a:r>
              <a:rPr lang="en-US" sz="1100" b="1" dirty="0">
                <a:solidFill>
                  <a:srgbClr val="5D5B6F"/>
                </a:solidFill>
              </a:rPr>
              <a:t>298 256 PLN</a:t>
            </a:r>
            <a:endParaRPr lang="en-US" sz="1400" b="1" dirty="0">
              <a:solidFill>
                <a:srgbClr val="5D5B6F"/>
              </a:solidFill>
            </a:endParaRPr>
          </a:p>
          <a:p>
            <a:pPr marL="355600">
              <a:spcAft>
                <a:spcPts val="300"/>
              </a:spcAft>
            </a:pPr>
            <a:r>
              <a:rPr lang="en-US" sz="900" dirty="0">
                <a:solidFill>
                  <a:srgbClr val="BBBAC6"/>
                </a:solidFill>
              </a:rPr>
              <a:t>5 August, </a:t>
            </a:r>
            <a:r>
              <a:rPr lang="en-US" sz="900" dirty="0" err="1">
                <a:solidFill>
                  <a:srgbClr val="BBBAC6"/>
                </a:solidFill>
              </a:rPr>
              <a:t>Monady</a:t>
            </a:r>
            <a:endParaRPr lang="en-US" sz="1600" dirty="0">
              <a:solidFill>
                <a:srgbClr val="BBBAC6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701238" y="2140151"/>
            <a:ext cx="2830362" cy="21011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</p:spTree>
    <p:extLst>
      <p:ext uri="{BB962C8B-B14F-4D97-AF65-F5344CB8AC3E}">
        <p14:creationId xmlns:p14="http://schemas.microsoft.com/office/powerpoint/2010/main" val="894898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25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250"/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250"/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Chart bld="series"/>
        </p:bldSub>
      </p:bldGraphic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247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6008914" y="2432216"/>
            <a:ext cx="5522686" cy="2731330"/>
            <a:chOff x="6008914" y="2327564"/>
            <a:chExt cx="2101933" cy="2731330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6008914" y="2327564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6008914" y="2600697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6008914" y="2873830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6008914" y="3146963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6008914" y="3420096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6008914" y="3693229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6008914" y="3966362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6008914" y="4239495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6008914" y="4512628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6008914" y="4785761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6008914" y="5058894"/>
              <a:ext cx="21019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5037794" cy="546100"/>
          </a:xfrm>
        </p:spPr>
        <p:txBody>
          <a:bodyPr/>
          <a:lstStyle/>
          <a:p>
            <a:r>
              <a:rPr lang="en-US" dirty="0"/>
              <a:t>Charts and graphs</a:t>
            </a: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723420086"/>
              </p:ext>
            </p:extLst>
          </p:nvPr>
        </p:nvGraphicFramePr>
        <p:xfrm>
          <a:off x="1019674" y="2025544"/>
          <a:ext cx="2954599" cy="2836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1949521" y="3089995"/>
            <a:ext cx="13019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BBBAC6">
                    <a:alpha val="47000"/>
                  </a:srgbClr>
                </a:solidFill>
              </a:rPr>
              <a:t>36%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00924" y="3348198"/>
            <a:ext cx="4760769" cy="2773202"/>
            <a:chOff x="700924" y="3348198"/>
            <a:chExt cx="4760769" cy="2773202"/>
          </a:xfrm>
        </p:grpSpPr>
        <p:sp>
          <p:nvSpPr>
            <p:cNvPr id="14" name="Oval 13"/>
            <p:cNvSpPr/>
            <p:nvPr/>
          </p:nvSpPr>
          <p:spPr>
            <a:xfrm>
              <a:off x="3607747" y="3348198"/>
              <a:ext cx="199087" cy="199087"/>
            </a:xfrm>
            <a:prstGeom prst="ellipse">
              <a:avLst/>
            </a:prstGeom>
            <a:solidFill>
              <a:srgbClr val="F6F6F9"/>
            </a:solidFill>
            <a:ln w="38100">
              <a:solidFill>
                <a:srgbClr val="14CE9F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902776" y="3443938"/>
              <a:ext cx="1558917" cy="493244"/>
            </a:xfrm>
            <a:custGeom>
              <a:avLst/>
              <a:gdLst>
                <a:gd name="connsiteX0" fmla="*/ 0 w 1558917"/>
                <a:gd name="connsiteY0" fmla="*/ 0 h 493244"/>
                <a:gd name="connsiteX1" fmla="*/ 255316 w 1558917"/>
                <a:gd name="connsiteY1" fmla="*/ 0 h 493244"/>
                <a:gd name="connsiteX2" fmla="*/ 332509 w 1558917"/>
                <a:gd name="connsiteY2" fmla="*/ 0 h 493244"/>
                <a:gd name="connsiteX3" fmla="*/ 1558917 w 1558917"/>
                <a:gd name="connsiteY3" fmla="*/ 0 h 493244"/>
                <a:gd name="connsiteX4" fmla="*/ 1558917 w 1558917"/>
                <a:gd name="connsiteY4" fmla="*/ 493244 h 493244"/>
                <a:gd name="connsiteX5" fmla="*/ 255316 w 1558917"/>
                <a:gd name="connsiteY5" fmla="*/ 493244 h 493244"/>
                <a:gd name="connsiteX6" fmla="*/ 255316 w 1558917"/>
                <a:gd name="connsiteY6" fmla="*/ 255316 h 4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8917" h="493244">
                  <a:moveTo>
                    <a:pt x="0" y="0"/>
                  </a:moveTo>
                  <a:lnTo>
                    <a:pt x="255316" y="0"/>
                  </a:lnTo>
                  <a:lnTo>
                    <a:pt x="332509" y="0"/>
                  </a:lnTo>
                  <a:lnTo>
                    <a:pt x="1558917" y="0"/>
                  </a:lnTo>
                  <a:lnTo>
                    <a:pt x="1558917" y="493244"/>
                  </a:lnTo>
                  <a:lnTo>
                    <a:pt x="255316" y="493244"/>
                  </a:lnTo>
                  <a:lnTo>
                    <a:pt x="255316" y="2553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marL="355600">
                <a:spcAft>
                  <a:spcPts val="300"/>
                </a:spcAft>
              </a:pPr>
              <a:r>
                <a:rPr lang="en-US" sz="1100" b="1" dirty="0">
                  <a:solidFill>
                    <a:srgbClr val="5D5B6F"/>
                  </a:solidFill>
                </a:rPr>
                <a:t>298 256 PLN</a:t>
              </a:r>
              <a:endParaRPr lang="en-US" sz="1400" b="1" dirty="0">
                <a:solidFill>
                  <a:srgbClr val="5D5B6F"/>
                </a:solidFill>
              </a:endParaRPr>
            </a:p>
            <a:p>
              <a:pPr marL="355600">
                <a:spcAft>
                  <a:spcPts val="300"/>
                </a:spcAft>
              </a:pPr>
              <a:r>
                <a:rPr lang="en-US" sz="900" dirty="0">
                  <a:solidFill>
                    <a:srgbClr val="BBBAC6"/>
                  </a:solidFill>
                </a:rPr>
                <a:t>5 August, </a:t>
              </a:r>
              <a:r>
                <a:rPr lang="en-US" sz="900" dirty="0" err="1">
                  <a:solidFill>
                    <a:srgbClr val="BBBAC6"/>
                  </a:solidFill>
                </a:rPr>
                <a:t>Monady</a:t>
              </a:r>
              <a:endParaRPr lang="en-US" sz="1600" dirty="0">
                <a:solidFill>
                  <a:srgbClr val="BBBAC6"/>
                </a:solidFill>
              </a:endParaRP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709613" y="5607050"/>
              <a:ext cx="1449387" cy="0"/>
            </a:xfrm>
            <a:prstGeom prst="line">
              <a:avLst/>
            </a:prstGeom>
            <a:ln w="69850" cap="rnd">
              <a:solidFill>
                <a:srgbClr val="BBBAC6">
                  <a:alpha val="3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709613" y="5607050"/>
              <a:ext cx="477837" cy="0"/>
            </a:xfrm>
            <a:prstGeom prst="line">
              <a:avLst/>
            </a:prstGeom>
            <a:ln w="69850" cap="rnd">
              <a:solidFill>
                <a:srgbClr val="14CE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2747963" y="5607050"/>
              <a:ext cx="1449387" cy="0"/>
            </a:xfrm>
            <a:prstGeom prst="line">
              <a:avLst/>
            </a:prstGeom>
            <a:ln w="69850" cap="rnd">
              <a:solidFill>
                <a:srgbClr val="BBBAC6">
                  <a:alpha val="3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2747963" y="5607050"/>
              <a:ext cx="141287" cy="0"/>
            </a:xfrm>
            <a:prstGeom prst="line">
              <a:avLst/>
            </a:prstGeom>
            <a:ln w="69850" cap="rnd">
              <a:solidFill>
                <a:srgbClr val="DDF9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09613" y="6121400"/>
              <a:ext cx="1449387" cy="0"/>
            </a:xfrm>
            <a:prstGeom prst="line">
              <a:avLst/>
            </a:prstGeom>
            <a:ln w="69850" cap="rnd">
              <a:solidFill>
                <a:srgbClr val="BBBAC6">
                  <a:alpha val="3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9613" y="6121400"/>
              <a:ext cx="1062037" cy="0"/>
            </a:xfrm>
            <a:prstGeom prst="line">
              <a:avLst/>
            </a:prstGeom>
            <a:ln w="69850" cap="rnd">
              <a:solidFill>
                <a:srgbClr val="5D5B6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2747963" y="6121400"/>
              <a:ext cx="1449387" cy="0"/>
            </a:xfrm>
            <a:prstGeom prst="line">
              <a:avLst/>
            </a:prstGeom>
            <a:ln w="69850" cap="rnd">
              <a:solidFill>
                <a:srgbClr val="BBBAC6">
                  <a:alpha val="37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2747963" y="6121400"/>
              <a:ext cx="859784" cy="0"/>
            </a:xfrm>
            <a:prstGeom prst="line">
              <a:avLst/>
            </a:prstGeom>
            <a:ln w="69850" cap="rnd">
              <a:solidFill>
                <a:srgbClr val="BBBA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00924" y="5334827"/>
              <a:ext cx="285335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BBBAC6">
                      <a:alpha val="75000"/>
                    </a:srgbClr>
                  </a:solidFill>
                </a:rPr>
                <a:t>32%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671687" y="5335654"/>
              <a:ext cx="487313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dirty="0">
                  <a:solidFill>
                    <a:srgbClr val="5D5B6F"/>
                  </a:solidFill>
                </a:rPr>
                <a:t>Carbon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708931" y="5335654"/>
              <a:ext cx="503343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dirty="0">
                  <a:solidFill>
                    <a:srgbClr val="5D5B6F"/>
                  </a:solidFill>
                </a:rPr>
                <a:t>Oxygen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573903" y="5875404"/>
              <a:ext cx="585097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dirty="0">
                  <a:solidFill>
                    <a:srgbClr val="5D5B6F"/>
                  </a:solidFill>
                </a:rPr>
                <a:t>Nitrogen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659237" y="5875404"/>
              <a:ext cx="553037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US" sz="1050" dirty="0">
                  <a:solidFill>
                    <a:srgbClr val="5D5B6F"/>
                  </a:solidFill>
                </a:rPr>
                <a:t>Calcium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726574" y="5334827"/>
              <a:ext cx="213200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BBBAC6">
                      <a:alpha val="75000"/>
                    </a:srgbClr>
                  </a:solidFill>
                </a:rPr>
                <a:t>8%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00924" y="5880927"/>
              <a:ext cx="290144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BBBAC6">
                      <a:alpha val="75000"/>
                    </a:srgbClr>
                  </a:solidFill>
                </a:rPr>
                <a:t>78%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726574" y="5880927"/>
              <a:ext cx="299762" cy="16158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50" dirty="0">
                  <a:solidFill>
                    <a:srgbClr val="BBBAC6">
                      <a:alpha val="75000"/>
                    </a:srgbClr>
                  </a:solidFill>
                </a:rPr>
                <a:t>68%</a:t>
              </a:r>
            </a:p>
          </p:txBody>
        </p:sp>
      </p:grpSp>
      <p:sp>
        <p:nvSpPr>
          <p:cNvPr id="6" name="Freeform 7"/>
          <p:cNvSpPr>
            <a:spLocks/>
          </p:cNvSpPr>
          <p:nvPr/>
        </p:nvSpPr>
        <p:spPr bwMode="auto">
          <a:xfrm>
            <a:off x="5913623" y="3194647"/>
            <a:ext cx="5076904" cy="1447261"/>
          </a:xfrm>
          <a:custGeom>
            <a:avLst/>
            <a:gdLst>
              <a:gd name="T0" fmla="*/ 0 w 1120"/>
              <a:gd name="T1" fmla="*/ 27 h 317"/>
              <a:gd name="T2" fmla="*/ 94 w 1120"/>
              <a:gd name="T3" fmla="*/ 24 h 317"/>
              <a:gd name="T4" fmla="*/ 269 w 1120"/>
              <a:gd name="T5" fmla="*/ 212 h 317"/>
              <a:gd name="T6" fmla="*/ 440 w 1120"/>
              <a:gd name="T7" fmla="*/ 69 h 317"/>
              <a:gd name="T8" fmla="*/ 586 w 1120"/>
              <a:gd name="T9" fmla="*/ 317 h 317"/>
              <a:gd name="T10" fmla="*/ 697 w 1120"/>
              <a:gd name="T11" fmla="*/ 201 h 317"/>
              <a:gd name="T12" fmla="*/ 766 w 1120"/>
              <a:gd name="T13" fmla="*/ 183 h 317"/>
              <a:gd name="T14" fmla="*/ 846 w 1120"/>
              <a:gd name="T15" fmla="*/ 77 h 317"/>
              <a:gd name="T16" fmla="*/ 925 w 1120"/>
              <a:gd name="T17" fmla="*/ 123 h 317"/>
              <a:gd name="T18" fmla="*/ 1120 w 1120"/>
              <a:gd name="T19" fmla="*/ 19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20" h="317">
                <a:moveTo>
                  <a:pt x="0" y="27"/>
                </a:moveTo>
                <a:cubicBezTo>
                  <a:pt x="0" y="27"/>
                  <a:pt x="56" y="0"/>
                  <a:pt x="94" y="24"/>
                </a:cubicBezTo>
                <a:cubicBezTo>
                  <a:pt x="133" y="48"/>
                  <a:pt x="202" y="212"/>
                  <a:pt x="269" y="212"/>
                </a:cubicBezTo>
                <a:cubicBezTo>
                  <a:pt x="336" y="212"/>
                  <a:pt x="368" y="69"/>
                  <a:pt x="440" y="69"/>
                </a:cubicBezTo>
                <a:cubicBezTo>
                  <a:pt x="512" y="69"/>
                  <a:pt x="520" y="317"/>
                  <a:pt x="586" y="317"/>
                </a:cubicBezTo>
                <a:cubicBezTo>
                  <a:pt x="653" y="317"/>
                  <a:pt x="657" y="204"/>
                  <a:pt x="697" y="201"/>
                </a:cubicBezTo>
                <a:cubicBezTo>
                  <a:pt x="737" y="199"/>
                  <a:pt x="749" y="204"/>
                  <a:pt x="766" y="183"/>
                </a:cubicBezTo>
                <a:cubicBezTo>
                  <a:pt x="784" y="161"/>
                  <a:pt x="820" y="77"/>
                  <a:pt x="846" y="77"/>
                </a:cubicBezTo>
                <a:cubicBezTo>
                  <a:pt x="873" y="77"/>
                  <a:pt x="890" y="123"/>
                  <a:pt x="925" y="123"/>
                </a:cubicBezTo>
                <a:cubicBezTo>
                  <a:pt x="960" y="123"/>
                  <a:pt x="993" y="19"/>
                  <a:pt x="1120" y="19"/>
                </a:cubicBezTo>
              </a:path>
            </a:pathLst>
          </a:custGeom>
          <a:noFill/>
          <a:ln w="28575" cap="flat">
            <a:gradFill flip="none" rotWithShape="1">
              <a:gsLst>
                <a:gs pos="2655">
                  <a:srgbClr val="DDF9B8">
                    <a:alpha val="5000"/>
                  </a:srgbClr>
                </a:gs>
                <a:gs pos="17000">
                  <a:srgbClr val="DDF9B8"/>
                </a:gs>
                <a:gs pos="100000">
                  <a:srgbClr val="14CE9F"/>
                </a:gs>
              </a:gsLst>
              <a:lin ang="0" scaled="1"/>
              <a:tileRect/>
            </a:gra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Oval 51"/>
          <p:cNvSpPr/>
          <p:nvPr/>
        </p:nvSpPr>
        <p:spPr>
          <a:xfrm>
            <a:off x="10743935" y="3022037"/>
            <a:ext cx="488422" cy="488422"/>
          </a:xfrm>
          <a:prstGeom prst="ellipse">
            <a:avLst/>
          </a:prstGeom>
          <a:solidFill>
            <a:srgbClr val="FFFFFF">
              <a:alpha val="2902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Oval 50"/>
          <p:cNvSpPr/>
          <p:nvPr/>
        </p:nvSpPr>
        <p:spPr>
          <a:xfrm>
            <a:off x="10835852" y="3113955"/>
            <a:ext cx="309352" cy="309350"/>
          </a:xfrm>
          <a:prstGeom prst="ellipse">
            <a:avLst/>
          </a:prstGeom>
          <a:solidFill>
            <a:srgbClr val="14CE9F">
              <a:alpha val="40000"/>
            </a:srgbClr>
          </a:solidFill>
          <a:ln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10907020" y="3185122"/>
            <a:ext cx="167014" cy="167014"/>
          </a:xfrm>
          <a:prstGeom prst="ellipse">
            <a:avLst/>
          </a:prstGeom>
          <a:solidFill>
            <a:srgbClr val="14CE9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TextBox 52"/>
          <p:cNvSpPr txBox="1"/>
          <p:nvPr/>
        </p:nvSpPr>
        <p:spPr>
          <a:xfrm>
            <a:off x="6008914" y="1673606"/>
            <a:ext cx="183038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5D5B6F"/>
                </a:solidFill>
                <a:latin typeface="Montserrat SemiBold" panose="00000700000000000000" pitchFamily="2" charset="-18"/>
              </a:rPr>
              <a:t>Chart Title</a:t>
            </a:r>
            <a:endParaRPr lang="en-US" sz="1600" kern="2000" dirty="0">
              <a:solidFill>
                <a:srgbClr val="5D5B6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72826" y="1673606"/>
            <a:ext cx="183038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5D5B6F"/>
                </a:solidFill>
                <a:latin typeface="Montserrat SemiBold" panose="00000700000000000000" pitchFamily="2" charset="-18"/>
              </a:rPr>
              <a:t>Chart Title</a:t>
            </a:r>
            <a:endParaRPr lang="en-US" sz="1600" kern="2000" dirty="0">
              <a:solidFill>
                <a:srgbClr val="5D5B6F"/>
              </a:solidFill>
              <a:latin typeface="Montserrat SemiBold" panose="000007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134620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7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"/>
        </p:bldSub>
      </p:bldGraphic>
      <p:bldP spid="32" grpId="0"/>
      <p:bldP spid="6" grpId="0" animBg="1"/>
      <p:bldP spid="52" grpId="0" animBg="1"/>
      <p:bldP spid="51" grpId="0" animBg="1"/>
      <p:bldP spid="7" grpId="0" animBg="1"/>
      <p:bldP spid="53" grpId="0"/>
      <p:bldP spid="5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522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up Of Coffee - 3595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-5442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-5442"/>
            <a:ext cx="12192000" cy="6858000"/>
          </a:xfrm>
          <a:prstGeom prst="rect">
            <a:avLst/>
          </a:prstGeom>
          <a:solidFill>
            <a:srgbClr val="5D5B6F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5392055" y="3091543"/>
            <a:ext cx="740230" cy="740230"/>
          </a:xfrm>
          <a:prstGeom prst="line">
            <a:avLst/>
          </a:prstGeom>
          <a:ln w="28575" cap="rnd"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5392055" y="3091543"/>
            <a:ext cx="740230" cy="740230"/>
          </a:xfrm>
          <a:prstGeom prst="line">
            <a:avLst/>
          </a:prstGeom>
          <a:ln w="28575" cap="rnd"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846977" y="4053949"/>
            <a:ext cx="1830387" cy="243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chemeClr val="bg1"/>
                </a:solidFill>
                <a:latin typeface="Montserrat SemiBold" panose="00000700000000000000" pitchFamily="2" charset="-18"/>
              </a:rPr>
              <a:t>COFFEE BREAK</a:t>
            </a:r>
            <a:endParaRPr lang="en-US" sz="1600" kern="2000" dirty="0">
              <a:solidFill>
                <a:schemeClr val="bg1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46977" y="2626352"/>
            <a:ext cx="1830387" cy="2430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pl-PL" sz="1600" dirty="0">
                <a:solidFill>
                  <a:schemeClr val="bg1"/>
                </a:solidFill>
                <a:latin typeface="Montserrat Light" panose="00000400000000000000" pitchFamily="2" charset="-18"/>
              </a:rPr>
              <a:t>15 MINUTES</a:t>
            </a:r>
            <a:endParaRPr lang="en-US" sz="1600" kern="2000" dirty="0">
              <a:solidFill>
                <a:schemeClr val="bg1"/>
              </a:solidFill>
              <a:latin typeface="Montserrat Light" panose="000004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85078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43943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2" presetClass="entr" presetSubtype="1" fill="hold" nodeType="withEffect" p14:presetBounceEnd="54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9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0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4" fill="hold" nodeType="withEffect" p14:presetBounceEnd="54667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4667">
                                          <p:cBhvr additive="base">
                                            <p:cTn id="13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4667">
                                          <p:cBhvr additive="base">
                                            <p:cTn id="14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10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21" fill="hold" display="0">
                      <p:stCondLst>
                        <p:cond delay="indefinite"/>
                      </p:stCondLst>
                    </p:cTn>
                    <p:tgtEl>
                      <p:spTgt spid="2"/>
                    </p:tgtEl>
                  </p:cMediaNode>
                </p:video>
              </p:childTnLst>
            </p:cTn>
          </p:par>
        </p:tnLst>
        <p:bldLst>
          <p:bldP spid="11" grpId="0"/>
          <p:bldP spid="1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43943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10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21" fill="hold" display="0">
                      <p:stCondLst>
                        <p:cond delay="indefinite"/>
                      </p:stCondLst>
                    </p:cTn>
                    <p:tgtEl>
                      <p:spTgt spid="2"/>
                    </p:tgtEl>
                  </p:cMediaNode>
                </p:video>
              </p:childTnLst>
            </p:cTn>
          </p:par>
        </p:tnLst>
        <p:bldLst>
          <p:bldP spid="11" grpId="0"/>
          <p:bldP spid="12" grpId="0"/>
        </p:bldLst>
      </p:timing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319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137608">
            <a:off x="888710" y="2440910"/>
            <a:ext cx="2728084" cy="3612487"/>
          </a:xfrm>
          <a:prstGeom prst="rect">
            <a:avLst/>
          </a:prstGeom>
          <a:gradFill flip="none" rotWithShape="1">
            <a:gsLst>
              <a:gs pos="31000">
                <a:srgbClr val="14CE9F"/>
              </a:gs>
              <a:gs pos="100000">
                <a:srgbClr val="DDF9B8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98050">
            <a:off x="2097929" y="2012509"/>
            <a:ext cx="2682395" cy="3597068"/>
          </a:xfrm>
          <a:prstGeom prst="rect">
            <a:avLst/>
          </a:prstGeom>
          <a:gradFill flip="none" rotWithShape="1">
            <a:gsLst>
              <a:gs pos="31000">
                <a:srgbClr val="14CE9F"/>
              </a:gs>
              <a:gs pos="100000">
                <a:srgbClr val="DDF9B8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/>
          <p:cNvSpPr/>
          <p:nvPr/>
        </p:nvSpPr>
        <p:spPr>
          <a:xfrm>
            <a:off x="4815088" y="1461173"/>
            <a:ext cx="7376912" cy="5092027"/>
          </a:xfrm>
          <a:prstGeom prst="rect">
            <a:avLst/>
          </a:prstGeom>
          <a:solidFill>
            <a:srgbClr val="F6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6008687" cy="546100"/>
          </a:xfrm>
        </p:spPr>
        <p:txBody>
          <a:bodyPr/>
          <a:lstStyle/>
          <a:p>
            <a:r>
              <a:rPr lang="en-US" dirty="0"/>
              <a:t>Application device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245583" y="1461172"/>
            <a:ext cx="3340689" cy="4739602"/>
            <a:chOff x="658813" y="1376737"/>
            <a:chExt cx="3340689" cy="473960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2"/>
            <a:stretch/>
          </p:blipFill>
          <p:spPr>
            <a:xfrm>
              <a:off x="749423" y="1654738"/>
              <a:ext cx="3175201" cy="4183600"/>
            </a:xfrm>
            <a:prstGeom prst="rect">
              <a:avLst/>
            </a:prstGeom>
          </p:spPr>
        </p:pic>
        <p:sp>
          <p:nvSpPr>
            <p:cNvPr id="70" name="Rectangle 69"/>
            <p:cNvSpPr/>
            <p:nvPr/>
          </p:nvSpPr>
          <p:spPr>
            <a:xfrm>
              <a:off x="746688" y="1670855"/>
              <a:ext cx="3082213" cy="4111506"/>
            </a:xfrm>
            <a:prstGeom prst="rect">
              <a:avLst/>
            </a:prstGeom>
            <a:gradFill flip="none" rotWithShape="1">
              <a:gsLst>
                <a:gs pos="0">
                  <a:srgbClr val="5D5B6F">
                    <a:alpha val="87000"/>
                  </a:srgbClr>
                </a:gs>
                <a:gs pos="100000">
                  <a:srgbClr val="14CE9F">
                    <a:alpha val="66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	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448070" y="4055977"/>
              <a:ext cx="1806643" cy="1157616"/>
              <a:chOff x="5555899" y="4148429"/>
              <a:chExt cx="1806643" cy="1157616"/>
            </a:xfrm>
          </p:grpSpPr>
          <p:cxnSp>
            <p:nvCxnSpPr>
              <p:cNvPr id="72" name="Straight Connector 71"/>
              <p:cNvCxnSpPr/>
              <p:nvPr/>
            </p:nvCxnSpPr>
            <p:spPr>
              <a:xfrm>
                <a:off x="5555899" y="4328894"/>
                <a:ext cx="1806643" cy="0"/>
              </a:xfrm>
              <a:prstGeom prst="line">
                <a:avLst/>
              </a:prstGeom>
              <a:ln>
                <a:solidFill>
                  <a:schemeClr val="bg1">
                    <a:alpha val="4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6" name="Group 75"/>
              <p:cNvGrpSpPr/>
              <p:nvPr/>
            </p:nvGrpSpPr>
            <p:grpSpPr>
              <a:xfrm>
                <a:off x="5579355" y="4148429"/>
                <a:ext cx="107892" cy="141621"/>
                <a:chOff x="7054850" y="3415101"/>
                <a:chExt cx="893762" cy="1173162"/>
              </a:xfrm>
              <a:solidFill>
                <a:schemeClr val="bg1">
                  <a:alpha val="43000"/>
                </a:schemeClr>
              </a:solidFill>
            </p:grpSpPr>
            <p:sp>
              <p:nvSpPr>
                <p:cNvPr id="83" name="Freeform 7"/>
                <p:cNvSpPr>
                  <a:spLocks noEditPoints="1"/>
                </p:cNvSpPr>
                <p:nvPr/>
              </p:nvSpPr>
              <p:spPr bwMode="auto">
                <a:xfrm>
                  <a:off x="7264400" y="3415101"/>
                  <a:ext cx="473075" cy="574675"/>
                </a:xfrm>
                <a:custGeom>
                  <a:avLst/>
                  <a:gdLst>
                    <a:gd name="T0" fmla="*/ 226 w 451"/>
                    <a:gd name="T1" fmla="*/ 548 h 548"/>
                    <a:gd name="T2" fmla="*/ 451 w 451"/>
                    <a:gd name="T3" fmla="*/ 274 h 548"/>
                    <a:gd name="T4" fmla="*/ 226 w 451"/>
                    <a:gd name="T5" fmla="*/ 0 h 548"/>
                    <a:gd name="T6" fmla="*/ 0 w 451"/>
                    <a:gd name="T7" fmla="*/ 274 h 548"/>
                    <a:gd name="T8" fmla="*/ 226 w 451"/>
                    <a:gd name="T9" fmla="*/ 548 h 548"/>
                    <a:gd name="T10" fmla="*/ 226 w 451"/>
                    <a:gd name="T11" fmla="*/ 548 h 548"/>
                    <a:gd name="T12" fmla="*/ 226 w 451"/>
                    <a:gd name="T13" fmla="*/ 548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51" h="548">
                      <a:moveTo>
                        <a:pt x="226" y="548"/>
                      </a:moveTo>
                      <a:cubicBezTo>
                        <a:pt x="350" y="548"/>
                        <a:pt x="451" y="425"/>
                        <a:pt x="451" y="274"/>
                      </a:cubicBezTo>
                      <a:cubicBezTo>
                        <a:pt x="451" y="123"/>
                        <a:pt x="418" y="0"/>
                        <a:pt x="226" y="0"/>
                      </a:cubicBezTo>
                      <a:cubicBezTo>
                        <a:pt x="34" y="0"/>
                        <a:pt x="0" y="123"/>
                        <a:pt x="0" y="274"/>
                      </a:cubicBezTo>
                      <a:cubicBezTo>
                        <a:pt x="0" y="425"/>
                        <a:pt x="101" y="548"/>
                        <a:pt x="226" y="548"/>
                      </a:cubicBezTo>
                      <a:close/>
                      <a:moveTo>
                        <a:pt x="226" y="548"/>
                      </a:moveTo>
                      <a:cubicBezTo>
                        <a:pt x="226" y="548"/>
                        <a:pt x="226" y="548"/>
                        <a:pt x="226" y="548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9"/>
                <p:cNvSpPr>
                  <a:spLocks noEditPoints="1"/>
                </p:cNvSpPr>
                <p:nvPr/>
              </p:nvSpPr>
              <p:spPr bwMode="auto">
                <a:xfrm>
                  <a:off x="7054850" y="4010413"/>
                  <a:ext cx="893762" cy="577850"/>
                </a:xfrm>
                <a:custGeom>
                  <a:avLst/>
                  <a:gdLst>
                    <a:gd name="T0" fmla="*/ 851 w 852"/>
                    <a:gd name="T1" fmla="*/ 386 h 551"/>
                    <a:gd name="T2" fmla="*/ 549 w 852"/>
                    <a:gd name="T3" fmla="*/ 0 h 551"/>
                    <a:gd name="T4" fmla="*/ 426 w 852"/>
                    <a:gd name="T5" fmla="*/ 47 h 551"/>
                    <a:gd name="T6" fmla="*/ 302 w 852"/>
                    <a:gd name="T7" fmla="*/ 0 h 551"/>
                    <a:gd name="T8" fmla="*/ 1 w 852"/>
                    <a:gd name="T9" fmla="*/ 377 h 551"/>
                    <a:gd name="T10" fmla="*/ 0 w 852"/>
                    <a:gd name="T11" fmla="*/ 397 h 551"/>
                    <a:gd name="T12" fmla="*/ 0 w 852"/>
                    <a:gd name="T13" fmla="*/ 425 h 551"/>
                    <a:gd name="T14" fmla="*/ 426 w 852"/>
                    <a:gd name="T15" fmla="*/ 551 h 551"/>
                    <a:gd name="T16" fmla="*/ 852 w 852"/>
                    <a:gd name="T17" fmla="*/ 425 h 551"/>
                    <a:gd name="T18" fmla="*/ 852 w 852"/>
                    <a:gd name="T19" fmla="*/ 404 h 551"/>
                    <a:gd name="T20" fmla="*/ 851 w 852"/>
                    <a:gd name="T21" fmla="*/ 386 h 551"/>
                    <a:gd name="T22" fmla="*/ 851 w 852"/>
                    <a:gd name="T23" fmla="*/ 386 h 551"/>
                    <a:gd name="T24" fmla="*/ 851 w 852"/>
                    <a:gd name="T25" fmla="*/ 386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52" h="551">
                      <a:moveTo>
                        <a:pt x="851" y="386"/>
                      </a:moveTo>
                      <a:cubicBezTo>
                        <a:pt x="847" y="122"/>
                        <a:pt x="813" y="47"/>
                        <a:pt x="549" y="0"/>
                      </a:cubicBezTo>
                      <a:cubicBezTo>
                        <a:pt x="549" y="0"/>
                        <a:pt x="512" y="47"/>
                        <a:pt x="426" y="47"/>
                      </a:cubicBezTo>
                      <a:cubicBezTo>
                        <a:pt x="340" y="47"/>
                        <a:pt x="302" y="0"/>
                        <a:pt x="302" y="0"/>
                      </a:cubicBezTo>
                      <a:cubicBezTo>
                        <a:pt x="42" y="47"/>
                        <a:pt x="5" y="121"/>
                        <a:pt x="1" y="377"/>
                      </a:cubicBezTo>
                      <a:cubicBezTo>
                        <a:pt x="0" y="398"/>
                        <a:pt x="0" y="399"/>
                        <a:pt x="0" y="397"/>
                      </a:cubicBezTo>
                      <a:cubicBezTo>
                        <a:pt x="0" y="401"/>
                        <a:pt x="0" y="410"/>
                        <a:pt x="0" y="425"/>
                      </a:cubicBezTo>
                      <a:cubicBezTo>
                        <a:pt x="0" y="425"/>
                        <a:pt x="63" y="551"/>
                        <a:pt x="426" y="551"/>
                      </a:cubicBezTo>
                      <a:cubicBezTo>
                        <a:pt x="789" y="551"/>
                        <a:pt x="852" y="425"/>
                        <a:pt x="852" y="425"/>
                      </a:cubicBezTo>
                      <a:cubicBezTo>
                        <a:pt x="852" y="415"/>
                        <a:pt x="852" y="409"/>
                        <a:pt x="852" y="404"/>
                      </a:cubicBezTo>
                      <a:cubicBezTo>
                        <a:pt x="852" y="406"/>
                        <a:pt x="852" y="403"/>
                        <a:pt x="851" y="386"/>
                      </a:cubicBezTo>
                      <a:close/>
                      <a:moveTo>
                        <a:pt x="851" y="386"/>
                      </a:moveTo>
                      <a:cubicBezTo>
                        <a:pt x="851" y="386"/>
                        <a:pt x="851" y="386"/>
                        <a:pt x="851" y="386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cxnSp>
            <p:nvCxnSpPr>
              <p:cNvPr id="77" name="Straight Connector 76"/>
              <p:cNvCxnSpPr/>
              <p:nvPr/>
            </p:nvCxnSpPr>
            <p:spPr>
              <a:xfrm>
                <a:off x="5555899" y="4658803"/>
                <a:ext cx="1806643" cy="0"/>
              </a:xfrm>
              <a:prstGeom prst="line">
                <a:avLst/>
              </a:prstGeom>
              <a:ln>
                <a:solidFill>
                  <a:schemeClr val="bg1">
                    <a:alpha val="49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Freeform 14"/>
              <p:cNvSpPr>
                <a:spLocks noEditPoints="1"/>
              </p:cNvSpPr>
              <p:nvPr/>
            </p:nvSpPr>
            <p:spPr bwMode="auto">
              <a:xfrm>
                <a:off x="5567528" y="4468557"/>
                <a:ext cx="113870" cy="151402"/>
              </a:xfrm>
              <a:custGeom>
                <a:avLst/>
                <a:gdLst>
                  <a:gd name="T0" fmla="*/ 293 w 300"/>
                  <a:gd name="T1" fmla="*/ 208 h 400"/>
                  <a:gd name="T2" fmla="*/ 275 w 300"/>
                  <a:gd name="T3" fmla="*/ 200 h 400"/>
                  <a:gd name="T4" fmla="*/ 83 w 300"/>
                  <a:gd name="T5" fmla="*/ 200 h 400"/>
                  <a:gd name="T6" fmla="*/ 83 w 300"/>
                  <a:gd name="T7" fmla="*/ 117 h 400"/>
                  <a:gd name="T8" fmla="*/ 103 w 300"/>
                  <a:gd name="T9" fmla="*/ 70 h 400"/>
                  <a:gd name="T10" fmla="*/ 150 w 300"/>
                  <a:gd name="T11" fmla="*/ 50 h 400"/>
                  <a:gd name="T12" fmla="*/ 197 w 300"/>
                  <a:gd name="T13" fmla="*/ 70 h 400"/>
                  <a:gd name="T14" fmla="*/ 217 w 300"/>
                  <a:gd name="T15" fmla="*/ 117 h 400"/>
                  <a:gd name="T16" fmla="*/ 222 w 300"/>
                  <a:gd name="T17" fmla="*/ 129 h 400"/>
                  <a:gd name="T18" fmla="*/ 234 w 300"/>
                  <a:gd name="T19" fmla="*/ 133 h 400"/>
                  <a:gd name="T20" fmla="*/ 250 w 300"/>
                  <a:gd name="T21" fmla="*/ 133 h 400"/>
                  <a:gd name="T22" fmla="*/ 262 w 300"/>
                  <a:gd name="T23" fmla="*/ 129 h 400"/>
                  <a:gd name="T24" fmla="*/ 267 w 300"/>
                  <a:gd name="T25" fmla="*/ 117 h 400"/>
                  <a:gd name="T26" fmla="*/ 233 w 300"/>
                  <a:gd name="T27" fmla="*/ 34 h 400"/>
                  <a:gd name="T28" fmla="*/ 150 w 300"/>
                  <a:gd name="T29" fmla="*/ 0 h 400"/>
                  <a:gd name="T30" fmla="*/ 68 w 300"/>
                  <a:gd name="T31" fmla="*/ 34 h 400"/>
                  <a:gd name="T32" fmla="*/ 33 w 300"/>
                  <a:gd name="T33" fmla="*/ 117 h 400"/>
                  <a:gd name="T34" fmla="*/ 33 w 300"/>
                  <a:gd name="T35" fmla="*/ 200 h 400"/>
                  <a:gd name="T36" fmla="*/ 25 w 300"/>
                  <a:gd name="T37" fmla="*/ 200 h 400"/>
                  <a:gd name="T38" fmla="*/ 7 w 300"/>
                  <a:gd name="T39" fmla="*/ 208 h 400"/>
                  <a:gd name="T40" fmla="*/ 0 w 300"/>
                  <a:gd name="T41" fmla="*/ 225 h 400"/>
                  <a:gd name="T42" fmla="*/ 0 w 300"/>
                  <a:gd name="T43" fmla="*/ 375 h 400"/>
                  <a:gd name="T44" fmla="*/ 7 w 300"/>
                  <a:gd name="T45" fmla="*/ 393 h 400"/>
                  <a:gd name="T46" fmla="*/ 25 w 300"/>
                  <a:gd name="T47" fmla="*/ 400 h 400"/>
                  <a:gd name="T48" fmla="*/ 275 w 300"/>
                  <a:gd name="T49" fmla="*/ 400 h 400"/>
                  <a:gd name="T50" fmla="*/ 293 w 300"/>
                  <a:gd name="T51" fmla="*/ 393 h 400"/>
                  <a:gd name="T52" fmla="*/ 300 w 300"/>
                  <a:gd name="T53" fmla="*/ 375 h 400"/>
                  <a:gd name="T54" fmla="*/ 300 w 300"/>
                  <a:gd name="T55" fmla="*/ 225 h 400"/>
                  <a:gd name="T56" fmla="*/ 293 w 300"/>
                  <a:gd name="T57" fmla="*/ 208 h 400"/>
                  <a:gd name="T58" fmla="*/ 293 w 300"/>
                  <a:gd name="T59" fmla="*/ 208 h 400"/>
                  <a:gd name="T60" fmla="*/ 293 w 300"/>
                  <a:gd name="T61" fmla="*/ 208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00" h="400">
                    <a:moveTo>
                      <a:pt x="293" y="208"/>
                    </a:moveTo>
                    <a:cubicBezTo>
                      <a:pt x="288" y="203"/>
                      <a:pt x="282" y="200"/>
                      <a:pt x="275" y="200"/>
                    </a:cubicBezTo>
                    <a:cubicBezTo>
                      <a:pt x="83" y="200"/>
                      <a:pt x="83" y="200"/>
                      <a:pt x="83" y="200"/>
                    </a:cubicBezTo>
                    <a:cubicBezTo>
                      <a:pt x="83" y="117"/>
                      <a:pt x="83" y="117"/>
                      <a:pt x="83" y="117"/>
                    </a:cubicBezTo>
                    <a:cubicBezTo>
                      <a:pt x="83" y="98"/>
                      <a:pt x="90" y="83"/>
                      <a:pt x="103" y="70"/>
                    </a:cubicBezTo>
                    <a:cubicBezTo>
                      <a:pt x="116" y="57"/>
                      <a:pt x="132" y="50"/>
                      <a:pt x="150" y="50"/>
                    </a:cubicBezTo>
                    <a:cubicBezTo>
                      <a:pt x="169" y="50"/>
                      <a:pt x="184" y="57"/>
                      <a:pt x="197" y="70"/>
                    </a:cubicBezTo>
                    <a:cubicBezTo>
                      <a:pt x="210" y="83"/>
                      <a:pt x="217" y="98"/>
                      <a:pt x="217" y="117"/>
                    </a:cubicBezTo>
                    <a:cubicBezTo>
                      <a:pt x="217" y="121"/>
                      <a:pt x="219" y="125"/>
                      <a:pt x="222" y="129"/>
                    </a:cubicBezTo>
                    <a:cubicBezTo>
                      <a:pt x="225" y="132"/>
                      <a:pt x="229" y="133"/>
                      <a:pt x="234" y="133"/>
                    </a:cubicBezTo>
                    <a:cubicBezTo>
                      <a:pt x="250" y="133"/>
                      <a:pt x="250" y="133"/>
                      <a:pt x="250" y="133"/>
                    </a:cubicBezTo>
                    <a:cubicBezTo>
                      <a:pt x="255" y="133"/>
                      <a:pt x="259" y="132"/>
                      <a:pt x="262" y="129"/>
                    </a:cubicBezTo>
                    <a:cubicBezTo>
                      <a:pt x="265" y="125"/>
                      <a:pt x="267" y="121"/>
                      <a:pt x="267" y="117"/>
                    </a:cubicBezTo>
                    <a:cubicBezTo>
                      <a:pt x="267" y="85"/>
                      <a:pt x="256" y="57"/>
                      <a:pt x="233" y="34"/>
                    </a:cubicBezTo>
                    <a:cubicBezTo>
                      <a:pt x="210" y="11"/>
                      <a:pt x="182" y="0"/>
                      <a:pt x="150" y="0"/>
                    </a:cubicBezTo>
                    <a:cubicBezTo>
                      <a:pt x="118" y="0"/>
                      <a:pt x="91" y="11"/>
                      <a:pt x="68" y="34"/>
                    </a:cubicBezTo>
                    <a:cubicBezTo>
                      <a:pt x="45" y="57"/>
                      <a:pt x="33" y="85"/>
                      <a:pt x="33" y="117"/>
                    </a:cubicBezTo>
                    <a:cubicBezTo>
                      <a:pt x="33" y="200"/>
                      <a:pt x="33" y="200"/>
                      <a:pt x="33" y="200"/>
                    </a:cubicBezTo>
                    <a:cubicBezTo>
                      <a:pt x="25" y="200"/>
                      <a:pt x="25" y="200"/>
                      <a:pt x="25" y="200"/>
                    </a:cubicBezTo>
                    <a:cubicBezTo>
                      <a:pt x="18" y="200"/>
                      <a:pt x="12" y="203"/>
                      <a:pt x="7" y="208"/>
                    </a:cubicBezTo>
                    <a:cubicBezTo>
                      <a:pt x="2" y="212"/>
                      <a:pt x="0" y="218"/>
                      <a:pt x="0" y="225"/>
                    </a:cubicBezTo>
                    <a:cubicBezTo>
                      <a:pt x="0" y="375"/>
                      <a:pt x="0" y="375"/>
                      <a:pt x="0" y="375"/>
                    </a:cubicBezTo>
                    <a:cubicBezTo>
                      <a:pt x="0" y="382"/>
                      <a:pt x="2" y="388"/>
                      <a:pt x="7" y="393"/>
                    </a:cubicBezTo>
                    <a:cubicBezTo>
                      <a:pt x="12" y="398"/>
                      <a:pt x="18" y="400"/>
                      <a:pt x="25" y="400"/>
                    </a:cubicBezTo>
                    <a:cubicBezTo>
                      <a:pt x="275" y="400"/>
                      <a:pt x="275" y="400"/>
                      <a:pt x="275" y="400"/>
                    </a:cubicBezTo>
                    <a:cubicBezTo>
                      <a:pt x="282" y="400"/>
                      <a:pt x="288" y="398"/>
                      <a:pt x="293" y="393"/>
                    </a:cubicBezTo>
                    <a:cubicBezTo>
                      <a:pt x="298" y="388"/>
                      <a:pt x="300" y="382"/>
                      <a:pt x="300" y="375"/>
                    </a:cubicBezTo>
                    <a:cubicBezTo>
                      <a:pt x="300" y="225"/>
                      <a:pt x="300" y="225"/>
                      <a:pt x="300" y="225"/>
                    </a:cubicBezTo>
                    <a:cubicBezTo>
                      <a:pt x="300" y="218"/>
                      <a:pt x="298" y="212"/>
                      <a:pt x="293" y="208"/>
                    </a:cubicBezTo>
                    <a:close/>
                    <a:moveTo>
                      <a:pt x="293" y="208"/>
                    </a:moveTo>
                    <a:cubicBezTo>
                      <a:pt x="293" y="208"/>
                      <a:pt x="293" y="208"/>
                      <a:pt x="293" y="208"/>
                    </a:cubicBezTo>
                  </a:path>
                </a:pathLst>
              </a:custGeom>
              <a:solidFill>
                <a:schemeClr val="bg1">
                  <a:alpha val="43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5769767" y="4195304"/>
                <a:ext cx="1117328" cy="923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00" dirty="0">
                    <a:solidFill>
                      <a:schemeClr val="bg1">
                        <a:alpha val="85000"/>
                      </a:schemeClr>
                    </a:solidFill>
                    <a:latin typeface="Montserrat Light" panose="00000400000000000000" pitchFamily="2" charset="-18"/>
                  </a:rPr>
                  <a:t>Name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5769767" y="4525213"/>
                <a:ext cx="1117328" cy="923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600" dirty="0">
                    <a:solidFill>
                      <a:schemeClr val="bg1">
                        <a:alpha val="85000"/>
                      </a:schemeClr>
                    </a:solidFill>
                    <a:latin typeface="Montserrat Light" panose="00000400000000000000" pitchFamily="2" charset="-18"/>
                  </a:rPr>
                  <a:t>Password</a:t>
                </a:r>
              </a:p>
            </p:txBody>
          </p:sp>
          <p:sp>
            <p:nvSpPr>
              <p:cNvPr id="81" name="Rounded Rectangle 80"/>
              <p:cNvSpPr/>
              <p:nvPr/>
            </p:nvSpPr>
            <p:spPr>
              <a:xfrm>
                <a:off x="5847194" y="5038414"/>
                <a:ext cx="1120448" cy="267631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1000"/>
                </a:schemeClr>
              </a:solidFill>
              <a:ln w="9525">
                <a:solidFill>
                  <a:srgbClr val="14CE9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</a:rPr>
                  <a:t>SIGN IN</a:t>
                </a: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6245213" y="4712570"/>
                <a:ext cx="1117328" cy="61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400" i="1" dirty="0">
                    <a:solidFill>
                      <a:schemeClr val="bg1">
                        <a:alpha val="85000"/>
                      </a:schemeClr>
                    </a:solidFill>
                    <a:latin typeface="Montserrat Light" panose="00000400000000000000" pitchFamily="2" charset="-18"/>
                  </a:rPr>
                  <a:t>Forgot password</a:t>
                </a:r>
              </a:p>
            </p:txBody>
          </p:sp>
        </p:grpSp>
        <p:sp>
          <p:nvSpPr>
            <p:cNvPr id="68" name="Freeform 67"/>
            <p:cNvSpPr/>
            <p:nvPr/>
          </p:nvSpPr>
          <p:spPr>
            <a:xfrm>
              <a:off x="1887535" y="2194662"/>
              <a:ext cx="758225" cy="485494"/>
            </a:xfrm>
            <a:custGeom>
              <a:avLst/>
              <a:gdLst>
                <a:gd name="connsiteX0" fmla="*/ 6150209 w 7230006"/>
                <a:gd name="connsiteY0" fmla="*/ 1323803 h 4629393"/>
                <a:gd name="connsiteX1" fmla="*/ 6727342 w 7230006"/>
                <a:gd name="connsiteY1" fmla="*/ 1453798 h 4629393"/>
                <a:gd name="connsiteX2" fmla="*/ 7099686 w 7230006"/>
                <a:gd name="connsiteY2" fmla="*/ 1788071 h 4629393"/>
                <a:gd name="connsiteX3" fmla="*/ 7211389 w 7230006"/>
                <a:gd name="connsiteY3" fmla="*/ 2252340 h 4629393"/>
                <a:gd name="connsiteX4" fmla="*/ 7081069 w 7230006"/>
                <a:gd name="connsiteY4" fmla="*/ 2753749 h 4629393"/>
                <a:gd name="connsiteX5" fmla="*/ 6652873 w 7230006"/>
                <a:gd name="connsiteY5" fmla="*/ 3162305 h 4629393"/>
                <a:gd name="connsiteX6" fmla="*/ 6001272 w 7230006"/>
                <a:gd name="connsiteY6" fmla="*/ 3310871 h 4629393"/>
                <a:gd name="connsiteX7" fmla="*/ 5554459 w 7230006"/>
                <a:gd name="connsiteY7" fmla="*/ 3236588 h 4629393"/>
                <a:gd name="connsiteX8" fmla="*/ 5312436 w 7230006"/>
                <a:gd name="connsiteY8" fmla="*/ 3013740 h 4629393"/>
                <a:gd name="connsiteX9" fmla="*/ 5349670 w 7230006"/>
                <a:gd name="connsiteY9" fmla="*/ 2920886 h 4629393"/>
                <a:gd name="connsiteX10" fmla="*/ 5405522 w 7230006"/>
                <a:gd name="connsiteY10" fmla="*/ 2883745 h 4629393"/>
                <a:gd name="connsiteX11" fmla="*/ 5535842 w 7230006"/>
                <a:gd name="connsiteY11" fmla="*/ 2920886 h 4629393"/>
                <a:gd name="connsiteX12" fmla="*/ 5815100 w 7230006"/>
                <a:gd name="connsiteY12" fmla="*/ 2958027 h 4629393"/>
                <a:gd name="connsiteX13" fmla="*/ 6410850 w 7230006"/>
                <a:gd name="connsiteY13" fmla="*/ 2753749 h 4629393"/>
                <a:gd name="connsiteX14" fmla="*/ 6615639 w 7230006"/>
                <a:gd name="connsiteY14" fmla="*/ 2233769 h 4629393"/>
                <a:gd name="connsiteX15" fmla="*/ 6466701 w 7230006"/>
                <a:gd name="connsiteY15" fmla="*/ 1806642 h 4629393"/>
                <a:gd name="connsiteX16" fmla="*/ 6019889 w 7230006"/>
                <a:gd name="connsiteY16" fmla="*/ 1639506 h 4629393"/>
                <a:gd name="connsiteX17" fmla="*/ 5386905 w 7230006"/>
                <a:gd name="connsiteY17" fmla="*/ 1992349 h 4629393"/>
                <a:gd name="connsiteX18" fmla="*/ 5163499 w 7230006"/>
                <a:gd name="connsiteY18" fmla="*/ 3013740 h 4629393"/>
                <a:gd name="connsiteX19" fmla="*/ 5386905 w 7230006"/>
                <a:gd name="connsiteY19" fmla="*/ 3886564 h 4629393"/>
                <a:gd name="connsiteX20" fmla="*/ 6094358 w 7230006"/>
                <a:gd name="connsiteY20" fmla="*/ 4202266 h 4629393"/>
                <a:gd name="connsiteX21" fmla="*/ 7006600 w 7230006"/>
                <a:gd name="connsiteY21" fmla="*/ 3849422 h 4629393"/>
                <a:gd name="connsiteX22" fmla="*/ 7081069 w 7230006"/>
                <a:gd name="connsiteY22" fmla="*/ 3830852 h 4629393"/>
                <a:gd name="connsiteX23" fmla="*/ 7174155 w 7230006"/>
                <a:gd name="connsiteY23" fmla="*/ 3886564 h 4629393"/>
                <a:gd name="connsiteX24" fmla="*/ 7230006 w 7230006"/>
                <a:gd name="connsiteY24" fmla="*/ 4016559 h 4629393"/>
                <a:gd name="connsiteX25" fmla="*/ 7211389 w 7230006"/>
                <a:gd name="connsiteY25" fmla="*/ 4072271 h 4629393"/>
                <a:gd name="connsiteX26" fmla="*/ 6652873 w 7230006"/>
                <a:gd name="connsiteY26" fmla="*/ 4480827 h 4629393"/>
                <a:gd name="connsiteX27" fmla="*/ 5964037 w 7230006"/>
                <a:gd name="connsiteY27" fmla="*/ 4629393 h 4629393"/>
                <a:gd name="connsiteX28" fmla="*/ 5200733 w 7230006"/>
                <a:gd name="connsiteY28" fmla="*/ 4425115 h 4629393"/>
                <a:gd name="connsiteX29" fmla="*/ 4679452 w 7230006"/>
                <a:gd name="connsiteY29" fmla="*/ 3849422 h 4629393"/>
                <a:gd name="connsiteX30" fmla="*/ 4511897 w 7230006"/>
                <a:gd name="connsiteY30" fmla="*/ 3013740 h 4629393"/>
                <a:gd name="connsiteX31" fmla="*/ 4698069 w 7230006"/>
                <a:gd name="connsiteY31" fmla="*/ 2122345 h 4629393"/>
                <a:gd name="connsiteX32" fmla="*/ 5275202 w 7230006"/>
                <a:gd name="connsiteY32" fmla="*/ 1528081 h 4629393"/>
                <a:gd name="connsiteX33" fmla="*/ 6150209 w 7230006"/>
                <a:gd name="connsiteY33" fmla="*/ 1323803 h 4629393"/>
                <a:gd name="connsiteX34" fmla="*/ 185688 w 7230006"/>
                <a:gd name="connsiteY34" fmla="*/ 0 h 4629393"/>
                <a:gd name="connsiteX35" fmla="*/ 1689760 w 7230006"/>
                <a:gd name="connsiteY35" fmla="*/ 0 h 4629393"/>
                <a:gd name="connsiteX36" fmla="*/ 1764035 w 7230006"/>
                <a:gd name="connsiteY36" fmla="*/ 223053 h 4629393"/>
                <a:gd name="connsiteX37" fmla="*/ 1615485 w 7230006"/>
                <a:gd name="connsiteY37" fmla="*/ 260228 h 4629393"/>
                <a:gd name="connsiteX38" fmla="*/ 1374090 w 7230006"/>
                <a:gd name="connsiteY38" fmla="*/ 520456 h 4629393"/>
                <a:gd name="connsiteX39" fmla="*/ 1504072 w 7230006"/>
                <a:gd name="connsiteY39" fmla="*/ 892210 h 4629393"/>
                <a:gd name="connsiteX40" fmla="*/ 2153979 w 7230006"/>
                <a:gd name="connsiteY40" fmla="*/ 1821594 h 4629393"/>
                <a:gd name="connsiteX41" fmla="*/ 2803887 w 7230006"/>
                <a:gd name="connsiteY41" fmla="*/ 855034 h 4629393"/>
                <a:gd name="connsiteX42" fmla="*/ 2915299 w 7230006"/>
                <a:gd name="connsiteY42" fmla="*/ 650570 h 4629393"/>
                <a:gd name="connsiteX43" fmla="*/ 2933868 w 7230006"/>
                <a:gd name="connsiteY43" fmla="*/ 501868 h 4629393"/>
                <a:gd name="connsiteX44" fmla="*/ 2859593 w 7230006"/>
                <a:gd name="connsiteY44" fmla="*/ 223053 h 4629393"/>
                <a:gd name="connsiteX45" fmla="*/ 2803887 w 7230006"/>
                <a:gd name="connsiteY45" fmla="*/ 92939 h 4629393"/>
                <a:gd name="connsiteX46" fmla="*/ 2915299 w 7230006"/>
                <a:gd name="connsiteY46" fmla="*/ 0 h 4629393"/>
                <a:gd name="connsiteX47" fmla="*/ 4085133 w 7230006"/>
                <a:gd name="connsiteY47" fmla="*/ 0 h 4629393"/>
                <a:gd name="connsiteX48" fmla="*/ 4159408 w 7230006"/>
                <a:gd name="connsiteY48" fmla="*/ 223053 h 4629393"/>
                <a:gd name="connsiteX49" fmla="*/ 4010858 w 7230006"/>
                <a:gd name="connsiteY49" fmla="*/ 260228 h 4629393"/>
                <a:gd name="connsiteX50" fmla="*/ 3732326 w 7230006"/>
                <a:gd name="connsiteY50" fmla="*/ 371754 h 4629393"/>
                <a:gd name="connsiteX51" fmla="*/ 3528069 w 7230006"/>
                <a:gd name="connsiteY51" fmla="*/ 594806 h 4629393"/>
                <a:gd name="connsiteX52" fmla="*/ 2413942 w 7230006"/>
                <a:gd name="connsiteY52" fmla="*/ 2193348 h 4629393"/>
                <a:gd name="connsiteX53" fmla="*/ 3546638 w 7230006"/>
                <a:gd name="connsiteY53" fmla="*/ 3810478 h 4629393"/>
                <a:gd name="connsiteX54" fmla="*/ 3825170 w 7230006"/>
                <a:gd name="connsiteY54" fmla="*/ 4163644 h 4629393"/>
                <a:gd name="connsiteX55" fmla="*/ 4103702 w 7230006"/>
                <a:gd name="connsiteY55" fmla="*/ 4442460 h 4629393"/>
                <a:gd name="connsiteX56" fmla="*/ 4010858 w 7230006"/>
                <a:gd name="connsiteY56" fmla="*/ 4535398 h 4629393"/>
                <a:gd name="connsiteX57" fmla="*/ 2525355 w 7230006"/>
                <a:gd name="connsiteY57" fmla="*/ 4535398 h 4629393"/>
                <a:gd name="connsiteX58" fmla="*/ 2451080 w 7230006"/>
                <a:gd name="connsiteY58" fmla="*/ 4312346 h 4629393"/>
                <a:gd name="connsiteX59" fmla="*/ 2599630 w 7230006"/>
                <a:gd name="connsiteY59" fmla="*/ 4275170 h 4629393"/>
                <a:gd name="connsiteX60" fmla="*/ 2841024 w 7230006"/>
                <a:gd name="connsiteY60" fmla="*/ 4014943 h 4629393"/>
                <a:gd name="connsiteX61" fmla="*/ 2692474 w 7230006"/>
                <a:gd name="connsiteY61" fmla="*/ 3643189 h 4629393"/>
                <a:gd name="connsiteX62" fmla="*/ 2005429 w 7230006"/>
                <a:gd name="connsiteY62" fmla="*/ 2676628 h 4629393"/>
                <a:gd name="connsiteX63" fmla="*/ 1336953 w 7230006"/>
                <a:gd name="connsiteY63" fmla="*/ 3680364 h 4629393"/>
                <a:gd name="connsiteX64" fmla="*/ 1244109 w 7230006"/>
                <a:gd name="connsiteY64" fmla="*/ 3884829 h 4629393"/>
                <a:gd name="connsiteX65" fmla="*/ 1206971 w 7230006"/>
                <a:gd name="connsiteY65" fmla="*/ 4033530 h 4629393"/>
                <a:gd name="connsiteX66" fmla="*/ 1299815 w 7230006"/>
                <a:gd name="connsiteY66" fmla="*/ 4312346 h 4629393"/>
                <a:gd name="connsiteX67" fmla="*/ 1355522 w 7230006"/>
                <a:gd name="connsiteY67" fmla="*/ 4442460 h 4629393"/>
                <a:gd name="connsiteX68" fmla="*/ 1225540 w 7230006"/>
                <a:gd name="connsiteY68" fmla="*/ 4535398 h 4629393"/>
                <a:gd name="connsiteX69" fmla="*/ 74275 w 7230006"/>
                <a:gd name="connsiteY69" fmla="*/ 4535398 h 4629393"/>
                <a:gd name="connsiteX70" fmla="*/ 0 w 7230006"/>
                <a:gd name="connsiteY70" fmla="*/ 4312346 h 4629393"/>
                <a:gd name="connsiteX71" fmla="*/ 129982 w 7230006"/>
                <a:gd name="connsiteY71" fmla="*/ 4275170 h 4629393"/>
                <a:gd name="connsiteX72" fmla="*/ 408514 w 7230006"/>
                <a:gd name="connsiteY72" fmla="*/ 4163644 h 4629393"/>
                <a:gd name="connsiteX73" fmla="*/ 631339 w 7230006"/>
                <a:gd name="connsiteY73" fmla="*/ 3940592 h 4629393"/>
                <a:gd name="connsiteX74" fmla="*/ 1764035 w 7230006"/>
                <a:gd name="connsiteY74" fmla="*/ 2304875 h 4629393"/>
                <a:gd name="connsiteX75" fmla="*/ 687045 w 7230006"/>
                <a:gd name="connsiteY75" fmla="*/ 780683 h 4629393"/>
                <a:gd name="connsiteX76" fmla="*/ 111413 w 7230006"/>
                <a:gd name="connsiteY76" fmla="*/ 92939 h 4629393"/>
                <a:gd name="connsiteX77" fmla="*/ 185688 w 7230006"/>
                <a:gd name="connsiteY77" fmla="*/ 0 h 462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230006" h="4629393">
                  <a:moveTo>
                    <a:pt x="6150209" y="1323803"/>
                  </a:moveTo>
                  <a:cubicBezTo>
                    <a:pt x="6373615" y="1323803"/>
                    <a:pt x="6578405" y="1360945"/>
                    <a:pt x="6727342" y="1453798"/>
                  </a:cubicBezTo>
                  <a:cubicBezTo>
                    <a:pt x="6894897" y="1528081"/>
                    <a:pt x="7025217" y="1639506"/>
                    <a:pt x="7099686" y="1788071"/>
                  </a:cubicBezTo>
                  <a:cubicBezTo>
                    <a:pt x="7174155" y="1936637"/>
                    <a:pt x="7211389" y="2085203"/>
                    <a:pt x="7211389" y="2252340"/>
                  </a:cubicBezTo>
                  <a:cubicBezTo>
                    <a:pt x="7211389" y="2419476"/>
                    <a:pt x="7174155" y="2586613"/>
                    <a:pt x="7081069" y="2753749"/>
                  </a:cubicBezTo>
                  <a:cubicBezTo>
                    <a:pt x="6987983" y="2920886"/>
                    <a:pt x="6839045" y="3050881"/>
                    <a:pt x="6652873" y="3162305"/>
                  </a:cubicBezTo>
                  <a:cubicBezTo>
                    <a:pt x="6485319" y="3255159"/>
                    <a:pt x="6261912" y="3310871"/>
                    <a:pt x="6001272" y="3310871"/>
                  </a:cubicBezTo>
                  <a:cubicBezTo>
                    <a:pt x="5870951" y="3310871"/>
                    <a:pt x="5722014" y="3292301"/>
                    <a:pt x="5554459" y="3236588"/>
                  </a:cubicBezTo>
                  <a:cubicBezTo>
                    <a:pt x="5386905" y="3180876"/>
                    <a:pt x="5312436" y="3106593"/>
                    <a:pt x="5312436" y="3013740"/>
                  </a:cubicBezTo>
                  <a:cubicBezTo>
                    <a:pt x="5312436" y="2976598"/>
                    <a:pt x="5331053" y="2958027"/>
                    <a:pt x="5349670" y="2920886"/>
                  </a:cubicBezTo>
                  <a:cubicBezTo>
                    <a:pt x="5368287" y="2883745"/>
                    <a:pt x="5386905" y="2883745"/>
                    <a:pt x="5405522" y="2883745"/>
                  </a:cubicBezTo>
                  <a:cubicBezTo>
                    <a:pt x="5424139" y="2883745"/>
                    <a:pt x="5461373" y="2883745"/>
                    <a:pt x="5535842" y="2920886"/>
                  </a:cubicBezTo>
                  <a:cubicBezTo>
                    <a:pt x="5610311" y="2939457"/>
                    <a:pt x="5703397" y="2958027"/>
                    <a:pt x="5815100" y="2958027"/>
                  </a:cubicBezTo>
                  <a:cubicBezTo>
                    <a:pt x="6075741" y="2958027"/>
                    <a:pt x="6261912" y="2883745"/>
                    <a:pt x="6410850" y="2753749"/>
                  </a:cubicBezTo>
                  <a:cubicBezTo>
                    <a:pt x="6541170" y="2605184"/>
                    <a:pt x="6615639" y="2438047"/>
                    <a:pt x="6615639" y="2233769"/>
                  </a:cubicBezTo>
                  <a:cubicBezTo>
                    <a:pt x="6615639" y="2085203"/>
                    <a:pt x="6559787" y="1936637"/>
                    <a:pt x="6466701" y="1806642"/>
                  </a:cubicBezTo>
                  <a:cubicBezTo>
                    <a:pt x="6354998" y="1695218"/>
                    <a:pt x="6206061" y="1639506"/>
                    <a:pt x="6019889" y="1639506"/>
                  </a:cubicBezTo>
                  <a:cubicBezTo>
                    <a:pt x="5740631" y="1639506"/>
                    <a:pt x="5535842" y="1750930"/>
                    <a:pt x="5386905" y="1992349"/>
                  </a:cubicBezTo>
                  <a:cubicBezTo>
                    <a:pt x="5237967" y="2233769"/>
                    <a:pt x="5163499" y="2568042"/>
                    <a:pt x="5163499" y="3013740"/>
                  </a:cubicBezTo>
                  <a:cubicBezTo>
                    <a:pt x="5163499" y="3385154"/>
                    <a:pt x="5237967" y="3682286"/>
                    <a:pt x="5386905" y="3886564"/>
                  </a:cubicBezTo>
                  <a:cubicBezTo>
                    <a:pt x="5554459" y="4109413"/>
                    <a:pt x="5796483" y="4202266"/>
                    <a:pt x="6094358" y="4202266"/>
                  </a:cubicBezTo>
                  <a:cubicBezTo>
                    <a:pt x="6466701" y="4202266"/>
                    <a:pt x="6764577" y="4090842"/>
                    <a:pt x="7006600" y="3849422"/>
                  </a:cubicBezTo>
                  <a:cubicBezTo>
                    <a:pt x="7025217" y="3830852"/>
                    <a:pt x="7043834" y="3830852"/>
                    <a:pt x="7081069" y="3830852"/>
                  </a:cubicBezTo>
                  <a:cubicBezTo>
                    <a:pt x="7099686" y="3830852"/>
                    <a:pt x="7136920" y="3849422"/>
                    <a:pt x="7174155" y="3886564"/>
                  </a:cubicBezTo>
                  <a:cubicBezTo>
                    <a:pt x="7211389" y="3923705"/>
                    <a:pt x="7230006" y="3960847"/>
                    <a:pt x="7230006" y="4016559"/>
                  </a:cubicBezTo>
                  <a:cubicBezTo>
                    <a:pt x="7230006" y="4035130"/>
                    <a:pt x="7230006" y="4053700"/>
                    <a:pt x="7211389" y="4072271"/>
                  </a:cubicBezTo>
                  <a:cubicBezTo>
                    <a:pt x="7062451" y="4239408"/>
                    <a:pt x="6876279" y="4387974"/>
                    <a:pt x="6652873" y="4480827"/>
                  </a:cubicBezTo>
                  <a:cubicBezTo>
                    <a:pt x="6448084" y="4573681"/>
                    <a:pt x="6206061" y="4629393"/>
                    <a:pt x="5964037" y="4629393"/>
                  </a:cubicBezTo>
                  <a:cubicBezTo>
                    <a:pt x="5666163" y="4629393"/>
                    <a:pt x="5405522" y="4555110"/>
                    <a:pt x="5200733" y="4425115"/>
                  </a:cubicBezTo>
                  <a:cubicBezTo>
                    <a:pt x="4977327" y="4295120"/>
                    <a:pt x="4809772" y="4090842"/>
                    <a:pt x="4679452" y="3849422"/>
                  </a:cubicBezTo>
                  <a:cubicBezTo>
                    <a:pt x="4567749" y="3608003"/>
                    <a:pt x="4511897" y="3329442"/>
                    <a:pt x="4511897" y="3013740"/>
                  </a:cubicBezTo>
                  <a:cubicBezTo>
                    <a:pt x="4511897" y="2679467"/>
                    <a:pt x="4567749" y="2382335"/>
                    <a:pt x="4698069" y="2122345"/>
                  </a:cubicBezTo>
                  <a:cubicBezTo>
                    <a:pt x="4847006" y="1862354"/>
                    <a:pt x="5033178" y="1676647"/>
                    <a:pt x="5275202" y="1528081"/>
                  </a:cubicBezTo>
                  <a:cubicBezTo>
                    <a:pt x="5517225" y="1398086"/>
                    <a:pt x="5815100" y="1323803"/>
                    <a:pt x="6150209" y="1323803"/>
                  </a:cubicBezTo>
                  <a:close/>
                  <a:moveTo>
                    <a:pt x="185688" y="0"/>
                  </a:moveTo>
                  <a:cubicBezTo>
                    <a:pt x="1689760" y="0"/>
                    <a:pt x="1689760" y="0"/>
                    <a:pt x="1689760" y="0"/>
                  </a:cubicBezTo>
                  <a:cubicBezTo>
                    <a:pt x="1764035" y="223053"/>
                    <a:pt x="1764035" y="223053"/>
                    <a:pt x="1764035" y="223053"/>
                  </a:cubicBezTo>
                  <a:cubicBezTo>
                    <a:pt x="1615485" y="260228"/>
                    <a:pt x="1615485" y="260228"/>
                    <a:pt x="1615485" y="260228"/>
                  </a:cubicBezTo>
                  <a:cubicBezTo>
                    <a:pt x="1448365" y="297403"/>
                    <a:pt x="1374090" y="390342"/>
                    <a:pt x="1374090" y="520456"/>
                  </a:cubicBezTo>
                  <a:cubicBezTo>
                    <a:pt x="1374090" y="631982"/>
                    <a:pt x="1411228" y="762096"/>
                    <a:pt x="1504072" y="892210"/>
                  </a:cubicBezTo>
                  <a:cubicBezTo>
                    <a:pt x="2153979" y="1821594"/>
                    <a:pt x="2153979" y="1821594"/>
                    <a:pt x="2153979" y="1821594"/>
                  </a:cubicBezTo>
                  <a:lnTo>
                    <a:pt x="2803887" y="855034"/>
                  </a:lnTo>
                  <a:cubicBezTo>
                    <a:pt x="2859593" y="762096"/>
                    <a:pt x="2896731" y="706333"/>
                    <a:pt x="2915299" y="650570"/>
                  </a:cubicBezTo>
                  <a:cubicBezTo>
                    <a:pt x="2933868" y="613394"/>
                    <a:pt x="2933868" y="557631"/>
                    <a:pt x="2933868" y="501868"/>
                  </a:cubicBezTo>
                  <a:cubicBezTo>
                    <a:pt x="2933868" y="427517"/>
                    <a:pt x="2915299" y="334579"/>
                    <a:pt x="2859593" y="223053"/>
                  </a:cubicBezTo>
                  <a:cubicBezTo>
                    <a:pt x="2803887" y="92939"/>
                    <a:pt x="2803887" y="92939"/>
                    <a:pt x="2803887" y="92939"/>
                  </a:cubicBezTo>
                  <a:cubicBezTo>
                    <a:pt x="2915299" y="0"/>
                    <a:pt x="2915299" y="0"/>
                    <a:pt x="2915299" y="0"/>
                  </a:cubicBezTo>
                  <a:cubicBezTo>
                    <a:pt x="4085133" y="0"/>
                    <a:pt x="4085133" y="0"/>
                    <a:pt x="4085133" y="0"/>
                  </a:cubicBezTo>
                  <a:cubicBezTo>
                    <a:pt x="4159408" y="223053"/>
                    <a:pt x="4159408" y="223053"/>
                    <a:pt x="4159408" y="223053"/>
                  </a:cubicBezTo>
                  <a:cubicBezTo>
                    <a:pt x="4010858" y="260228"/>
                    <a:pt x="4010858" y="260228"/>
                    <a:pt x="4010858" y="260228"/>
                  </a:cubicBezTo>
                  <a:cubicBezTo>
                    <a:pt x="3899445" y="278816"/>
                    <a:pt x="3825170" y="315991"/>
                    <a:pt x="3732326" y="371754"/>
                  </a:cubicBezTo>
                  <a:cubicBezTo>
                    <a:pt x="3658051" y="427517"/>
                    <a:pt x="3583776" y="501868"/>
                    <a:pt x="3528069" y="594806"/>
                  </a:cubicBezTo>
                  <a:cubicBezTo>
                    <a:pt x="2413942" y="2193348"/>
                    <a:pt x="2413942" y="2193348"/>
                    <a:pt x="2413942" y="2193348"/>
                  </a:cubicBezTo>
                  <a:cubicBezTo>
                    <a:pt x="3546638" y="3810478"/>
                    <a:pt x="3546638" y="3810478"/>
                    <a:pt x="3546638" y="3810478"/>
                  </a:cubicBezTo>
                  <a:cubicBezTo>
                    <a:pt x="3658051" y="3959180"/>
                    <a:pt x="3750895" y="4089293"/>
                    <a:pt x="3825170" y="4163644"/>
                  </a:cubicBezTo>
                  <a:cubicBezTo>
                    <a:pt x="3899445" y="4256583"/>
                    <a:pt x="3992289" y="4349521"/>
                    <a:pt x="4103702" y="4442460"/>
                  </a:cubicBezTo>
                  <a:cubicBezTo>
                    <a:pt x="4010858" y="4535398"/>
                    <a:pt x="4010858" y="4535398"/>
                    <a:pt x="4010858" y="4535398"/>
                  </a:cubicBezTo>
                  <a:cubicBezTo>
                    <a:pt x="2525355" y="4535398"/>
                    <a:pt x="2525355" y="4535398"/>
                    <a:pt x="2525355" y="4535398"/>
                  </a:cubicBezTo>
                  <a:cubicBezTo>
                    <a:pt x="2451080" y="4312346"/>
                    <a:pt x="2451080" y="4312346"/>
                    <a:pt x="2451080" y="4312346"/>
                  </a:cubicBezTo>
                  <a:cubicBezTo>
                    <a:pt x="2599630" y="4275170"/>
                    <a:pt x="2599630" y="4275170"/>
                    <a:pt x="2599630" y="4275170"/>
                  </a:cubicBezTo>
                  <a:cubicBezTo>
                    <a:pt x="2748180" y="4237995"/>
                    <a:pt x="2841024" y="4145056"/>
                    <a:pt x="2841024" y="4014943"/>
                  </a:cubicBezTo>
                  <a:cubicBezTo>
                    <a:pt x="2841024" y="3903416"/>
                    <a:pt x="2785318" y="3773303"/>
                    <a:pt x="2692474" y="3643189"/>
                  </a:cubicBezTo>
                  <a:cubicBezTo>
                    <a:pt x="2005429" y="2676628"/>
                    <a:pt x="2005429" y="2676628"/>
                    <a:pt x="2005429" y="2676628"/>
                  </a:cubicBezTo>
                  <a:cubicBezTo>
                    <a:pt x="1336953" y="3680364"/>
                    <a:pt x="1336953" y="3680364"/>
                    <a:pt x="1336953" y="3680364"/>
                  </a:cubicBezTo>
                  <a:cubicBezTo>
                    <a:pt x="1281246" y="3773303"/>
                    <a:pt x="1244109" y="3829066"/>
                    <a:pt x="1244109" y="3884829"/>
                  </a:cubicBezTo>
                  <a:cubicBezTo>
                    <a:pt x="1225540" y="3922004"/>
                    <a:pt x="1206971" y="3977767"/>
                    <a:pt x="1206971" y="4033530"/>
                  </a:cubicBezTo>
                  <a:cubicBezTo>
                    <a:pt x="1206971" y="4107881"/>
                    <a:pt x="1244109" y="4200820"/>
                    <a:pt x="1299815" y="4312346"/>
                  </a:cubicBezTo>
                  <a:cubicBezTo>
                    <a:pt x="1355522" y="4442460"/>
                    <a:pt x="1355522" y="4442460"/>
                    <a:pt x="1355522" y="4442460"/>
                  </a:cubicBezTo>
                  <a:cubicBezTo>
                    <a:pt x="1225540" y="4535398"/>
                    <a:pt x="1225540" y="4535398"/>
                    <a:pt x="1225540" y="4535398"/>
                  </a:cubicBezTo>
                  <a:cubicBezTo>
                    <a:pt x="74275" y="4535398"/>
                    <a:pt x="74275" y="4535398"/>
                    <a:pt x="74275" y="4535398"/>
                  </a:cubicBezTo>
                  <a:cubicBezTo>
                    <a:pt x="0" y="4312346"/>
                    <a:pt x="0" y="4312346"/>
                    <a:pt x="0" y="4312346"/>
                  </a:cubicBezTo>
                  <a:cubicBezTo>
                    <a:pt x="129982" y="4275170"/>
                    <a:pt x="129982" y="4275170"/>
                    <a:pt x="129982" y="4275170"/>
                  </a:cubicBezTo>
                  <a:cubicBezTo>
                    <a:pt x="241394" y="4256583"/>
                    <a:pt x="334238" y="4219407"/>
                    <a:pt x="408514" y="4163644"/>
                  </a:cubicBezTo>
                  <a:cubicBezTo>
                    <a:pt x="482789" y="4126469"/>
                    <a:pt x="557064" y="4052118"/>
                    <a:pt x="631339" y="3940592"/>
                  </a:cubicBezTo>
                  <a:cubicBezTo>
                    <a:pt x="1764035" y="2304875"/>
                    <a:pt x="1764035" y="2304875"/>
                    <a:pt x="1764035" y="2304875"/>
                  </a:cubicBezTo>
                  <a:cubicBezTo>
                    <a:pt x="687045" y="780683"/>
                    <a:pt x="687045" y="780683"/>
                    <a:pt x="687045" y="780683"/>
                  </a:cubicBezTo>
                  <a:cubicBezTo>
                    <a:pt x="464220" y="464693"/>
                    <a:pt x="278532" y="241640"/>
                    <a:pt x="111413" y="92939"/>
                  </a:cubicBezTo>
                  <a:cubicBezTo>
                    <a:pt x="185688" y="0"/>
                    <a:pt x="185688" y="0"/>
                    <a:pt x="185688" y="0"/>
                  </a:cubicBezTo>
                  <a:close/>
                </a:path>
              </a:pathLst>
            </a:custGeom>
            <a:solidFill>
              <a:srgbClr val="F6F6F9">
                <a:alpha val="5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8813" y="1376737"/>
              <a:ext cx="3340689" cy="4739602"/>
            </a:xfrm>
            <a:prstGeom prst="rect">
              <a:avLst/>
            </a:prstGeom>
          </p:spPr>
        </p:pic>
      </p:grpSp>
      <p:sp>
        <p:nvSpPr>
          <p:cNvPr id="191" name="TextBox 190"/>
          <p:cNvSpPr txBox="1"/>
          <p:nvPr/>
        </p:nvSpPr>
        <p:spPr>
          <a:xfrm>
            <a:off x="8479792" y="1964503"/>
            <a:ext cx="2946256" cy="2564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SCREEN 01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8479792" y="2271942"/>
            <a:ext cx="2946255" cy="589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 banjo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gochu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ja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ork belly sustainable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479792" y="3394951"/>
            <a:ext cx="2946256" cy="2564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SCREEN 02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479792" y="3702390"/>
            <a:ext cx="2946255" cy="589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 banjo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gochu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ja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ork belly sustainable.</a:t>
            </a:r>
          </a:p>
        </p:txBody>
      </p:sp>
    </p:spTree>
    <p:extLst>
      <p:ext uri="{BB962C8B-B14F-4D97-AF65-F5344CB8AC3E}">
        <p14:creationId xmlns:p14="http://schemas.microsoft.com/office/powerpoint/2010/main" val="42123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11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11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 p14:presetBounceEnd="4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11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11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1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1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2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1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1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564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288" y="2100551"/>
            <a:ext cx="2024047" cy="35603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6008687" cy="546100"/>
          </a:xfrm>
        </p:spPr>
        <p:txBody>
          <a:bodyPr/>
          <a:lstStyle/>
          <a:p>
            <a:r>
              <a:rPr lang="en-US" dirty="0"/>
              <a:t>Application devices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9650759" y="4264877"/>
            <a:ext cx="1794506" cy="1794506"/>
          </a:xfrm>
          <a:prstGeom prst="roundRect">
            <a:avLst/>
          </a:prstGeom>
          <a:gradFill flip="none" rotWithShape="1">
            <a:gsLst>
              <a:gs pos="20000">
                <a:srgbClr val="14CE9F"/>
              </a:gs>
              <a:gs pos="100000">
                <a:srgbClr val="DDF9B8"/>
              </a:gs>
            </a:gsLst>
            <a:lin ang="18600000" scaled="0"/>
            <a:tileRect/>
          </a:gra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Box 64"/>
          <p:cNvSpPr txBox="1"/>
          <p:nvPr/>
        </p:nvSpPr>
        <p:spPr>
          <a:xfrm>
            <a:off x="9498586" y="6152087"/>
            <a:ext cx="2098851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200" dirty="0">
                <a:solidFill>
                  <a:srgbClr val="000000">
                    <a:alpha val="60000"/>
                  </a:srgbClr>
                </a:solidFill>
                <a:latin typeface="Montserrat Medium" panose="00000600000000000000" pitchFamily="2" charset="-18"/>
              </a:rPr>
              <a:t>App name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409611" y="2143144"/>
            <a:ext cx="3469458" cy="10259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309" y="1444966"/>
            <a:ext cx="2472878" cy="4871544"/>
          </a:xfrm>
          <a:prstGeom prst="rect">
            <a:avLst/>
          </a:prstGeom>
        </p:spPr>
      </p:pic>
      <p:sp>
        <p:nvSpPr>
          <p:cNvPr id="89" name="Freeform 88"/>
          <p:cNvSpPr/>
          <p:nvPr/>
        </p:nvSpPr>
        <p:spPr>
          <a:xfrm>
            <a:off x="9837082" y="4698552"/>
            <a:ext cx="1447996" cy="927156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rgbClr val="F6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1" name="TextBox 90"/>
          <p:cNvSpPr txBox="1"/>
          <p:nvPr/>
        </p:nvSpPr>
        <p:spPr>
          <a:xfrm>
            <a:off x="3394379" y="1757569"/>
            <a:ext cx="3468849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APPLICATION ADVANTAGES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409611" y="3899372"/>
            <a:ext cx="3469458" cy="10259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394379" y="3513797"/>
            <a:ext cx="3468849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APPLICATION DISADVANTAGES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672628" y="2163883"/>
            <a:ext cx="5314245" cy="5437107"/>
            <a:chOff x="7672628" y="2163883"/>
            <a:chExt cx="5314245" cy="5437107"/>
          </a:xfrm>
        </p:grpSpPr>
        <p:sp>
          <p:nvSpPr>
            <p:cNvPr id="21" name="Oval 20"/>
            <p:cNvSpPr/>
            <p:nvPr/>
          </p:nvSpPr>
          <p:spPr>
            <a:xfrm>
              <a:off x="8109152" y="2723270"/>
              <a:ext cx="4877721" cy="4877720"/>
            </a:xfrm>
            <a:prstGeom prst="ellipse">
              <a:avLst/>
            </a:prstGeom>
            <a:solidFill>
              <a:srgbClr val="BBBAC6">
                <a:alpha val="15000"/>
              </a:srgbClr>
            </a:solidFill>
            <a:ln w="76200">
              <a:solidFill>
                <a:srgbClr val="BBBAC6">
                  <a:alpha val="4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9988627" y="2163883"/>
              <a:ext cx="1118772" cy="1118772"/>
            </a:xfrm>
            <a:prstGeom prst="ellipse">
              <a:avLst/>
            </a:prstGeom>
            <a:solidFill>
              <a:srgbClr val="BBBAC6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7672628" y="4602745"/>
              <a:ext cx="1118772" cy="1118772"/>
              <a:chOff x="7672628" y="4602745"/>
              <a:chExt cx="1118772" cy="1118772"/>
            </a:xfrm>
          </p:grpSpPr>
          <p:sp>
            <p:nvSpPr>
              <p:cNvPr id="63" name="Oval 62"/>
              <p:cNvSpPr/>
              <p:nvPr/>
            </p:nvSpPr>
            <p:spPr>
              <a:xfrm>
                <a:off x="7672628" y="4602745"/>
                <a:ext cx="1118772" cy="1118772"/>
              </a:xfrm>
              <a:prstGeom prst="ellipse">
                <a:avLst/>
              </a:prstGeom>
              <a:solidFill>
                <a:srgbClr val="BBBAC6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Freeform 19"/>
              <p:cNvSpPr>
                <a:spLocks noEditPoints="1"/>
              </p:cNvSpPr>
              <p:nvPr/>
            </p:nvSpPr>
            <p:spPr bwMode="auto">
              <a:xfrm>
                <a:off x="7890817" y="4887708"/>
                <a:ext cx="679871" cy="569346"/>
              </a:xfrm>
              <a:custGeom>
                <a:avLst/>
                <a:gdLst>
                  <a:gd name="T0" fmla="*/ 290 w 307"/>
                  <a:gd name="T1" fmla="*/ 1 h 256"/>
                  <a:gd name="T2" fmla="*/ 290 w 307"/>
                  <a:gd name="T3" fmla="*/ 0 h 256"/>
                  <a:gd name="T4" fmla="*/ 17 w 307"/>
                  <a:gd name="T5" fmla="*/ 0 h 256"/>
                  <a:gd name="T6" fmla="*/ 17 w 307"/>
                  <a:gd name="T7" fmla="*/ 1 h 256"/>
                  <a:gd name="T8" fmla="*/ 0 w 307"/>
                  <a:gd name="T9" fmla="*/ 17 h 256"/>
                  <a:gd name="T10" fmla="*/ 0 w 307"/>
                  <a:gd name="T11" fmla="*/ 197 h 256"/>
                  <a:gd name="T12" fmla="*/ 2 w 307"/>
                  <a:gd name="T13" fmla="*/ 206 h 256"/>
                  <a:gd name="T14" fmla="*/ 18 w 307"/>
                  <a:gd name="T15" fmla="*/ 215 h 256"/>
                  <a:gd name="T16" fmla="*/ 117 w 307"/>
                  <a:gd name="T17" fmla="*/ 215 h 256"/>
                  <a:gd name="T18" fmla="*/ 117 w 307"/>
                  <a:gd name="T19" fmla="*/ 240 h 256"/>
                  <a:gd name="T20" fmla="*/ 98 w 307"/>
                  <a:gd name="T21" fmla="*/ 240 h 256"/>
                  <a:gd name="T22" fmla="*/ 90 w 307"/>
                  <a:gd name="T23" fmla="*/ 248 h 256"/>
                  <a:gd name="T24" fmla="*/ 98 w 307"/>
                  <a:gd name="T25" fmla="*/ 256 h 256"/>
                  <a:gd name="T26" fmla="*/ 209 w 307"/>
                  <a:gd name="T27" fmla="*/ 256 h 256"/>
                  <a:gd name="T28" fmla="*/ 217 w 307"/>
                  <a:gd name="T29" fmla="*/ 248 h 256"/>
                  <a:gd name="T30" fmla="*/ 209 w 307"/>
                  <a:gd name="T31" fmla="*/ 240 h 256"/>
                  <a:gd name="T32" fmla="*/ 190 w 307"/>
                  <a:gd name="T33" fmla="*/ 240 h 256"/>
                  <a:gd name="T34" fmla="*/ 190 w 307"/>
                  <a:gd name="T35" fmla="*/ 215 h 256"/>
                  <a:gd name="T36" fmla="*/ 288 w 307"/>
                  <a:gd name="T37" fmla="*/ 215 h 256"/>
                  <a:gd name="T38" fmla="*/ 304 w 307"/>
                  <a:gd name="T39" fmla="*/ 206 h 256"/>
                  <a:gd name="T40" fmla="*/ 307 w 307"/>
                  <a:gd name="T41" fmla="*/ 197 h 256"/>
                  <a:gd name="T42" fmla="*/ 307 w 307"/>
                  <a:gd name="T43" fmla="*/ 17 h 256"/>
                  <a:gd name="T44" fmla="*/ 290 w 307"/>
                  <a:gd name="T45" fmla="*/ 1 h 256"/>
                  <a:gd name="T46" fmla="*/ 290 w 307"/>
                  <a:gd name="T47" fmla="*/ 19 h 256"/>
                  <a:gd name="T48" fmla="*/ 290 w 307"/>
                  <a:gd name="T49" fmla="*/ 197 h 256"/>
                  <a:gd name="T50" fmla="*/ 288 w 307"/>
                  <a:gd name="T51" fmla="*/ 198 h 256"/>
                  <a:gd name="T52" fmla="*/ 18 w 307"/>
                  <a:gd name="T53" fmla="*/ 198 h 256"/>
                  <a:gd name="T54" fmla="*/ 17 w 307"/>
                  <a:gd name="T55" fmla="*/ 197 h 256"/>
                  <a:gd name="T56" fmla="*/ 17 w 307"/>
                  <a:gd name="T57" fmla="*/ 17 h 256"/>
                  <a:gd name="T58" fmla="*/ 290 w 307"/>
                  <a:gd name="T59" fmla="*/ 17 h 256"/>
                  <a:gd name="T60" fmla="*/ 290 w 307"/>
                  <a:gd name="T61" fmla="*/ 19 h 256"/>
                  <a:gd name="T62" fmla="*/ 290 w 307"/>
                  <a:gd name="T63" fmla="*/ 19 h 256"/>
                  <a:gd name="T64" fmla="*/ 290 w 307"/>
                  <a:gd name="T65" fmla="*/ 19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7" h="256">
                    <a:moveTo>
                      <a:pt x="290" y="1"/>
                    </a:moveTo>
                    <a:cubicBezTo>
                      <a:pt x="290" y="0"/>
                      <a:pt x="290" y="0"/>
                      <a:pt x="290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8" y="2"/>
                      <a:pt x="1" y="9"/>
                      <a:pt x="0" y="17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00"/>
                      <a:pt x="1" y="203"/>
                      <a:pt x="2" y="206"/>
                    </a:cubicBezTo>
                    <a:cubicBezTo>
                      <a:pt x="6" y="212"/>
                      <a:pt x="11" y="215"/>
                      <a:pt x="18" y="215"/>
                    </a:cubicBezTo>
                    <a:cubicBezTo>
                      <a:pt x="117" y="215"/>
                      <a:pt x="117" y="215"/>
                      <a:pt x="117" y="215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98" y="240"/>
                      <a:pt x="98" y="240"/>
                      <a:pt x="98" y="240"/>
                    </a:cubicBezTo>
                    <a:cubicBezTo>
                      <a:pt x="93" y="240"/>
                      <a:pt x="90" y="243"/>
                      <a:pt x="90" y="248"/>
                    </a:cubicBezTo>
                    <a:cubicBezTo>
                      <a:pt x="90" y="253"/>
                      <a:pt x="93" y="256"/>
                      <a:pt x="98" y="256"/>
                    </a:cubicBezTo>
                    <a:cubicBezTo>
                      <a:pt x="209" y="256"/>
                      <a:pt x="209" y="256"/>
                      <a:pt x="209" y="256"/>
                    </a:cubicBezTo>
                    <a:cubicBezTo>
                      <a:pt x="213" y="256"/>
                      <a:pt x="217" y="253"/>
                      <a:pt x="217" y="248"/>
                    </a:cubicBezTo>
                    <a:cubicBezTo>
                      <a:pt x="217" y="243"/>
                      <a:pt x="213" y="240"/>
                      <a:pt x="209" y="240"/>
                    </a:cubicBezTo>
                    <a:cubicBezTo>
                      <a:pt x="190" y="240"/>
                      <a:pt x="190" y="240"/>
                      <a:pt x="190" y="240"/>
                    </a:cubicBezTo>
                    <a:cubicBezTo>
                      <a:pt x="190" y="215"/>
                      <a:pt x="190" y="215"/>
                      <a:pt x="190" y="215"/>
                    </a:cubicBezTo>
                    <a:cubicBezTo>
                      <a:pt x="288" y="215"/>
                      <a:pt x="288" y="215"/>
                      <a:pt x="288" y="215"/>
                    </a:cubicBezTo>
                    <a:cubicBezTo>
                      <a:pt x="296" y="215"/>
                      <a:pt x="301" y="212"/>
                      <a:pt x="304" y="206"/>
                    </a:cubicBezTo>
                    <a:cubicBezTo>
                      <a:pt x="306" y="203"/>
                      <a:pt x="307" y="200"/>
                      <a:pt x="307" y="197"/>
                    </a:cubicBezTo>
                    <a:cubicBezTo>
                      <a:pt x="307" y="17"/>
                      <a:pt x="307" y="17"/>
                      <a:pt x="307" y="17"/>
                    </a:cubicBezTo>
                    <a:cubicBezTo>
                      <a:pt x="306" y="9"/>
                      <a:pt x="299" y="2"/>
                      <a:pt x="290" y="1"/>
                    </a:cubicBezTo>
                    <a:close/>
                    <a:moveTo>
                      <a:pt x="290" y="19"/>
                    </a:moveTo>
                    <a:cubicBezTo>
                      <a:pt x="290" y="197"/>
                      <a:pt x="290" y="197"/>
                      <a:pt x="290" y="197"/>
                    </a:cubicBezTo>
                    <a:cubicBezTo>
                      <a:pt x="290" y="198"/>
                      <a:pt x="290" y="198"/>
                      <a:pt x="288" y="198"/>
                    </a:cubicBezTo>
                    <a:cubicBezTo>
                      <a:pt x="18" y="198"/>
                      <a:pt x="18" y="198"/>
                      <a:pt x="18" y="198"/>
                    </a:cubicBezTo>
                    <a:cubicBezTo>
                      <a:pt x="17" y="198"/>
                      <a:pt x="17" y="198"/>
                      <a:pt x="17" y="19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290" y="17"/>
                      <a:pt x="290" y="17"/>
                      <a:pt x="290" y="17"/>
                    </a:cubicBezTo>
                    <a:lnTo>
                      <a:pt x="290" y="19"/>
                    </a:lnTo>
                    <a:close/>
                    <a:moveTo>
                      <a:pt x="290" y="19"/>
                    </a:moveTo>
                    <a:cubicBezTo>
                      <a:pt x="290" y="19"/>
                      <a:pt x="290" y="19"/>
                      <a:pt x="290" y="19"/>
                    </a:cubicBezTo>
                  </a:path>
                </a:pathLst>
              </a:custGeom>
              <a:solidFill>
                <a:srgbClr val="5D5B6F">
                  <a:alpha val="3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4" name="Freeform 23"/>
            <p:cNvSpPr>
              <a:spLocks noEditPoints="1"/>
            </p:cNvSpPr>
            <p:nvPr/>
          </p:nvSpPr>
          <p:spPr bwMode="auto">
            <a:xfrm>
              <a:off x="10344744" y="2371890"/>
              <a:ext cx="415181" cy="700557"/>
            </a:xfrm>
            <a:custGeom>
              <a:avLst/>
              <a:gdLst>
                <a:gd name="T0" fmla="*/ 58 w 65"/>
                <a:gd name="T1" fmla="*/ 0 h 112"/>
                <a:gd name="T2" fmla="*/ 8 w 65"/>
                <a:gd name="T3" fmla="*/ 0 h 112"/>
                <a:gd name="T4" fmla="*/ 0 w 65"/>
                <a:gd name="T5" fmla="*/ 8 h 112"/>
                <a:gd name="T6" fmla="*/ 0 w 65"/>
                <a:gd name="T7" fmla="*/ 104 h 112"/>
                <a:gd name="T8" fmla="*/ 8 w 65"/>
                <a:gd name="T9" fmla="*/ 112 h 112"/>
                <a:gd name="T10" fmla="*/ 58 w 65"/>
                <a:gd name="T11" fmla="*/ 112 h 112"/>
                <a:gd name="T12" fmla="*/ 65 w 65"/>
                <a:gd name="T13" fmla="*/ 104 h 112"/>
                <a:gd name="T14" fmla="*/ 65 w 65"/>
                <a:gd name="T15" fmla="*/ 8 h 112"/>
                <a:gd name="T16" fmla="*/ 58 w 65"/>
                <a:gd name="T17" fmla="*/ 0 h 112"/>
                <a:gd name="T18" fmla="*/ 25 w 65"/>
                <a:gd name="T19" fmla="*/ 5 h 112"/>
                <a:gd name="T20" fmla="*/ 41 w 65"/>
                <a:gd name="T21" fmla="*/ 5 h 112"/>
                <a:gd name="T22" fmla="*/ 41 w 65"/>
                <a:gd name="T23" fmla="*/ 6 h 112"/>
                <a:gd name="T24" fmla="*/ 41 w 65"/>
                <a:gd name="T25" fmla="*/ 7 h 112"/>
                <a:gd name="T26" fmla="*/ 25 w 65"/>
                <a:gd name="T27" fmla="*/ 7 h 112"/>
                <a:gd name="T28" fmla="*/ 24 w 65"/>
                <a:gd name="T29" fmla="*/ 6 h 112"/>
                <a:gd name="T30" fmla="*/ 25 w 65"/>
                <a:gd name="T31" fmla="*/ 5 h 112"/>
                <a:gd name="T32" fmla="*/ 33 w 65"/>
                <a:gd name="T33" fmla="*/ 108 h 112"/>
                <a:gd name="T34" fmla="*/ 29 w 65"/>
                <a:gd name="T35" fmla="*/ 104 h 112"/>
                <a:gd name="T36" fmla="*/ 33 w 65"/>
                <a:gd name="T37" fmla="*/ 101 h 112"/>
                <a:gd name="T38" fmla="*/ 36 w 65"/>
                <a:gd name="T39" fmla="*/ 104 h 112"/>
                <a:gd name="T40" fmla="*/ 33 w 65"/>
                <a:gd name="T41" fmla="*/ 108 h 112"/>
                <a:gd name="T42" fmla="*/ 60 w 65"/>
                <a:gd name="T43" fmla="*/ 98 h 112"/>
                <a:gd name="T44" fmla="*/ 5 w 65"/>
                <a:gd name="T45" fmla="*/ 98 h 112"/>
                <a:gd name="T46" fmla="*/ 5 w 65"/>
                <a:gd name="T47" fmla="*/ 12 h 112"/>
                <a:gd name="T48" fmla="*/ 60 w 65"/>
                <a:gd name="T49" fmla="*/ 12 h 112"/>
                <a:gd name="T50" fmla="*/ 60 w 65"/>
                <a:gd name="T51" fmla="*/ 98 h 112"/>
                <a:gd name="T52" fmla="*/ 60 w 65"/>
                <a:gd name="T53" fmla="*/ 98 h 112"/>
                <a:gd name="T54" fmla="*/ 60 w 65"/>
                <a:gd name="T55" fmla="*/ 9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" h="112">
                  <a:moveTo>
                    <a:pt x="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9"/>
                    <a:pt x="3" y="112"/>
                    <a:pt x="8" y="11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62" y="112"/>
                    <a:pt x="65" y="109"/>
                    <a:pt x="65" y="104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3"/>
                    <a:pt x="62" y="0"/>
                    <a:pt x="58" y="0"/>
                  </a:cubicBezTo>
                  <a:close/>
                  <a:moveTo>
                    <a:pt x="25" y="5"/>
                  </a:move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6"/>
                    <a:pt x="41" y="6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7"/>
                    <a:pt x="24" y="7"/>
                    <a:pt x="24" y="6"/>
                  </a:cubicBezTo>
                  <a:cubicBezTo>
                    <a:pt x="24" y="6"/>
                    <a:pt x="24" y="5"/>
                    <a:pt x="25" y="5"/>
                  </a:cubicBezTo>
                  <a:close/>
                  <a:moveTo>
                    <a:pt x="33" y="108"/>
                  </a:moveTo>
                  <a:cubicBezTo>
                    <a:pt x="30" y="108"/>
                    <a:pt x="29" y="107"/>
                    <a:pt x="29" y="104"/>
                  </a:cubicBezTo>
                  <a:cubicBezTo>
                    <a:pt x="29" y="102"/>
                    <a:pt x="30" y="101"/>
                    <a:pt x="33" y="101"/>
                  </a:cubicBezTo>
                  <a:cubicBezTo>
                    <a:pt x="35" y="101"/>
                    <a:pt x="36" y="102"/>
                    <a:pt x="36" y="104"/>
                  </a:cubicBezTo>
                  <a:cubicBezTo>
                    <a:pt x="36" y="107"/>
                    <a:pt x="35" y="108"/>
                    <a:pt x="33" y="108"/>
                  </a:cubicBezTo>
                  <a:close/>
                  <a:moveTo>
                    <a:pt x="60" y="98"/>
                  </a:moveTo>
                  <a:cubicBezTo>
                    <a:pt x="5" y="98"/>
                    <a:pt x="5" y="98"/>
                    <a:pt x="5" y="9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0" y="12"/>
                    <a:pt x="60" y="12"/>
                    <a:pt x="60" y="12"/>
                  </a:cubicBezTo>
                  <a:lnTo>
                    <a:pt x="60" y="98"/>
                  </a:lnTo>
                  <a:close/>
                  <a:moveTo>
                    <a:pt x="60" y="98"/>
                  </a:moveTo>
                  <a:cubicBezTo>
                    <a:pt x="60" y="98"/>
                    <a:pt x="60" y="98"/>
                    <a:pt x="60" y="98"/>
                  </a:cubicBezTo>
                </a:path>
              </a:pathLst>
            </a:custGeom>
            <a:solidFill>
              <a:srgbClr val="5D5B6F">
                <a:alpha val="3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38"/>
            <p:cNvSpPr/>
            <p:nvPr/>
          </p:nvSpPr>
          <p:spPr>
            <a:xfrm>
              <a:off x="8580657" y="3199374"/>
              <a:ext cx="521915" cy="521915"/>
            </a:xfrm>
            <a:prstGeom prst="ellipse">
              <a:avLst/>
            </a:prstGeom>
            <a:solidFill>
              <a:srgbClr val="F6F6F9"/>
            </a:solidFill>
            <a:ln>
              <a:solidFill>
                <a:srgbClr val="BBBAC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2352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  <p:bldP spid="91" grpId="0"/>
      <p:bldP spid="64" grpId="0"/>
      <p:bldP spid="6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562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Freeform 30"/>
          <p:cNvSpPr/>
          <p:nvPr/>
        </p:nvSpPr>
        <p:spPr>
          <a:xfrm>
            <a:off x="-110670" y="-169513"/>
            <a:ext cx="12094095" cy="7112034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  <a:gd name="connsiteX0" fmla="*/ 1059542 w 12222843"/>
              <a:gd name="connsiteY0" fmla="*/ 6350 h 6965949"/>
              <a:gd name="connsiteX1" fmla="*/ 5963557 w 12222843"/>
              <a:gd name="connsiteY1" fmla="*/ 2754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5" fmla="*/ 1059542 w 12222843"/>
              <a:gd name="connsiteY5" fmla="*/ 6350 h 6965949"/>
              <a:gd name="connsiteX0" fmla="*/ 1059542 w 12222843"/>
              <a:gd name="connsiteY0" fmla="*/ 6350 h 6965949"/>
              <a:gd name="connsiteX1" fmla="*/ 4083957 w 12222843"/>
              <a:gd name="connsiteY1" fmla="*/ 595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5" fmla="*/ 1059542 w 12222843"/>
              <a:gd name="connsiteY5" fmla="*/ 6350 h 6965949"/>
              <a:gd name="connsiteX0" fmla="*/ 0 w 12363451"/>
              <a:gd name="connsiteY0" fmla="*/ 0 h 7045324"/>
              <a:gd name="connsiteX1" fmla="*/ 4224565 w 12363451"/>
              <a:gd name="connsiteY1" fmla="*/ 674460 h 7045324"/>
              <a:gd name="connsiteX2" fmla="*/ 12363451 w 12363451"/>
              <a:gd name="connsiteY2" fmla="*/ 7045324 h 7045324"/>
              <a:gd name="connsiteX3" fmla="*/ 140608 w 12363451"/>
              <a:gd name="connsiteY3" fmla="*/ 6948260 h 7045324"/>
              <a:gd name="connsiteX4" fmla="*/ 141514 w 12363451"/>
              <a:gd name="connsiteY4" fmla="*/ 79375 h 7045324"/>
              <a:gd name="connsiteX5" fmla="*/ 0 w 12363451"/>
              <a:gd name="connsiteY5" fmla="*/ 0 h 7045324"/>
              <a:gd name="connsiteX0" fmla="*/ 906 w 12222843"/>
              <a:gd name="connsiteY0" fmla="*/ 0 h 6965949"/>
              <a:gd name="connsiteX1" fmla="*/ 4083957 w 12222843"/>
              <a:gd name="connsiteY1" fmla="*/ 595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0" fmla="*/ 906 w 12222843"/>
              <a:gd name="connsiteY0" fmla="*/ 0 h 6965949"/>
              <a:gd name="connsiteX1" fmla="*/ 4217307 w 12222843"/>
              <a:gd name="connsiteY1" fmla="*/ 452210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0" fmla="*/ 906 w 11698968"/>
              <a:gd name="connsiteY0" fmla="*/ 0 h 6868885"/>
              <a:gd name="connsiteX1" fmla="*/ 4217307 w 11698968"/>
              <a:gd name="connsiteY1" fmla="*/ 452210 h 6868885"/>
              <a:gd name="connsiteX2" fmla="*/ 11698968 w 11698968"/>
              <a:gd name="connsiteY2" fmla="*/ 6804024 h 6868885"/>
              <a:gd name="connsiteX3" fmla="*/ 0 w 11698968"/>
              <a:gd name="connsiteY3" fmla="*/ 6868885 h 6868885"/>
              <a:gd name="connsiteX4" fmla="*/ 906 w 11698968"/>
              <a:gd name="connsiteY4" fmla="*/ 0 h 6868885"/>
              <a:gd name="connsiteX0" fmla="*/ 906 w 11698968"/>
              <a:gd name="connsiteY0" fmla="*/ 0 h 6868885"/>
              <a:gd name="connsiteX1" fmla="*/ 3922032 w 11698968"/>
              <a:gd name="connsiteY1" fmla="*/ 423635 h 6868885"/>
              <a:gd name="connsiteX2" fmla="*/ 11698968 w 11698968"/>
              <a:gd name="connsiteY2" fmla="*/ 6804024 h 6868885"/>
              <a:gd name="connsiteX3" fmla="*/ 0 w 11698968"/>
              <a:gd name="connsiteY3" fmla="*/ 6868885 h 6868885"/>
              <a:gd name="connsiteX4" fmla="*/ 906 w 11698968"/>
              <a:gd name="connsiteY4" fmla="*/ 0 h 6868885"/>
              <a:gd name="connsiteX0" fmla="*/ 906 w 11870418"/>
              <a:gd name="connsiteY0" fmla="*/ 0 h 6868885"/>
              <a:gd name="connsiteX1" fmla="*/ 3922032 w 11870418"/>
              <a:gd name="connsiteY1" fmla="*/ 423635 h 6868885"/>
              <a:gd name="connsiteX2" fmla="*/ 11870418 w 11870418"/>
              <a:gd name="connsiteY2" fmla="*/ 6727824 h 6868885"/>
              <a:gd name="connsiteX3" fmla="*/ 0 w 11870418"/>
              <a:gd name="connsiteY3" fmla="*/ 6868885 h 6868885"/>
              <a:gd name="connsiteX4" fmla="*/ 906 w 11870418"/>
              <a:gd name="connsiteY4" fmla="*/ 0 h 6868885"/>
              <a:gd name="connsiteX0" fmla="*/ 906 w 12184743"/>
              <a:gd name="connsiteY0" fmla="*/ 0 h 6937374"/>
              <a:gd name="connsiteX1" fmla="*/ 3922032 w 12184743"/>
              <a:gd name="connsiteY1" fmla="*/ 423635 h 6937374"/>
              <a:gd name="connsiteX2" fmla="*/ 12184743 w 12184743"/>
              <a:gd name="connsiteY2" fmla="*/ 6937374 h 6937374"/>
              <a:gd name="connsiteX3" fmla="*/ 0 w 12184743"/>
              <a:gd name="connsiteY3" fmla="*/ 6868885 h 6937374"/>
              <a:gd name="connsiteX4" fmla="*/ 906 w 12184743"/>
              <a:gd name="connsiteY4" fmla="*/ 0 h 6937374"/>
              <a:gd name="connsiteX0" fmla="*/ 906 w 12422868"/>
              <a:gd name="connsiteY0" fmla="*/ 0 h 6937374"/>
              <a:gd name="connsiteX1" fmla="*/ 3922032 w 12422868"/>
              <a:gd name="connsiteY1" fmla="*/ 423635 h 6937374"/>
              <a:gd name="connsiteX2" fmla="*/ 12422868 w 12422868"/>
              <a:gd name="connsiteY2" fmla="*/ 6937374 h 6937374"/>
              <a:gd name="connsiteX3" fmla="*/ 0 w 12422868"/>
              <a:gd name="connsiteY3" fmla="*/ 6868885 h 6937374"/>
              <a:gd name="connsiteX4" fmla="*/ 906 w 12422868"/>
              <a:gd name="connsiteY4" fmla="*/ 0 h 6937374"/>
              <a:gd name="connsiteX0" fmla="*/ 906 w 12422868"/>
              <a:gd name="connsiteY0" fmla="*/ 0 h 6937374"/>
              <a:gd name="connsiteX1" fmla="*/ 3874407 w 12422868"/>
              <a:gd name="connsiteY1" fmla="*/ 433160 h 6937374"/>
              <a:gd name="connsiteX2" fmla="*/ 12422868 w 12422868"/>
              <a:gd name="connsiteY2" fmla="*/ 6937374 h 6937374"/>
              <a:gd name="connsiteX3" fmla="*/ 0 w 12422868"/>
              <a:gd name="connsiteY3" fmla="*/ 6868885 h 6937374"/>
              <a:gd name="connsiteX4" fmla="*/ 906 w 12422868"/>
              <a:gd name="connsiteY4" fmla="*/ 0 h 6937374"/>
              <a:gd name="connsiteX0" fmla="*/ 906 w 12094095"/>
              <a:gd name="connsiteY0" fmla="*/ 0 h 6927099"/>
              <a:gd name="connsiteX1" fmla="*/ 3874407 w 12094095"/>
              <a:gd name="connsiteY1" fmla="*/ 433160 h 6927099"/>
              <a:gd name="connsiteX2" fmla="*/ 12094095 w 12094095"/>
              <a:gd name="connsiteY2" fmla="*/ 6927099 h 6927099"/>
              <a:gd name="connsiteX3" fmla="*/ 0 w 12094095"/>
              <a:gd name="connsiteY3" fmla="*/ 6868885 h 6927099"/>
              <a:gd name="connsiteX4" fmla="*/ 906 w 12094095"/>
              <a:gd name="connsiteY4" fmla="*/ 0 h 6927099"/>
              <a:gd name="connsiteX0" fmla="*/ 906 w 12094095"/>
              <a:gd name="connsiteY0" fmla="*/ 0 h 6927099"/>
              <a:gd name="connsiteX1" fmla="*/ 4819629 w 12094095"/>
              <a:gd name="connsiteY1" fmla="*/ 823578 h 6927099"/>
              <a:gd name="connsiteX2" fmla="*/ 12094095 w 12094095"/>
              <a:gd name="connsiteY2" fmla="*/ 6927099 h 6927099"/>
              <a:gd name="connsiteX3" fmla="*/ 0 w 12094095"/>
              <a:gd name="connsiteY3" fmla="*/ 6868885 h 6927099"/>
              <a:gd name="connsiteX4" fmla="*/ 906 w 12094095"/>
              <a:gd name="connsiteY4" fmla="*/ 0 h 6927099"/>
              <a:gd name="connsiteX0" fmla="*/ 62551 w 12094095"/>
              <a:gd name="connsiteY0" fmla="*/ 0 h 7112034"/>
              <a:gd name="connsiteX1" fmla="*/ 4819629 w 12094095"/>
              <a:gd name="connsiteY1" fmla="*/ 1008513 h 7112034"/>
              <a:gd name="connsiteX2" fmla="*/ 12094095 w 12094095"/>
              <a:gd name="connsiteY2" fmla="*/ 7112034 h 7112034"/>
              <a:gd name="connsiteX3" fmla="*/ 0 w 12094095"/>
              <a:gd name="connsiteY3" fmla="*/ 7053820 h 7112034"/>
              <a:gd name="connsiteX4" fmla="*/ 62551 w 12094095"/>
              <a:gd name="connsiteY4" fmla="*/ 0 h 7112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94095" h="7112034">
                <a:moveTo>
                  <a:pt x="62551" y="0"/>
                </a:moveTo>
                <a:lnTo>
                  <a:pt x="4819629" y="1008513"/>
                </a:lnTo>
                <a:lnTo>
                  <a:pt x="12094095" y="7112034"/>
                </a:lnTo>
                <a:lnTo>
                  <a:pt x="0" y="7053820"/>
                </a:lnTo>
                <a:lnTo>
                  <a:pt x="62551" y="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 31"/>
          <p:cNvSpPr/>
          <p:nvPr/>
        </p:nvSpPr>
        <p:spPr>
          <a:xfrm>
            <a:off x="-156029" y="22679"/>
            <a:ext cx="12017829" cy="6879771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  <a:gd name="connsiteX0" fmla="*/ 4123872 w 6226629"/>
              <a:gd name="connsiteY0" fmla="*/ 675821 h 6885213"/>
              <a:gd name="connsiteX1" fmla="*/ 6226629 w 6226629"/>
              <a:gd name="connsiteY1" fmla="*/ 3120571 h 6885213"/>
              <a:gd name="connsiteX2" fmla="*/ 6006193 w 6226629"/>
              <a:gd name="connsiteY2" fmla="*/ 6885213 h 6885213"/>
              <a:gd name="connsiteX3" fmla="*/ 0 w 6226629"/>
              <a:gd name="connsiteY3" fmla="*/ 6796314 h 6885213"/>
              <a:gd name="connsiteX4" fmla="*/ 29936 w 6226629"/>
              <a:gd name="connsiteY4" fmla="*/ 0 h 6885213"/>
              <a:gd name="connsiteX5" fmla="*/ 4123872 w 6226629"/>
              <a:gd name="connsiteY5" fmla="*/ 675821 h 6885213"/>
              <a:gd name="connsiteX0" fmla="*/ 4123872 w 11941629"/>
              <a:gd name="connsiteY0" fmla="*/ 675821 h 6885213"/>
              <a:gd name="connsiteX1" fmla="*/ 11941629 w 11941629"/>
              <a:gd name="connsiteY1" fmla="*/ 6765471 h 6885213"/>
              <a:gd name="connsiteX2" fmla="*/ 6006193 w 11941629"/>
              <a:gd name="connsiteY2" fmla="*/ 6885213 h 6885213"/>
              <a:gd name="connsiteX3" fmla="*/ 0 w 11941629"/>
              <a:gd name="connsiteY3" fmla="*/ 6796314 h 6885213"/>
              <a:gd name="connsiteX4" fmla="*/ 29936 w 11941629"/>
              <a:gd name="connsiteY4" fmla="*/ 0 h 6885213"/>
              <a:gd name="connsiteX5" fmla="*/ 4123872 w 11941629"/>
              <a:gd name="connsiteY5" fmla="*/ 675821 h 6885213"/>
              <a:gd name="connsiteX0" fmla="*/ 4123872 w 11941629"/>
              <a:gd name="connsiteY0" fmla="*/ 675821 h 6796314"/>
              <a:gd name="connsiteX1" fmla="*/ 11941629 w 11941629"/>
              <a:gd name="connsiteY1" fmla="*/ 6765471 h 6796314"/>
              <a:gd name="connsiteX2" fmla="*/ 0 w 11941629"/>
              <a:gd name="connsiteY2" fmla="*/ 6796314 h 6796314"/>
              <a:gd name="connsiteX3" fmla="*/ 29936 w 11941629"/>
              <a:gd name="connsiteY3" fmla="*/ 0 h 6796314"/>
              <a:gd name="connsiteX4" fmla="*/ 4123872 w 11941629"/>
              <a:gd name="connsiteY4" fmla="*/ 675821 h 6796314"/>
              <a:gd name="connsiteX0" fmla="*/ 4123872 w 12294054"/>
              <a:gd name="connsiteY0" fmla="*/ 675821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123872 w 12294054"/>
              <a:gd name="connsiteY4" fmla="*/ 675821 h 6898821"/>
              <a:gd name="connsiteX0" fmla="*/ 4466772 w 12294054"/>
              <a:gd name="connsiteY0" fmla="*/ 91394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466772 w 12294054"/>
              <a:gd name="connsiteY4" fmla="*/ 913946 h 6898821"/>
              <a:gd name="connsiteX0" fmla="*/ 4485822 w 12294054"/>
              <a:gd name="connsiteY0" fmla="*/ 809171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485822 w 12294054"/>
              <a:gd name="connsiteY4" fmla="*/ 809171 h 6898821"/>
              <a:gd name="connsiteX0" fmla="*/ 4066722 w 12294054"/>
              <a:gd name="connsiteY0" fmla="*/ 59009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066722 w 12294054"/>
              <a:gd name="connsiteY4" fmla="*/ 590096 h 6898821"/>
              <a:gd name="connsiteX0" fmla="*/ 4104822 w 12294054"/>
              <a:gd name="connsiteY0" fmla="*/ 64724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104822 w 12294054"/>
              <a:gd name="connsiteY4" fmla="*/ 647246 h 6898821"/>
              <a:gd name="connsiteX0" fmla="*/ 4342947 w 12294054"/>
              <a:gd name="connsiteY0" fmla="*/ 66629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342947 w 12294054"/>
              <a:gd name="connsiteY4" fmla="*/ 666296 h 6898821"/>
              <a:gd name="connsiteX0" fmla="*/ 4342947 w 12017829"/>
              <a:gd name="connsiteY0" fmla="*/ 666296 h 6879771"/>
              <a:gd name="connsiteX1" fmla="*/ 12017829 w 12017829"/>
              <a:gd name="connsiteY1" fmla="*/ 6879771 h 6879771"/>
              <a:gd name="connsiteX2" fmla="*/ 0 w 12017829"/>
              <a:gd name="connsiteY2" fmla="*/ 6796314 h 6879771"/>
              <a:gd name="connsiteX3" fmla="*/ 29936 w 12017829"/>
              <a:gd name="connsiteY3" fmla="*/ 0 h 6879771"/>
              <a:gd name="connsiteX4" fmla="*/ 4342947 w 12017829"/>
              <a:gd name="connsiteY4" fmla="*/ 666296 h 6879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29" h="6879771">
                <a:moveTo>
                  <a:pt x="4342947" y="666296"/>
                </a:moveTo>
                <a:lnTo>
                  <a:pt x="12017829" y="6879771"/>
                </a:lnTo>
                <a:lnTo>
                  <a:pt x="0" y="6796314"/>
                </a:lnTo>
                <a:lnTo>
                  <a:pt x="29936" y="0"/>
                </a:lnTo>
                <a:lnTo>
                  <a:pt x="4342947" y="666296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020751" y="660400"/>
            <a:ext cx="4510850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6000" dirty="0">
                <a:solidFill>
                  <a:srgbClr val="14CE9F"/>
                </a:solidFill>
                <a:latin typeface="Gabriela" panose="00000500000000000000" pitchFamily="2" charset="0"/>
              </a:rPr>
              <a:t>Section title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60397" y="1654142"/>
            <a:ext cx="477120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1439" y="55906"/>
            <a:ext cx="11805483" cy="6802094"/>
          </a:xfrm>
          <a:custGeom>
            <a:avLst/>
            <a:gdLst>
              <a:gd name="connsiteX0" fmla="*/ 0 w 11805483"/>
              <a:gd name="connsiteY0" fmla="*/ 0 h 6802094"/>
              <a:gd name="connsiteX1" fmla="*/ 3920341 w 11805483"/>
              <a:gd name="connsiteY1" fmla="*/ 674344 h 6802094"/>
              <a:gd name="connsiteX2" fmla="*/ 11805483 w 11805483"/>
              <a:gd name="connsiteY2" fmla="*/ 6802094 h 6802094"/>
              <a:gd name="connsiteX3" fmla="*/ 0 w 11805483"/>
              <a:gd name="connsiteY3" fmla="*/ 6802094 h 6802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5483" h="6802094">
                <a:moveTo>
                  <a:pt x="0" y="0"/>
                </a:moveTo>
                <a:lnTo>
                  <a:pt x="3920341" y="674344"/>
                </a:lnTo>
                <a:lnTo>
                  <a:pt x="11805483" y="6802094"/>
                </a:lnTo>
                <a:lnTo>
                  <a:pt x="0" y="6802094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90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47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Freeform 30"/>
          <p:cNvSpPr/>
          <p:nvPr/>
        </p:nvSpPr>
        <p:spPr>
          <a:xfrm flipH="1" flipV="1">
            <a:off x="235856" y="-169513"/>
            <a:ext cx="12094095" cy="7112034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  <a:gd name="connsiteX0" fmla="*/ 1059542 w 12222843"/>
              <a:gd name="connsiteY0" fmla="*/ 6350 h 6965949"/>
              <a:gd name="connsiteX1" fmla="*/ 5963557 w 12222843"/>
              <a:gd name="connsiteY1" fmla="*/ 2754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5" fmla="*/ 1059542 w 12222843"/>
              <a:gd name="connsiteY5" fmla="*/ 6350 h 6965949"/>
              <a:gd name="connsiteX0" fmla="*/ 1059542 w 12222843"/>
              <a:gd name="connsiteY0" fmla="*/ 6350 h 6965949"/>
              <a:gd name="connsiteX1" fmla="*/ 4083957 w 12222843"/>
              <a:gd name="connsiteY1" fmla="*/ 595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5" fmla="*/ 1059542 w 12222843"/>
              <a:gd name="connsiteY5" fmla="*/ 6350 h 6965949"/>
              <a:gd name="connsiteX0" fmla="*/ 0 w 12363451"/>
              <a:gd name="connsiteY0" fmla="*/ 0 h 7045324"/>
              <a:gd name="connsiteX1" fmla="*/ 4224565 w 12363451"/>
              <a:gd name="connsiteY1" fmla="*/ 674460 h 7045324"/>
              <a:gd name="connsiteX2" fmla="*/ 12363451 w 12363451"/>
              <a:gd name="connsiteY2" fmla="*/ 7045324 h 7045324"/>
              <a:gd name="connsiteX3" fmla="*/ 140608 w 12363451"/>
              <a:gd name="connsiteY3" fmla="*/ 6948260 h 7045324"/>
              <a:gd name="connsiteX4" fmla="*/ 141514 w 12363451"/>
              <a:gd name="connsiteY4" fmla="*/ 79375 h 7045324"/>
              <a:gd name="connsiteX5" fmla="*/ 0 w 12363451"/>
              <a:gd name="connsiteY5" fmla="*/ 0 h 7045324"/>
              <a:gd name="connsiteX0" fmla="*/ 906 w 12222843"/>
              <a:gd name="connsiteY0" fmla="*/ 0 h 6965949"/>
              <a:gd name="connsiteX1" fmla="*/ 4083957 w 12222843"/>
              <a:gd name="connsiteY1" fmla="*/ 595085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0" fmla="*/ 906 w 12222843"/>
              <a:gd name="connsiteY0" fmla="*/ 0 h 6965949"/>
              <a:gd name="connsiteX1" fmla="*/ 4217307 w 12222843"/>
              <a:gd name="connsiteY1" fmla="*/ 452210 h 6965949"/>
              <a:gd name="connsiteX2" fmla="*/ 12222843 w 12222843"/>
              <a:gd name="connsiteY2" fmla="*/ 6965949 h 6965949"/>
              <a:gd name="connsiteX3" fmla="*/ 0 w 12222843"/>
              <a:gd name="connsiteY3" fmla="*/ 6868885 h 6965949"/>
              <a:gd name="connsiteX4" fmla="*/ 906 w 12222843"/>
              <a:gd name="connsiteY4" fmla="*/ 0 h 6965949"/>
              <a:gd name="connsiteX0" fmla="*/ 906 w 11698968"/>
              <a:gd name="connsiteY0" fmla="*/ 0 h 6868885"/>
              <a:gd name="connsiteX1" fmla="*/ 4217307 w 11698968"/>
              <a:gd name="connsiteY1" fmla="*/ 452210 h 6868885"/>
              <a:gd name="connsiteX2" fmla="*/ 11698968 w 11698968"/>
              <a:gd name="connsiteY2" fmla="*/ 6804024 h 6868885"/>
              <a:gd name="connsiteX3" fmla="*/ 0 w 11698968"/>
              <a:gd name="connsiteY3" fmla="*/ 6868885 h 6868885"/>
              <a:gd name="connsiteX4" fmla="*/ 906 w 11698968"/>
              <a:gd name="connsiteY4" fmla="*/ 0 h 6868885"/>
              <a:gd name="connsiteX0" fmla="*/ 906 w 11698968"/>
              <a:gd name="connsiteY0" fmla="*/ 0 h 6868885"/>
              <a:gd name="connsiteX1" fmla="*/ 3922032 w 11698968"/>
              <a:gd name="connsiteY1" fmla="*/ 423635 h 6868885"/>
              <a:gd name="connsiteX2" fmla="*/ 11698968 w 11698968"/>
              <a:gd name="connsiteY2" fmla="*/ 6804024 h 6868885"/>
              <a:gd name="connsiteX3" fmla="*/ 0 w 11698968"/>
              <a:gd name="connsiteY3" fmla="*/ 6868885 h 6868885"/>
              <a:gd name="connsiteX4" fmla="*/ 906 w 11698968"/>
              <a:gd name="connsiteY4" fmla="*/ 0 h 6868885"/>
              <a:gd name="connsiteX0" fmla="*/ 906 w 11870418"/>
              <a:gd name="connsiteY0" fmla="*/ 0 h 6868885"/>
              <a:gd name="connsiteX1" fmla="*/ 3922032 w 11870418"/>
              <a:gd name="connsiteY1" fmla="*/ 423635 h 6868885"/>
              <a:gd name="connsiteX2" fmla="*/ 11870418 w 11870418"/>
              <a:gd name="connsiteY2" fmla="*/ 6727824 h 6868885"/>
              <a:gd name="connsiteX3" fmla="*/ 0 w 11870418"/>
              <a:gd name="connsiteY3" fmla="*/ 6868885 h 6868885"/>
              <a:gd name="connsiteX4" fmla="*/ 906 w 11870418"/>
              <a:gd name="connsiteY4" fmla="*/ 0 h 6868885"/>
              <a:gd name="connsiteX0" fmla="*/ 906 w 12184743"/>
              <a:gd name="connsiteY0" fmla="*/ 0 h 6937374"/>
              <a:gd name="connsiteX1" fmla="*/ 3922032 w 12184743"/>
              <a:gd name="connsiteY1" fmla="*/ 423635 h 6937374"/>
              <a:gd name="connsiteX2" fmla="*/ 12184743 w 12184743"/>
              <a:gd name="connsiteY2" fmla="*/ 6937374 h 6937374"/>
              <a:gd name="connsiteX3" fmla="*/ 0 w 12184743"/>
              <a:gd name="connsiteY3" fmla="*/ 6868885 h 6937374"/>
              <a:gd name="connsiteX4" fmla="*/ 906 w 12184743"/>
              <a:gd name="connsiteY4" fmla="*/ 0 h 6937374"/>
              <a:gd name="connsiteX0" fmla="*/ 906 w 12422868"/>
              <a:gd name="connsiteY0" fmla="*/ 0 h 6937374"/>
              <a:gd name="connsiteX1" fmla="*/ 3922032 w 12422868"/>
              <a:gd name="connsiteY1" fmla="*/ 423635 h 6937374"/>
              <a:gd name="connsiteX2" fmla="*/ 12422868 w 12422868"/>
              <a:gd name="connsiteY2" fmla="*/ 6937374 h 6937374"/>
              <a:gd name="connsiteX3" fmla="*/ 0 w 12422868"/>
              <a:gd name="connsiteY3" fmla="*/ 6868885 h 6937374"/>
              <a:gd name="connsiteX4" fmla="*/ 906 w 12422868"/>
              <a:gd name="connsiteY4" fmla="*/ 0 h 6937374"/>
              <a:gd name="connsiteX0" fmla="*/ 906 w 12422868"/>
              <a:gd name="connsiteY0" fmla="*/ 0 h 6937374"/>
              <a:gd name="connsiteX1" fmla="*/ 3874407 w 12422868"/>
              <a:gd name="connsiteY1" fmla="*/ 433160 h 6937374"/>
              <a:gd name="connsiteX2" fmla="*/ 12422868 w 12422868"/>
              <a:gd name="connsiteY2" fmla="*/ 6937374 h 6937374"/>
              <a:gd name="connsiteX3" fmla="*/ 0 w 12422868"/>
              <a:gd name="connsiteY3" fmla="*/ 6868885 h 6937374"/>
              <a:gd name="connsiteX4" fmla="*/ 906 w 12422868"/>
              <a:gd name="connsiteY4" fmla="*/ 0 h 6937374"/>
              <a:gd name="connsiteX0" fmla="*/ 906 w 12094095"/>
              <a:gd name="connsiteY0" fmla="*/ 0 h 6927099"/>
              <a:gd name="connsiteX1" fmla="*/ 3874407 w 12094095"/>
              <a:gd name="connsiteY1" fmla="*/ 433160 h 6927099"/>
              <a:gd name="connsiteX2" fmla="*/ 12094095 w 12094095"/>
              <a:gd name="connsiteY2" fmla="*/ 6927099 h 6927099"/>
              <a:gd name="connsiteX3" fmla="*/ 0 w 12094095"/>
              <a:gd name="connsiteY3" fmla="*/ 6868885 h 6927099"/>
              <a:gd name="connsiteX4" fmla="*/ 906 w 12094095"/>
              <a:gd name="connsiteY4" fmla="*/ 0 h 6927099"/>
              <a:gd name="connsiteX0" fmla="*/ 906 w 12094095"/>
              <a:gd name="connsiteY0" fmla="*/ 0 h 6927099"/>
              <a:gd name="connsiteX1" fmla="*/ 4819629 w 12094095"/>
              <a:gd name="connsiteY1" fmla="*/ 823578 h 6927099"/>
              <a:gd name="connsiteX2" fmla="*/ 12094095 w 12094095"/>
              <a:gd name="connsiteY2" fmla="*/ 6927099 h 6927099"/>
              <a:gd name="connsiteX3" fmla="*/ 0 w 12094095"/>
              <a:gd name="connsiteY3" fmla="*/ 6868885 h 6927099"/>
              <a:gd name="connsiteX4" fmla="*/ 906 w 12094095"/>
              <a:gd name="connsiteY4" fmla="*/ 0 h 6927099"/>
              <a:gd name="connsiteX0" fmla="*/ 62551 w 12094095"/>
              <a:gd name="connsiteY0" fmla="*/ 0 h 7112034"/>
              <a:gd name="connsiteX1" fmla="*/ 4819629 w 12094095"/>
              <a:gd name="connsiteY1" fmla="*/ 1008513 h 7112034"/>
              <a:gd name="connsiteX2" fmla="*/ 12094095 w 12094095"/>
              <a:gd name="connsiteY2" fmla="*/ 7112034 h 7112034"/>
              <a:gd name="connsiteX3" fmla="*/ 0 w 12094095"/>
              <a:gd name="connsiteY3" fmla="*/ 7053820 h 7112034"/>
              <a:gd name="connsiteX4" fmla="*/ 62551 w 12094095"/>
              <a:gd name="connsiteY4" fmla="*/ 0 h 7112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94095" h="7112034">
                <a:moveTo>
                  <a:pt x="62551" y="0"/>
                </a:moveTo>
                <a:lnTo>
                  <a:pt x="4819629" y="1008513"/>
                </a:lnTo>
                <a:lnTo>
                  <a:pt x="12094095" y="7112034"/>
                </a:lnTo>
                <a:lnTo>
                  <a:pt x="0" y="7053820"/>
                </a:lnTo>
                <a:lnTo>
                  <a:pt x="62551" y="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Freeform 31"/>
          <p:cNvSpPr/>
          <p:nvPr/>
        </p:nvSpPr>
        <p:spPr>
          <a:xfrm flipH="1" flipV="1">
            <a:off x="357481" y="-129442"/>
            <a:ext cx="12017829" cy="6879771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  <a:gd name="connsiteX0" fmla="*/ 4123872 w 6226629"/>
              <a:gd name="connsiteY0" fmla="*/ 675821 h 6885213"/>
              <a:gd name="connsiteX1" fmla="*/ 6226629 w 6226629"/>
              <a:gd name="connsiteY1" fmla="*/ 3120571 h 6885213"/>
              <a:gd name="connsiteX2" fmla="*/ 6006193 w 6226629"/>
              <a:gd name="connsiteY2" fmla="*/ 6885213 h 6885213"/>
              <a:gd name="connsiteX3" fmla="*/ 0 w 6226629"/>
              <a:gd name="connsiteY3" fmla="*/ 6796314 h 6885213"/>
              <a:gd name="connsiteX4" fmla="*/ 29936 w 6226629"/>
              <a:gd name="connsiteY4" fmla="*/ 0 h 6885213"/>
              <a:gd name="connsiteX5" fmla="*/ 4123872 w 6226629"/>
              <a:gd name="connsiteY5" fmla="*/ 675821 h 6885213"/>
              <a:gd name="connsiteX0" fmla="*/ 4123872 w 11941629"/>
              <a:gd name="connsiteY0" fmla="*/ 675821 h 6885213"/>
              <a:gd name="connsiteX1" fmla="*/ 11941629 w 11941629"/>
              <a:gd name="connsiteY1" fmla="*/ 6765471 h 6885213"/>
              <a:gd name="connsiteX2" fmla="*/ 6006193 w 11941629"/>
              <a:gd name="connsiteY2" fmla="*/ 6885213 h 6885213"/>
              <a:gd name="connsiteX3" fmla="*/ 0 w 11941629"/>
              <a:gd name="connsiteY3" fmla="*/ 6796314 h 6885213"/>
              <a:gd name="connsiteX4" fmla="*/ 29936 w 11941629"/>
              <a:gd name="connsiteY4" fmla="*/ 0 h 6885213"/>
              <a:gd name="connsiteX5" fmla="*/ 4123872 w 11941629"/>
              <a:gd name="connsiteY5" fmla="*/ 675821 h 6885213"/>
              <a:gd name="connsiteX0" fmla="*/ 4123872 w 11941629"/>
              <a:gd name="connsiteY0" fmla="*/ 675821 h 6796314"/>
              <a:gd name="connsiteX1" fmla="*/ 11941629 w 11941629"/>
              <a:gd name="connsiteY1" fmla="*/ 6765471 h 6796314"/>
              <a:gd name="connsiteX2" fmla="*/ 0 w 11941629"/>
              <a:gd name="connsiteY2" fmla="*/ 6796314 h 6796314"/>
              <a:gd name="connsiteX3" fmla="*/ 29936 w 11941629"/>
              <a:gd name="connsiteY3" fmla="*/ 0 h 6796314"/>
              <a:gd name="connsiteX4" fmla="*/ 4123872 w 11941629"/>
              <a:gd name="connsiteY4" fmla="*/ 675821 h 6796314"/>
              <a:gd name="connsiteX0" fmla="*/ 4123872 w 12294054"/>
              <a:gd name="connsiteY0" fmla="*/ 675821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123872 w 12294054"/>
              <a:gd name="connsiteY4" fmla="*/ 675821 h 6898821"/>
              <a:gd name="connsiteX0" fmla="*/ 4466772 w 12294054"/>
              <a:gd name="connsiteY0" fmla="*/ 91394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466772 w 12294054"/>
              <a:gd name="connsiteY4" fmla="*/ 913946 h 6898821"/>
              <a:gd name="connsiteX0" fmla="*/ 4485822 w 12294054"/>
              <a:gd name="connsiteY0" fmla="*/ 809171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485822 w 12294054"/>
              <a:gd name="connsiteY4" fmla="*/ 809171 h 6898821"/>
              <a:gd name="connsiteX0" fmla="*/ 4066722 w 12294054"/>
              <a:gd name="connsiteY0" fmla="*/ 59009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066722 w 12294054"/>
              <a:gd name="connsiteY4" fmla="*/ 590096 h 6898821"/>
              <a:gd name="connsiteX0" fmla="*/ 4104822 w 12294054"/>
              <a:gd name="connsiteY0" fmla="*/ 64724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104822 w 12294054"/>
              <a:gd name="connsiteY4" fmla="*/ 647246 h 6898821"/>
              <a:gd name="connsiteX0" fmla="*/ 4342947 w 12294054"/>
              <a:gd name="connsiteY0" fmla="*/ 666296 h 6898821"/>
              <a:gd name="connsiteX1" fmla="*/ 12294054 w 12294054"/>
              <a:gd name="connsiteY1" fmla="*/ 6898821 h 6898821"/>
              <a:gd name="connsiteX2" fmla="*/ 0 w 12294054"/>
              <a:gd name="connsiteY2" fmla="*/ 6796314 h 6898821"/>
              <a:gd name="connsiteX3" fmla="*/ 29936 w 12294054"/>
              <a:gd name="connsiteY3" fmla="*/ 0 h 6898821"/>
              <a:gd name="connsiteX4" fmla="*/ 4342947 w 12294054"/>
              <a:gd name="connsiteY4" fmla="*/ 666296 h 6898821"/>
              <a:gd name="connsiteX0" fmla="*/ 4342947 w 12017829"/>
              <a:gd name="connsiteY0" fmla="*/ 666296 h 6879771"/>
              <a:gd name="connsiteX1" fmla="*/ 12017829 w 12017829"/>
              <a:gd name="connsiteY1" fmla="*/ 6879771 h 6879771"/>
              <a:gd name="connsiteX2" fmla="*/ 0 w 12017829"/>
              <a:gd name="connsiteY2" fmla="*/ 6796314 h 6879771"/>
              <a:gd name="connsiteX3" fmla="*/ 29936 w 12017829"/>
              <a:gd name="connsiteY3" fmla="*/ 0 h 6879771"/>
              <a:gd name="connsiteX4" fmla="*/ 4342947 w 12017829"/>
              <a:gd name="connsiteY4" fmla="*/ 666296 h 6879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29" h="6879771">
                <a:moveTo>
                  <a:pt x="4342947" y="666296"/>
                </a:moveTo>
                <a:lnTo>
                  <a:pt x="12017829" y="6879771"/>
                </a:lnTo>
                <a:lnTo>
                  <a:pt x="0" y="6796314"/>
                </a:lnTo>
                <a:lnTo>
                  <a:pt x="29936" y="0"/>
                </a:lnTo>
                <a:lnTo>
                  <a:pt x="4342947" y="666296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 flipH="1">
            <a:off x="687680" y="4381869"/>
            <a:ext cx="4510850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r>
              <a:rPr lang="en-US" sz="6000" dirty="0">
                <a:solidFill>
                  <a:srgbClr val="14CE9F"/>
                </a:solidFill>
                <a:latin typeface="Gabriela" panose="00000500000000000000" pitchFamily="2" charset="0"/>
              </a:rPr>
              <a:t>Section title </a:t>
            </a:r>
          </a:p>
        </p:txBody>
      </p:sp>
      <p:sp>
        <p:nvSpPr>
          <p:cNvPr id="11" name="TextBox 10"/>
          <p:cNvSpPr txBox="1"/>
          <p:nvPr/>
        </p:nvSpPr>
        <p:spPr>
          <a:xfrm flipH="1">
            <a:off x="687680" y="5375611"/>
            <a:ext cx="477120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5240" y="-84992"/>
            <a:ext cx="11805483" cy="6802094"/>
          </a:xfrm>
          <a:custGeom>
            <a:avLst/>
            <a:gdLst>
              <a:gd name="connsiteX0" fmla="*/ 0 w 11805483"/>
              <a:gd name="connsiteY0" fmla="*/ 0 h 6802094"/>
              <a:gd name="connsiteX1" fmla="*/ 11805483 w 11805483"/>
              <a:gd name="connsiteY1" fmla="*/ 0 h 6802094"/>
              <a:gd name="connsiteX2" fmla="*/ 11805483 w 11805483"/>
              <a:gd name="connsiteY2" fmla="*/ 6802094 h 6802094"/>
              <a:gd name="connsiteX3" fmla="*/ 7885142 w 11805483"/>
              <a:gd name="connsiteY3" fmla="*/ 6127750 h 6802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05483" h="6802094">
                <a:moveTo>
                  <a:pt x="0" y="0"/>
                </a:moveTo>
                <a:lnTo>
                  <a:pt x="11805483" y="0"/>
                </a:lnTo>
                <a:lnTo>
                  <a:pt x="11805483" y="6802094"/>
                </a:lnTo>
                <a:lnTo>
                  <a:pt x="7885142" y="612775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8806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8813" y="660400"/>
            <a:ext cx="6779064" cy="546100"/>
          </a:xfrm>
        </p:spPr>
        <p:txBody>
          <a:bodyPr/>
          <a:lstStyle/>
          <a:p>
            <a:r>
              <a:rPr lang="en-US" dirty="0"/>
              <a:t>Maps and localization</a:t>
            </a:r>
          </a:p>
        </p:txBody>
      </p:sp>
      <p:sp>
        <p:nvSpPr>
          <p:cNvPr id="1331" name="AutoShape 1273"/>
          <p:cNvSpPr>
            <a:spLocks noChangeAspect="1" noChangeArrowheads="1" noTextEdit="1"/>
          </p:cNvSpPr>
          <p:nvPr/>
        </p:nvSpPr>
        <p:spPr bwMode="auto">
          <a:xfrm>
            <a:off x="2197100" y="2378075"/>
            <a:ext cx="6807200" cy="319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32" name="Freeform 1275"/>
          <p:cNvSpPr>
            <a:spLocks noEditPoints="1"/>
          </p:cNvSpPr>
          <p:nvPr/>
        </p:nvSpPr>
        <p:spPr bwMode="auto">
          <a:xfrm>
            <a:off x="1468001" y="1927225"/>
            <a:ext cx="9103598" cy="4273550"/>
          </a:xfrm>
          <a:custGeom>
            <a:avLst/>
            <a:gdLst>
              <a:gd name="T0" fmla="*/ 46 w 1811"/>
              <a:gd name="T1" fmla="*/ 406 h 849"/>
              <a:gd name="T2" fmla="*/ 1686 w 1811"/>
              <a:gd name="T3" fmla="*/ 367 h 849"/>
              <a:gd name="T4" fmla="*/ 1244 w 1811"/>
              <a:gd name="T5" fmla="*/ 118 h 849"/>
              <a:gd name="T6" fmla="*/ 1625 w 1811"/>
              <a:gd name="T7" fmla="*/ 320 h 849"/>
              <a:gd name="T8" fmla="*/ 1166 w 1811"/>
              <a:gd name="T9" fmla="*/ 131 h 849"/>
              <a:gd name="T10" fmla="*/ 965 w 1811"/>
              <a:gd name="T11" fmla="*/ 40 h 849"/>
              <a:gd name="T12" fmla="*/ 943 w 1811"/>
              <a:gd name="T13" fmla="*/ 48 h 849"/>
              <a:gd name="T14" fmla="*/ 1567 w 1811"/>
              <a:gd name="T15" fmla="*/ 439 h 849"/>
              <a:gd name="T16" fmla="*/ 1596 w 1811"/>
              <a:gd name="T17" fmla="*/ 614 h 849"/>
              <a:gd name="T18" fmla="*/ 1510 w 1811"/>
              <a:gd name="T19" fmla="*/ 516 h 849"/>
              <a:gd name="T20" fmla="*/ 1489 w 1811"/>
              <a:gd name="T21" fmla="*/ 562 h 849"/>
              <a:gd name="T22" fmla="*/ 1530 w 1811"/>
              <a:gd name="T23" fmla="*/ 566 h 849"/>
              <a:gd name="T24" fmla="*/ 1438 w 1811"/>
              <a:gd name="T25" fmla="*/ 557 h 849"/>
              <a:gd name="T26" fmla="*/ 1720 w 1811"/>
              <a:gd name="T27" fmla="*/ 310 h 849"/>
              <a:gd name="T28" fmla="*/ 1557 w 1811"/>
              <a:gd name="T29" fmla="*/ 393 h 849"/>
              <a:gd name="T30" fmla="*/ 1432 w 1811"/>
              <a:gd name="T31" fmla="*/ 486 h 849"/>
              <a:gd name="T32" fmla="*/ 1254 w 1811"/>
              <a:gd name="T33" fmla="*/ 394 h 849"/>
              <a:gd name="T34" fmla="*/ 1152 w 1811"/>
              <a:gd name="T35" fmla="*/ 423 h 849"/>
              <a:gd name="T36" fmla="*/ 854 w 1811"/>
              <a:gd name="T37" fmla="*/ 344 h 849"/>
              <a:gd name="T38" fmla="*/ 1042 w 1811"/>
              <a:gd name="T39" fmla="*/ 286 h 849"/>
              <a:gd name="T40" fmla="*/ 921 w 1811"/>
              <a:gd name="T41" fmla="*/ 239 h 849"/>
              <a:gd name="T42" fmla="*/ 954 w 1811"/>
              <a:gd name="T43" fmla="*/ 202 h 849"/>
              <a:gd name="T44" fmla="*/ 1016 w 1811"/>
              <a:gd name="T45" fmla="*/ 127 h 849"/>
              <a:gd name="T46" fmla="*/ 1222 w 1811"/>
              <a:gd name="T47" fmla="*/ 116 h 849"/>
              <a:gd name="T48" fmla="*/ 1384 w 1811"/>
              <a:gd name="T49" fmla="*/ 88 h 849"/>
              <a:gd name="T50" fmla="*/ 1785 w 1811"/>
              <a:gd name="T51" fmla="*/ 222 h 849"/>
              <a:gd name="T52" fmla="*/ 926 w 1811"/>
              <a:gd name="T53" fmla="*/ 203 h 849"/>
              <a:gd name="T54" fmla="*/ 874 w 1811"/>
              <a:gd name="T55" fmla="*/ 220 h 849"/>
              <a:gd name="T56" fmla="*/ 1020 w 1811"/>
              <a:gd name="T57" fmla="*/ 314 h 849"/>
              <a:gd name="T58" fmla="*/ 1134 w 1811"/>
              <a:gd name="T59" fmla="*/ 515 h 849"/>
              <a:gd name="T60" fmla="*/ 1443 w 1811"/>
              <a:gd name="T61" fmla="*/ 616 h 849"/>
              <a:gd name="T62" fmla="*/ 1481 w 1811"/>
              <a:gd name="T63" fmla="*/ 709 h 849"/>
              <a:gd name="T64" fmla="*/ 799 w 1811"/>
              <a:gd name="T65" fmla="*/ 166 h 849"/>
              <a:gd name="T66" fmla="*/ 657 w 1811"/>
              <a:gd name="T67" fmla="*/ 134 h 849"/>
              <a:gd name="T68" fmla="*/ 813 w 1811"/>
              <a:gd name="T69" fmla="*/ 87 h 849"/>
              <a:gd name="T70" fmla="*/ 783 w 1811"/>
              <a:gd name="T71" fmla="*/ 7 h 849"/>
              <a:gd name="T72" fmla="*/ 604 w 1811"/>
              <a:gd name="T73" fmla="*/ 85 h 849"/>
              <a:gd name="T74" fmla="*/ 654 w 1811"/>
              <a:gd name="T75" fmla="*/ 171 h 849"/>
              <a:gd name="T76" fmla="*/ 733 w 1811"/>
              <a:gd name="T77" fmla="*/ 166 h 849"/>
              <a:gd name="T78" fmla="*/ 650 w 1811"/>
              <a:gd name="T79" fmla="*/ 130 h 849"/>
              <a:gd name="T80" fmla="*/ 523 w 1811"/>
              <a:gd name="T81" fmla="*/ 122 h 849"/>
              <a:gd name="T82" fmla="*/ 580 w 1811"/>
              <a:gd name="T83" fmla="*/ 178 h 849"/>
              <a:gd name="T84" fmla="*/ 499 w 1811"/>
              <a:gd name="T85" fmla="*/ 89 h 849"/>
              <a:gd name="T86" fmla="*/ 448 w 1811"/>
              <a:gd name="T87" fmla="*/ 75 h 849"/>
              <a:gd name="T88" fmla="*/ 414 w 1811"/>
              <a:gd name="T89" fmla="*/ 115 h 849"/>
              <a:gd name="T90" fmla="*/ 520 w 1811"/>
              <a:gd name="T91" fmla="*/ 71 h 849"/>
              <a:gd name="T92" fmla="*/ 620 w 1811"/>
              <a:gd name="T93" fmla="*/ 287 h 849"/>
              <a:gd name="T94" fmla="*/ 557 w 1811"/>
              <a:gd name="T95" fmla="*/ 81 h 849"/>
              <a:gd name="T96" fmla="*/ 613 w 1811"/>
              <a:gd name="T97" fmla="*/ 276 h 849"/>
              <a:gd name="T98" fmla="*/ 449 w 1811"/>
              <a:gd name="T99" fmla="*/ 167 h 849"/>
              <a:gd name="T100" fmla="*/ 492 w 1811"/>
              <a:gd name="T101" fmla="*/ 130 h 849"/>
              <a:gd name="T102" fmla="*/ 495 w 1811"/>
              <a:gd name="T103" fmla="*/ 194 h 849"/>
              <a:gd name="T104" fmla="*/ 707 w 1811"/>
              <a:gd name="T105" fmla="*/ 480 h 849"/>
              <a:gd name="T106" fmla="*/ 423 w 1811"/>
              <a:gd name="T107" fmla="*/ 419 h 849"/>
              <a:gd name="T108" fmla="*/ 561 w 1811"/>
              <a:gd name="T109" fmla="*/ 287 h 849"/>
              <a:gd name="T110" fmla="*/ 457 w 1811"/>
              <a:gd name="T111" fmla="*/ 261 h 849"/>
              <a:gd name="T112" fmla="*/ 448 w 1811"/>
              <a:gd name="T113" fmla="*/ 189 h 849"/>
              <a:gd name="T114" fmla="*/ 177 w 1811"/>
              <a:gd name="T115" fmla="*/ 189 h 849"/>
              <a:gd name="T116" fmla="*/ 126 w 1811"/>
              <a:gd name="T117" fmla="*/ 335 h 849"/>
              <a:gd name="T118" fmla="*/ 271 w 1811"/>
              <a:gd name="T119" fmla="*/ 347 h 849"/>
              <a:gd name="T120" fmla="*/ 506 w 1811"/>
              <a:gd name="T121" fmla="*/ 480 h 849"/>
              <a:gd name="T122" fmla="*/ 650 w 1811"/>
              <a:gd name="T123" fmla="*/ 714 h 849"/>
              <a:gd name="T124" fmla="*/ 622 w 1811"/>
              <a:gd name="T125" fmla="*/ 674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11" h="849">
                <a:moveTo>
                  <a:pt x="170" y="305"/>
                </a:moveTo>
                <a:cubicBezTo>
                  <a:pt x="169" y="305"/>
                  <a:pt x="169" y="305"/>
                  <a:pt x="169" y="305"/>
                </a:cubicBezTo>
                <a:cubicBezTo>
                  <a:pt x="169" y="305"/>
                  <a:pt x="168" y="305"/>
                  <a:pt x="168" y="305"/>
                </a:cubicBezTo>
                <a:cubicBezTo>
                  <a:pt x="169" y="305"/>
                  <a:pt x="169" y="304"/>
                  <a:pt x="169" y="304"/>
                </a:cubicBezTo>
                <a:cubicBezTo>
                  <a:pt x="170" y="304"/>
                  <a:pt x="170" y="304"/>
                  <a:pt x="170" y="305"/>
                </a:cubicBezTo>
                <a:close/>
                <a:moveTo>
                  <a:pt x="171" y="303"/>
                </a:moveTo>
                <a:cubicBezTo>
                  <a:pt x="171" y="303"/>
                  <a:pt x="171" y="303"/>
                  <a:pt x="171" y="303"/>
                </a:cubicBezTo>
                <a:cubicBezTo>
                  <a:pt x="171" y="302"/>
                  <a:pt x="171" y="302"/>
                  <a:pt x="171" y="302"/>
                </a:cubicBezTo>
                <a:cubicBezTo>
                  <a:pt x="171" y="302"/>
                  <a:pt x="172" y="301"/>
                  <a:pt x="172" y="301"/>
                </a:cubicBezTo>
                <a:cubicBezTo>
                  <a:pt x="172" y="301"/>
                  <a:pt x="172" y="301"/>
                  <a:pt x="172" y="300"/>
                </a:cubicBezTo>
                <a:cubicBezTo>
                  <a:pt x="172" y="300"/>
                  <a:pt x="173" y="300"/>
                  <a:pt x="173" y="300"/>
                </a:cubicBezTo>
                <a:cubicBezTo>
                  <a:pt x="173" y="300"/>
                  <a:pt x="173" y="300"/>
                  <a:pt x="172" y="299"/>
                </a:cubicBezTo>
                <a:cubicBezTo>
                  <a:pt x="172" y="300"/>
                  <a:pt x="172" y="300"/>
                  <a:pt x="172" y="300"/>
                </a:cubicBezTo>
                <a:cubicBezTo>
                  <a:pt x="172" y="300"/>
                  <a:pt x="171" y="300"/>
                  <a:pt x="171" y="300"/>
                </a:cubicBezTo>
                <a:cubicBezTo>
                  <a:pt x="171" y="301"/>
                  <a:pt x="171" y="301"/>
                  <a:pt x="171" y="301"/>
                </a:cubicBezTo>
                <a:cubicBezTo>
                  <a:pt x="171" y="301"/>
                  <a:pt x="171" y="302"/>
                  <a:pt x="170" y="303"/>
                </a:cubicBezTo>
                <a:cubicBezTo>
                  <a:pt x="170" y="303"/>
                  <a:pt x="171" y="303"/>
                  <a:pt x="171" y="303"/>
                </a:cubicBezTo>
                <a:close/>
                <a:moveTo>
                  <a:pt x="170" y="297"/>
                </a:moveTo>
                <a:cubicBezTo>
                  <a:pt x="170" y="297"/>
                  <a:pt x="170" y="297"/>
                  <a:pt x="170" y="298"/>
                </a:cubicBezTo>
                <a:cubicBezTo>
                  <a:pt x="170" y="298"/>
                  <a:pt x="171" y="298"/>
                  <a:pt x="171" y="298"/>
                </a:cubicBezTo>
                <a:cubicBezTo>
                  <a:pt x="171" y="298"/>
                  <a:pt x="171" y="298"/>
                  <a:pt x="171" y="297"/>
                </a:cubicBezTo>
                <a:cubicBezTo>
                  <a:pt x="171" y="297"/>
                  <a:pt x="171" y="297"/>
                  <a:pt x="171" y="297"/>
                </a:cubicBezTo>
                <a:cubicBezTo>
                  <a:pt x="171" y="297"/>
                  <a:pt x="171" y="297"/>
                  <a:pt x="171" y="297"/>
                </a:cubicBezTo>
                <a:cubicBezTo>
                  <a:pt x="171" y="297"/>
                  <a:pt x="171" y="297"/>
                  <a:pt x="170" y="297"/>
                </a:cubicBezTo>
                <a:close/>
                <a:moveTo>
                  <a:pt x="175" y="301"/>
                </a:moveTo>
                <a:cubicBezTo>
                  <a:pt x="175" y="301"/>
                  <a:pt x="175" y="301"/>
                  <a:pt x="175" y="301"/>
                </a:cubicBezTo>
                <a:cubicBezTo>
                  <a:pt x="175" y="301"/>
                  <a:pt x="175" y="300"/>
                  <a:pt x="175" y="300"/>
                </a:cubicBezTo>
                <a:cubicBezTo>
                  <a:pt x="175" y="300"/>
                  <a:pt x="175" y="300"/>
                  <a:pt x="174" y="300"/>
                </a:cubicBezTo>
                <a:cubicBezTo>
                  <a:pt x="174" y="300"/>
                  <a:pt x="174" y="301"/>
                  <a:pt x="174" y="301"/>
                </a:cubicBezTo>
                <a:cubicBezTo>
                  <a:pt x="174" y="301"/>
                  <a:pt x="173" y="301"/>
                  <a:pt x="173" y="302"/>
                </a:cubicBezTo>
                <a:cubicBezTo>
                  <a:pt x="173" y="302"/>
                  <a:pt x="173" y="302"/>
                  <a:pt x="173" y="303"/>
                </a:cubicBezTo>
                <a:cubicBezTo>
                  <a:pt x="172" y="303"/>
                  <a:pt x="172" y="303"/>
                  <a:pt x="172" y="303"/>
                </a:cubicBezTo>
                <a:cubicBezTo>
                  <a:pt x="171" y="304"/>
                  <a:pt x="171" y="305"/>
                  <a:pt x="170" y="305"/>
                </a:cubicBezTo>
                <a:cubicBezTo>
                  <a:pt x="170" y="305"/>
                  <a:pt x="170" y="306"/>
                  <a:pt x="170" y="306"/>
                </a:cubicBezTo>
                <a:cubicBezTo>
                  <a:pt x="170" y="306"/>
                  <a:pt x="170" y="306"/>
                  <a:pt x="170" y="306"/>
                </a:cubicBezTo>
                <a:cubicBezTo>
                  <a:pt x="170" y="306"/>
                  <a:pt x="169" y="306"/>
                  <a:pt x="169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70" y="307"/>
                  <a:pt x="170" y="307"/>
                  <a:pt x="170" y="306"/>
                </a:cubicBezTo>
                <a:cubicBezTo>
                  <a:pt x="171" y="306"/>
                  <a:pt x="171" y="306"/>
                  <a:pt x="171" y="306"/>
                </a:cubicBezTo>
                <a:cubicBezTo>
                  <a:pt x="171" y="306"/>
                  <a:pt x="172" y="306"/>
                  <a:pt x="172" y="305"/>
                </a:cubicBezTo>
                <a:cubicBezTo>
                  <a:pt x="172" y="305"/>
                  <a:pt x="172" y="305"/>
                  <a:pt x="172" y="305"/>
                </a:cubicBezTo>
                <a:cubicBezTo>
                  <a:pt x="172" y="305"/>
                  <a:pt x="172" y="305"/>
                  <a:pt x="172" y="305"/>
                </a:cubicBezTo>
                <a:cubicBezTo>
                  <a:pt x="172" y="304"/>
                  <a:pt x="172" y="304"/>
                  <a:pt x="173" y="304"/>
                </a:cubicBezTo>
                <a:cubicBezTo>
                  <a:pt x="173" y="303"/>
                  <a:pt x="173" y="303"/>
                  <a:pt x="174" y="302"/>
                </a:cubicBezTo>
                <a:cubicBezTo>
                  <a:pt x="174" y="302"/>
                  <a:pt x="175" y="302"/>
                  <a:pt x="175" y="301"/>
                </a:cubicBezTo>
                <a:cubicBezTo>
                  <a:pt x="175" y="301"/>
                  <a:pt x="175" y="301"/>
                  <a:pt x="175" y="301"/>
                </a:cubicBezTo>
                <a:close/>
                <a:moveTo>
                  <a:pt x="175" y="308"/>
                </a:moveTo>
                <a:cubicBezTo>
                  <a:pt x="175" y="308"/>
                  <a:pt x="176" y="308"/>
                  <a:pt x="176" y="307"/>
                </a:cubicBezTo>
                <a:cubicBezTo>
                  <a:pt x="176" y="307"/>
                  <a:pt x="176" y="307"/>
                  <a:pt x="176" y="307"/>
                </a:cubicBezTo>
                <a:cubicBezTo>
                  <a:pt x="175" y="308"/>
                  <a:pt x="175" y="308"/>
                  <a:pt x="175" y="308"/>
                </a:cubicBezTo>
                <a:close/>
                <a:moveTo>
                  <a:pt x="102" y="366"/>
                </a:moveTo>
                <a:cubicBezTo>
                  <a:pt x="102" y="366"/>
                  <a:pt x="103" y="365"/>
                  <a:pt x="103" y="365"/>
                </a:cubicBezTo>
                <a:cubicBezTo>
                  <a:pt x="103" y="365"/>
                  <a:pt x="103" y="365"/>
                  <a:pt x="103" y="365"/>
                </a:cubicBezTo>
                <a:cubicBezTo>
                  <a:pt x="102" y="365"/>
                  <a:pt x="102" y="365"/>
                  <a:pt x="102" y="366"/>
                </a:cubicBezTo>
                <a:close/>
                <a:moveTo>
                  <a:pt x="186" y="301"/>
                </a:moveTo>
                <a:cubicBezTo>
                  <a:pt x="186" y="301"/>
                  <a:pt x="186" y="302"/>
                  <a:pt x="186" y="302"/>
                </a:cubicBezTo>
                <a:cubicBezTo>
                  <a:pt x="186" y="302"/>
                  <a:pt x="187" y="301"/>
                  <a:pt x="187" y="301"/>
                </a:cubicBezTo>
                <a:cubicBezTo>
                  <a:pt x="187" y="301"/>
                  <a:pt x="187" y="300"/>
                  <a:pt x="188" y="300"/>
                </a:cubicBezTo>
                <a:cubicBezTo>
                  <a:pt x="187" y="300"/>
                  <a:pt x="187" y="300"/>
                  <a:pt x="187" y="300"/>
                </a:cubicBezTo>
                <a:cubicBezTo>
                  <a:pt x="187" y="301"/>
                  <a:pt x="186" y="301"/>
                  <a:pt x="186" y="301"/>
                </a:cubicBezTo>
                <a:close/>
                <a:moveTo>
                  <a:pt x="243" y="321"/>
                </a:moveTo>
                <a:cubicBezTo>
                  <a:pt x="242" y="321"/>
                  <a:pt x="242" y="321"/>
                  <a:pt x="242" y="321"/>
                </a:cubicBezTo>
                <a:cubicBezTo>
                  <a:pt x="241" y="321"/>
                  <a:pt x="241" y="321"/>
                  <a:pt x="240" y="321"/>
                </a:cubicBezTo>
                <a:cubicBezTo>
                  <a:pt x="240" y="321"/>
                  <a:pt x="241" y="320"/>
                  <a:pt x="241" y="320"/>
                </a:cubicBezTo>
                <a:cubicBezTo>
                  <a:pt x="241" y="320"/>
                  <a:pt x="241" y="320"/>
                  <a:pt x="241" y="320"/>
                </a:cubicBezTo>
                <a:cubicBezTo>
                  <a:pt x="241" y="320"/>
                  <a:pt x="241" y="320"/>
                  <a:pt x="242" y="320"/>
                </a:cubicBezTo>
                <a:cubicBezTo>
                  <a:pt x="242" y="320"/>
                  <a:pt x="242" y="319"/>
                  <a:pt x="241" y="319"/>
                </a:cubicBezTo>
                <a:cubicBezTo>
                  <a:pt x="241" y="319"/>
                  <a:pt x="241" y="319"/>
                  <a:pt x="240" y="319"/>
                </a:cubicBezTo>
                <a:cubicBezTo>
                  <a:pt x="241" y="319"/>
                  <a:pt x="241" y="319"/>
                  <a:pt x="241" y="319"/>
                </a:cubicBezTo>
                <a:cubicBezTo>
                  <a:pt x="241" y="318"/>
                  <a:pt x="241" y="318"/>
                  <a:pt x="241" y="318"/>
                </a:cubicBezTo>
                <a:cubicBezTo>
                  <a:pt x="240" y="318"/>
                  <a:pt x="240" y="318"/>
                  <a:pt x="239" y="318"/>
                </a:cubicBezTo>
                <a:cubicBezTo>
                  <a:pt x="239" y="318"/>
                  <a:pt x="239" y="318"/>
                  <a:pt x="239" y="318"/>
                </a:cubicBezTo>
                <a:cubicBezTo>
                  <a:pt x="239" y="318"/>
                  <a:pt x="238" y="318"/>
                  <a:pt x="238" y="318"/>
                </a:cubicBezTo>
                <a:cubicBezTo>
                  <a:pt x="238" y="318"/>
                  <a:pt x="238" y="317"/>
                  <a:pt x="238" y="317"/>
                </a:cubicBezTo>
                <a:cubicBezTo>
                  <a:pt x="238" y="317"/>
                  <a:pt x="238" y="317"/>
                  <a:pt x="239" y="316"/>
                </a:cubicBezTo>
                <a:cubicBezTo>
                  <a:pt x="238" y="316"/>
                  <a:pt x="238" y="316"/>
                  <a:pt x="238" y="316"/>
                </a:cubicBezTo>
                <a:cubicBezTo>
                  <a:pt x="237" y="316"/>
                  <a:pt x="237" y="316"/>
                  <a:pt x="237" y="316"/>
                </a:cubicBezTo>
                <a:cubicBezTo>
                  <a:pt x="237" y="316"/>
                  <a:pt x="236" y="316"/>
                  <a:pt x="236" y="317"/>
                </a:cubicBezTo>
                <a:cubicBezTo>
                  <a:pt x="237" y="317"/>
                  <a:pt x="237" y="317"/>
                  <a:pt x="237" y="317"/>
                </a:cubicBezTo>
                <a:cubicBezTo>
                  <a:pt x="237" y="317"/>
                  <a:pt x="238" y="317"/>
                  <a:pt x="238" y="317"/>
                </a:cubicBezTo>
                <a:cubicBezTo>
                  <a:pt x="238" y="318"/>
                  <a:pt x="238" y="318"/>
                  <a:pt x="238" y="319"/>
                </a:cubicBezTo>
                <a:cubicBezTo>
                  <a:pt x="238" y="319"/>
                  <a:pt x="238" y="319"/>
                  <a:pt x="238" y="319"/>
                </a:cubicBezTo>
                <a:cubicBezTo>
                  <a:pt x="238" y="319"/>
                  <a:pt x="238" y="320"/>
                  <a:pt x="238" y="320"/>
                </a:cubicBezTo>
                <a:cubicBezTo>
                  <a:pt x="238" y="320"/>
                  <a:pt x="237" y="320"/>
                  <a:pt x="237" y="320"/>
                </a:cubicBezTo>
                <a:cubicBezTo>
                  <a:pt x="237" y="321"/>
                  <a:pt x="237" y="321"/>
                  <a:pt x="237" y="321"/>
                </a:cubicBezTo>
                <a:cubicBezTo>
                  <a:pt x="237" y="321"/>
                  <a:pt x="237" y="321"/>
                  <a:pt x="237" y="321"/>
                </a:cubicBezTo>
                <a:cubicBezTo>
                  <a:pt x="237" y="321"/>
                  <a:pt x="238" y="321"/>
                  <a:pt x="238" y="321"/>
                </a:cubicBezTo>
                <a:cubicBezTo>
                  <a:pt x="238" y="321"/>
                  <a:pt x="238" y="321"/>
                  <a:pt x="238" y="320"/>
                </a:cubicBezTo>
                <a:cubicBezTo>
                  <a:pt x="238" y="321"/>
                  <a:pt x="239" y="321"/>
                  <a:pt x="239" y="321"/>
                </a:cubicBezTo>
                <a:cubicBezTo>
                  <a:pt x="238" y="321"/>
                  <a:pt x="238" y="321"/>
                  <a:pt x="238" y="322"/>
                </a:cubicBezTo>
                <a:cubicBezTo>
                  <a:pt x="238" y="322"/>
                  <a:pt x="238" y="322"/>
                  <a:pt x="238" y="322"/>
                </a:cubicBezTo>
                <a:cubicBezTo>
                  <a:pt x="238" y="322"/>
                  <a:pt x="238" y="322"/>
                  <a:pt x="238" y="323"/>
                </a:cubicBezTo>
                <a:cubicBezTo>
                  <a:pt x="238" y="323"/>
                  <a:pt x="237" y="323"/>
                  <a:pt x="237" y="323"/>
                </a:cubicBezTo>
                <a:cubicBezTo>
                  <a:pt x="237" y="323"/>
                  <a:pt x="237" y="323"/>
                  <a:pt x="237" y="323"/>
                </a:cubicBezTo>
                <a:cubicBezTo>
                  <a:pt x="237" y="323"/>
                  <a:pt x="237" y="324"/>
                  <a:pt x="237" y="324"/>
                </a:cubicBezTo>
                <a:cubicBezTo>
                  <a:pt x="238" y="323"/>
                  <a:pt x="238" y="323"/>
                  <a:pt x="238" y="323"/>
                </a:cubicBezTo>
                <a:cubicBezTo>
                  <a:pt x="238" y="323"/>
                  <a:pt x="239" y="323"/>
                  <a:pt x="239" y="323"/>
                </a:cubicBezTo>
                <a:cubicBezTo>
                  <a:pt x="239" y="323"/>
                  <a:pt x="239" y="323"/>
                  <a:pt x="239" y="323"/>
                </a:cubicBezTo>
                <a:cubicBezTo>
                  <a:pt x="239" y="323"/>
                  <a:pt x="239" y="323"/>
                  <a:pt x="240" y="323"/>
                </a:cubicBezTo>
                <a:cubicBezTo>
                  <a:pt x="240" y="323"/>
                  <a:pt x="240" y="323"/>
                  <a:pt x="240" y="323"/>
                </a:cubicBezTo>
                <a:cubicBezTo>
                  <a:pt x="240" y="323"/>
                  <a:pt x="240" y="323"/>
                  <a:pt x="239" y="323"/>
                </a:cubicBezTo>
                <a:cubicBezTo>
                  <a:pt x="239" y="323"/>
                  <a:pt x="239" y="324"/>
                  <a:pt x="239" y="324"/>
                </a:cubicBezTo>
                <a:cubicBezTo>
                  <a:pt x="240" y="324"/>
                  <a:pt x="240" y="324"/>
                  <a:pt x="240" y="324"/>
                </a:cubicBezTo>
                <a:cubicBezTo>
                  <a:pt x="240" y="324"/>
                  <a:pt x="240" y="324"/>
                  <a:pt x="240" y="325"/>
                </a:cubicBezTo>
                <a:cubicBezTo>
                  <a:pt x="240" y="325"/>
                  <a:pt x="240" y="325"/>
                  <a:pt x="240" y="325"/>
                </a:cubicBezTo>
                <a:cubicBezTo>
                  <a:pt x="240" y="325"/>
                  <a:pt x="241" y="325"/>
                  <a:pt x="241" y="325"/>
                </a:cubicBezTo>
                <a:cubicBezTo>
                  <a:pt x="241" y="326"/>
                  <a:pt x="241" y="326"/>
                  <a:pt x="241" y="326"/>
                </a:cubicBezTo>
                <a:cubicBezTo>
                  <a:pt x="241" y="326"/>
                  <a:pt x="241" y="326"/>
                  <a:pt x="242" y="326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43" y="326"/>
                  <a:pt x="243" y="325"/>
                  <a:pt x="243" y="325"/>
                </a:cubicBezTo>
                <a:cubicBezTo>
                  <a:pt x="243" y="325"/>
                  <a:pt x="242" y="325"/>
                  <a:pt x="242" y="325"/>
                </a:cubicBezTo>
                <a:cubicBezTo>
                  <a:pt x="242" y="325"/>
                  <a:pt x="242" y="325"/>
                  <a:pt x="243" y="324"/>
                </a:cubicBezTo>
                <a:cubicBezTo>
                  <a:pt x="242" y="324"/>
                  <a:pt x="242" y="324"/>
                  <a:pt x="242" y="324"/>
                </a:cubicBezTo>
                <a:cubicBezTo>
                  <a:pt x="242" y="324"/>
                  <a:pt x="242" y="324"/>
                  <a:pt x="241" y="324"/>
                </a:cubicBezTo>
                <a:cubicBezTo>
                  <a:pt x="242" y="324"/>
                  <a:pt x="242" y="324"/>
                  <a:pt x="242" y="324"/>
                </a:cubicBezTo>
                <a:cubicBezTo>
                  <a:pt x="242" y="324"/>
                  <a:pt x="242" y="323"/>
                  <a:pt x="242" y="323"/>
                </a:cubicBezTo>
                <a:cubicBezTo>
                  <a:pt x="243" y="323"/>
                  <a:pt x="243" y="323"/>
                  <a:pt x="243" y="322"/>
                </a:cubicBezTo>
                <a:cubicBezTo>
                  <a:pt x="243" y="322"/>
                  <a:pt x="243" y="322"/>
                  <a:pt x="243" y="322"/>
                </a:cubicBezTo>
                <a:cubicBezTo>
                  <a:pt x="243" y="322"/>
                  <a:pt x="243" y="322"/>
                  <a:pt x="242" y="322"/>
                </a:cubicBezTo>
                <a:cubicBezTo>
                  <a:pt x="242" y="322"/>
                  <a:pt x="242" y="322"/>
                  <a:pt x="242" y="322"/>
                </a:cubicBezTo>
                <a:cubicBezTo>
                  <a:pt x="242" y="322"/>
                  <a:pt x="242" y="322"/>
                  <a:pt x="242" y="322"/>
                </a:cubicBezTo>
                <a:cubicBezTo>
                  <a:pt x="242" y="322"/>
                  <a:pt x="242" y="322"/>
                  <a:pt x="243" y="321"/>
                </a:cubicBezTo>
                <a:close/>
                <a:moveTo>
                  <a:pt x="140" y="317"/>
                </a:moveTo>
                <a:cubicBezTo>
                  <a:pt x="140" y="317"/>
                  <a:pt x="140" y="317"/>
                  <a:pt x="139" y="317"/>
                </a:cubicBezTo>
                <a:cubicBezTo>
                  <a:pt x="140" y="317"/>
                  <a:pt x="140" y="317"/>
                  <a:pt x="140" y="317"/>
                </a:cubicBezTo>
                <a:cubicBezTo>
                  <a:pt x="141" y="317"/>
                  <a:pt x="141" y="317"/>
                  <a:pt x="141" y="317"/>
                </a:cubicBezTo>
                <a:cubicBezTo>
                  <a:pt x="141" y="317"/>
                  <a:pt x="140" y="317"/>
                  <a:pt x="140" y="317"/>
                </a:cubicBezTo>
                <a:close/>
                <a:moveTo>
                  <a:pt x="177" y="295"/>
                </a:moveTo>
                <a:cubicBezTo>
                  <a:pt x="176" y="295"/>
                  <a:pt x="176" y="295"/>
                  <a:pt x="176" y="295"/>
                </a:cubicBezTo>
                <a:cubicBezTo>
                  <a:pt x="176" y="295"/>
                  <a:pt x="175" y="296"/>
                  <a:pt x="175" y="296"/>
                </a:cubicBezTo>
                <a:cubicBezTo>
                  <a:pt x="176" y="296"/>
                  <a:pt x="176" y="296"/>
                  <a:pt x="176" y="296"/>
                </a:cubicBezTo>
                <a:cubicBezTo>
                  <a:pt x="176" y="295"/>
                  <a:pt x="176" y="295"/>
                  <a:pt x="177" y="295"/>
                </a:cubicBezTo>
                <a:close/>
                <a:moveTo>
                  <a:pt x="175" y="297"/>
                </a:moveTo>
                <a:cubicBezTo>
                  <a:pt x="174" y="297"/>
                  <a:pt x="174" y="297"/>
                  <a:pt x="174" y="297"/>
                </a:cubicBezTo>
                <a:cubicBezTo>
                  <a:pt x="174" y="298"/>
                  <a:pt x="174" y="298"/>
                  <a:pt x="174" y="298"/>
                </a:cubicBezTo>
                <a:cubicBezTo>
                  <a:pt x="174" y="298"/>
                  <a:pt x="175" y="298"/>
                  <a:pt x="175" y="298"/>
                </a:cubicBezTo>
                <a:cubicBezTo>
                  <a:pt x="175" y="297"/>
                  <a:pt x="175" y="297"/>
                  <a:pt x="175" y="297"/>
                </a:cubicBezTo>
                <a:close/>
                <a:moveTo>
                  <a:pt x="178" y="299"/>
                </a:moveTo>
                <a:cubicBezTo>
                  <a:pt x="178" y="299"/>
                  <a:pt x="178" y="299"/>
                  <a:pt x="177" y="298"/>
                </a:cubicBezTo>
                <a:cubicBezTo>
                  <a:pt x="177" y="298"/>
                  <a:pt x="177" y="298"/>
                  <a:pt x="177" y="298"/>
                </a:cubicBezTo>
                <a:cubicBezTo>
                  <a:pt x="176" y="299"/>
                  <a:pt x="176" y="299"/>
                  <a:pt x="176" y="299"/>
                </a:cubicBezTo>
                <a:cubicBezTo>
                  <a:pt x="176" y="299"/>
                  <a:pt x="176" y="300"/>
                  <a:pt x="177" y="300"/>
                </a:cubicBezTo>
                <a:cubicBezTo>
                  <a:pt x="177" y="300"/>
                  <a:pt x="178" y="300"/>
                  <a:pt x="178" y="300"/>
                </a:cubicBezTo>
                <a:cubicBezTo>
                  <a:pt x="178" y="299"/>
                  <a:pt x="179" y="299"/>
                  <a:pt x="179" y="299"/>
                </a:cubicBezTo>
                <a:cubicBezTo>
                  <a:pt x="179" y="299"/>
                  <a:pt x="179" y="299"/>
                  <a:pt x="178" y="299"/>
                </a:cubicBezTo>
                <a:cubicBezTo>
                  <a:pt x="178" y="299"/>
                  <a:pt x="178" y="299"/>
                  <a:pt x="178" y="299"/>
                </a:cubicBezTo>
                <a:close/>
                <a:moveTo>
                  <a:pt x="106" y="288"/>
                </a:moveTo>
                <a:cubicBezTo>
                  <a:pt x="106" y="288"/>
                  <a:pt x="107" y="287"/>
                  <a:pt x="107" y="287"/>
                </a:cubicBezTo>
                <a:cubicBezTo>
                  <a:pt x="106" y="287"/>
                  <a:pt x="106" y="287"/>
                  <a:pt x="106" y="287"/>
                </a:cubicBezTo>
                <a:cubicBezTo>
                  <a:pt x="105" y="287"/>
                  <a:pt x="105" y="287"/>
                  <a:pt x="104" y="288"/>
                </a:cubicBezTo>
                <a:cubicBezTo>
                  <a:pt x="104" y="288"/>
                  <a:pt x="104" y="288"/>
                  <a:pt x="104" y="288"/>
                </a:cubicBezTo>
                <a:cubicBezTo>
                  <a:pt x="105" y="288"/>
                  <a:pt x="105" y="288"/>
                  <a:pt x="106" y="288"/>
                </a:cubicBezTo>
                <a:cubicBezTo>
                  <a:pt x="106" y="288"/>
                  <a:pt x="106" y="288"/>
                  <a:pt x="106" y="288"/>
                </a:cubicBezTo>
                <a:close/>
                <a:moveTo>
                  <a:pt x="102" y="335"/>
                </a:moveTo>
                <a:cubicBezTo>
                  <a:pt x="102" y="334"/>
                  <a:pt x="103" y="334"/>
                  <a:pt x="103" y="333"/>
                </a:cubicBezTo>
                <a:cubicBezTo>
                  <a:pt x="103" y="333"/>
                  <a:pt x="103" y="333"/>
                  <a:pt x="102" y="333"/>
                </a:cubicBezTo>
                <a:cubicBezTo>
                  <a:pt x="102" y="333"/>
                  <a:pt x="102" y="334"/>
                  <a:pt x="102" y="334"/>
                </a:cubicBezTo>
                <a:cubicBezTo>
                  <a:pt x="101" y="334"/>
                  <a:pt x="101" y="335"/>
                  <a:pt x="101" y="335"/>
                </a:cubicBezTo>
                <a:cubicBezTo>
                  <a:pt x="101" y="335"/>
                  <a:pt x="101" y="335"/>
                  <a:pt x="101" y="336"/>
                </a:cubicBezTo>
                <a:cubicBezTo>
                  <a:pt x="101" y="336"/>
                  <a:pt x="101" y="335"/>
                  <a:pt x="102" y="335"/>
                </a:cubicBezTo>
                <a:cubicBezTo>
                  <a:pt x="102" y="335"/>
                  <a:pt x="102" y="335"/>
                  <a:pt x="102" y="335"/>
                </a:cubicBezTo>
                <a:close/>
                <a:moveTo>
                  <a:pt x="104" y="333"/>
                </a:moveTo>
                <a:cubicBezTo>
                  <a:pt x="104" y="334"/>
                  <a:pt x="103" y="334"/>
                  <a:pt x="103" y="334"/>
                </a:cubicBezTo>
                <a:cubicBezTo>
                  <a:pt x="103" y="334"/>
                  <a:pt x="103" y="334"/>
                  <a:pt x="104" y="334"/>
                </a:cubicBezTo>
                <a:cubicBezTo>
                  <a:pt x="104" y="334"/>
                  <a:pt x="104" y="334"/>
                  <a:pt x="104" y="334"/>
                </a:cubicBezTo>
                <a:cubicBezTo>
                  <a:pt x="104" y="334"/>
                  <a:pt x="104" y="333"/>
                  <a:pt x="104" y="333"/>
                </a:cubicBezTo>
                <a:close/>
                <a:moveTo>
                  <a:pt x="116" y="349"/>
                </a:moveTo>
                <a:cubicBezTo>
                  <a:pt x="116" y="349"/>
                  <a:pt x="117" y="349"/>
                  <a:pt x="117" y="349"/>
                </a:cubicBezTo>
                <a:cubicBezTo>
                  <a:pt x="117" y="349"/>
                  <a:pt x="118" y="349"/>
                  <a:pt x="118" y="349"/>
                </a:cubicBezTo>
                <a:cubicBezTo>
                  <a:pt x="118" y="348"/>
                  <a:pt x="117" y="348"/>
                  <a:pt x="117" y="348"/>
                </a:cubicBezTo>
                <a:cubicBezTo>
                  <a:pt x="117" y="349"/>
                  <a:pt x="116" y="349"/>
                  <a:pt x="116" y="349"/>
                </a:cubicBezTo>
                <a:close/>
                <a:moveTo>
                  <a:pt x="151" y="306"/>
                </a:moveTo>
                <a:cubicBezTo>
                  <a:pt x="150" y="306"/>
                  <a:pt x="150" y="306"/>
                  <a:pt x="150" y="305"/>
                </a:cubicBezTo>
                <a:cubicBezTo>
                  <a:pt x="150" y="305"/>
                  <a:pt x="150" y="306"/>
                  <a:pt x="149" y="306"/>
                </a:cubicBezTo>
                <a:cubicBezTo>
                  <a:pt x="149" y="306"/>
                  <a:pt x="149" y="307"/>
                  <a:pt x="148" y="307"/>
                </a:cubicBezTo>
                <a:cubicBezTo>
                  <a:pt x="149" y="307"/>
                  <a:pt x="149" y="307"/>
                  <a:pt x="149" y="307"/>
                </a:cubicBezTo>
                <a:cubicBezTo>
                  <a:pt x="150" y="307"/>
                  <a:pt x="150" y="306"/>
                  <a:pt x="151" y="306"/>
                </a:cubicBezTo>
                <a:close/>
                <a:moveTo>
                  <a:pt x="143" y="329"/>
                </a:moveTo>
                <a:cubicBezTo>
                  <a:pt x="143" y="329"/>
                  <a:pt x="143" y="329"/>
                  <a:pt x="143" y="329"/>
                </a:cubicBezTo>
                <a:cubicBezTo>
                  <a:pt x="142" y="329"/>
                  <a:pt x="142" y="329"/>
                  <a:pt x="142" y="329"/>
                </a:cubicBezTo>
                <a:cubicBezTo>
                  <a:pt x="142" y="329"/>
                  <a:pt x="141" y="329"/>
                  <a:pt x="141" y="329"/>
                </a:cubicBezTo>
                <a:cubicBezTo>
                  <a:pt x="141" y="330"/>
                  <a:pt x="141" y="330"/>
                  <a:pt x="140" y="331"/>
                </a:cubicBezTo>
                <a:cubicBezTo>
                  <a:pt x="140" y="331"/>
                  <a:pt x="140" y="331"/>
                  <a:pt x="140" y="331"/>
                </a:cubicBezTo>
                <a:cubicBezTo>
                  <a:pt x="140" y="331"/>
                  <a:pt x="140" y="331"/>
                  <a:pt x="140" y="330"/>
                </a:cubicBezTo>
                <a:cubicBezTo>
                  <a:pt x="140" y="330"/>
                  <a:pt x="140" y="330"/>
                  <a:pt x="140" y="330"/>
                </a:cubicBezTo>
                <a:cubicBezTo>
                  <a:pt x="140" y="330"/>
                  <a:pt x="140" y="330"/>
                  <a:pt x="140" y="329"/>
                </a:cubicBezTo>
                <a:cubicBezTo>
                  <a:pt x="139" y="329"/>
                  <a:pt x="139" y="329"/>
                  <a:pt x="139" y="329"/>
                </a:cubicBezTo>
                <a:cubicBezTo>
                  <a:pt x="139" y="330"/>
                  <a:pt x="138" y="330"/>
                  <a:pt x="138" y="330"/>
                </a:cubicBezTo>
                <a:cubicBezTo>
                  <a:pt x="138" y="330"/>
                  <a:pt x="139" y="330"/>
                  <a:pt x="139" y="330"/>
                </a:cubicBezTo>
                <a:cubicBezTo>
                  <a:pt x="139" y="330"/>
                  <a:pt x="139" y="331"/>
                  <a:pt x="139" y="331"/>
                </a:cubicBezTo>
                <a:cubicBezTo>
                  <a:pt x="139" y="331"/>
                  <a:pt x="138" y="331"/>
                  <a:pt x="138" y="331"/>
                </a:cubicBezTo>
                <a:cubicBezTo>
                  <a:pt x="138" y="331"/>
                  <a:pt x="138" y="331"/>
                  <a:pt x="138" y="331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1"/>
                  <a:pt x="137" y="331"/>
                  <a:pt x="137" y="331"/>
                </a:cubicBezTo>
                <a:cubicBezTo>
                  <a:pt x="136" y="331"/>
                  <a:pt x="136" y="331"/>
                  <a:pt x="136" y="331"/>
                </a:cubicBezTo>
                <a:cubicBezTo>
                  <a:pt x="136" y="331"/>
                  <a:pt x="135" y="331"/>
                  <a:pt x="135" y="331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6" y="332"/>
                  <a:pt x="136" y="332"/>
                </a:cubicBezTo>
                <a:cubicBezTo>
                  <a:pt x="136" y="333"/>
                  <a:pt x="136" y="333"/>
                  <a:pt x="136" y="333"/>
                </a:cubicBezTo>
                <a:cubicBezTo>
                  <a:pt x="136" y="333"/>
                  <a:pt x="135" y="333"/>
                  <a:pt x="135" y="333"/>
                </a:cubicBezTo>
                <a:cubicBezTo>
                  <a:pt x="135" y="333"/>
                  <a:pt x="135" y="333"/>
                  <a:pt x="135" y="333"/>
                </a:cubicBezTo>
                <a:cubicBezTo>
                  <a:pt x="135" y="334"/>
                  <a:pt x="135" y="334"/>
                  <a:pt x="136" y="334"/>
                </a:cubicBezTo>
                <a:cubicBezTo>
                  <a:pt x="135" y="334"/>
                  <a:pt x="135" y="335"/>
                  <a:pt x="135" y="335"/>
                </a:cubicBezTo>
                <a:cubicBezTo>
                  <a:pt x="135" y="335"/>
                  <a:pt x="135" y="335"/>
                  <a:pt x="135" y="335"/>
                </a:cubicBezTo>
                <a:cubicBezTo>
                  <a:pt x="134" y="335"/>
                  <a:pt x="134" y="334"/>
                  <a:pt x="134" y="334"/>
                </a:cubicBezTo>
                <a:cubicBezTo>
                  <a:pt x="134" y="334"/>
                  <a:pt x="134" y="334"/>
                  <a:pt x="133" y="334"/>
                </a:cubicBezTo>
                <a:cubicBezTo>
                  <a:pt x="133" y="334"/>
                  <a:pt x="133" y="334"/>
                  <a:pt x="132" y="335"/>
                </a:cubicBezTo>
                <a:cubicBezTo>
                  <a:pt x="131" y="335"/>
                  <a:pt x="131" y="336"/>
                  <a:pt x="130" y="336"/>
                </a:cubicBezTo>
                <a:cubicBezTo>
                  <a:pt x="130" y="337"/>
                  <a:pt x="129" y="337"/>
                  <a:pt x="129" y="338"/>
                </a:cubicBezTo>
                <a:cubicBezTo>
                  <a:pt x="129" y="338"/>
                  <a:pt x="129" y="338"/>
                  <a:pt x="129" y="338"/>
                </a:cubicBezTo>
                <a:cubicBezTo>
                  <a:pt x="129" y="338"/>
                  <a:pt x="129" y="338"/>
                  <a:pt x="130" y="338"/>
                </a:cubicBezTo>
                <a:cubicBezTo>
                  <a:pt x="130" y="339"/>
                  <a:pt x="130" y="339"/>
                  <a:pt x="130" y="339"/>
                </a:cubicBezTo>
                <a:cubicBezTo>
                  <a:pt x="130" y="339"/>
                  <a:pt x="130" y="340"/>
                  <a:pt x="130" y="340"/>
                </a:cubicBezTo>
                <a:cubicBezTo>
                  <a:pt x="130" y="340"/>
                  <a:pt x="130" y="340"/>
                  <a:pt x="130" y="341"/>
                </a:cubicBezTo>
                <a:cubicBezTo>
                  <a:pt x="130" y="341"/>
                  <a:pt x="130" y="341"/>
                  <a:pt x="130" y="341"/>
                </a:cubicBezTo>
                <a:cubicBezTo>
                  <a:pt x="131" y="341"/>
                  <a:pt x="131" y="341"/>
                  <a:pt x="131" y="341"/>
                </a:cubicBezTo>
                <a:cubicBezTo>
                  <a:pt x="131" y="341"/>
                  <a:pt x="131" y="341"/>
                  <a:pt x="132" y="341"/>
                </a:cubicBezTo>
                <a:cubicBezTo>
                  <a:pt x="132" y="341"/>
                  <a:pt x="132" y="340"/>
                  <a:pt x="132" y="340"/>
                </a:cubicBezTo>
                <a:cubicBezTo>
                  <a:pt x="132" y="340"/>
                  <a:pt x="131" y="340"/>
                  <a:pt x="131" y="340"/>
                </a:cubicBezTo>
                <a:cubicBezTo>
                  <a:pt x="131" y="340"/>
                  <a:pt x="131" y="340"/>
                  <a:pt x="131" y="340"/>
                </a:cubicBezTo>
                <a:cubicBezTo>
                  <a:pt x="131" y="340"/>
                  <a:pt x="131" y="340"/>
                  <a:pt x="131" y="340"/>
                </a:cubicBezTo>
                <a:cubicBezTo>
                  <a:pt x="131" y="339"/>
                  <a:pt x="132" y="339"/>
                  <a:pt x="132" y="339"/>
                </a:cubicBezTo>
                <a:cubicBezTo>
                  <a:pt x="132" y="339"/>
                  <a:pt x="132" y="339"/>
                  <a:pt x="132" y="340"/>
                </a:cubicBezTo>
                <a:cubicBezTo>
                  <a:pt x="132" y="340"/>
                  <a:pt x="132" y="340"/>
                  <a:pt x="133" y="340"/>
                </a:cubicBezTo>
                <a:cubicBezTo>
                  <a:pt x="133" y="339"/>
                  <a:pt x="133" y="339"/>
                  <a:pt x="133" y="339"/>
                </a:cubicBezTo>
                <a:cubicBezTo>
                  <a:pt x="133" y="339"/>
                  <a:pt x="134" y="339"/>
                  <a:pt x="134" y="339"/>
                </a:cubicBezTo>
                <a:cubicBezTo>
                  <a:pt x="134" y="339"/>
                  <a:pt x="133" y="339"/>
                  <a:pt x="133" y="340"/>
                </a:cubicBezTo>
                <a:cubicBezTo>
                  <a:pt x="133" y="340"/>
                  <a:pt x="133" y="340"/>
                  <a:pt x="134" y="340"/>
                </a:cubicBezTo>
                <a:cubicBezTo>
                  <a:pt x="133" y="341"/>
                  <a:pt x="133" y="341"/>
                  <a:pt x="132" y="342"/>
                </a:cubicBezTo>
                <a:cubicBezTo>
                  <a:pt x="132" y="342"/>
                  <a:pt x="132" y="342"/>
                  <a:pt x="132" y="342"/>
                </a:cubicBezTo>
                <a:cubicBezTo>
                  <a:pt x="132" y="342"/>
                  <a:pt x="133" y="342"/>
                  <a:pt x="133" y="342"/>
                </a:cubicBezTo>
                <a:cubicBezTo>
                  <a:pt x="133" y="342"/>
                  <a:pt x="133" y="341"/>
                  <a:pt x="134" y="341"/>
                </a:cubicBezTo>
                <a:cubicBezTo>
                  <a:pt x="134" y="341"/>
                  <a:pt x="134" y="341"/>
                  <a:pt x="134" y="341"/>
                </a:cubicBezTo>
                <a:cubicBezTo>
                  <a:pt x="134" y="340"/>
                  <a:pt x="134" y="340"/>
                  <a:pt x="134" y="340"/>
                </a:cubicBezTo>
                <a:cubicBezTo>
                  <a:pt x="134" y="340"/>
                  <a:pt x="135" y="340"/>
                  <a:pt x="135" y="339"/>
                </a:cubicBezTo>
                <a:cubicBezTo>
                  <a:pt x="135" y="339"/>
                  <a:pt x="135" y="339"/>
                  <a:pt x="134" y="339"/>
                </a:cubicBezTo>
                <a:cubicBezTo>
                  <a:pt x="135" y="339"/>
                  <a:pt x="135" y="339"/>
                  <a:pt x="135" y="338"/>
                </a:cubicBezTo>
                <a:cubicBezTo>
                  <a:pt x="135" y="338"/>
                  <a:pt x="135" y="338"/>
                  <a:pt x="135" y="338"/>
                </a:cubicBezTo>
                <a:cubicBezTo>
                  <a:pt x="135" y="338"/>
                  <a:pt x="135" y="338"/>
                  <a:pt x="135" y="337"/>
                </a:cubicBezTo>
                <a:cubicBezTo>
                  <a:pt x="136" y="337"/>
                  <a:pt x="136" y="337"/>
                  <a:pt x="136" y="337"/>
                </a:cubicBezTo>
                <a:cubicBezTo>
                  <a:pt x="136" y="337"/>
                  <a:pt x="137" y="337"/>
                  <a:pt x="137" y="336"/>
                </a:cubicBezTo>
                <a:cubicBezTo>
                  <a:pt x="137" y="336"/>
                  <a:pt x="138" y="336"/>
                  <a:pt x="138" y="336"/>
                </a:cubicBezTo>
                <a:cubicBezTo>
                  <a:pt x="138" y="336"/>
                  <a:pt x="138" y="336"/>
                  <a:pt x="138" y="336"/>
                </a:cubicBezTo>
                <a:cubicBezTo>
                  <a:pt x="138" y="336"/>
                  <a:pt x="138" y="335"/>
                  <a:pt x="138" y="335"/>
                </a:cubicBezTo>
                <a:cubicBezTo>
                  <a:pt x="137" y="335"/>
                  <a:pt x="137" y="335"/>
                  <a:pt x="137" y="336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38" y="335"/>
                  <a:pt x="138" y="335"/>
                  <a:pt x="139" y="334"/>
                </a:cubicBezTo>
                <a:cubicBezTo>
                  <a:pt x="139" y="335"/>
                  <a:pt x="139" y="335"/>
                  <a:pt x="140" y="335"/>
                </a:cubicBezTo>
                <a:cubicBezTo>
                  <a:pt x="140" y="335"/>
                  <a:pt x="140" y="335"/>
                  <a:pt x="140" y="334"/>
                </a:cubicBezTo>
                <a:cubicBezTo>
                  <a:pt x="141" y="334"/>
                  <a:pt x="141" y="334"/>
                  <a:pt x="141" y="334"/>
                </a:cubicBezTo>
                <a:cubicBezTo>
                  <a:pt x="140" y="333"/>
                  <a:pt x="140" y="333"/>
                  <a:pt x="140" y="333"/>
                </a:cubicBezTo>
                <a:cubicBezTo>
                  <a:pt x="140" y="333"/>
                  <a:pt x="139" y="333"/>
                  <a:pt x="139" y="333"/>
                </a:cubicBezTo>
                <a:cubicBezTo>
                  <a:pt x="139" y="333"/>
                  <a:pt x="139" y="333"/>
                  <a:pt x="139" y="333"/>
                </a:cubicBezTo>
                <a:cubicBezTo>
                  <a:pt x="139" y="333"/>
                  <a:pt x="140" y="333"/>
                  <a:pt x="140" y="332"/>
                </a:cubicBezTo>
                <a:cubicBezTo>
                  <a:pt x="140" y="332"/>
                  <a:pt x="140" y="332"/>
                  <a:pt x="141" y="332"/>
                </a:cubicBezTo>
                <a:cubicBezTo>
                  <a:pt x="141" y="332"/>
                  <a:pt x="141" y="332"/>
                  <a:pt x="141" y="332"/>
                </a:cubicBezTo>
                <a:cubicBezTo>
                  <a:pt x="141" y="332"/>
                  <a:pt x="142" y="332"/>
                  <a:pt x="142" y="332"/>
                </a:cubicBezTo>
                <a:cubicBezTo>
                  <a:pt x="142" y="332"/>
                  <a:pt x="142" y="332"/>
                  <a:pt x="143" y="332"/>
                </a:cubicBezTo>
                <a:cubicBezTo>
                  <a:pt x="143" y="332"/>
                  <a:pt x="143" y="331"/>
                  <a:pt x="143" y="331"/>
                </a:cubicBezTo>
                <a:cubicBezTo>
                  <a:pt x="143" y="331"/>
                  <a:pt x="143" y="331"/>
                  <a:pt x="142" y="331"/>
                </a:cubicBezTo>
                <a:cubicBezTo>
                  <a:pt x="142" y="331"/>
                  <a:pt x="142" y="331"/>
                  <a:pt x="142" y="331"/>
                </a:cubicBezTo>
                <a:cubicBezTo>
                  <a:pt x="142" y="330"/>
                  <a:pt x="142" y="330"/>
                  <a:pt x="142" y="330"/>
                </a:cubicBezTo>
                <a:cubicBezTo>
                  <a:pt x="142" y="330"/>
                  <a:pt x="142" y="330"/>
                  <a:pt x="143" y="330"/>
                </a:cubicBezTo>
                <a:cubicBezTo>
                  <a:pt x="143" y="330"/>
                  <a:pt x="143" y="329"/>
                  <a:pt x="143" y="329"/>
                </a:cubicBezTo>
                <a:close/>
                <a:moveTo>
                  <a:pt x="122" y="353"/>
                </a:moveTo>
                <a:cubicBezTo>
                  <a:pt x="122" y="353"/>
                  <a:pt x="122" y="353"/>
                  <a:pt x="122" y="353"/>
                </a:cubicBezTo>
                <a:cubicBezTo>
                  <a:pt x="123" y="353"/>
                  <a:pt x="123" y="353"/>
                  <a:pt x="123" y="353"/>
                </a:cubicBezTo>
                <a:cubicBezTo>
                  <a:pt x="123" y="353"/>
                  <a:pt x="123" y="353"/>
                  <a:pt x="123" y="353"/>
                </a:cubicBezTo>
                <a:cubicBezTo>
                  <a:pt x="123" y="352"/>
                  <a:pt x="123" y="352"/>
                  <a:pt x="123" y="352"/>
                </a:cubicBezTo>
                <a:cubicBezTo>
                  <a:pt x="123" y="352"/>
                  <a:pt x="123" y="353"/>
                  <a:pt x="122" y="353"/>
                </a:cubicBezTo>
                <a:close/>
                <a:moveTo>
                  <a:pt x="144" y="326"/>
                </a:moveTo>
                <a:cubicBezTo>
                  <a:pt x="144" y="325"/>
                  <a:pt x="144" y="325"/>
                  <a:pt x="144" y="325"/>
                </a:cubicBezTo>
                <a:cubicBezTo>
                  <a:pt x="144" y="325"/>
                  <a:pt x="145" y="325"/>
                  <a:pt x="145" y="324"/>
                </a:cubicBezTo>
                <a:cubicBezTo>
                  <a:pt x="144" y="324"/>
                  <a:pt x="144" y="324"/>
                  <a:pt x="144" y="324"/>
                </a:cubicBezTo>
                <a:cubicBezTo>
                  <a:pt x="144" y="324"/>
                  <a:pt x="144" y="324"/>
                  <a:pt x="143" y="324"/>
                </a:cubicBezTo>
                <a:cubicBezTo>
                  <a:pt x="143" y="325"/>
                  <a:pt x="143" y="325"/>
                  <a:pt x="143" y="325"/>
                </a:cubicBezTo>
                <a:cubicBezTo>
                  <a:pt x="143" y="325"/>
                  <a:pt x="143" y="325"/>
                  <a:pt x="143" y="325"/>
                </a:cubicBezTo>
                <a:cubicBezTo>
                  <a:pt x="143" y="325"/>
                  <a:pt x="143" y="325"/>
                  <a:pt x="143" y="324"/>
                </a:cubicBezTo>
                <a:cubicBezTo>
                  <a:pt x="142" y="324"/>
                  <a:pt x="142" y="324"/>
                  <a:pt x="142" y="324"/>
                </a:cubicBezTo>
                <a:cubicBezTo>
                  <a:pt x="142" y="325"/>
                  <a:pt x="141" y="325"/>
                  <a:pt x="141" y="325"/>
                </a:cubicBezTo>
                <a:cubicBezTo>
                  <a:pt x="141" y="325"/>
                  <a:pt x="141" y="326"/>
                  <a:pt x="141" y="326"/>
                </a:cubicBezTo>
                <a:cubicBezTo>
                  <a:pt x="141" y="326"/>
                  <a:pt x="141" y="326"/>
                  <a:pt x="141" y="326"/>
                </a:cubicBezTo>
                <a:cubicBezTo>
                  <a:pt x="141" y="326"/>
                  <a:pt x="141" y="326"/>
                  <a:pt x="141" y="327"/>
                </a:cubicBezTo>
                <a:cubicBezTo>
                  <a:pt x="141" y="327"/>
                  <a:pt x="141" y="327"/>
                  <a:pt x="140" y="327"/>
                </a:cubicBezTo>
                <a:cubicBezTo>
                  <a:pt x="140" y="327"/>
                  <a:pt x="140" y="327"/>
                  <a:pt x="140" y="327"/>
                </a:cubicBezTo>
                <a:cubicBezTo>
                  <a:pt x="140" y="327"/>
                  <a:pt x="140" y="327"/>
                  <a:pt x="139" y="327"/>
                </a:cubicBezTo>
                <a:cubicBezTo>
                  <a:pt x="139" y="328"/>
                  <a:pt x="139" y="328"/>
                  <a:pt x="139" y="328"/>
                </a:cubicBezTo>
                <a:cubicBezTo>
                  <a:pt x="139" y="328"/>
                  <a:pt x="139" y="328"/>
                  <a:pt x="139" y="328"/>
                </a:cubicBezTo>
                <a:cubicBezTo>
                  <a:pt x="140" y="328"/>
                  <a:pt x="140" y="328"/>
                  <a:pt x="141" y="328"/>
                </a:cubicBezTo>
                <a:cubicBezTo>
                  <a:pt x="141" y="328"/>
                  <a:pt x="141" y="328"/>
                  <a:pt x="142" y="328"/>
                </a:cubicBezTo>
                <a:cubicBezTo>
                  <a:pt x="142" y="328"/>
                  <a:pt x="142" y="327"/>
                  <a:pt x="142" y="327"/>
                </a:cubicBezTo>
                <a:cubicBezTo>
                  <a:pt x="143" y="327"/>
                  <a:pt x="143" y="327"/>
                  <a:pt x="143" y="327"/>
                </a:cubicBezTo>
                <a:cubicBezTo>
                  <a:pt x="143" y="327"/>
                  <a:pt x="143" y="327"/>
                  <a:pt x="143" y="327"/>
                </a:cubicBezTo>
                <a:cubicBezTo>
                  <a:pt x="144" y="327"/>
                  <a:pt x="144" y="326"/>
                  <a:pt x="144" y="326"/>
                </a:cubicBezTo>
                <a:cubicBezTo>
                  <a:pt x="144" y="326"/>
                  <a:pt x="144" y="326"/>
                  <a:pt x="145" y="326"/>
                </a:cubicBezTo>
                <a:cubicBezTo>
                  <a:pt x="145" y="326"/>
                  <a:pt x="145" y="326"/>
                  <a:pt x="145" y="326"/>
                </a:cubicBezTo>
                <a:cubicBezTo>
                  <a:pt x="145" y="326"/>
                  <a:pt x="145" y="325"/>
                  <a:pt x="145" y="325"/>
                </a:cubicBezTo>
                <a:cubicBezTo>
                  <a:pt x="145" y="325"/>
                  <a:pt x="144" y="326"/>
                  <a:pt x="144" y="326"/>
                </a:cubicBezTo>
                <a:close/>
                <a:moveTo>
                  <a:pt x="144" y="323"/>
                </a:moveTo>
                <a:cubicBezTo>
                  <a:pt x="143" y="323"/>
                  <a:pt x="143" y="323"/>
                  <a:pt x="143" y="322"/>
                </a:cubicBezTo>
                <a:cubicBezTo>
                  <a:pt x="143" y="322"/>
                  <a:pt x="143" y="323"/>
                  <a:pt x="143" y="323"/>
                </a:cubicBezTo>
                <a:cubicBezTo>
                  <a:pt x="142" y="323"/>
                  <a:pt x="142" y="323"/>
                  <a:pt x="142" y="323"/>
                </a:cubicBezTo>
                <a:cubicBezTo>
                  <a:pt x="142" y="323"/>
                  <a:pt x="142" y="323"/>
                  <a:pt x="142" y="324"/>
                </a:cubicBezTo>
                <a:cubicBezTo>
                  <a:pt x="142" y="324"/>
                  <a:pt x="143" y="324"/>
                  <a:pt x="143" y="324"/>
                </a:cubicBezTo>
                <a:cubicBezTo>
                  <a:pt x="143" y="323"/>
                  <a:pt x="143" y="323"/>
                  <a:pt x="144" y="323"/>
                </a:cubicBezTo>
                <a:close/>
                <a:moveTo>
                  <a:pt x="128" y="346"/>
                </a:moveTo>
                <a:cubicBezTo>
                  <a:pt x="129" y="346"/>
                  <a:pt x="129" y="346"/>
                  <a:pt x="129" y="345"/>
                </a:cubicBezTo>
                <a:cubicBezTo>
                  <a:pt x="130" y="345"/>
                  <a:pt x="130" y="344"/>
                  <a:pt x="131" y="343"/>
                </a:cubicBezTo>
                <a:cubicBezTo>
                  <a:pt x="130" y="344"/>
                  <a:pt x="129" y="344"/>
                  <a:pt x="129" y="345"/>
                </a:cubicBezTo>
                <a:cubicBezTo>
                  <a:pt x="128" y="345"/>
                  <a:pt x="128" y="346"/>
                  <a:pt x="128" y="346"/>
                </a:cubicBezTo>
                <a:close/>
                <a:moveTo>
                  <a:pt x="131" y="344"/>
                </a:moveTo>
                <a:cubicBezTo>
                  <a:pt x="131" y="344"/>
                  <a:pt x="132" y="344"/>
                  <a:pt x="132" y="343"/>
                </a:cubicBezTo>
                <a:cubicBezTo>
                  <a:pt x="131" y="343"/>
                  <a:pt x="131" y="344"/>
                  <a:pt x="131" y="344"/>
                </a:cubicBezTo>
                <a:cubicBezTo>
                  <a:pt x="131" y="344"/>
                  <a:pt x="131" y="344"/>
                  <a:pt x="131" y="344"/>
                </a:cubicBezTo>
                <a:close/>
                <a:moveTo>
                  <a:pt x="239" y="324"/>
                </a:moveTo>
                <a:cubicBezTo>
                  <a:pt x="239" y="324"/>
                  <a:pt x="238" y="324"/>
                  <a:pt x="238" y="324"/>
                </a:cubicBezTo>
                <a:cubicBezTo>
                  <a:pt x="238" y="324"/>
                  <a:pt x="238" y="325"/>
                  <a:pt x="238" y="325"/>
                </a:cubicBezTo>
                <a:cubicBezTo>
                  <a:pt x="238" y="325"/>
                  <a:pt x="239" y="325"/>
                  <a:pt x="239" y="325"/>
                </a:cubicBezTo>
                <a:cubicBezTo>
                  <a:pt x="239" y="325"/>
                  <a:pt x="239" y="325"/>
                  <a:pt x="239" y="324"/>
                </a:cubicBezTo>
                <a:close/>
                <a:moveTo>
                  <a:pt x="245" y="324"/>
                </a:moveTo>
                <a:cubicBezTo>
                  <a:pt x="245" y="324"/>
                  <a:pt x="246" y="324"/>
                  <a:pt x="246" y="324"/>
                </a:cubicBezTo>
                <a:cubicBezTo>
                  <a:pt x="246" y="324"/>
                  <a:pt x="246" y="323"/>
                  <a:pt x="247" y="323"/>
                </a:cubicBezTo>
                <a:cubicBezTo>
                  <a:pt x="246" y="323"/>
                  <a:pt x="246" y="323"/>
                  <a:pt x="246" y="323"/>
                </a:cubicBezTo>
                <a:cubicBezTo>
                  <a:pt x="246" y="323"/>
                  <a:pt x="245" y="324"/>
                  <a:pt x="245" y="324"/>
                </a:cubicBezTo>
                <a:close/>
                <a:moveTo>
                  <a:pt x="246" y="323"/>
                </a:moveTo>
                <a:cubicBezTo>
                  <a:pt x="246" y="322"/>
                  <a:pt x="246" y="322"/>
                  <a:pt x="246" y="322"/>
                </a:cubicBezTo>
                <a:cubicBezTo>
                  <a:pt x="246" y="322"/>
                  <a:pt x="246" y="321"/>
                  <a:pt x="245" y="321"/>
                </a:cubicBezTo>
                <a:cubicBezTo>
                  <a:pt x="245" y="321"/>
                  <a:pt x="245" y="322"/>
                  <a:pt x="245" y="322"/>
                </a:cubicBezTo>
                <a:cubicBezTo>
                  <a:pt x="245" y="322"/>
                  <a:pt x="245" y="322"/>
                  <a:pt x="245" y="322"/>
                </a:cubicBezTo>
                <a:cubicBezTo>
                  <a:pt x="245" y="322"/>
                  <a:pt x="245" y="323"/>
                  <a:pt x="245" y="323"/>
                </a:cubicBezTo>
                <a:cubicBezTo>
                  <a:pt x="245" y="323"/>
                  <a:pt x="245" y="323"/>
                  <a:pt x="246" y="323"/>
                </a:cubicBezTo>
                <a:close/>
                <a:moveTo>
                  <a:pt x="231" y="310"/>
                </a:moveTo>
                <a:cubicBezTo>
                  <a:pt x="231" y="310"/>
                  <a:pt x="231" y="310"/>
                  <a:pt x="230" y="310"/>
                </a:cubicBezTo>
                <a:cubicBezTo>
                  <a:pt x="231" y="310"/>
                  <a:pt x="231" y="310"/>
                  <a:pt x="231" y="310"/>
                </a:cubicBezTo>
                <a:cubicBezTo>
                  <a:pt x="231" y="310"/>
                  <a:pt x="231" y="310"/>
                  <a:pt x="231" y="310"/>
                </a:cubicBezTo>
                <a:close/>
                <a:moveTo>
                  <a:pt x="241" y="316"/>
                </a:moveTo>
                <a:cubicBezTo>
                  <a:pt x="241" y="316"/>
                  <a:pt x="241" y="316"/>
                  <a:pt x="241" y="317"/>
                </a:cubicBezTo>
                <a:cubicBezTo>
                  <a:pt x="241" y="317"/>
                  <a:pt x="241" y="316"/>
                  <a:pt x="242" y="316"/>
                </a:cubicBezTo>
                <a:cubicBezTo>
                  <a:pt x="242" y="316"/>
                  <a:pt x="242" y="316"/>
                  <a:pt x="242" y="316"/>
                </a:cubicBezTo>
                <a:cubicBezTo>
                  <a:pt x="242" y="315"/>
                  <a:pt x="242" y="315"/>
                  <a:pt x="242" y="315"/>
                </a:cubicBezTo>
                <a:cubicBezTo>
                  <a:pt x="242" y="315"/>
                  <a:pt x="242" y="315"/>
                  <a:pt x="242" y="315"/>
                </a:cubicBezTo>
                <a:cubicBezTo>
                  <a:pt x="242" y="315"/>
                  <a:pt x="241" y="316"/>
                  <a:pt x="241" y="316"/>
                </a:cubicBezTo>
                <a:close/>
                <a:moveTo>
                  <a:pt x="241" y="316"/>
                </a:moveTo>
                <a:cubicBezTo>
                  <a:pt x="241" y="315"/>
                  <a:pt x="241" y="315"/>
                  <a:pt x="242" y="314"/>
                </a:cubicBezTo>
                <a:cubicBezTo>
                  <a:pt x="242" y="314"/>
                  <a:pt x="242" y="314"/>
                  <a:pt x="242" y="314"/>
                </a:cubicBezTo>
                <a:cubicBezTo>
                  <a:pt x="241" y="314"/>
                  <a:pt x="240" y="314"/>
                  <a:pt x="240" y="314"/>
                </a:cubicBezTo>
                <a:cubicBezTo>
                  <a:pt x="240" y="315"/>
                  <a:pt x="239" y="315"/>
                  <a:pt x="239" y="315"/>
                </a:cubicBezTo>
                <a:cubicBezTo>
                  <a:pt x="239" y="315"/>
                  <a:pt x="240" y="316"/>
                  <a:pt x="240" y="316"/>
                </a:cubicBezTo>
                <a:cubicBezTo>
                  <a:pt x="240" y="316"/>
                  <a:pt x="241" y="316"/>
                  <a:pt x="241" y="316"/>
                </a:cubicBezTo>
                <a:close/>
                <a:moveTo>
                  <a:pt x="245" y="320"/>
                </a:moveTo>
                <a:cubicBezTo>
                  <a:pt x="246" y="320"/>
                  <a:pt x="246" y="319"/>
                  <a:pt x="247" y="319"/>
                </a:cubicBezTo>
                <a:cubicBezTo>
                  <a:pt x="247" y="319"/>
                  <a:pt x="247" y="319"/>
                  <a:pt x="247" y="319"/>
                </a:cubicBezTo>
                <a:cubicBezTo>
                  <a:pt x="247" y="319"/>
                  <a:pt x="246" y="320"/>
                  <a:pt x="246" y="320"/>
                </a:cubicBezTo>
                <a:cubicBezTo>
                  <a:pt x="246" y="320"/>
                  <a:pt x="246" y="321"/>
                  <a:pt x="246" y="321"/>
                </a:cubicBezTo>
                <a:cubicBezTo>
                  <a:pt x="246" y="321"/>
                  <a:pt x="246" y="321"/>
                  <a:pt x="246" y="321"/>
                </a:cubicBezTo>
                <a:cubicBezTo>
                  <a:pt x="247" y="321"/>
                  <a:pt x="247" y="320"/>
                  <a:pt x="248" y="320"/>
                </a:cubicBezTo>
                <a:cubicBezTo>
                  <a:pt x="248" y="319"/>
                  <a:pt x="248" y="318"/>
                  <a:pt x="249" y="318"/>
                </a:cubicBezTo>
                <a:cubicBezTo>
                  <a:pt x="248" y="318"/>
                  <a:pt x="248" y="318"/>
                  <a:pt x="248" y="317"/>
                </a:cubicBezTo>
                <a:cubicBezTo>
                  <a:pt x="248" y="317"/>
                  <a:pt x="248" y="317"/>
                  <a:pt x="248" y="316"/>
                </a:cubicBezTo>
                <a:cubicBezTo>
                  <a:pt x="248" y="316"/>
                  <a:pt x="248" y="316"/>
                  <a:pt x="247" y="316"/>
                </a:cubicBezTo>
                <a:cubicBezTo>
                  <a:pt x="247" y="316"/>
                  <a:pt x="247" y="316"/>
                  <a:pt x="246" y="316"/>
                </a:cubicBezTo>
                <a:cubicBezTo>
                  <a:pt x="246" y="317"/>
                  <a:pt x="246" y="317"/>
                  <a:pt x="246" y="317"/>
                </a:cubicBezTo>
                <a:cubicBezTo>
                  <a:pt x="246" y="317"/>
                  <a:pt x="246" y="317"/>
                  <a:pt x="245" y="317"/>
                </a:cubicBezTo>
                <a:cubicBezTo>
                  <a:pt x="245" y="318"/>
                  <a:pt x="245" y="318"/>
                  <a:pt x="245" y="319"/>
                </a:cubicBezTo>
                <a:cubicBezTo>
                  <a:pt x="245" y="319"/>
                  <a:pt x="245" y="319"/>
                  <a:pt x="245" y="319"/>
                </a:cubicBezTo>
                <a:cubicBezTo>
                  <a:pt x="245" y="319"/>
                  <a:pt x="245" y="320"/>
                  <a:pt x="245" y="320"/>
                </a:cubicBezTo>
                <a:cubicBezTo>
                  <a:pt x="245" y="320"/>
                  <a:pt x="245" y="320"/>
                  <a:pt x="245" y="320"/>
                </a:cubicBezTo>
                <a:close/>
                <a:moveTo>
                  <a:pt x="244" y="315"/>
                </a:moveTo>
                <a:cubicBezTo>
                  <a:pt x="244" y="314"/>
                  <a:pt x="244" y="314"/>
                  <a:pt x="244" y="314"/>
                </a:cubicBezTo>
                <a:cubicBezTo>
                  <a:pt x="244" y="314"/>
                  <a:pt x="244" y="314"/>
                  <a:pt x="243" y="314"/>
                </a:cubicBezTo>
                <a:cubicBezTo>
                  <a:pt x="243" y="314"/>
                  <a:pt x="243" y="314"/>
                  <a:pt x="243" y="315"/>
                </a:cubicBezTo>
                <a:cubicBezTo>
                  <a:pt x="243" y="315"/>
                  <a:pt x="243" y="315"/>
                  <a:pt x="243" y="315"/>
                </a:cubicBezTo>
                <a:cubicBezTo>
                  <a:pt x="243" y="315"/>
                  <a:pt x="244" y="315"/>
                  <a:pt x="244" y="315"/>
                </a:cubicBezTo>
                <a:cubicBezTo>
                  <a:pt x="244" y="315"/>
                  <a:pt x="244" y="315"/>
                  <a:pt x="244" y="315"/>
                </a:cubicBezTo>
                <a:close/>
                <a:moveTo>
                  <a:pt x="227" y="303"/>
                </a:moveTo>
                <a:cubicBezTo>
                  <a:pt x="227" y="303"/>
                  <a:pt x="227" y="303"/>
                  <a:pt x="226" y="303"/>
                </a:cubicBezTo>
                <a:cubicBezTo>
                  <a:pt x="226" y="303"/>
                  <a:pt x="226" y="304"/>
                  <a:pt x="226" y="304"/>
                </a:cubicBezTo>
                <a:cubicBezTo>
                  <a:pt x="226" y="304"/>
                  <a:pt x="226" y="304"/>
                  <a:pt x="226" y="304"/>
                </a:cubicBezTo>
                <a:cubicBezTo>
                  <a:pt x="227" y="304"/>
                  <a:pt x="227" y="304"/>
                  <a:pt x="227" y="303"/>
                </a:cubicBezTo>
                <a:close/>
                <a:moveTo>
                  <a:pt x="230" y="304"/>
                </a:moveTo>
                <a:cubicBezTo>
                  <a:pt x="230" y="305"/>
                  <a:pt x="229" y="305"/>
                  <a:pt x="229" y="305"/>
                </a:cubicBezTo>
                <a:cubicBezTo>
                  <a:pt x="229" y="305"/>
                  <a:pt x="229" y="305"/>
                  <a:pt x="229" y="305"/>
                </a:cubicBezTo>
                <a:cubicBezTo>
                  <a:pt x="229" y="305"/>
                  <a:pt x="228" y="305"/>
                  <a:pt x="228" y="305"/>
                </a:cubicBezTo>
                <a:cubicBezTo>
                  <a:pt x="228" y="305"/>
                  <a:pt x="228" y="305"/>
                  <a:pt x="229" y="304"/>
                </a:cubicBezTo>
                <a:cubicBezTo>
                  <a:pt x="229" y="304"/>
                  <a:pt x="228" y="304"/>
                  <a:pt x="228" y="304"/>
                </a:cubicBezTo>
                <a:cubicBezTo>
                  <a:pt x="228" y="304"/>
                  <a:pt x="228" y="304"/>
                  <a:pt x="227" y="304"/>
                </a:cubicBezTo>
                <a:cubicBezTo>
                  <a:pt x="227" y="304"/>
                  <a:pt x="226" y="305"/>
                  <a:pt x="226" y="305"/>
                </a:cubicBezTo>
                <a:cubicBezTo>
                  <a:pt x="226" y="305"/>
                  <a:pt x="226" y="305"/>
                  <a:pt x="226" y="305"/>
                </a:cubicBezTo>
                <a:cubicBezTo>
                  <a:pt x="226" y="305"/>
                  <a:pt x="225" y="305"/>
                  <a:pt x="225" y="306"/>
                </a:cubicBezTo>
                <a:cubicBezTo>
                  <a:pt x="225" y="305"/>
                  <a:pt x="225" y="305"/>
                  <a:pt x="224" y="305"/>
                </a:cubicBezTo>
                <a:cubicBezTo>
                  <a:pt x="224" y="305"/>
                  <a:pt x="224" y="306"/>
                  <a:pt x="224" y="306"/>
                </a:cubicBezTo>
                <a:cubicBezTo>
                  <a:pt x="224" y="306"/>
                  <a:pt x="225" y="307"/>
                  <a:pt x="225" y="307"/>
                </a:cubicBezTo>
                <a:cubicBezTo>
                  <a:pt x="225" y="307"/>
                  <a:pt x="225" y="307"/>
                  <a:pt x="226" y="307"/>
                </a:cubicBezTo>
                <a:cubicBezTo>
                  <a:pt x="225" y="307"/>
                  <a:pt x="225" y="307"/>
                  <a:pt x="225" y="307"/>
                </a:cubicBezTo>
                <a:cubicBezTo>
                  <a:pt x="225" y="307"/>
                  <a:pt x="225" y="307"/>
                  <a:pt x="225" y="307"/>
                </a:cubicBezTo>
                <a:cubicBezTo>
                  <a:pt x="224" y="308"/>
                  <a:pt x="224" y="308"/>
                  <a:pt x="224" y="308"/>
                </a:cubicBezTo>
                <a:cubicBezTo>
                  <a:pt x="225" y="308"/>
                  <a:pt x="225" y="309"/>
                  <a:pt x="225" y="309"/>
                </a:cubicBezTo>
                <a:cubicBezTo>
                  <a:pt x="225" y="309"/>
                  <a:pt x="225" y="309"/>
                  <a:pt x="225" y="310"/>
                </a:cubicBezTo>
                <a:cubicBezTo>
                  <a:pt x="226" y="310"/>
                  <a:pt x="226" y="310"/>
                  <a:pt x="226" y="310"/>
                </a:cubicBezTo>
                <a:cubicBezTo>
                  <a:pt x="226" y="310"/>
                  <a:pt x="226" y="310"/>
                  <a:pt x="226" y="310"/>
                </a:cubicBezTo>
                <a:cubicBezTo>
                  <a:pt x="226" y="310"/>
                  <a:pt x="227" y="311"/>
                  <a:pt x="227" y="311"/>
                </a:cubicBezTo>
                <a:cubicBezTo>
                  <a:pt x="227" y="311"/>
                  <a:pt x="228" y="310"/>
                  <a:pt x="228" y="310"/>
                </a:cubicBezTo>
                <a:cubicBezTo>
                  <a:pt x="228" y="310"/>
                  <a:pt x="228" y="310"/>
                  <a:pt x="228" y="310"/>
                </a:cubicBezTo>
                <a:cubicBezTo>
                  <a:pt x="228" y="309"/>
                  <a:pt x="228" y="309"/>
                  <a:pt x="228" y="309"/>
                </a:cubicBezTo>
                <a:cubicBezTo>
                  <a:pt x="228" y="309"/>
                  <a:pt x="227" y="308"/>
                  <a:pt x="227" y="308"/>
                </a:cubicBezTo>
                <a:cubicBezTo>
                  <a:pt x="227" y="308"/>
                  <a:pt x="227" y="308"/>
                  <a:pt x="227" y="307"/>
                </a:cubicBezTo>
                <a:cubicBezTo>
                  <a:pt x="228" y="308"/>
                  <a:pt x="228" y="308"/>
                  <a:pt x="229" y="308"/>
                </a:cubicBezTo>
                <a:cubicBezTo>
                  <a:pt x="229" y="309"/>
                  <a:pt x="229" y="309"/>
                  <a:pt x="229" y="309"/>
                </a:cubicBezTo>
                <a:cubicBezTo>
                  <a:pt x="230" y="309"/>
                  <a:pt x="230" y="309"/>
                  <a:pt x="231" y="309"/>
                </a:cubicBezTo>
                <a:cubicBezTo>
                  <a:pt x="231" y="309"/>
                  <a:pt x="231" y="309"/>
                  <a:pt x="231" y="309"/>
                </a:cubicBezTo>
                <a:cubicBezTo>
                  <a:pt x="231" y="309"/>
                  <a:pt x="231" y="308"/>
                  <a:pt x="231" y="308"/>
                </a:cubicBezTo>
                <a:cubicBezTo>
                  <a:pt x="231" y="308"/>
                  <a:pt x="231" y="308"/>
                  <a:pt x="231" y="307"/>
                </a:cubicBezTo>
                <a:cubicBezTo>
                  <a:pt x="231" y="307"/>
                  <a:pt x="231" y="307"/>
                  <a:pt x="230" y="307"/>
                </a:cubicBezTo>
                <a:cubicBezTo>
                  <a:pt x="230" y="307"/>
                  <a:pt x="230" y="307"/>
                  <a:pt x="229" y="307"/>
                </a:cubicBezTo>
                <a:cubicBezTo>
                  <a:pt x="229" y="307"/>
                  <a:pt x="229" y="307"/>
                  <a:pt x="229" y="307"/>
                </a:cubicBezTo>
                <a:cubicBezTo>
                  <a:pt x="228" y="307"/>
                  <a:pt x="228" y="306"/>
                  <a:pt x="227" y="306"/>
                </a:cubicBezTo>
                <a:cubicBezTo>
                  <a:pt x="227" y="306"/>
                  <a:pt x="227" y="306"/>
                  <a:pt x="227" y="306"/>
                </a:cubicBezTo>
                <a:cubicBezTo>
                  <a:pt x="228" y="306"/>
                  <a:pt x="228" y="306"/>
                  <a:pt x="229" y="306"/>
                </a:cubicBezTo>
                <a:cubicBezTo>
                  <a:pt x="229" y="306"/>
                  <a:pt x="229" y="306"/>
                  <a:pt x="230" y="307"/>
                </a:cubicBezTo>
                <a:cubicBezTo>
                  <a:pt x="230" y="307"/>
                  <a:pt x="230" y="306"/>
                  <a:pt x="231" y="306"/>
                </a:cubicBezTo>
                <a:cubicBezTo>
                  <a:pt x="231" y="306"/>
                  <a:pt x="231" y="306"/>
                  <a:pt x="231" y="306"/>
                </a:cubicBezTo>
                <a:cubicBezTo>
                  <a:pt x="231" y="306"/>
                  <a:pt x="231" y="306"/>
                  <a:pt x="231" y="306"/>
                </a:cubicBezTo>
                <a:cubicBezTo>
                  <a:pt x="231" y="305"/>
                  <a:pt x="231" y="305"/>
                  <a:pt x="231" y="305"/>
                </a:cubicBezTo>
                <a:cubicBezTo>
                  <a:pt x="231" y="305"/>
                  <a:pt x="231" y="305"/>
                  <a:pt x="231" y="304"/>
                </a:cubicBezTo>
                <a:cubicBezTo>
                  <a:pt x="231" y="304"/>
                  <a:pt x="230" y="304"/>
                  <a:pt x="230" y="304"/>
                </a:cubicBezTo>
                <a:close/>
                <a:moveTo>
                  <a:pt x="240" y="312"/>
                </a:moveTo>
                <a:cubicBezTo>
                  <a:pt x="240" y="312"/>
                  <a:pt x="240" y="313"/>
                  <a:pt x="240" y="313"/>
                </a:cubicBezTo>
                <a:cubicBezTo>
                  <a:pt x="240" y="313"/>
                  <a:pt x="240" y="313"/>
                  <a:pt x="240" y="314"/>
                </a:cubicBezTo>
                <a:cubicBezTo>
                  <a:pt x="240" y="314"/>
                  <a:pt x="240" y="314"/>
                  <a:pt x="241" y="314"/>
                </a:cubicBezTo>
                <a:cubicBezTo>
                  <a:pt x="241" y="313"/>
                  <a:pt x="241" y="313"/>
                  <a:pt x="242" y="313"/>
                </a:cubicBezTo>
                <a:cubicBezTo>
                  <a:pt x="242" y="313"/>
                  <a:pt x="242" y="312"/>
                  <a:pt x="242" y="312"/>
                </a:cubicBezTo>
                <a:cubicBezTo>
                  <a:pt x="242" y="312"/>
                  <a:pt x="241" y="311"/>
                  <a:pt x="241" y="311"/>
                </a:cubicBezTo>
                <a:cubicBezTo>
                  <a:pt x="241" y="311"/>
                  <a:pt x="241" y="312"/>
                  <a:pt x="240" y="312"/>
                </a:cubicBezTo>
                <a:close/>
                <a:moveTo>
                  <a:pt x="233" y="312"/>
                </a:moveTo>
                <a:cubicBezTo>
                  <a:pt x="233" y="312"/>
                  <a:pt x="233" y="311"/>
                  <a:pt x="233" y="311"/>
                </a:cubicBezTo>
                <a:cubicBezTo>
                  <a:pt x="234" y="311"/>
                  <a:pt x="234" y="310"/>
                  <a:pt x="234" y="310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35" y="309"/>
                  <a:pt x="235" y="309"/>
                  <a:pt x="235" y="309"/>
                </a:cubicBezTo>
                <a:cubicBezTo>
                  <a:pt x="235" y="308"/>
                  <a:pt x="236" y="308"/>
                  <a:pt x="236" y="308"/>
                </a:cubicBezTo>
                <a:cubicBezTo>
                  <a:pt x="236" y="308"/>
                  <a:pt x="236" y="308"/>
                  <a:pt x="236" y="307"/>
                </a:cubicBezTo>
                <a:cubicBezTo>
                  <a:pt x="236" y="307"/>
                  <a:pt x="236" y="307"/>
                  <a:pt x="236" y="307"/>
                </a:cubicBezTo>
                <a:cubicBezTo>
                  <a:pt x="235" y="306"/>
                  <a:pt x="235" y="305"/>
                  <a:pt x="235" y="304"/>
                </a:cubicBezTo>
                <a:cubicBezTo>
                  <a:pt x="235" y="304"/>
                  <a:pt x="235" y="304"/>
                  <a:pt x="235" y="304"/>
                </a:cubicBezTo>
                <a:cubicBezTo>
                  <a:pt x="235" y="304"/>
                  <a:pt x="235" y="305"/>
                  <a:pt x="236" y="305"/>
                </a:cubicBezTo>
                <a:cubicBezTo>
                  <a:pt x="236" y="306"/>
                  <a:pt x="236" y="306"/>
                  <a:pt x="236" y="307"/>
                </a:cubicBezTo>
                <a:cubicBezTo>
                  <a:pt x="236" y="307"/>
                  <a:pt x="237" y="307"/>
                  <a:pt x="237" y="307"/>
                </a:cubicBezTo>
                <a:cubicBezTo>
                  <a:pt x="237" y="306"/>
                  <a:pt x="237" y="306"/>
                  <a:pt x="237" y="305"/>
                </a:cubicBezTo>
                <a:cubicBezTo>
                  <a:pt x="236" y="305"/>
                  <a:pt x="236" y="304"/>
                  <a:pt x="236" y="303"/>
                </a:cubicBezTo>
                <a:cubicBezTo>
                  <a:pt x="235" y="303"/>
                  <a:pt x="235" y="303"/>
                  <a:pt x="235" y="303"/>
                </a:cubicBezTo>
                <a:cubicBezTo>
                  <a:pt x="234" y="303"/>
                  <a:pt x="234" y="303"/>
                  <a:pt x="233" y="303"/>
                </a:cubicBezTo>
                <a:cubicBezTo>
                  <a:pt x="233" y="302"/>
                  <a:pt x="233" y="302"/>
                  <a:pt x="233" y="302"/>
                </a:cubicBezTo>
                <a:cubicBezTo>
                  <a:pt x="233" y="302"/>
                  <a:pt x="233" y="302"/>
                  <a:pt x="232" y="302"/>
                </a:cubicBezTo>
                <a:cubicBezTo>
                  <a:pt x="232" y="302"/>
                  <a:pt x="232" y="303"/>
                  <a:pt x="232" y="303"/>
                </a:cubicBezTo>
                <a:cubicBezTo>
                  <a:pt x="232" y="304"/>
                  <a:pt x="232" y="305"/>
                  <a:pt x="233" y="305"/>
                </a:cubicBezTo>
                <a:cubicBezTo>
                  <a:pt x="232" y="306"/>
                  <a:pt x="232" y="306"/>
                  <a:pt x="232" y="307"/>
                </a:cubicBezTo>
                <a:cubicBezTo>
                  <a:pt x="232" y="307"/>
                  <a:pt x="232" y="307"/>
                  <a:pt x="232" y="308"/>
                </a:cubicBezTo>
                <a:cubicBezTo>
                  <a:pt x="233" y="308"/>
                  <a:pt x="233" y="308"/>
                  <a:pt x="233" y="308"/>
                </a:cubicBezTo>
                <a:cubicBezTo>
                  <a:pt x="233" y="308"/>
                  <a:pt x="233" y="308"/>
                  <a:pt x="233" y="308"/>
                </a:cubicBezTo>
                <a:cubicBezTo>
                  <a:pt x="233" y="308"/>
                  <a:pt x="233" y="309"/>
                  <a:pt x="234" y="309"/>
                </a:cubicBezTo>
                <a:cubicBezTo>
                  <a:pt x="233" y="309"/>
                  <a:pt x="233" y="309"/>
                  <a:pt x="232" y="309"/>
                </a:cubicBezTo>
                <a:cubicBezTo>
                  <a:pt x="232" y="309"/>
                  <a:pt x="232" y="310"/>
                  <a:pt x="232" y="310"/>
                </a:cubicBezTo>
                <a:cubicBezTo>
                  <a:pt x="232" y="310"/>
                  <a:pt x="232" y="310"/>
                  <a:pt x="232" y="311"/>
                </a:cubicBezTo>
                <a:cubicBezTo>
                  <a:pt x="232" y="311"/>
                  <a:pt x="232" y="311"/>
                  <a:pt x="232" y="312"/>
                </a:cubicBezTo>
                <a:cubicBezTo>
                  <a:pt x="232" y="312"/>
                  <a:pt x="232" y="312"/>
                  <a:pt x="233" y="312"/>
                </a:cubicBezTo>
                <a:close/>
                <a:moveTo>
                  <a:pt x="243" y="321"/>
                </a:moveTo>
                <a:cubicBezTo>
                  <a:pt x="244" y="321"/>
                  <a:pt x="244" y="321"/>
                  <a:pt x="244" y="321"/>
                </a:cubicBezTo>
                <a:cubicBezTo>
                  <a:pt x="244" y="321"/>
                  <a:pt x="244" y="321"/>
                  <a:pt x="244" y="322"/>
                </a:cubicBezTo>
                <a:cubicBezTo>
                  <a:pt x="244" y="321"/>
                  <a:pt x="245" y="321"/>
                  <a:pt x="245" y="321"/>
                </a:cubicBezTo>
                <a:cubicBezTo>
                  <a:pt x="245" y="321"/>
                  <a:pt x="244" y="320"/>
                  <a:pt x="244" y="320"/>
                </a:cubicBezTo>
                <a:cubicBezTo>
                  <a:pt x="244" y="321"/>
                  <a:pt x="244" y="321"/>
                  <a:pt x="243" y="321"/>
                </a:cubicBezTo>
                <a:close/>
                <a:moveTo>
                  <a:pt x="235" y="320"/>
                </a:moveTo>
                <a:cubicBezTo>
                  <a:pt x="235" y="320"/>
                  <a:pt x="236" y="320"/>
                  <a:pt x="236" y="320"/>
                </a:cubicBezTo>
                <a:cubicBezTo>
                  <a:pt x="236" y="320"/>
                  <a:pt x="236" y="320"/>
                  <a:pt x="236" y="320"/>
                </a:cubicBezTo>
                <a:cubicBezTo>
                  <a:pt x="236" y="320"/>
                  <a:pt x="236" y="320"/>
                  <a:pt x="236" y="320"/>
                </a:cubicBezTo>
                <a:cubicBezTo>
                  <a:pt x="236" y="320"/>
                  <a:pt x="235" y="320"/>
                  <a:pt x="235" y="320"/>
                </a:cubicBezTo>
                <a:close/>
                <a:moveTo>
                  <a:pt x="237" y="325"/>
                </a:moveTo>
                <a:cubicBezTo>
                  <a:pt x="237" y="324"/>
                  <a:pt x="237" y="324"/>
                  <a:pt x="237" y="324"/>
                </a:cubicBezTo>
                <a:cubicBezTo>
                  <a:pt x="237" y="324"/>
                  <a:pt x="237" y="324"/>
                  <a:pt x="236" y="324"/>
                </a:cubicBezTo>
                <a:cubicBezTo>
                  <a:pt x="236" y="325"/>
                  <a:pt x="236" y="325"/>
                  <a:pt x="236" y="325"/>
                </a:cubicBezTo>
                <a:cubicBezTo>
                  <a:pt x="236" y="325"/>
                  <a:pt x="236" y="325"/>
                  <a:pt x="237" y="325"/>
                </a:cubicBezTo>
                <a:cubicBezTo>
                  <a:pt x="237" y="325"/>
                  <a:pt x="237" y="325"/>
                  <a:pt x="237" y="325"/>
                </a:cubicBezTo>
                <a:close/>
                <a:moveTo>
                  <a:pt x="235" y="318"/>
                </a:moveTo>
                <a:cubicBezTo>
                  <a:pt x="235" y="318"/>
                  <a:pt x="235" y="317"/>
                  <a:pt x="235" y="317"/>
                </a:cubicBezTo>
                <a:cubicBezTo>
                  <a:pt x="235" y="317"/>
                  <a:pt x="235" y="317"/>
                  <a:pt x="235" y="317"/>
                </a:cubicBezTo>
                <a:cubicBezTo>
                  <a:pt x="235" y="316"/>
                  <a:pt x="235" y="315"/>
                  <a:pt x="236" y="315"/>
                </a:cubicBezTo>
                <a:cubicBezTo>
                  <a:pt x="236" y="314"/>
                  <a:pt x="236" y="314"/>
                  <a:pt x="236" y="313"/>
                </a:cubicBezTo>
                <a:cubicBezTo>
                  <a:pt x="236" y="313"/>
                  <a:pt x="236" y="313"/>
                  <a:pt x="235" y="313"/>
                </a:cubicBezTo>
                <a:cubicBezTo>
                  <a:pt x="235" y="313"/>
                  <a:pt x="235" y="313"/>
                  <a:pt x="235" y="314"/>
                </a:cubicBezTo>
                <a:cubicBezTo>
                  <a:pt x="235" y="313"/>
                  <a:pt x="235" y="313"/>
                  <a:pt x="235" y="313"/>
                </a:cubicBezTo>
                <a:cubicBezTo>
                  <a:pt x="235" y="313"/>
                  <a:pt x="235" y="313"/>
                  <a:pt x="235" y="312"/>
                </a:cubicBezTo>
                <a:cubicBezTo>
                  <a:pt x="235" y="312"/>
                  <a:pt x="234" y="312"/>
                  <a:pt x="234" y="312"/>
                </a:cubicBezTo>
                <a:cubicBezTo>
                  <a:pt x="234" y="312"/>
                  <a:pt x="233" y="312"/>
                  <a:pt x="233" y="312"/>
                </a:cubicBezTo>
                <a:cubicBezTo>
                  <a:pt x="233" y="312"/>
                  <a:pt x="233" y="313"/>
                  <a:pt x="234" y="313"/>
                </a:cubicBezTo>
                <a:cubicBezTo>
                  <a:pt x="233" y="313"/>
                  <a:pt x="233" y="313"/>
                  <a:pt x="232" y="313"/>
                </a:cubicBezTo>
                <a:cubicBezTo>
                  <a:pt x="232" y="313"/>
                  <a:pt x="232" y="313"/>
                  <a:pt x="232" y="314"/>
                </a:cubicBezTo>
                <a:cubicBezTo>
                  <a:pt x="232" y="314"/>
                  <a:pt x="232" y="314"/>
                  <a:pt x="232" y="314"/>
                </a:cubicBezTo>
                <a:cubicBezTo>
                  <a:pt x="233" y="314"/>
                  <a:pt x="233" y="314"/>
                  <a:pt x="233" y="314"/>
                </a:cubicBezTo>
                <a:cubicBezTo>
                  <a:pt x="233" y="315"/>
                  <a:pt x="233" y="315"/>
                  <a:pt x="233" y="315"/>
                </a:cubicBezTo>
                <a:cubicBezTo>
                  <a:pt x="233" y="315"/>
                  <a:pt x="233" y="315"/>
                  <a:pt x="234" y="315"/>
                </a:cubicBezTo>
                <a:cubicBezTo>
                  <a:pt x="234" y="316"/>
                  <a:pt x="234" y="316"/>
                  <a:pt x="234" y="316"/>
                </a:cubicBezTo>
                <a:cubicBezTo>
                  <a:pt x="234" y="316"/>
                  <a:pt x="234" y="316"/>
                  <a:pt x="233" y="317"/>
                </a:cubicBezTo>
                <a:cubicBezTo>
                  <a:pt x="233" y="317"/>
                  <a:pt x="233" y="316"/>
                  <a:pt x="233" y="316"/>
                </a:cubicBezTo>
                <a:cubicBezTo>
                  <a:pt x="233" y="317"/>
                  <a:pt x="232" y="317"/>
                  <a:pt x="232" y="317"/>
                </a:cubicBezTo>
                <a:cubicBezTo>
                  <a:pt x="233" y="317"/>
                  <a:pt x="233" y="317"/>
                  <a:pt x="233" y="317"/>
                </a:cubicBezTo>
                <a:cubicBezTo>
                  <a:pt x="233" y="318"/>
                  <a:pt x="233" y="318"/>
                  <a:pt x="232" y="318"/>
                </a:cubicBezTo>
                <a:cubicBezTo>
                  <a:pt x="232" y="318"/>
                  <a:pt x="232" y="319"/>
                  <a:pt x="233" y="319"/>
                </a:cubicBezTo>
                <a:cubicBezTo>
                  <a:pt x="233" y="319"/>
                  <a:pt x="233" y="319"/>
                  <a:pt x="233" y="319"/>
                </a:cubicBezTo>
                <a:cubicBezTo>
                  <a:pt x="233" y="318"/>
                  <a:pt x="233" y="318"/>
                  <a:pt x="233" y="317"/>
                </a:cubicBezTo>
                <a:cubicBezTo>
                  <a:pt x="233" y="318"/>
                  <a:pt x="233" y="318"/>
                  <a:pt x="234" y="318"/>
                </a:cubicBezTo>
                <a:cubicBezTo>
                  <a:pt x="234" y="318"/>
                  <a:pt x="234" y="318"/>
                  <a:pt x="234" y="318"/>
                </a:cubicBezTo>
                <a:cubicBezTo>
                  <a:pt x="234" y="318"/>
                  <a:pt x="234" y="318"/>
                  <a:pt x="235" y="318"/>
                </a:cubicBezTo>
                <a:close/>
                <a:moveTo>
                  <a:pt x="238" y="327"/>
                </a:moveTo>
                <a:cubicBezTo>
                  <a:pt x="238" y="327"/>
                  <a:pt x="238" y="328"/>
                  <a:pt x="238" y="328"/>
                </a:cubicBezTo>
                <a:cubicBezTo>
                  <a:pt x="238" y="327"/>
                  <a:pt x="238" y="327"/>
                  <a:pt x="239" y="326"/>
                </a:cubicBezTo>
                <a:cubicBezTo>
                  <a:pt x="238" y="326"/>
                  <a:pt x="238" y="326"/>
                  <a:pt x="237" y="326"/>
                </a:cubicBezTo>
                <a:cubicBezTo>
                  <a:pt x="237" y="326"/>
                  <a:pt x="237" y="326"/>
                  <a:pt x="237" y="325"/>
                </a:cubicBezTo>
                <a:cubicBezTo>
                  <a:pt x="237" y="325"/>
                  <a:pt x="237" y="325"/>
                  <a:pt x="237" y="325"/>
                </a:cubicBezTo>
                <a:cubicBezTo>
                  <a:pt x="236" y="326"/>
                  <a:pt x="236" y="326"/>
                  <a:pt x="236" y="326"/>
                </a:cubicBezTo>
                <a:cubicBezTo>
                  <a:pt x="236" y="326"/>
                  <a:pt x="236" y="326"/>
                  <a:pt x="236" y="326"/>
                </a:cubicBezTo>
                <a:cubicBezTo>
                  <a:pt x="236" y="326"/>
                  <a:pt x="237" y="327"/>
                  <a:pt x="237" y="327"/>
                </a:cubicBezTo>
                <a:cubicBezTo>
                  <a:pt x="237" y="327"/>
                  <a:pt x="237" y="327"/>
                  <a:pt x="238" y="327"/>
                </a:cubicBezTo>
                <a:close/>
                <a:moveTo>
                  <a:pt x="236" y="318"/>
                </a:moveTo>
                <a:cubicBezTo>
                  <a:pt x="236" y="318"/>
                  <a:pt x="237" y="318"/>
                  <a:pt x="237" y="318"/>
                </a:cubicBezTo>
                <a:cubicBezTo>
                  <a:pt x="237" y="318"/>
                  <a:pt x="237" y="318"/>
                  <a:pt x="237" y="317"/>
                </a:cubicBezTo>
                <a:cubicBezTo>
                  <a:pt x="237" y="317"/>
                  <a:pt x="237" y="317"/>
                  <a:pt x="236" y="317"/>
                </a:cubicBezTo>
                <a:cubicBezTo>
                  <a:pt x="236" y="318"/>
                  <a:pt x="236" y="318"/>
                  <a:pt x="235" y="318"/>
                </a:cubicBezTo>
                <a:cubicBezTo>
                  <a:pt x="235" y="318"/>
                  <a:pt x="235" y="319"/>
                  <a:pt x="235" y="319"/>
                </a:cubicBezTo>
                <a:cubicBezTo>
                  <a:pt x="235" y="319"/>
                  <a:pt x="235" y="319"/>
                  <a:pt x="236" y="319"/>
                </a:cubicBezTo>
                <a:cubicBezTo>
                  <a:pt x="236" y="319"/>
                  <a:pt x="236" y="319"/>
                  <a:pt x="236" y="318"/>
                </a:cubicBezTo>
                <a:close/>
                <a:moveTo>
                  <a:pt x="232" y="320"/>
                </a:moveTo>
                <a:cubicBezTo>
                  <a:pt x="232" y="320"/>
                  <a:pt x="232" y="320"/>
                  <a:pt x="233" y="320"/>
                </a:cubicBezTo>
                <a:cubicBezTo>
                  <a:pt x="232" y="320"/>
                  <a:pt x="232" y="320"/>
                  <a:pt x="232" y="320"/>
                </a:cubicBezTo>
                <a:cubicBezTo>
                  <a:pt x="232" y="320"/>
                  <a:pt x="232" y="320"/>
                  <a:pt x="232" y="320"/>
                </a:cubicBezTo>
                <a:close/>
                <a:moveTo>
                  <a:pt x="239" y="310"/>
                </a:moveTo>
                <a:cubicBezTo>
                  <a:pt x="238" y="310"/>
                  <a:pt x="238" y="310"/>
                  <a:pt x="238" y="311"/>
                </a:cubicBezTo>
                <a:cubicBezTo>
                  <a:pt x="237" y="310"/>
                  <a:pt x="237" y="310"/>
                  <a:pt x="236" y="310"/>
                </a:cubicBezTo>
                <a:cubicBezTo>
                  <a:pt x="236" y="310"/>
                  <a:pt x="235" y="311"/>
                  <a:pt x="235" y="311"/>
                </a:cubicBezTo>
                <a:cubicBezTo>
                  <a:pt x="235" y="311"/>
                  <a:pt x="235" y="311"/>
                  <a:pt x="235" y="311"/>
                </a:cubicBezTo>
                <a:cubicBezTo>
                  <a:pt x="235" y="311"/>
                  <a:pt x="235" y="311"/>
                  <a:pt x="236" y="312"/>
                </a:cubicBezTo>
                <a:cubicBezTo>
                  <a:pt x="236" y="312"/>
                  <a:pt x="236" y="312"/>
                  <a:pt x="236" y="312"/>
                </a:cubicBezTo>
                <a:cubicBezTo>
                  <a:pt x="236" y="312"/>
                  <a:pt x="236" y="312"/>
                  <a:pt x="237" y="312"/>
                </a:cubicBezTo>
                <a:cubicBezTo>
                  <a:pt x="237" y="312"/>
                  <a:pt x="237" y="313"/>
                  <a:pt x="236" y="313"/>
                </a:cubicBezTo>
                <a:cubicBezTo>
                  <a:pt x="236" y="313"/>
                  <a:pt x="236" y="314"/>
                  <a:pt x="236" y="315"/>
                </a:cubicBezTo>
                <a:cubicBezTo>
                  <a:pt x="237" y="315"/>
                  <a:pt x="237" y="315"/>
                  <a:pt x="237" y="315"/>
                </a:cubicBezTo>
                <a:cubicBezTo>
                  <a:pt x="237" y="315"/>
                  <a:pt x="237" y="315"/>
                  <a:pt x="237" y="315"/>
                </a:cubicBezTo>
                <a:cubicBezTo>
                  <a:pt x="238" y="315"/>
                  <a:pt x="238" y="315"/>
                  <a:pt x="238" y="314"/>
                </a:cubicBezTo>
                <a:cubicBezTo>
                  <a:pt x="238" y="315"/>
                  <a:pt x="238" y="315"/>
                  <a:pt x="238" y="315"/>
                </a:cubicBezTo>
                <a:cubicBezTo>
                  <a:pt x="239" y="314"/>
                  <a:pt x="239" y="314"/>
                  <a:pt x="239" y="314"/>
                </a:cubicBezTo>
                <a:cubicBezTo>
                  <a:pt x="239" y="314"/>
                  <a:pt x="238" y="314"/>
                  <a:pt x="238" y="314"/>
                </a:cubicBezTo>
                <a:cubicBezTo>
                  <a:pt x="238" y="313"/>
                  <a:pt x="238" y="313"/>
                  <a:pt x="238" y="313"/>
                </a:cubicBezTo>
                <a:cubicBezTo>
                  <a:pt x="238" y="313"/>
                  <a:pt x="238" y="313"/>
                  <a:pt x="238" y="312"/>
                </a:cubicBezTo>
                <a:cubicBezTo>
                  <a:pt x="238" y="312"/>
                  <a:pt x="239" y="312"/>
                  <a:pt x="239" y="312"/>
                </a:cubicBezTo>
                <a:cubicBezTo>
                  <a:pt x="239" y="312"/>
                  <a:pt x="239" y="313"/>
                  <a:pt x="239" y="313"/>
                </a:cubicBezTo>
                <a:cubicBezTo>
                  <a:pt x="239" y="313"/>
                  <a:pt x="240" y="313"/>
                  <a:pt x="240" y="313"/>
                </a:cubicBezTo>
                <a:cubicBezTo>
                  <a:pt x="240" y="312"/>
                  <a:pt x="240" y="312"/>
                  <a:pt x="240" y="311"/>
                </a:cubicBezTo>
                <a:cubicBezTo>
                  <a:pt x="240" y="311"/>
                  <a:pt x="240" y="311"/>
                  <a:pt x="240" y="311"/>
                </a:cubicBezTo>
                <a:cubicBezTo>
                  <a:pt x="239" y="310"/>
                  <a:pt x="239" y="310"/>
                  <a:pt x="239" y="310"/>
                </a:cubicBezTo>
                <a:close/>
                <a:moveTo>
                  <a:pt x="231" y="312"/>
                </a:moveTo>
                <a:cubicBezTo>
                  <a:pt x="231" y="311"/>
                  <a:pt x="231" y="311"/>
                  <a:pt x="231" y="311"/>
                </a:cubicBezTo>
                <a:cubicBezTo>
                  <a:pt x="230" y="310"/>
                  <a:pt x="230" y="310"/>
                  <a:pt x="230" y="310"/>
                </a:cubicBezTo>
                <a:cubicBezTo>
                  <a:pt x="229" y="310"/>
                  <a:pt x="229" y="310"/>
                  <a:pt x="229" y="310"/>
                </a:cubicBezTo>
                <a:cubicBezTo>
                  <a:pt x="229" y="310"/>
                  <a:pt x="229" y="310"/>
                  <a:pt x="229" y="310"/>
                </a:cubicBezTo>
                <a:cubicBezTo>
                  <a:pt x="228" y="311"/>
                  <a:pt x="228" y="311"/>
                  <a:pt x="228" y="311"/>
                </a:cubicBezTo>
                <a:cubicBezTo>
                  <a:pt x="228" y="311"/>
                  <a:pt x="228" y="311"/>
                  <a:pt x="228" y="311"/>
                </a:cubicBezTo>
                <a:cubicBezTo>
                  <a:pt x="229" y="311"/>
                  <a:pt x="229" y="312"/>
                  <a:pt x="229" y="312"/>
                </a:cubicBezTo>
                <a:cubicBezTo>
                  <a:pt x="229" y="312"/>
                  <a:pt x="229" y="312"/>
                  <a:pt x="229" y="312"/>
                </a:cubicBezTo>
                <a:cubicBezTo>
                  <a:pt x="229" y="312"/>
                  <a:pt x="229" y="313"/>
                  <a:pt x="229" y="313"/>
                </a:cubicBezTo>
                <a:cubicBezTo>
                  <a:pt x="229" y="313"/>
                  <a:pt x="229" y="313"/>
                  <a:pt x="229" y="314"/>
                </a:cubicBezTo>
                <a:cubicBezTo>
                  <a:pt x="228" y="314"/>
                  <a:pt x="228" y="314"/>
                  <a:pt x="228" y="314"/>
                </a:cubicBezTo>
                <a:cubicBezTo>
                  <a:pt x="228" y="314"/>
                  <a:pt x="228" y="314"/>
                  <a:pt x="228" y="314"/>
                </a:cubicBezTo>
                <a:cubicBezTo>
                  <a:pt x="228" y="314"/>
                  <a:pt x="229" y="314"/>
                  <a:pt x="229" y="314"/>
                </a:cubicBezTo>
                <a:cubicBezTo>
                  <a:pt x="229" y="314"/>
                  <a:pt x="229" y="314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30" y="315"/>
                  <a:pt x="230" y="315"/>
                </a:cubicBezTo>
                <a:cubicBezTo>
                  <a:pt x="230" y="315"/>
                  <a:pt x="230" y="315"/>
                  <a:pt x="230" y="315"/>
                </a:cubicBezTo>
                <a:cubicBezTo>
                  <a:pt x="230" y="315"/>
                  <a:pt x="230" y="315"/>
                  <a:pt x="230" y="315"/>
                </a:cubicBezTo>
                <a:cubicBezTo>
                  <a:pt x="229" y="316"/>
                  <a:pt x="229" y="316"/>
                  <a:pt x="229" y="316"/>
                </a:cubicBezTo>
                <a:cubicBezTo>
                  <a:pt x="229" y="316"/>
                  <a:pt x="229" y="316"/>
                  <a:pt x="229" y="316"/>
                </a:cubicBezTo>
                <a:cubicBezTo>
                  <a:pt x="229" y="317"/>
                  <a:pt x="229" y="317"/>
                  <a:pt x="229" y="317"/>
                </a:cubicBezTo>
                <a:cubicBezTo>
                  <a:pt x="230" y="317"/>
                  <a:pt x="230" y="317"/>
                  <a:pt x="230" y="317"/>
                </a:cubicBezTo>
                <a:cubicBezTo>
                  <a:pt x="230" y="317"/>
                  <a:pt x="230" y="318"/>
                  <a:pt x="230" y="318"/>
                </a:cubicBezTo>
                <a:cubicBezTo>
                  <a:pt x="230" y="318"/>
                  <a:pt x="230" y="318"/>
                  <a:pt x="230" y="318"/>
                </a:cubicBezTo>
                <a:cubicBezTo>
                  <a:pt x="231" y="318"/>
                  <a:pt x="231" y="318"/>
                  <a:pt x="231" y="318"/>
                </a:cubicBezTo>
                <a:cubicBezTo>
                  <a:pt x="231" y="318"/>
                  <a:pt x="231" y="318"/>
                  <a:pt x="231" y="317"/>
                </a:cubicBezTo>
                <a:cubicBezTo>
                  <a:pt x="231" y="317"/>
                  <a:pt x="231" y="317"/>
                  <a:pt x="231" y="316"/>
                </a:cubicBezTo>
                <a:cubicBezTo>
                  <a:pt x="231" y="316"/>
                  <a:pt x="231" y="316"/>
                  <a:pt x="231" y="315"/>
                </a:cubicBezTo>
                <a:cubicBezTo>
                  <a:pt x="231" y="315"/>
                  <a:pt x="231" y="315"/>
                  <a:pt x="231" y="315"/>
                </a:cubicBezTo>
                <a:cubicBezTo>
                  <a:pt x="231" y="314"/>
                  <a:pt x="231" y="314"/>
                  <a:pt x="231" y="313"/>
                </a:cubicBezTo>
                <a:cubicBezTo>
                  <a:pt x="231" y="313"/>
                  <a:pt x="231" y="313"/>
                  <a:pt x="231" y="313"/>
                </a:cubicBezTo>
                <a:cubicBezTo>
                  <a:pt x="231" y="313"/>
                  <a:pt x="231" y="312"/>
                  <a:pt x="231" y="312"/>
                </a:cubicBezTo>
                <a:close/>
                <a:moveTo>
                  <a:pt x="236" y="323"/>
                </a:moveTo>
                <a:cubicBezTo>
                  <a:pt x="235" y="324"/>
                  <a:pt x="235" y="324"/>
                  <a:pt x="235" y="324"/>
                </a:cubicBezTo>
                <a:cubicBezTo>
                  <a:pt x="235" y="324"/>
                  <a:pt x="236" y="324"/>
                  <a:pt x="236" y="324"/>
                </a:cubicBezTo>
                <a:cubicBezTo>
                  <a:pt x="236" y="324"/>
                  <a:pt x="236" y="324"/>
                  <a:pt x="236" y="323"/>
                </a:cubicBezTo>
                <a:close/>
                <a:moveTo>
                  <a:pt x="242" y="316"/>
                </a:moveTo>
                <a:cubicBezTo>
                  <a:pt x="242" y="316"/>
                  <a:pt x="242" y="317"/>
                  <a:pt x="242" y="317"/>
                </a:cubicBezTo>
                <a:cubicBezTo>
                  <a:pt x="242" y="317"/>
                  <a:pt x="242" y="317"/>
                  <a:pt x="243" y="317"/>
                </a:cubicBezTo>
                <a:cubicBezTo>
                  <a:pt x="243" y="317"/>
                  <a:pt x="243" y="317"/>
                  <a:pt x="243" y="316"/>
                </a:cubicBezTo>
                <a:cubicBezTo>
                  <a:pt x="243" y="316"/>
                  <a:pt x="243" y="316"/>
                  <a:pt x="243" y="316"/>
                </a:cubicBezTo>
                <a:cubicBezTo>
                  <a:pt x="243" y="316"/>
                  <a:pt x="243" y="316"/>
                  <a:pt x="242" y="316"/>
                </a:cubicBezTo>
                <a:close/>
                <a:moveTo>
                  <a:pt x="234" y="324"/>
                </a:moveTo>
                <a:cubicBezTo>
                  <a:pt x="234" y="324"/>
                  <a:pt x="235" y="324"/>
                  <a:pt x="235" y="323"/>
                </a:cubicBezTo>
                <a:cubicBezTo>
                  <a:pt x="235" y="323"/>
                  <a:pt x="234" y="323"/>
                  <a:pt x="234" y="323"/>
                </a:cubicBezTo>
                <a:cubicBezTo>
                  <a:pt x="234" y="324"/>
                  <a:pt x="234" y="324"/>
                  <a:pt x="234" y="324"/>
                </a:cubicBezTo>
                <a:close/>
                <a:moveTo>
                  <a:pt x="99" y="366"/>
                </a:moveTo>
                <a:cubicBezTo>
                  <a:pt x="99" y="367"/>
                  <a:pt x="99" y="367"/>
                  <a:pt x="99" y="368"/>
                </a:cubicBezTo>
                <a:cubicBezTo>
                  <a:pt x="99" y="368"/>
                  <a:pt x="99" y="368"/>
                  <a:pt x="99" y="369"/>
                </a:cubicBezTo>
                <a:cubicBezTo>
                  <a:pt x="99" y="368"/>
                  <a:pt x="99" y="368"/>
                  <a:pt x="99" y="368"/>
                </a:cubicBezTo>
                <a:cubicBezTo>
                  <a:pt x="99" y="368"/>
                  <a:pt x="100" y="367"/>
                  <a:pt x="100" y="367"/>
                </a:cubicBezTo>
                <a:cubicBezTo>
                  <a:pt x="100" y="367"/>
                  <a:pt x="100" y="366"/>
                  <a:pt x="100" y="366"/>
                </a:cubicBezTo>
                <a:cubicBezTo>
                  <a:pt x="100" y="366"/>
                  <a:pt x="101" y="366"/>
                  <a:pt x="101" y="365"/>
                </a:cubicBezTo>
                <a:cubicBezTo>
                  <a:pt x="100" y="366"/>
                  <a:pt x="100" y="366"/>
                  <a:pt x="99" y="366"/>
                </a:cubicBezTo>
                <a:cubicBezTo>
                  <a:pt x="99" y="366"/>
                  <a:pt x="99" y="366"/>
                  <a:pt x="99" y="366"/>
                </a:cubicBezTo>
                <a:close/>
                <a:moveTo>
                  <a:pt x="47" y="404"/>
                </a:moveTo>
                <a:cubicBezTo>
                  <a:pt x="46" y="404"/>
                  <a:pt x="46" y="404"/>
                  <a:pt x="46" y="405"/>
                </a:cubicBezTo>
                <a:cubicBezTo>
                  <a:pt x="46" y="404"/>
                  <a:pt x="47" y="404"/>
                  <a:pt x="47" y="404"/>
                </a:cubicBezTo>
                <a:cubicBezTo>
                  <a:pt x="47" y="404"/>
                  <a:pt x="47" y="404"/>
                  <a:pt x="47" y="404"/>
                </a:cubicBezTo>
                <a:close/>
                <a:moveTo>
                  <a:pt x="48" y="404"/>
                </a:moveTo>
                <a:cubicBezTo>
                  <a:pt x="48" y="404"/>
                  <a:pt x="48" y="404"/>
                  <a:pt x="48" y="404"/>
                </a:cubicBezTo>
                <a:cubicBezTo>
                  <a:pt x="49" y="404"/>
                  <a:pt x="49" y="404"/>
                  <a:pt x="49" y="404"/>
                </a:cubicBezTo>
                <a:cubicBezTo>
                  <a:pt x="49" y="404"/>
                  <a:pt x="49" y="404"/>
                  <a:pt x="48" y="404"/>
                </a:cubicBezTo>
                <a:cubicBezTo>
                  <a:pt x="48" y="404"/>
                  <a:pt x="48" y="404"/>
                  <a:pt x="48" y="404"/>
                </a:cubicBezTo>
                <a:close/>
                <a:moveTo>
                  <a:pt x="59" y="395"/>
                </a:moveTo>
                <a:cubicBezTo>
                  <a:pt x="59" y="395"/>
                  <a:pt x="58" y="395"/>
                  <a:pt x="58" y="395"/>
                </a:cubicBezTo>
                <a:cubicBezTo>
                  <a:pt x="58" y="395"/>
                  <a:pt x="58" y="395"/>
                  <a:pt x="58" y="395"/>
                </a:cubicBezTo>
                <a:cubicBezTo>
                  <a:pt x="58" y="395"/>
                  <a:pt x="57" y="395"/>
                  <a:pt x="57" y="395"/>
                </a:cubicBezTo>
                <a:cubicBezTo>
                  <a:pt x="56" y="396"/>
                  <a:pt x="56" y="396"/>
                  <a:pt x="55" y="396"/>
                </a:cubicBezTo>
                <a:cubicBezTo>
                  <a:pt x="55" y="396"/>
                  <a:pt x="55" y="397"/>
                  <a:pt x="56" y="397"/>
                </a:cubicBezTo>
                <a:cubicBezTo>
                  <a:pt x="56" y="397"/>
                  <a:pt x="56" y="397"/>
                  <a:pt x="56" y="397"/>
                </a:cubicBezTo>
                <a:cubicBezTo>
                  <a:pt x="55" y="398"/>
                  <a:pt x="55" y="398"/>
                  <a:pt x="55" y="398"/>
                </a:cubicBezTo>
                <a:cubicBezTo>
                  <a:pt x="54" y="398"/>
                  <a:pt x="54" y="399"/>
                  <a:pt x="54" y="399"/>
                </a:cubicBezTo>
                <a:cubicBezTo>
                  <a:pt x="54" y="399"/>
                  <a:pt x="54" y="400"/>
                  <a:pt x="54" y="400"/>
                </a:cubicBezTo>
                <a:cubicBezTo>
                  <a:pt x="54" y="400"/>
                  <a:pt x="54" y="400"/>
                  <a:pt x="53" y="400"/>
                </a:cubicBezTo>
                <a:cubicBezTo>
                  <a:pt x="53" y="401"/>
                  <a:pt x="53" y="401"/>
                  <a:pt x="53" y="401"/>
                </a:cubicBezTo>
                <a:cubicBezTo>
                  <a:pt x="53" y="401"/>
                  <a:pt x="53" y="402"/>
                  <a:pt x="53" y="402"/>
                </a:cubicBezTo>
                <a:cubicBezTo>
                  <a:pt x="52" y="402"/>
                  <a:pt x="52" y="402"/>
                  <a:pt x="52" y="403"/>
                </a:cubicBezTo>
                <a:cubicBezTo>
                  <a:pt x="52" y="402"/>
                  <a:pt x="53" y="402"/>
                  <a:pt x="54" y="402"/>
                </a:cubicBezTo>
                <a:cubicBezTo>
                  <a:pt x="54" y="401"/>
                  <a:pt x="54" y="401"/>
                  <a:pt x="54" y="400"/>
                </a:cubicBezTo>
                <a:cubicBezTo>
                  <a:pt x="55" y="400"/>
                  <a:pt x="55" y="400"/>
                  <a:pt x="56" y="400"/>
                </a:cubicBezTo>
                <a:cubicBezTo>
                  <a:pt x="56" y="399"/>
                  <a:pt x="56" y="398"/>
                  <a:pt x="57" y="398"/>
                </a:cubicBezTo>
                <a:cubicBezTo>
                  <a:pt x="57" y="397"/>
                  <a:pt x="58" y="397"/>
                  <a:pt x="58" y="396"/>
                </a:cubicBezTo>
                <a:cubicBezTo>
                  <a:pt x="58" y="396"/>
                  <a:pt x="58" y="396"/>
                  <a:pt x="58" y="396"/>
                </a:cubicBezTo>
                <a:cubicBezTo>
                  <a:pt x="58" y="395"/>
                  <a:pt x="59" y="395"/>
                  <a:pt x="59" y="395"/>
                </a:cubicBezTo>
                <a:close/>
                <a:moveTo>
                  <a:pt x="67" y="389"/>
                </a:moveTo>
                <a:cubicBezTo>
                  <a:pt x="67" y="389"/>
                  <a:pt x="67" y="389"/>
                  <a:pt x="67" y="388"/>
                </a:cubicBezTo>
                <a:cubicBezTo>
                  <a:pt x="67" y="388"/>
                  <a:pt x="67" y="388"/>
                  <a:pt x="67" y="388"/>
                </a:cubicBezTo>
                <a:cubicBezTo>
                  <a:pt x="66" y="388"/>
                  <a:pt x="66" y="388"/>
                  <a:pt x="66" y="388"/>
                </a:cubicBezTo>
                <a:cubicBezTo>
                  <a:pt x="65" y="388"/>
                  <a:pt x="65" y="388"/>
                  <a:pt x="65" y="388"/>
                </a:cubicBezTo>
                <a:cubicBezTo>
                  <a:pt x="65" y="388"/>
                  <a:pt x="64" y="388"/>
                  <a:pt x="64" y="388"/>
                </a:cubicBezTo>
                <a:cubicBezTo>
                  <a:pt x="64" y="389"/>
                  <a:pt x="64" y="389"/>
                  <a:pt x="63" y="390"/>
                </a:cubicBezTo>
                <a:cubicBezTo>
                  <a:pt x="63" y="390"/>
                  <a:pt x="64" y="390"/>
                  <a:pt x="64" y="390"/>
                </a:cubicBezTo>
                <a:cubicBezTo>
                  <a:pt x="64" y="390"/>
                  <a:pt x="64" y="390"/>
                  <a:pt x="65" y="390"/>
                </a:cubicBezTo>
                <a:cubicBezTo>
                  <a:pt x="65" y="390"/>
                  <a:pt x="65" y="390"/>
                  <a:pt x="64" y="391"/>
                </a:cubicBezTo>
                <a:cubicBezTo>
                  <a:pt x="64" y="391"/>
                  <a:pt x="64" y="391"/>
                  <a:pt x="63" y="391"/>
                </a:cubicBezTo>
                <a:cubicBezTo>
                  <a:pt x="63" y="391"/>
                  <a:pt x="63" y="391"/>
                  <a:pt x="63" y="392"/>
                </a:cubicBezTo>
                <a:cubicBezTo>
                  <a:pt x="63" y="392"/>
                  <a:pt x="63" y="392"/>
                  <a:pt x="63" y="392"/>
                </a:cubicBezTo>
                <a:cubicBezTo>
                  <a:pt x="63" y="392"/>
                  <a:pt x="63" y="392"/>
                  <a:pt x="62" y="392"/>
                </a:cubicBezTo>
                <a:cubicBezTo>
                  <a:pt x="62" y="393"/>
                  <a:pt x="62" y="393"/>
                  <a:pt x="62" y="394"/>
                </a:cubicBezTo>
                <a:cubicBezTo>
                  <a:pt x="62" y="394"/>
                  <a:pt x="62" y="394"/>
                  <a:pt x="61" y="394"/>
                </a:cubicBezTo>
                <a:cubicBezTo>
                  <a:pt x="61" y="394"/>
                  <a:pt x="61" y="395"/>
                  <a:pt x="60" y="395"/>
                </a:cubicBezTo>
                <a:cubicBezTo>
                  <a:pt x="60" y="395"/>
                  <a:pt x="60" y="395"/>
                  <a:pt x="60" y="396"/>
                </a:cubicBezTo>
                <a:cubicBezTo>
                  <a:pt x="59" y="396"/>
                  <a:pt x="59" y="396"/>
                  <a:pt x="59" y="396"/>
                </a:cubicBezTo>
                <a:cubicBezTo>
                  <a:pt x="59" y="396"/>
                  <a:pt x="60" y="396"/>
                  <a:pt x="60" y="396"/>
                </a:cubicBezTo>
                <a:cubicBezTo>
                  <a:pt x="60" y="396"/>
                  <a:pt x="61" y="395"/>
                  <a:pt x="61" y="395"/>
                </a:cubicBezTo>
                <a:cubicBezTo>
                  <a:pt x="62" y="395"/>
                  <a:pt x="62" y="395"/>
                  <a:pt x="63" y="394"/>
                </a:cubicBezTo>
                <a:cubicBezTo>
                  <a:pt x="63" y="394"/>
                  <a:pt x="63" y="393"/>
                  <a:pt x="63" y="393"/>
                </a:cubicBezTo>
                <a:cubicBezTo>
                  <a:pt x="64" y="393"/>
                  <a:pt x="64" y="393"/>
                  <a:pt x="64" y="393"/>
                </a:cubicBezTo>
                <a:cubicBezTo>
                  <a:pt x="64" y="393"/>
                  <a:pt x="64" y="393"/>
                  <a:pt x="64" y="393"/>
                </a:cubicBezTo>
                <a:cubicBezTo>
                  <a:pt x="64" y="393"/>
                  <a:pt x="64" y="393"/>
                  <a:pt x="64" y="392"/>
                </a:cubicBezTo>
                <a:cubicBezTo>
                  <a:pt x="64" y="392"/>
                  <a:pt x="64" y="392"/>
                  <a:pt x="64" y="392"/>
                </a:cubicBezTo>
                <a:cubicBezTo>
                  <a:pt x="65" y="392"/>
                  <a:pt x="65" y="392"/>
                  <a:pt x="65" y="392"/>
                </a:cubicBezTo>
                <a:cubicBezTo>
                  <a:pt x="65" y="392"/>
                  <a:pt x="65" y="392"/>
                  <a:pt x="66" y="392"/>
                </a:cubicBezTo>
                <a:cubicBezTo>
                  <a:pt x="66" y="392"/>
                  <a:pt x="66" y="391"/>
                  <a:pt x="66" y="391"/>
                </a:cubicBezTo>
                <a:cubicBezTo>
                  <a:pt x="66" y="391"/>
                  <a:pt x="66" y="391"/>
                  <a:pt x="67" y="390"/>
                </a:cubicBezTo>
                <a:cubicBezTo>
                  <a:pt x="67" y="390"/>
                  <a:pt x="67" y="390"/>
                  <a:pt x="68" y="389"/>
                </a:cubicBezTo>
                <a:cubicBezTo>
                  <a:pt x="68" y="389"/>
                  <a:pt x="68" y="389"/>
                  <a:pt x="68" y="389"/>
                </a:cubicBezTo>
                <a:cubicBezTo>
                  <a:pt x="67" y="389"/>
                  <a:pt x="67" y="389"/>
                  <a:pt x="67" y="389"/>
                </a:cubicBezTo>
                <a:close/>
                <a:moveTo>
                  <a:pt x="46" y="406"/>
                </a:moveTo>
                <a:cubicBezTo>
                  <a:pt x="46" y="406"/>
                  <a:pt x="47" y="406"/>
                  <a:pt x="47" y="406"/>
                </a:cubicBezTo>
                <a:cubicBezTo>
                  <a:pt x="47" y="406"/>
                  <a:pt x="47" y="405"/>
                  <a:pt x="47" y="405"/>
                </a:cubicBezTo>
                <a:cubicBezTo>
                  <a:pt x="47" y="405"/>
                  <a:pt x="47" y="405"/>
                  <a:pt x="47" y="405"/>
                </a:cubicBezTo>
                <a:cubicBezTo>
                  <a:pt x="46" y="405"/>
                  <a:pt x="46" y="406"/>
                  <a:pt x="46" y="406"/>
                </a:cubicBezTo>
                <a:close/>
                <a:moveTo>
                  <a:pt x="41" y="410"/>
                </a:moveTo>
                <a:cubicBezTo>
                  <a:pt x="41" y="410"/>
                  <a:pt x="41" y="410"/>
                  <a:pt x="42" y="410"/>
                </a:cubicBezTo>
                <a:cubicBezTo>
                  <a:pt x="41" y="410"/>
                  <a:pt x="41" y="409"/>
                  <a:pt x="41" y="409"/>
                </a:cubicBezTo>
                <a:cubicBezTo>
                  <a:pt x="41" y="410"/>
                  <a:pt x="41" y="410"/>
                  <a:pt x="41" y="410"/>
                </a:cubicBezTo>
                <a:close/>
                <a:moveTo>
                  <a:pt x="34" y="414"/>
                </a:moveTo>
                <a:cubicBezTo>
                  <a:pt x="34" y="414"/>
                  <a:pt x="34" y="415"/>
                  <a:pt x="34" y="415"/>
                </a:cubicBezTo>
                <a:cubicBezTo>
                  <a:pt x="34" y="415"/>
                  <a:pt x="35" y="414"/>
                  <a:pt x="35" y="414"/>
                </a:cubicBezTo>
                <a:cubicBezTo>
                  <a:pt x="35" y="414"/>
                  <a:pt x="36" y="413"/>
                  <a:pt x="36" y="413"/>
                </a:cubicBezTo>
                <a:cubicBezTo>
                  <a:pt x="36" y="413"/>
                  <a:pt x="35" y="413"/>
                  <a:pt x="35" y="413"/>
                </a:cubicBezTo>
                <a:cubicBezTo>
                  <a:pt x="34" y="414"/>
                  <a:pt x="34" y="414"/>
                  <a:pt x="34" y="414"/>
                </a:cubicBezTo>
                <a:close/>
                <a:moveTo>
                  <a:pt x="43" y="408"/>
                </a:moveTo>
                <a:cubicBezTo>
                  <a:pt x="43" y="408"/>
                  <a:pt x="43" y="408"/>
                  <a:pt x="43" y="408"/>
                </a:cubicBezTo>
                <a:cubicBezTo>
                  <a:pt x="43" y="408"/>
                  <a:pt x="44" y="408"/>
                  <a:pt x="44" y="407"/>
                </a:cubicBezTo>
                <a:cubicBezTo>
                  <a:pt x="44" y="407"/>
                  <a:pt x="45" y="407"/>
                  <a:pt x="45" y="407"/>
                </a:cubicBezTo>
                <a:cubicBezTo>
                  <a:pt x="44" y="407"/>
                  <a:pt x="44" y="407"/>
                  <a:pt x="44" y="407"/>
                </a:cubicBezTo>
                <a:cubicBezTo>
                  <a:pt x="43" y="407"/>
                  <a:pt x="43" y="407"/>
                  <a:pt x="43" y="408"/>
                </a:cubicBezTo>
                <a:close/>
                <a:moveTo>
                  <a:pt x="73" y="384"/>
                </a:moveTo>
                <a:cubicBezTo>
                  <a:pt x="74" y="384"/>
                  <a:pt x="74" y="384"/>
                  <a:pt x="74" y="384"/>
                </a:cubicBezTo>
                <a:cubicBezTo>
                  <a:pt x="74" y="384"/>
                  <a:pt x="74" y="384"/>
                  <a:pt x="74" y="384"/>
                </a:cubicBezTo>
                <a:cubicBezTo>
                  <a:pt x="74" y="384"/>
                  <a:pt x="75" y="384"/>
                  <a:pt x="75" y="383"/>
                </a:cubicBezTo>
                <a:cubicBezTo>
                  <a:pt x="75" y="383"/>
                  <a:pt x="75" y="383"/>
                  <a:pt x="74" y="383"/>
                </a:cubicBezTo>
                <a:cubicBezTo>
                  <a:pt x="74" y="383"/>
                  <a:pt x="74" y="384"/>
                  <a:pt x="73" y="384"/>
                </a:cubicBezTo>
                <a:close/>
                <a:moveTo>
                  <a:pt x="82" y="375"/>
                </a:moveTo>
                <a:cubicBezTo>
                  <a:pt x="83" y="374"/>
                  <a:pt x="83" y="374"/>
                  <a:pt x="83" y="374"/>
                </a:cubicBezTo>
                <a:cubicBezTo>
                  <a:pt x="82" y="374"/>
                  <a:pt x="82" y="374"/>
                  <a:pt x="82" y="373"/>
                </a:cubicBezTo>
                <a:cubicBezTo>
                  <a:pt x="81" y="374"/>
                  <a:pt x="81" y="374"/>
                  <a:pt x="80" y="374"/>
                </a:cubicBezTo>
                <a:cubicBezTo>
                  <a:pt x="80" y="374"/>
                  <a:pt x="80" y="374"/>
                  <a:pt x="80" y="374"/>
                </a:cubicBezTo>
                <a:cubicBezTo>
                  <a:pt x="80" y="375"/>
                  <a:pt x="80" y="375"/>
                  <a:pt x="79" y="375"/>
                </a:cubicBezTo>
                <a:cubicBezTo>
                  <a:pt x="79" y="375"/>
                  <a:pt x="79" y="375"/>
                  <a:pt x="78" y="376"/>
                </a:cubicBezTo>
                <a:cubicBezTo>
                  <a:pt x="78" y="376"/>
                  <a:pt x="78" y="376"/>
                  <a:pt x="78" y="376"/>
                </a:cubicBezTo>
                <a:cubicBezTo>
                  <a:pt x="78" y="376"/>
                  <a:pt x="77" y="376"/>
                  <a:pt x="77" y="376"/>
                </a:cubicBezTo>
                <a:cubicBezTo>
                  <a:pt x="77" y="376"/>
                  <a:pt x="77" y="376"/>
                  <a:pt x="76" y="376"/>
                </a:cubicBezTo>
                <a:cubicBezTo>
                  <a:pt x="76" y="377"/>
                  <a:pt x="76" y="377"/>
                  <a:pt x="76" y="378"/>
                </a:cubicBezTo>
                <a:cubicBezTo>
                  <a:pt x="76" y="378"/>
                  <a:pt x="76" y="378"/>
                  <a:pt x="76" y="378"/>
                </a:cubicBezTo>
                <a:cubicBezTo>
                  <a:pt x="76" y="378"/>
                  <a:pt x="75" y="379"/>
                  <a:pt x="75" y="379"/>
                </a:cubicBezTo>
                <a:cubicBezTo>
                  <a:pt x="75" y="379"/>
                  <a:pt x="75" y="379"/>
                  <a:pt x="75" y="379"/>
                </a:cubicBezTo>
                <a:cubicBezTo>
                  <a:pt x="75" y="379"/>
                  <a:pt x="74" y="379"/>
                  <a:pt x="74" y="380"/>
                </a:cubicBezTo>
                <a:cubicBezTo>
                  <a:pt x="74" y="380"/>
                  <a:pt x="74" y="380"/>
                  <a:pt x="74" y="380"/>
                </a:cubicBezTo>
                <a:cubicBezTo>
                  <a:pt x="75" y="380"/>
                  <a:pt x="75" y="381"/>
                  <a:pt x="75" y="381"/>
                </a:cubicBezTo>
                <a:cubicBezTo>
                  <a:pt x="75" y="381"/>
                  <a:pt x="76" y="381"/>
                  <a:pt x="76" y="381"/>
                </a:cubicBezTo>
                <a:cubicBezTo>
                  <a:pt x="76" y="380"/>
                  <a:pt x="77" y="380"/>
                  <a:pt x="77" y="380"/>
                </a:cubicBezTo>
                <a:cubicBezTo>
                  <a:pt x="77" y="380"/>
                  <a:pt x="77" y="380"/>
                  <a:pt x="77" y="380"/>
                </a:cubicBezTo>
                <a:cubicBezTo>
                  <a:pt x="77" y="379"/>
                  <a:pt x="78" y="379"/>
                  <a:pt x="78" y="379"/>
                </a:cubicBezTo>
                <a:cubicBezTo>
                  <a:pt x="79" y="378"/>
                  <a:pt x="79" y="378"/>
                  <a:pt x="80" y="378"/>
                </a:cubicBezTo>
                <a:cubicBezTo>
                  <a:pt x="80" y="377"/>
                  <a:pt x="81" y="377"/>
                  <a:pt x="81" y="377"/>
                </a:cubicBezTo>
                <a:cubicBezTo>
                  <a:pt x="82" y="377"/>
                  <a:pt x="82" y="377"/>
                  <a:pt x="83" y="376"/>
                </a:cubicBezTo>
                <a:cubicBezTo>
                  <a:pt x="83" y="376"/>
                  <a:pt x="83" y="376"/>
                  <a:pt x="83" y="375"/>
                </a:cubicBezTo>
                <a:cubicBezTo>
                  <a:pt x="84" y="375"/>
                  <a:pt x="84" y="375"/>
                  <a:pt x="85" y="375"/>
                </a:cubicBezTo>
                <a:cubicBezTo>
                  <a:pt x="84" y="375"/>
                  <a:pt x="84" y="375"/>
                  <a:pt x="84" y="375"/>
                </a:cubicBezTo>
                <a:cubicBezTo>
                  <a:pt x="84" y="375"/>
                  <a:pt x="83" y="375"/>
                  <a:pt x="82" y="375"/>
                </a:cubicBezTo>
                <a:close/>
                <a:moveTo>
                  <a:pt x="85" y="377"/>
                </a:moveTo>
                <a:cubicBezTo>
                  <a:pt x="85" y="377"/>
                  <a:pt x="86" y="377"/>
                  <a:pt x="86" y="377"/>
                </a:cubicBezTo>
                <a:cubicBezTo>
                  <a:pt x="86" y="377"/>
                  <a:pt x="86" y="377"/>
                  <a:pt x="87" y="376"/>
                </a:cubicBezTo>
                <a:cubicBezTo>
                  <a:pt x="86" y="376"/>
                  <a:pt x="86" y="376"/>
                  <a:pt x="85" y="376"/>
                </a:cubicBezTo>
                <a:cubicBezTo>
                  <a:pt x="85" y="377"/>
                  <a:pt x="85" y="377"/>
                  <a:pt x="85" y="377"/>
                </a:cubicBezTo>
                <a:close/>
                <a:moveTo>
                  <a:pt x="69" y="385"/>
                </a:moveTo>
                <a:cubicBezTo>
                  <a:pt x="69" y="385"/>
                  <a:pt x="68" y="385"/>
                  <a:pt x="68" y="386"/>
                </a:cubicBezTo>
                <a:cubicBezTo>
                  <a:pt x="68" y="386"/>
                  <a:pt x="68" y="386"/>
                  <a:pt x="68" y="386"/>
                </a:cubicBezTo>
                <a:cubicBezTo>
                  <a:pt x="69" y="386"/>
                  <a:pt x="69" y="386"/>
                  <a:pt x="70" y="386"/>
                </a:cubicBezTo>
                <a:cubicBezTo>
                  <a:pt x="70" y="386"/>
                  <a:pt x="70" y="386"/>
                  <a:pt x="70" y="385"/>
                </a:cubicBezTo>
                <a:cubicBezTo>
                  <a:pt x="70" y="385"/>
                  <a:pt x="70" y="385"/>
                  <a:pt x="70" y="385"/>
                </a:cubicBezTo>
                <a:cubicBezTo>
                  <a:pt x="70" y="385"/>
                  <a:pt x="70" y="385"/>
                  <a:pt x="70" y="385"/>
                </a:cubicBezTo>
                <a:cubicBezTo>
                  <a:pt x="70" y="385"/>
                  <a:pt x="69" y="385"/>
                  <a:pt x="69" y="385"/>
                </a:cubicBezTo>
                <a:close/>
                <a:moveTo>
                  <a:pt x="45" y="337"/>
                </a:moveTo>
                <a:cubicBezTo>
                  <a:pt x="45" y="337"/>
                  <a:pt x="45" y="337"/>
                  <a:pt x="45" y="336"/>
                </a:cubicBezTo>
                <a:cubicBezTo>
                  <a:pt x="45" y="336"/>
                  <a:pt x="45" y="336"/>
                  <a:pt x="44" y="336"/>
                </a:cubicBezTo>
                <a:cubicBezTo>
                  <a:pt x="44" y="336"/>
                  <a:pt x="44" y="337"/>
                  <a:pt x="44" y="337"/>
                </a:cubicBezTo>
                <a:cubicBezTo>
                  <a:pt x="44" y="337"/>
                  <a:pt x="44" y="337"/>
                  <a:pt x="45" y="337"/>
                </a:cubicBezTo>
                <a:cubicBezTo>
                  <a:pt x="45" y="337"/>
                  <a:pt x="45" y="338"/>
                  <a:pt x="45" y="338"/>
                </a:cubicBezTo>
                <a:cubicBezTo>
                  <a:pt x="46" y="338"/>
                  <a:pt x="47" y="338"/>
                  <a:pt x="48" y="338"/>
                </a:cubicBezTo>
                <a:cubicBezTo>
                  <a:pt x="47" y="338"/>
                  <a:pt x="47" y="337"/>
                  <a:pt x="47" y="337"/>
                </a:cubicBezTo>
                <a:cubicBezTo>
                  <a:pt x="47" y="337"/>
                  <a:pt x="46" y="337"/>
                  <a:pt x="45" y="337"/>
                </a:cubicBezTo>
                <a:close/>
                <a:moveTo>
                  <a:pt x="71" y="384"/>
                </a:moveTo>
                <a:cubicBezTo>
                  <a:pt x="71" y="384"/>
                  <a:pt x="71" y="384"/>
                  <a:pt x="71" y="384"/>
                </a:cubicBezTo>
                <a:cubicBezTo>
                  <a:pt x="71" y="384"/>
                  <a:pt x="71" y="385"/>
                  <a:pt x="71" y="385"/>
                </a:cubicBezTo>
                <a:cubicBezTo>
                  <a:pt x="71" y="384"/>
                  <a:pt x="72" y="384"/>
                  <a:pt x="72" y="384"/>
                </a:cubicBezTo>
                <a:cubicBezTo>
                  <a:pt x="72" y="384"/>
                  <a:pt x="71" y="384"/>
                  <a:pt x="71" y="383"/>
                </a:cubicBezTo>
                <a:cubicBezTo>
                  <a:pt x="71" y="384"/>
                  <a:pt x="71" y="384"/>
                  <a:pt x="71" y="384"/>
                </a:cubicBezTo>
                <a:close/>
                <a:moveTo>
                  <a:pt x="72" y="385"/>
                </a:moveTo>
                <a:cubicBezTo>
                  <a:pt x="72" y="385"/>
                  <a:pt x="73" y="385"/>
                  <a:pt x="73" y="384"/>
                </a:cubicBezTo>
                <a:cubicBezTo>
                  <a:pt x="73" y="384"/>
                  <a:pt x="73" y="384"/>
                  <a:pt x="72" y="384"/>
                </a:cubicBezTo>
                <a:cubicBezTo>
                  <a:pt x="72" y="385"/>
                  <a:pt x="72" y="385"/>
                  <a:pt x="72" y="385"/>
                </a:cubicBezTo>
                <a:close/>
                <a:moveTo>
                  <a:pt x="45" y="335"/>
                </a:moveTo>
                <a:cubicBezTo>
                  <a:pt x="45" y="335"/>
                  <a:pt x="44" y="335"/>
                  <a:pt x="44" y="335"/>
                </a:cubicBezTo>
                <a:cubicBezTo>
                  <a:pt x="44" y="335"/>
                  <a:pt x="44" y="336"/>
                  <a:pt x="44" y="336"/>
                </a:cubicBezTo>
                <a:cubicBezTo>
                  <a:pt x="44" y="336"/>
                  <a:pt x="44" y="336"/>
                  <a:pt x="44" y="336"/>
                </a:cubicBezTo>
                <a:cubicBezTo>
                  <a:pt x="44" y="336"/>
                  <a:pt x="45" y="336"/>
                  <a:pt x="45" y="335"/>
                </a:cubicBezTo>
                <a:close/>
                <a:moveTo>
                  <a:pt x="73" y="301"/>
                </a:moveTo>
                <a:cubicBezTo>
                  <a:pt x="73" y="301"/>
                  <a:pt x="73" y="301"/>
                  <a:pt x="74" y="301"/>
                </a:cubicBezTo>
                <a:cubicBezTo>
                  <a:pt x="73" y="300"/>
                  <a:pt x="73" y="300"/>
                  <a:pt x="73" y="300"/>
                </a:cubicBezTo>
                <a:cubicBezTo>
                  <a:pt x="72" y="300"/>
                  <a:pt x="71" y="300"/>
                  <a:pt x="70" y="300"/>
                </a:cubicBezTo>
                <a:cubicBezTo>
                  <a:pt x="70" y="300"/>
                  <a:pt x="70" y="300"/>
                  <a:pt x="70" y="299"/>
                </a:cubicBezTo>
                <a:cubicBezTo>
                  <a:pt x="70" y="299"/>
                  <a:pt x="69" y="299"/>
                  <a:pt x="69" y="299"/>
                </a:cubicBezTo>
                <a:cubicBezTo>
                  <a:pt x="68" y="299"/>
                  <a:pt x="68" y="299"/>
                  <a:pt x="68" y="299"/>
                </a:cubicBezTo>
                <a:cubicBezTo>
                  <a:pt x="68" y="299"/>
                  <a:pt x="68" y="298"/>
                  <a:pt x="68" y="298"/>
                </a:cubicBezTo>
                <a:cubicBezTo>
                  <a:pt x="68" y="298"/>
                  <a:pt x="68" y="298"/>
                  <a:pt x="68" y="298"/>
                </a:cubicBezTo>
                <a:cubicBezTo>
                  <a:pt x="67" y="298"/>
                  <a:pt x="67" y="298"/>
                  <a:pt x="67" y="298"/>
                </a:cubicBezTo>
                <a:cubicBezTo>
                  <a:pt x="66" y="298"/>
                  <a:pt x="65" y="298"/>
                  <a:pt x="64" y="298"/>
                </a:cubicBezTo>
                <a:cubicBezTo>
                  <a:pt x="64" y="299"/>
                  <a:pt x="64" y="299"/>
                  <a:pt x="64" y="299"/>
                </a:cubicBezTo>
                <a:cubicBezTo>
                  <a:pt x="64" y="299"/>
                  <a:pt x="63" y="299"/>
                  <a:pt x="63" y="300"/>
                </a:cubicBezTo>
                <a:cubicBezTo>
                  <a:pt x="63" y="299"/>
                  <a:pt x="63" y="299"/>
                  <a:pt x="62" y="299"/>
                </a:cubicBezTo>
                <a:cubicBezTo>
                  <a:pt x="62" y="299"/>
                  <a:pt x="61" y="299"/>
                  <a:pt x="61" y="300"/>
                </a:cubicBezTo>
                <a:cubicBezTo>
                  <a:pt x="61" y="299"/>
                  <a:pt x="61" y="299"/>
                  <a:pt x="61" y="299"/>
                </a:cubicBezTo>
                <a:cubicBezTo>
                  <a:pt x="61" y="298"/>
                  <a:pt x="61" y="298"/>
                  <a:pt x="61" y="298"/>
                </a:cubicBezTo>
                <a:cubicBezTo>
                  <a:pt x="60" y="298"/>
                  <a:pt x="60" y="298"/>
                  <a:pt x="60" y="298"/>
                </a:cubicBezTo>
                <a:cubicBezTo>
                  <a:pt x="60" y="299"/>
                  <a:pt x="60" y="299"/>
                  <a:pt x="60" y="300"/>
                </a:cubicBezTo>
                <a:cubicBezTo>
                  <a:pt x="59" y="301"/>
                  <a:pt x="58" y="301"/>
                  <a:pt x="58" y="302"/>
                </a:cubicBezTo>
                <a:cubicBezTo>
                  <a:pt x="58" y="303"/>
                  <a:pt x="58" y="303"/>
                  <a:pt x="58" y="303"/>
                </a:cubicBezTo>
                <a:cubicBezTo>
                  <a:pt x="59" y="303"/>
                  <a:pt x="59" y="303"/>
                  <a:pt x="60" y="303"/>
                </a:cubicBezTo>
                <a:cubicBezTo>
                  <a:pt x="60" y="303"/>
                  <a:pt x="61" y="303"/>
                  <a:pt x="61" y="303"/>
                </a:cubicBezTo>
                <a:cubicBezTo>
                  <a:pt x="61" y="303"/>
                  <a:pt x="61" y="302"/>
                  <a:pt x="61" y="302"/>
                </a:cubicBezTo>
                <a:cubicBezTo>
                  <a:pt x="62" y="302"/>
                  <a:pt x="62" y="301"/>
                  <a:pt x="63" y="301"/>
                </a:cubicBezTo>
                <a:cubicBezTo>
                  <a:pt x="63" y="301"/>
                  <a:pt x="64" y="301"/>
                  <a:pt x="64" y="301"/>
                </a:cubicBezTo>
                <a:cubicBezTo>
                  <a:pt x="65" y="301"/>
                  <a:pt x="65" y="302"/>
                  <a:pt x="65" y="302"/>
                </a:cubicBezTo>
                <a:cubicBezTo>
                  <a:pt x="65" y="302"/>
                  <a:pt x="65" y="303"/>
                  <a:pt x="65" y="303"/>
                </a:cubicBezTo>
                <a:cubicBezTo>
                  <a:pt x="66" y="303"/>
                  <a:pt x="66" y="303"/>
                  <a:pt x="67" y="303"/>
                </a:cubicBezTo>
                <a:cubicBezTo>
                  <a:pt x="67" y="303"/>
                  <a:pt x="67" y="303"/>
                  <a:pt x="68" y="303"/>
                </a:cubicBezTo>
                <a:cubicBezTo>
                  <a:pt x="67" y="304"/>
                  <a:pt x="67" y="304"/>
                  <a:pt x="67" y="305"/>
                </a:cubicBezTo>
                <a:cubicBezTo>
                  <a:pt x="67" y="305"/>
                  <a:pt x="68" y="305"/>
                  <a:pt x="68" y="305"/>
                </a:cubicBezTo>
                <a:cubicBezTo>
                  <a:pt x="69" y="304"/>
                  <a:pt x="69" y="304"/>
                  <a:pt x="69" y="303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70" y="302"/>
                  <a:pt x="71" y="302"/>
                  <a:pt x="71" y="302"/>
                </a:cubicBezTo>
                <a:cubicBezTo>
                  <a:pt x="71" y="302"/>
                  <a:pt x="71" y="302"/>
                  <a:pt x="71" y="302"/>
                </a:cubicBezTo>
                <a:cubicBezTo>
                  <a:pt x="72" y="302"/>
                  <a:pt x="72" y="301"/>
                  <a:pt x="73" y="301"/>
                </a:cubicBezTo>
                <a:close/>
                <a:moveTo>
                  <a:pt x="72" y="331"/>
                </a:moveTo>
                <a:cubicBezTo>
                  <a:pt x="72" y="331"/>
                  <a:pt x="72" y="331"/>
                  <a:pt x="73" y="332"/>
                </a:cubicBezTo>
                <a:cubicBezTo>
                  <a:pt x="73" y="332"/>
                  <a:pt x="74" y="332"/>
                  <a:pt x="75" y="332"/>
                </a:cubicBezTo>
                <a:cubicBezTo>
                  <a:pt x="75" y="332"/>
                  <a:pt x="75" y="332"/>
                  <a:pt x="76" y="332"/>
                </a:cubicBezTo>
                <a:cubicBezTo>
                  <a:pt x="76" y="332"/>
                  <a:pt x="76" y="332"/>
                  <a:pt x="77" y="332"/>
                </a:cubicBezTo>
                <a:cubicBezTo>
                  <a:pt x="77" y="332"/>
                  <a:pt x="77" y="331"/>
                  <a:pt x="78" y="331"/>
                </a:cubicBezTo>
                <a:cubicBezTo>
                  <a:pt x="78" y="331"/>
                  <a:pt x="78" y="331"/>
                  <a:pt x="79" y="331"/>
                </a:cubicBezTo>
                <a:cubicBezTo>
                  <a:pt x="79" y="331"/>
                  <a:pt x="80" y="330"/>
                  <a:pt x="80" y="330"/>
                </a:cubicBezTo>
                <a:cubicBezTo>
                  <a:pt x="80" y="330"/>
                  <a:pt x="80" y="329"/>
                  <a:pt x="80" y="329"/>
                </a:cubicBezTo>
                <a:cubicBezTo>
                  <a:pt x="80" y="329"/>
                  <a:pt x="80" y="328"/>
                  <a:pt x="81" y="328"/>
                </a:cubicBezTo>
                <a:cubicBezTo>
                  <a:pt x="81" y="328"/>
                  <a:pt x="80" y="327"/>
                  <a:pt x="80" y="327"/>
                </a:cubicBezTo>
                <a:cubicBezTo>
                  <a:pt x="80" y="327"/>
                  <a:pt x="79" y="327"/>
                  <a:pt x="79" y="327"/>
                </a:cubicBezTo>
                <a:cubicBezTo>
                  <a:pt x="79" y="327"/>
                  <a:pt x="79" y="327"/>
                  <a:pt x="79" y="327"/>
                </a:cubicBezTo>
                <a:cubicBezTo>
                  <a:pt x="78" y="327"/>
                  <a:pt x="78" y="327"/>
                  <a:pt x="77" y="328"/>
                </a:cubicBezTo>
                <a:cubicBezTo>
                  <a:pt x="77" y="328"/>
                  <a:pt x="77" y="328"/>
                  <a:pt x="76" y="329"/>
                </a:cubicBezTo>
                <a:cubicBezTo>
                  <a:pt x="76" y="329"/>
                  <a:pt x="76" y="329"/>
                  <a:pt x="75" y="329"/>
                </a:cubicBezTo>
                <a:cubicBezTo>
                  <a:pt x="75" y="329"/>
                  <a:pt x="75" y="329"/>
                  <a:pt x="74" y="330"/>
                </a:cubicBezTo>
                <a:cubicBezTo>
                  <a:pt x="74" y="330"/>
                  <a:pt x="73" y="330"/>
                  <a:pt x="73" y="330"/>
                </a:cubicBezTo>
                <a:cubicBezTo>
                  <a:pt x="72" y="330"/>
                  <a:pt x="72" y="330"/>
                  <a:pt x="72" y="331"/>
                </a:cubicBezTo>
                <a:close/>
                <a:moveTo>
                  <a:pt x="87" y="373"/>
                </a:moveTo>
                <a:cubicBezTo>
                  <a:pt x="88" y="373"/>
                  <a:pt x="88" y="373"/>
                  <a:pt x="88" y="373"/>
                </a:cubicBezTo>
                <a:cubicBezTo>
                  <a:pt x="88" y="373"/>
                  <a:pt x="88" y="372"/>
                  <a:pt x="89" y="372"/>
                </a:cubicBezTo>
                <a:cubicBezTo>
                  <a:pt x="88" y="372"/>
                  <a:pt x="88" y="372"/>
                  <a:pt x="88" y="372"/>
                </a:cubicBezTo>
                <a:cubicBezTo>
                  <a:pt x="88" y="372"/>
                  <a:pt x="88" y="372"/>
                  <a:pt x="87" y="373"/>
                </a:cubicBezTo>
                <a:close/>
                <a:moveTo>
                  <a:pt x="1" y="437"/>
                </a:moveTo>
                <a:cubicBezTo>
                  <a:pt x="1" y="437"/>
                  <a:pt x="1" y="436"/>
                  <a:pt x="1" y="436"/>
                </a:cubicBezTo>
                <a:cubicBezTo>
                  <a:pt x="1" y="436"/>
                  <a:pt x="1" y="436"/>
                  <a:pt x="1" y="436"/>
                </a:cubicBezTo>
                <a:cubicBezTo>
                  <a:pt x="1" y="436"/>
                  <a:pt x="1" y="437"/>
                  <a:pt x="1" y="437"/>
                </a:cubicBezTo>
                <a:close/>
                <a:moveTo>
                  <a:pt x="96" y="297"/>
                </a:moveTo>
                <a:cubicBezTo>
                  <a:pt x="97" y="296"/>
                  <a:pt x="97" y="296"/>
                  <a:pt x="98" y="295"/>
                </a:cubicBezTo>
                <a:cubicBezTo>
                  <a:pt x="98" y="295"/>
                  <a:pt x="99" y="294"/>
                  <a:pt x="99" y="294"/>
                </a:cubicBezTo>
                <a:cubicBezTo>
                  <a:pt x="99" y="294"/>
                  <a:pt x="99" y="294"/>
                  <a:pt x="99" y="294"/>
                </a:cubicBezTo>
                <a:cubicBezTo>
                  <a:pt x="98" y="294"/>
                  <a:pt x="97" y="294"/>
                  <a:pt x="96" y="294"/>
                </a:cubicBezTo>
                <a:cubicBezTo>
                  <a:pt x="96" y="294"/>
                  <a:pt x="95" y="294"/>
                  <a:pt x="94" y="295"/>
                </a:cubicBezTo>
                <a:cubicBezTo>
                  <a:pt x="94" y="295"/>
                  <a:pt x="94" y="295"/>
                  <a:pt x="94" y="295"/>
                </a:cubicBezTo>
                <a:cubicBezTo>
                  <a:pt x="94" y="295"/>
                  <a:pt x="95" y="296"/>
                  <a:pt x="95" y="296"/>
                </a:cubicBezTo>
                <a:cubicBezTo>
                  <a:pt x="95" y="296"/>
                  <a:pt x="95" y="296"/>
                  <a:pt x="95" y="296"/>
                </a:cubicBezTo>
                <a:cubicBezTo>
                  <a:pt x="95" y="296"/>
                  <a:pt x="96" y="296"/>
                  <a:pt x="96" y="296"/>
                </a:cubicBezTo>
                <a:cubicBezTo>
                  <a:pt x="96" y="296"/>
                  <a:pt x="96" y="296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31" y="418"/>
                </a:moveTo>
                <a:cubicBezTo>
                  <a:pt x="30" y="418"/>
                  <a:pt x="29" y="418"/>
                  <a:pt x="28" y="419"/>
                </a:cubicBezTo>
                <a:cubicBezTo>
                  <a:pt x="28" y="419"/>
                  <a:pt x="27" y="419"/>
                  <a:pt x="27" y="419"/>
                </a:cubicBezTo>
                <a:cubicBezTo>
                  <a:pt x="27" y="419"/>
                  <a:pt x="28" y="419"/>
                  <a:pt x="28" y="419"/>
                </a:cubicBezTo>
                <a:cubicBezTo>
                  <a:pt x="28" y="419"/>
                  <a:pt x="28" y="419"/>
                  <a:pt x="29" y="419"/>
                </a:cubicBezTo>
                <a:cubicBezTo>
                  <a:pt x="30" y="418"/>
                  <a:pt x="30" y="418"/>
                  <a:pt x="31" y="418"/>
                </a:cubicBezTo>
                <a:cubicBezTo>
                  <a:pt x="32" y="418"/>
                  <a:pt x="32" y="417"/>
                  <a:pt x="32" y="417"/>
                </a:cubicBezTo>
                <a:cubicBezTo>
                  <a:pt x="32" y="417"/>
                  <a:pt x="32" y="417"/>
                  <a:pt x="31" y="417"/>
                </a:cubicBezTo>
                <a:cubicBezTo>
                  <a:pt x="31" y="417"/>
                  <a:pt x="31" y="417"/>
                  <a:pt x="31" y="418"/>
                </a:cubicBezTo>
                <a:close/>
                <a:moveTo>
                  <a:pt x="83" y="280"/>
                </a:moveTo>
                <a:cubicBezTo>
                  <a:pt x="82" y="280"/>
                  <a:pt x="82" y="280"/>
                  <a:pt x="82" y="280"/>
                </a:cubicBezTo>
                <a:cubicBezTo>
                  <a:pt x="82" y="280"/>
                  <a:pt x="81" y="281"/>
                  <a:pt x="81" y="281"/>
                </a:cubicBezTo>
                <a:cubicBezTo>
                  <a:pt x="82" y="281"/>
                  <a:pt x="82" y="281"/>
                  <a:pt x="82" y="281"/>
                </a:cubicBezTo>
                <a:cubicBezTo>
                  <a:pt x="82" y="281"/>
                  <a:pt x="83" y="280"/>
                  <a:pt x="83" y="280"/>
                </a:cubicBezTo>
                <a:close/>
                <a:moveTo>
                  <a:pt x="92" y="297"/>
                </a:moveTo>
                <a:cubicBezTo>
                  <a:pt x="92" y="298"/>
                  <a:pt x="91" y="299"/>
                  <a:pt x="90" y="300"/>
                </a:cubicBezTo>
                <a:cubicBezTo>
                  <a:pt x="90" y="301"/>
                  <a:pt x="91" y="301"/>
                  <a:pt x="91" y="301"/>
                </a:cubicBezTo>
                <a:cubicBezTo>
                  <a:pt x="91" y="301"/>
                  <a:pt x="91" y="301"/>
                  <a:pt x="92" y="301"/>
                </a:cubicBezTo>
                <a:cubicBezTo>
                  <a:pt x="92" y="301"/>
                  <a:pt x="93" y="300"/>
                  <a:pt x="93" y="300"/>
                </a:cubicBezTo>
                <a:cubicBezTo>
                  <a:pt x="93" y="300"/>
                  <a:pt x="94" y="300"/>
                  <a:pt x="94" y="300"/>
                </a:cubicBezTo>
                <a:cubicBezTo>
                  <a:pt x="94" y="300"/>
                  <a:pt x="94" y="300"/>
                  <a:pt x="94" y="300"/>
                </a:cubicBezTo>
                <a:cubicBezTo>
                  <a:pt x="94" y="300"/>
                  <a:pt x="95" y="300"/>
                  <a:pt x="95" y="300"/>
                </a:cubicBezTo>
                <a:cubicBezTo>
                  <a:pt x="95" y="300"/>
                  <a:pt x="95" y="299"/>
                  <a:pt x="95" y="299"/>
                </a:cubicBezTo>
                <a:cubicBezTo>
                  <a:pt x="95" y="298"/>
                  <a:pt x="95" y="298"/>
                  <a:pt x="95" y="298"/>
                </a:cubicBezTo>
                <a:cubicBezTo>
                  <a:pt x="95" y="297"/>
                  <a:pt x="94" y="297"/>
                  <a:pt x="94" y="296"/>
                </a:cubicBezTo>
                <a:cubicBezTo>
                  <a:pt x="94" y="296"/>
                  <a:pt x="94" y="296"/>
                  <a:pt x="93" y="296"/>
                </a:cubicBezTo>
                <a:cubicBezTo>
                  <a:pt x="93" y="297"/>
                  <a:pt x="93" y="297"/>
                  <a:pt x="92" y="297"/>
                </a:cubicBezTo>
                <a:close/>
                <a:moveTo>
                  <a:pt x="13" y="426"/>
                </a:moveTo>
                <a:cubicBezTo>
                  <a:pt x="13" y="426"/>
                  <a:pt x="13" y="426"/>
                  <a:pt x="13" y="427"/>
                </a:cubicBezTo>
                <a:cubicBezTo>
                  <a:pt x="13" y="427"/>
                  <a:pt x="12" y="427"/>
                  <a:pt x="12" y="427"/>
                </a:cubicBezTo>
                <a:cubicBezTo>
                  <a:pt x="12" y="428"/>
                  <a:pt x="12" y="428"/>
                  <a:pt x="12" y="428"/>
                </a:cubicBezTo>
                <a:cubicBezTo>
                  <a:pt x="13" y="428"/>
                  <a:pt x="13" y="428"/>
                  <a:pt x="13" y="428"/>
                </a:cubicBezTo>
                <a:cubicBezTo>
                  <a:pt x="14" y="427"/>
                  <a:pt x="14" y="427"/>
                  <a:pt x="14" y="426"/>
                </a:cubicBezTo>
                <a:cubicBezTo>
                  <a:pt x="14" y="426"/>
                  <a:pt x="14" y="426"/>
                  <a:pt x="13" y="426"/>
                </a:cubicBezTo>
                <a:cubicBezTo>
                  <a:pt x="13" y="426"/>
                  <a:pt x="13" y="426"/>
                  <a:pt x="13" y="426"/>
                </a:cubicBezTo>
                <a:close/>
                <a:moveTo>
                  <a:pt x="10" y="427"/>
                </a:moveTo>
                <a:cubicBezTo>
                  <a:pt x="10" y="427"/>
                  <a:pt x="10" y="428"/>
                  <a:pt x="10" y="428"/>
                </a:cubicBezTo>
                <a:cubicBezTo>
                  <a:pt x="10" y="428"/>
                  <a:pt x="10" y="429"/>
                  <a:pt x="10" y="429"/>
                </a:cubicBezTo>
                <a:cubicBezTo>
                  <a:pt x="9" y="429"/>
                  <a:pt x="9" y="429"/>
                  <a:pt x="9" y="430"/>
                </a:cubicBezTo>
                <a:cubicBezTo>
                  <a:pt x="9" y="430"/>
                  <a:pt x="10" y="430"/>
                  <a:pt x="10" y="430"/>
                </a:cubicBezTo>
                <a:cubicBezTo>
                  <a:pt x="10" y="429"/>
                  <a:pt x="10" y="429"/>
                  <a:pt x="11" y="428"/>
                </a:cubicBezTo>
                <a:cubicBezTo>
                  <a:pt x="11" y="428"/>
                  <a:pt x="11" y="428"/>
                  <a:pt x="10" y="428"/>
                </a:cubicBezTo>
                <a:cubicBezTo>
                  <a:pt x="11" y="427"/>
                  <a:pt x="11" y="427"/>
                  <a:pt x="11" y="427"/>
                </a:cubicBezTo>
                <a:cubicBezTo>
                  <a:pt x="11" y="427"/>
                  <a:pt x="10" y="427"/>
                  <a:pt x="10" y="427"/>
                </a:cubicBezTo>
                <a:close/>
                <a:moveTo>
                  <a:pt x="26" y="417"/>
                </a:moveTo>
                <a:cubicBezTo>
                  <a:pt x="26" y="418"/>
                  <a:pt x="25" y="418"/>
                  <a:pt x="25" y="418"/>
                </a:cubicBezTo>
                <a:cubicBezTo>
                  <a:pt x="25" y="418"/>
                  <a:pt x="25" y="418"/>
                  <a:pt x="24" y="419"/>
                </a:cubicBezTo>
                <a:cubicBezTo>
                  <a:pt x="24" y="419"/>
                  <a:pt x="24" y="419"/>
                  <a:pt x="24" y="419"/>
                </a:cubicBezTo>
                <a:cubicBezTo>
                  <a:pt x="24" y="419"/>
                  <a:pt x="24" y="419"/>
                  <a:pt x="24" y="420"/>
                </a:cubicBezTo>
                <a:cubicBezTo>
                  <a:pt x="24" y="420"/>
                  <a:pt x="24" y="420"/>
                  <a:pt x="24" y="420"/>
                </a:cubicBezTo>
                <a:cubicBezTo>
                  <a:pt x="23" y="420"/>
                  <a:pt x="23" y="420"/>
                  <a:pt x="23" y="421"/>
                </a:cubicBezTo>
                <a:cubicBezTo>
                  <a:pt x="23" y="421"/>
                  <a:pt x="23" y="421"/>
                  <a:pt x="22" y="421"/>
                </a:cubicBezTo>
                <a:cubicBezTo>
                  <a:pt x="22" y="421"/>
                  <a:pt x="22" y="421"/>
                  <a:pt x="21" y="421"/>
                </a:cubicBezTo>
                <a:cubicBezTo>
                  <a:pt x="21" y="421"/>
                  <a:pt x="21" y="422"/>
                  <a:pt x="21" y="422"/>
                </a:cubicBezTo>
                <a:cubicBezTo>
                  <a:pt x="22" y="422"/>
                  <a:pt x="22" y="422"/>
                  <a:pt x="22" y="422"/>
                </a:cubicBezTo>
                <a:cubicBezTo>
                  <a:pt x="22" y="422"/>
                  <a:pt x="23" y="421"/>
                  <a:pt x="23" y="421"/>
                </a:cubicBezTo>
                <a:cubicBezTo>
                  <a:pt x="23" y="421"/>
                  <a:pt x="24" y="421"/>
                  <a:pt x="24" y="421"/>
                </a:cubicBezTo>
                <a:cubicBezTo>
                  <a:pt x="24" y="420"/>
                  <a:pt x="25" y="420"/>
                  <a:pt x="25" y="420"/>
                </a:cubicBezTo>
                <a:cubicBezTo>
                  <a:pt x="25" y="420"/>
                  <a:pt x="26" y="419"/>
                  <a:pt x="26" y="419"/>
                </a:cubicBezTo>
                <a:cubicBezTo>
                  <a:pt x="26" y="419"/>
                  <a:pt x="26" y="419"/>
                  <a:pt x="26" y="419"/>
                </a:cubicBezTo>
                <a:cubicBezTo>
                  <a:pt x="26" y="418"/>
                  <a:pt x="26" y="418"/>
                  <a:pt x="26" y="418"/>
                </a:cubicBezTo>
                <a:cubicBezTo>
                  <a:pt x="26" y="418"/>
                  <a:pt x="26" y="418"/>
                  <a:pt x="26" y="417"/>
                </a:cubicBezTo>
                <a:close/>
                <a:moveTo>
                  <a:pt x="1" y="432"/>
                </a:moveTo>
                <a:cubicBezTo>
                  <a:pt x="1" y="432"/>
                  <a:pt x="2" y="432"/>
                  <a:pt x="2" y="432"/>
                </a:cubicBezTo>
                <a:cubicBezTo>
                  <a:pt x="2" y="432"/>
                  <a:pt x="2" y="431"/>
                  <a:pt x="2" y="431"/>
                </a:cubicBezTo>
                <a:cubicBezTo>
                  <a:pt x="1" y="431"/>
                  <a:pt x="1" y="432"/>
                  <a:pt x="1" y="432"/>
                </a:cubicBezTo>
                <a:close/>
                <a:moveTo>
                  <a:pt x="0" y="435"/>
                </a:moveTo>
                <a:cubicBezTo>
                  <a:pt x="0" y="435"/>
                  <a:pt x="1" y="435"/>
                  <a:pt x="1" y="435"/>
                </a:cubicBezTo>
                <a:cubicBezTo>
                  <a:pt x="1" y="435"/>
                  <a:pt x="2" y="434"/>
                  <a:pt x="2" y="434"/>
                </a:cubicBezTo>
                <a:cubicBezTo>
                  <a:pt x="1" y="434"/>
                  <a:pt x="1" y="434"/>
                  <a:pt x="1" y="434"/>
                </a:cubicBezTo>
                <a:cubicBezTo>
                  <a:pt x="1" y="434"/>
                  <a:pt x="0" y="435"/>
                  <a:pt x="0" y="435"/>
                </a:cubicBezTo>
                <a:close/>
                <a:moveTo>
                  <a:pt x="5" y="429"/>
                </a:moveTo>
                <a:cubicBezTo>
                  <a:pt x="5" y="429"/>
                  <a:pt x="5" y="430"/>
                  <a:pt x="5" y="430"/>
                </a:cubicBezTo>
                <a:cubicBezTo>
                  <a:pt x="5" y="430"/>
                  <a:pt x="5" y="430"/>
                  <a:pt x="5" y="430"/>
                </a:cubicBezTo>
                <a:cubicBezTo>
                  <a:pt x="6" y="430"/>
                  <a:pt x="6" y="430"/>
                  <a:pt x="6" y="430"/>
                </a:cubicBezTo>
                <a:cubicBezTo>
                  <a:pt x="6" y="430"/>
                  <a:pt x="6" y="430"/>
                  <a:pt x="6" y="430"/>
                </a:cubicBezTo>
                <a:cubicBezTo>
                  <a:pt x="6" y="430"/>
                  <a:pt x="6" y="431"/>
                  <a:pt x="6" y="431"/>
                </a:cubicBezTo>
                <a:cubicBezTo>
                  <a:pt x="6" y="431"/>
                  <a:pt x="7" y="430"/>
                  <a:pt x="7" y="430"/>
                </a:cubicBezTo>
                <a:cubicBezTo>
                  <a:pt x="7" y="430"/>
                  <a:pt x="7" y="430"/>
                  <a:pt x="7" y="429"/>
                </a:cubicBezTo>
                <a:cubicBezTo>
                  <a:pt x="7" y="429"/>
                  <a:pt x="8" y="429"/>
                  <a:pt x="8" y="429"/>
                </a:cubicBezTo>
                <a:cubicBezTo>
                  <a:pt x="7" y="429"/>
                  <a:pt x="7" y="429"/>
                  <a:pt x="6" y="429"/>
                </a:cubicBezTo>
                <a:cubicBezTo>
                  <a:pt x="6" y="429"/>
                  <a:pt x="6" y="429"/>
                  <a:pt x="5" y="429"/>
                </a:cubicBezTo>
                <a:close/>
                <a:moveTo>
                  <a:pt x="68" y="387"/>
                </a:moveTo>
                <a:cubicBezTo>
                  <a:pt x="68" y="387"/>
                  <a:pt x="68" y="387"/>
                  <a:pt x="68" y="387"/>
                </a:cubicBezTo>
                <a:cubicBezTo>
                  <a:pt x="68" y="387"/>
                  <a:pt x="68" y="387"/>
                  <a:pt x="69" y="387"/>
                </a:cubicBezTo>
                <a:cubicBezTo>
                  <a:pt x="69" y="387"/>
                  <a:pt x="69" y="387"/>
                  <a:pt x="69" y="387"/>
                </a:cubicBezTo>
                <a:cubicBezTo>
                  <a:pt x="68" y="387"/>
                  <a:pt x="68" y="387"/>
                  <a:pt x="68" y="387"/>
                </a:cubicBezTo>
                <a:close/>
                <a:moveTo>
                  <a:pt x="98" y="366"/>
                </a:moveTo>
                <a:cubicBezTo>
                  <a:pt x="98" y="366"/>
                  <a:pt x="98" y="366"/>
                  <a:pt x="98" y="365"/>
                </a:cubicBezTo>
                <a:cubicBezTo>
                  <a:pt x="98" y="365"/>
                  <a:pt x="98" y="365"/>
                  <a:pt x="97" y="365"/>
                </a:cubicBezTo>
                <a:cubicBezTo>
                  <a:pt x="98" y="366"/>
                  <a:pt x="98" y="366"/>
                  <a:pt x="98" y="366"/>
                </a:cubicBezTo>
                <a:close/>
                <a:moveTo>
                  <a:pt x="96" y="366"/>
                </a:moveTo>
                <a:cubicBezTo>
                  <a:pt x="96" y="366"/>
                  <a:pt x="96" y="366"/>
                  <a:pt x="95" y="366"/>
                </a:cubicBezTo>
                <a:cubicBezTo>
                  <a:pt x="95" y="367"/>
                  <a:pt x="95" y="367"/>
                  <a:pt x="95" y="367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96" y="367"/>
                  <a:pt x="97" y="367"/>
                  <a:pt x="97" y="367"/>
                </a:cubicBezTo>
                <a:cubicBezTo>
                  <a:pt x="97" y="367"/>
                  <a:pt x="97" y="367"/>
                  <a:pt x="97" y="367"/>
                </a:cubicBezTo>
                <a:cubicBezTo>
                  <a:pt x="97" y="366"/>
                  <a:pt x="97" y="366"/>
                  <a:pt x="97" y="366"/>
                </a:cubicBezTo>
                <a:cubicBezTo>
                  <a:pt x="97" y="366"/>
                  <a:pt x="96" y="366"/>
                  <a:pt x="96" y="366"/>
                </a:cubicBezTo>
                <a:close/>
                <a:moveTo>
                  <a:pt x="91" y="370"/>
                </a:moveTo>
                <a:cubicBezTo>
                  <a:pt x="91" y="370"/>
                  <a:pt x="91" y="370"/>
                  <a:pt x="91" y="370"/>
                </a:cubicBezTo>
                <a:cubicBezTo>
                  <a:pt x="92" y="370"/>
                  <a:pt x="92" y="370"/>
                  <a:pt x="92" y="369"/>
                </a:cubicBezTo>
                <a:cubicBezTo>
                  <a:pt x="92" y="369"/>
                  <a:pt x="91" y="369"/>
                  <a:pt x="91" y="369"/>
                </a:cubicBezTo>
                <a:cubicBezTo>
                  <a:pt x="91" y="369"/>
                  <a:pt x="91" y="369"/>
                  <a:pt x="91" y="370"/>
                </a:cubicBezTo>
                <a:close/>
                <a:moveTo>
                  <a:pt x="227" y="312"/>
                </a:moveTo>
                <a:cubicBezTo>
                  <a:pt x="227" y="312"/>
                  <a:pt x="227" y="311"/>
                  <a:pt x="226" y="311"/>
                </a:cubicBezTo>
                <a:cubicBezTo>
                  <a:pt x="226" y="312"/>
                  <a:pt x="226" y="312"/>
                  <a:pt x="226" y="312"/>
                </a:cubicBezTo>
                <a:cubicBezTo>
                  <a:pt x="226" y="312"/>
                  <a:pt x="226" y="312"/>
                  <a:pt x="226" y="313"/>
                </a:cubicBezTo>
                <a:cubicBezTo>
                  <a:pt x="226" y="313"/>
                  <a:pt x="226" y="313"/>
                  <a:pt x="226" y="313"/>
                </a:cubicBezTo>
                <a:cubicBezTo>
                  <a:pt x="226" y="313"/>
                  <a:pt x="226" y="313"/>
                  <a:pt x="226" y="313"/>
                </a:cubicBezTo>
                <a:cubicBezTo>
                  <a:pt x="226" y="313"/>
                  <a:pt x="226" y="314"/>
                  <a:pt x="226" y="314"/>
                </a:cubicBezTo>
                <a:cubicBezTo>
                  <a:pt x="227" y="313"/>
                  <a:pt x="227" y="313"/>
                  <a:pt x="227" y="313"/>
                </a:cubicBezTo>
                <a:cubicBezTo>
                  <a:pt x="227" y="313"/>
                  <a:pt x="227" y="313"/>
                  <a:pt x="227" y="312"/>
                </a:cubicBezTo>
                <a:cubicBezTo>
                  <a:pt x="227" y="312"/>
                  <a:pt x="227" y="312"/>
                  <a:pt x="227" y="312"/>
                </a:cubicBezTo>
                <a:close/>
                <a:moveTo>
                  <a:pt x="99" y="364"/>
                </a:moveTo>
                <a:cubicBezTo>
                  <a:pt x="99" y="364"/>
                  <a:pt x="99" y="365"/>
                  <a:pt x="99" y="365"/>
                </a:cubicBezTo>
                <a:cubicBezTo>
                  <a:pt x="99" y="365"/>
                  <a:pt x="99" y="365"/>
                  <a:pt x="99" y="364"/>
                </a:cubicBezTo>
                <a:cubicBezTo>
                  <a:pt x="99" y="364"/>
                  <a:pt x="99" y="364"/>
                  <a:pt x="99" y="364"/>
                </a:cubicBezTo>
                <a:close/>
                <a:moveTo>
                  <a:pt x="103" y="366"/>
                </a:moveTo>
                <a:cubicBezTo>
                  <a:pt x="103" y="366"/>
                  <a:pt x="103" y="366"/>
                  <a:pt x="103" y="367"/>
                </a:cubicBezTo>
                <a:cubicBezTo>
                  <a:pt x="104" y="366"/>
                  <a:pt x="104" y="366"/>
                  <a:pt x="104" y="366"/>
                </a:cubicBezTo>
                <a:cubicBezTo>
                  <a:pt x="104" y="366"/>
                  <a:pt x="104" y="366"/>
                  <a:pt x="103" y="366"/>
                </a:cubicBezTo>
                <a:cubicBezTo>
                  <a:pt x="103" y="366"/>
                  <a:pt x="103" y="366"/>
                  <a:pt x="103" y="366"/>
                </a:cubicBezTo>
                <a:close/>
                <a:moveTo>
                  <a:pt x="1119" y="511"/>
                </a:moveTo>
                <a:cubicBezTo>
                  <a:pt x="1119" y="511"/>
                  <a:pt x="1120" y="511"/>
                  <a:pt x="1120" y="510"/>
                </a:cubicBezTo>
                <a:cubicBezTo>
                  <a:pt x="1120" y="510"/>
                  <a:pt x="1120" y="510"/>
                  <a:pt x="1120" y="510"/>
                </a:cubicBezTo>
                <a:cubicBezTo>
                  <a:pt x="1119" y="510"/>
                  <a:pt x="1119" y="510"/>
                  <a:pt x="1119" y="510"/>
                </a:cubicBezTo>
                <a:cubicBezTo>
                  <a:pt x="1119" y="510"/>
                  <a:pt x="1119" y="510"/>
                  <a:pt x="1119" y="510"/>
                </a:cubicBezTo>
                <a:cubicBezTo>
                  <a:pt x="1119" y="510"/>
                  <a:pt x="1119" y="511"/>
                  <a:pt x="1119" y="511"/>
                </a:cubicBezTo>
                <a:cubicBezTo>
                  <a:pt x="1119" y="511"/>
                  <a:pt x="1119" y="511"/>
                  <a:pt x="1119" y="511"/>
                </a:cubicBezTo>
                <a:close/>
                <a:moveTo>
                  <a:pt x="1117" y="508"/>
                </a:moveTo>
                <a:cubicBezTo>
                  <a:pt x="1117" y="508"/>
                  <a:pt x="1117" y="507"/>
                  <a:pt x="1117" y="507"/>
                </a:cubicBezTo>
                <a:cubicBezTo>
                  <a:pt x="1117" y="507"/>
                  <a:pt x="1116" y="507"/>
                  <a:pt x="1116" y="507"/>
                </a:cubicBezTo>
                <a:cubicBezTo>
                  <a:pt x="1116" y="507"/>
                  <a:pt x="1116" y="507"/>
                  <a:pt x="1115" y="508"/>
                </a:cubicBezTo>
                <a:cubicBezTo>
                  <a:pt x="1116" y="508"/>
                  <a:pt x="1116" y="508"/>
                  <a:pt x="1116" y="508"/>
                </a:cubicBezTo>
                <a:cubicBezTo>
                  <a:pt x="1116" y="508"/>
                  <a:pt x="1116" y="508"/>
                  <a:pt x="1117" y="508"/>
                </a:cubicBezTo>
                <a:cubicBezTo>
                  <a:pt x="1117" y="508"/>
                  <a:pt x="1117" y="508"/>
                  <a:pt x="1117" y="508"/>
                </a:cubicBezTo>
                <a:close/>
                <a:moveTo>
                  <a:pt x="1112" y="504"/>
                </a:moveTo>
                <a:cubicBezTo>
                  <a:pt x="1112" y="504"/>
                  <a:pt x="1111" y="504"/>
                  <a:pt x="1111" y="503"/>
                </a:cubicBezTo>
                <a:cubicBezTo>
                  <a:pt x="1111" y="504"/>
                  <a:pt x="1111" y="504"/>
                  <a:pt x="1110" y="504"/>
                </a:cubicBezTo>
                <a:cubicBezTo>
                  <a:pt x="1110" y="504"/>
                  <a:pt x="1110" y="505"/>
                  <a:pt x="1111" y="505"/>
                </a:cubicBezTo>
                <a:cubicBezTo>
                  <a:pt x="1111" y="505"/>
                  <a:pt x="1111" y="505"/>
                  <a:pt x="1111" y="506"/>
                </a:cubicBezTo>
                <a:cubicBezTo>
                  <a:pt x="1111" y="506"/>
                  <a:pt x="1111" y="506"/>
                  <a:pt x="1111" y="506"/>
                </a:cubicBezTo>
                <a:cubicBezTo>
                  <a:pt x="1111" y="506"/>
                  <a:pt x="1111" y="506"/>
                  <a:pt x="1111" y="506"/>
                </a:cubicBezTo>
                <a:cubicBezTo>
                  <a:pt x="1112" y="506"/>
                  <a:pt x="1112" y="506"/>
                  <a:pt x="1112" y="505"/>
                </a:cubicBezTo>
                <a:cubicBezTo>
                  <a:pt x="1112" y="505"/>
                  <a:pt x="1112" y="505"/>
                  <a:pt x="1112" y="505"/>
                </a:cubicBezTo>
                <a:cubicBezTo>
                  <a:pt x="1112" y="505"/>
                  <a:pt x="1112" y="504"/>
                  <a:pt x="1112" y="504"/>
                </a:cubicBezTo>
                <a:cubicBezTo>
                  <a:pt x="1112" y="504"/>
                  <a:pt x="1112" y="504"/>
                  <a:pt x="1112" y="504"/>
                </a:cubicBezTo>
                <a:close/>
                <a:moveTo>
                  <a:pt x="1112" y="507"/>
                </a:moveTo>
                <a:cubicBezTo>
                  <a:pt x="1112" y="508"/>
                  <a:pt x="1112" y="508"/>
                  <a:pt x="1112" y="508"/>
                </a:cubicBezTo>
                <a:cubicBezTo>
                  <a:pt x="1112" y="508"/>
                  <a:pt x="1112" y="508"/>
                  <a:pt x="1113" y="508"/>
                </a:cubicBezTo>
                <a:cubicBezTo>
                  <a:pt x="1113" y="508"/>
                  <a:pt x="1112" y="508"/>
                  <a:pt x="1112" y="507"/>
                </a:cubicBezTo>
                <a:cubicBezTo>
                  <a:pt x="1112" y="507"/>
                  <a:pt x="1112" y="507"/>
                  <a:pt x="1112" y="507"/>
                </a:cubicBezTo>
                <a:cubicBezTo>
                  <a:pt x="1112" y="507"/>
                  <a:pt x="1112" y="507"/>
                  <a:pt x="1112" y="507"/>
                </a:cubicBezTo>
                <a:close/>
                <a:moveTo>
                  <a:pt x="1174" y="487"/>
                </a:moveTo>
                <a:cubicBezTo>
                  <a:pt x="1173" y="486"/>
                  <a:pt x="1173" y="486"/>
                  <a:pt x="1173" y="486"/>
                </a:cubicBezTo>
                <a:cubicBezTo>
                  <a:pt x="1173" y="486"/>
                  <a:pt x="1173" y="486"/>
                  <a:pt x="1172" y="487"/>
                </a:cubicBezTo>
                <a:cubicBezTo>
                  <a:pt x="1173" y="487"/>
                  <a:pt x="1173" y="487"/>
                  <a:pt x="1173" y="487"/>
                </a:cubicBezTo>
                <a:cubicBezTo>
                  <a:pt x="1173" y="487"/>
                  <a:pt x="1174" y="487"/>
                  <a:pt x="1174" y="487"/>
                </a:cubicBezTo>
                <a:cubicBezTo>
                  <a:pt x="1174" y="487"/>
                  <a:pt x="1174" y="487"/>
                  <a:pt x="1174" y="487"/>
                </a:cubicBezTo>
                <a:close/>
                <a:moveTo>
                  <a:pt x="1128" y="499"/>
                </a:moveTo>
                <a:cubicBezTo>
                  <a:pt x="1128" y="499"/>
                  <a:pt x="1128" y="499"/>
                  <a:pt x="1128" y="499"/>
                </a:cubicBezTo>
                <a:cubicBezTo>
                  <a:pt x="1128" y="499"/>
                  <a:pt x="1128" y="499"/>
                  <a:pt x="1128" y="500"/>
                </a:cubicBezTo>
                <a:cubicBezTo>
                  <a:pt x="1128" y="499"/>
                  <a:pt x="1128" y="499"/>
                  <a:pt x="1128" y="499"/>
                </a:cubicBezTo>
                <a:close/>
                <a:moveTo>
                  <a:pt x="1128" y="498"/>
                </a:moveTo>
                <a:cubicBezTo>
                  <a:pt x="1128" y="498"/>
                  <a:pt x="1128" y="498"/>
                  <a:pt x="1128" y="498"/>
                </a:cubicBezTo>
                <a:cubicBezTo>
                  <a:pt x="1128" y="498"/>
                  <a:pt x="1127" y="498"/>
                  <a:pt x="1127" y="498"/>
                </a:cubicBezTo>
                <a:cubicBezTo>
                  <a:pt x="1127" y="498"/>
                  <a:pt x="1127" y="498"/>
                  <a:pt x="1127" y="498"/>
                </a:cubicBezTo>
                <a:cubicBezTo>
                  <a:pt x="1127" y="498"/>
                  <a:pt x="1127" y="498"/>
                  <a:pt x="1127" y="498"/>
                </a:cubicBezTo>
                <a:cubicBezTo>
                  <a:pt x="1127" y="498"/>
                  <a:pt x="1128" y="498"/>
                  <a:pt x="1128" y="498"/>
                </a:cubicBezTo>
                <a:cubicBezTo>
                  <a:pt x="1128" y="498"/>
                  <a:pt x="1128" y="498"/>
                  <a:pt x="1128" y="498"/>
                </a:cubicBezTo>
                <a:close/>
                <a:moveTo>
                  <a:pt x="1369" y="455"/>
                </a:moveTo>
                <a:cubicBezTo>
                  <a:pt x="1368" y="455"/>
                  <a:pt x="1368" y="455"/>
                  <a:pt x="1367" y="455"/>
                </a:cubicBezTo>
                <a:cubicBezTo>
                  <a:pt x="1367" y="455"/>
                  <a:pt x="1367" y="456"/>
                  <a:pt x="1367" y="456"/>
                </a:cubicBezTo>
                <a:cubicBezTo>
                  <a:pt x="1367" y="456"/>
                  <a:pt x="1367" y="457"/>
                  <a:pt x="1367" y="457"/>
                </a:cubicBezTo>
                <a:cubicBezTo>
                  <a:pt x="1367" y="457"/>
                  <a:pt x="1367" y="457"/>
                  <a:pt x="1367" y="457"/>
                </a:cubicBezTo>
                <a:cubicBezTo>
                  <a:pt x="1367" y="458"/>
                  <a:pt x="1366" y="458"/>
                  <a:pt x="1366" y="459"/>
                </a:cubicBezTo>
                <a:cubicBezTo>
                  <a:pt x="1366" y="459"/>
                  <a:pt x="1366" y="459"/>
                  <a:pt x="1366" y="459"/>
                </a:cubicBezTo>
                <a:cubicBezTo>
                  <a:pt x="1367" y="459"/>
                  <a:pt x="1367" y="459"/>
                  <a:pt x="1367" y="459"/>
                </a:cubicBezTo>
                <a:cubicBezTo>
                  <a:pt x="1368" y="458"/>
                  <a:pt x="1368" y="458"/>
                  <a:pt x="1368" y="458"/>
                </a:cubicBezTo>
                <a:cubicBezTo>
                  <a:pt x="1368" y="457"/>
                  <a:pt x="1367" y="457"/>
                  <a:pt x="1367" y="457"/>
                </a:cubicBezTo>
                <a:cubicBezTo>
                  <a:pt x="1368" y="457"/>
                  <a:pt x="1368" y="457"/>
                  <a:pt x="1368" y="457"/>
                </a:cubicBezTo>
                <a:cubicBezTo>
                  <a:pt x="1368" y="456"/>
                  <a:pt x="1368" y="456"/>
                  <a:pt x="1368" y="456"/>
                </a:cubicBezTo>
                <a:cubicBezTo>
                  <a:pt x="1368" y="456"/>
                  <a:pt x="1368" y="456"/>
                  <a:pt x="1368" y="455"/>
                </a:cubicBezTo>
                <a:cubicBezTo>
                  <a:pt x="1368" y="455"/>
                  <a:pt x="1368" y="455"/>
                  <a:pt x="1369" y="455"/>
                </a:cubicBezTo>
                <a:cubicBezTo>
                  <a:pt x="1369" y="455"/>
                  <a:pt x="1369" y="455"/>
                  <a:pt x="1369" y="455"/>
                </a:cubicBezTo>
                <a:close/>
                <a:moveTo>
                  <a:pt x="1367" y="480"/>
                </a:moveTo>
                <a:cubicBezTo>
                  <a:pt x="1367" y="480"/>
                  <a:pt x="1367" y="480"/>
                  <a:pt x="1367" y="480"/>
                </a:cubicBezTo>
                <a:cubicBezTo>
                  <a:pt x="1366" y="480"/>
                  <a:pt x="1366" y="480"/>
                  <a:pt x="1366" y="481"/>
                </a:cubicBezTo>
                <a:cubicBezTo>
                  <a:pt x="1366" y="481"/>
                  <a:pt x="1367" y="481"/>
                  <a:pt x="1367" y="481"/>
                </a:cubicBezTo>
                <a:cubicBezTo>
                  <a:pt x="1367" y="481"/>
                  <a:pt x="1367" y="482"/>
                  <a:pt x="1367" y="482"/>
                </a:cubicBezTo>
                <a:cubicBezTo>
                  <a:pt x="1367" y="482"/>
                  <a:pt x="1367" y="482"/>
                  <a:pt x="1368" y="482"/>
                </a:cubicBezTo>
                <a:cubicBezTo>
                  <a:pt x="1368" y="481"/>
                  <a:pt x="1368" y="481"/>
                  <a:pt x="1368" y="481"/>
                </a:cubicBezTo>
                <a:cubicBezTo>
                  <a:pt x="1368" y="481"/>
                  <a:pt x="1368" y="480"/>
                  <a:pt x="1368" y="480"/>
                </a:cubicBezTo>
                <a:cubicBezTo>
                  <a:pt x="1368" y="480"/>
                  <a:pt x="1367" y="480"/>
                  <a:pt x="1367" y="480"/>
                </a:cubicBezTo>
                <a:close/>
                <a:moveTo>
                  <a:pt x="1364" y="472"/>
                </a:moveTo>
                <a:cubicBezTo>
                  <a:pt x="1364" y="471"/>
                  <a:pt x="1364" y="471"/>
                  <a:pt x="1364" y="471"/>
                </a:cubicBezTo>
                <a:cubicBezTo>
                  <a:pt x="1364" y="471"/>
                  <a:pt x="1364" y="471"/>
                  <a:pt x="1363" y="471"/>
                </a:cubicBezTo>
                <a:cubicBezTo>
                  <a:pt x="1364" y="471"/>
                  <a:pt x="1364" y="471"/>
                  <a:pt x="1364" y="472"/>
                </a:cubicBezTo>
                <a:close/>
                <a:moveTo>
                  <a:pt x="1366" y="479"/>
                </a:moveTo>
                <a:cubicBezTo>
                  <a:pt x="1366" y="479"/>
                  <a:pt x="1367" y="479"/>
                  <a:pt x="1367" y="479"/>
                </a:cubicBezTo>
                <a:cubicBezTo>
                  <a:pt x="1367" y="479"/>
                  <a:pt x="1367" y="479"/>
                  <a:pt x="1368" y="479"/>
                </a:cubicBezTo>
                <a:cubicBezTo>
                  <a:pt x="1367" y="479"/>
                  <a:pt x="1367" y="479"/>
                  <a:pt x="1367" y="479"/>
                </a:cubicBezTo>
                <a:cubicBezTo>
                  <a:pt x="1367" y="479"/>
                  <a:pt x="1367" y="479"/>
                  <a:pt x="1366" y="479"/>
                </a:cubicBezTo>
                <a:close/>
                <a:moveTo>
                  <a:pt x="1367" y="476"/>
                </a:moveTo>
                <a:cubicBezTo>
                  <a:pt x="1367" y="476"/>
                  <a:pt x="1367" y="476"/>
                  <a:pt x="1367" y="477"/>
                </a:cubicBezTo>
                <a:cubicBezTo>
                  <a:pt x="1367" y="476"/>
                  <a:pt x="1367" y="476"/>
                  <a:pt x="1367" y="476"/>
                </a:cubicBezTo>
                <a:cubicBezTo>
                  <a:pt x="1367" y="476"/>
                  <a:pt x="1367" y="476"/>
                  <a:pt x="1367" y="476"/>
                </a:cubicBezTo>
                <a:cubicBezTo>
                  <a:pt x="1367" y="476"/>
                  <a:pt x="1367" y="476"/>
                  <a:pt x="1367" y="475"/>
                </a:cubicBezTo>
                <a:cubicBezTo>
                  <a:pt x="1367" y="476"/>
                  <a:pt x="1367" y="476"/>
                  <a:pt x="1367" y="476"/>
                </a:cubicBezTo>
                <a:close/>
                <a:moveTo>
                  <a:pt x="1363" y="461"/>
                </a:moveTo>
                <a:cubicBezTo>
                  <a:pt x="1363" y="462"/>
                  <a:pt x="1362" y="462"/>
                  <a:pt x="1362" y="462"/>
                </a:cubicBezTo>
                <a:cubicBezTo>
                  <a:pt x="1362" y="462"/>
                  <a:pt x="1363" y="462"/>
                  <a:pt x="1363" y="462"/>
                </a:cubicBezTo>
                <a:cubicBezTo>
                  <a:pt x="1363" y="462"/>
                  <a:pt x="1363" y="462"/>
                  <a:pt x="1363" y="461"/>
                </a:cubicBezTo>
                <a:close/>
                <a:moveTo>
                  <a:pt x="1366" y="477"/>
                </a:moveTo>
                <a:cubicBezTo>
                  <a:pt x="1366" y="477"/>
                  <a:pt x="1366" y="476"/>
                  <a:pt x="1365" y="476"/>
                </a:cubicBezTo>
                <a:cubicBezTo>
                  <a:pt x="1365" y="477"/>
                  <a:pt x="1365" y="477"/>
                  <a:pt x="1365" y="477"/>
                </a:cubicBezTo>
                <a:cubicBezTo>
                  <a:pt x="1366" y="477"/>
                  <a:pt x="1366" y="477"/>
                  <a:pt x="1366" y="477"/>
                </a:cubicBezTo>
                <a:cubicBezTo>
                  <a:pt x="1366" y="477"/>
                  <a:pt x="1366" y="477"/>
                  <a:pt x="1367" y="477"/>
                </a:cubicBezTo>
                <a:cubicBezTo>
                  <a:pt x="1366" y="477"/>
                  <a:pt x="1366" y="477"/>
                  <a:pt x="1366" y="477"/>
                </a:cubicBezTo>
                <a:close/>
                <a:moveTo>
                  <a:pt x="1365" y="475"/>
                </a:moveTo>
                <a:cubicBezTo>
                  <a:pt x="1365" y="475"/>
                  <a:pt x="1365" y="474"/>
                  <a:pt x="1365" y="474"/>
                </a:cubicBezTo>
                <a:cubicBezTo>
                  <a:pt x="1365" y="474"/>
                  <a:pt x="1365" y="475"/>
                  <a:pt x="1365" y="475"/>
                </a:cubicBezTo>
                <a:cubicBezTo>
                  <a:pt x="1365" y="475"/>
                  <a:pt x="1365" y="475"/>
                  <a:pt x="1365" y="476"/>
                </a:cubicBezTo>
                <a:cubicBezTo>
                  <a:pt x="1365" y="475"/>
                  <a:pt x="1365" y="475"/>
                  <a:pt x="1365" y="475"/>
                </a:cubicBezTo>
                <a:close/>
                <a:moveTo>
                  <a:pt x="1366" y="461"/>
                </a:moveTo>
                <a:cubicBezTo>
                  <a:pt x="1366" y="461"/>
                  <a:pt x="1365" y="461"/>
                  <a:pt x="1365" y="461"/>
                </a:cubicBezTo>
                <a:cubicBezTo>
                  <a:pt x="1366" y="461"/>
                  <a:pt x="1366" y="460"/>
                  <a:pt x="1366" y="460"/>
                </a:cubicBezTo>
                <a:cubicBezTo>
                  <a:pt x="1366" y="460"/>
                  <a:pt x="1366" y="460"/>
                  <a:pt x="1367" y="460"/>
                </a:cubicBezTo>
                <a:cubicBezTo>
                  <a:pt x="1367" y="460"/>
                  <a:pt x="1367" y="460"/>
                  <a:pt x="1367" y="460"/>
                </a:cubicBezTo>
                <a:cubicBezTo>
                  <a:pt x="1366" y="460"/>
                  <a:pt x="1366" y="460"/>
                  <a:pt x="1365" y="460"/>
                </a:cubicBezTo>
                <a:cubicBezTo>
                  <a:pt x="1365" y="460"/>
                  <a:pt x="1365" y="460"/>
                  <a:pt x="1365" y="461"/>
                </a:cubicBezTo>
                <a:cubicBezTo>
                  <a:pt x="1365" y="461"/>
                  <a:pt x="1365" y="461"/>
                  <a:pt x="1365" y="461"/>
                </a:cubicBezTo>
                <a:cubicBezTo>
                  <a:pt x="1365" y="461"/>
                  <a:pt x="1365" y="462"/>
                  <a:pt x="1365" y="462"/>
                </a:cubicBezTo>
                <a:cubicBezTo>
                  <a:pt x="1365" y="462"/>
                  <a:pt x="1365" y="462"/>
                  <a:pt x="1364" y="462"/>
                </a:cubicBezTo>
                <a:cubicBezTo>
                  <a:pt x="1364" y="463"/>
                  <a:pt x="1365" y="463"/>
                  <a:pt x="1365" y="463"/>
                </a:cubicBezTo>
                <a:cubicBezTo>
                  <a:pt x="1365" y="463"/>
                  <a:pt x="1365" y="462"/>
                  <a:pt x="1366" y="462"/>
                </a:cubicBezTo>
                <a:cubicBezTo>
                  <a:pt x="1366" y="462"/>
                  <a:pt x="1366" y="462"/>
                  <a:pt x="1366" y="461"/>
                </a:cubicBezTo>
                <a:close/>
                <a:moveTo>
                  <a:pt x="1363" y="465"/>
                </a:moveTo>
                <a:cubicBezTo>
                  <a:pt x="1363" y="465"/>
                  <a:pt x="1363" y="465"/>
                  <a:pt x="1363" y="465"/>
                </a:cubicBezTo>
                <a:cubicBezTo>
                  <a:pt x="1363" y="465"/>
                  <a:pt x="1363" y="466"/>
                  <a:pt x="1363" y="466"/>
                </a:cubicBezTo>
                <a:cubicBezTo>
                  <a:pt x="1363" y="466"/>
                  <a:pt x="1363" y="466"/>
                  <a:pt x="1364" y="466"/>
                </a:cubicBezTo>
                <a:cubicBezTo>
                  <a:pt x="1364" y="466"/>
                  <a:pt x="1364" y="466"/>
                  <a:pt x="1364" y="466"/>
                </a:cubicBezTo>
                <a:cubicBezTo>
                  <a:pt x="1364" y="465"/>
                  <a:pt x="1364" y="465"/>
                  <a:pt x="1364" y="465"/>
                </a:cubicBezTo>
                <a:cubicBezTo>
                  <a:pt x="1364" y="465"/>
                  <a:pt x="1364" y="465"/>
                  <a:pt x="1363" y="465"/>
                </a:cubicBezTo>
                <a:close/>
                <a:moveTo>
                  <a:pt x="1620" y="538"/>
                </a:moveTo>
                <a:cubicBezTo>
                  <a:pt x="1620" y="538"/>
                  <a:pt x="1620" y="538"/>
                  <a:pt x="1620" y="538"/>
                </a:cubicBezTo>
                <a:cubicBezTo>
                  <a:pt x="1619" y="538"/>
                  <a:pt x="1619" y="538"/>
                  <a:pt x="1619" y="538"/>
                </a:cubicBezTo>
                <a:cubicBezTo>
                  <a:pt x="1619" y="538"/>
                  <a:pt x="1619" y="538"/>
                  <a:pt x="1619" y="538"/>
                </a:cubicBezTo>
                <a:cubicBezTo>
                  <a:pt x="1619" y="538"/>
                  <a:pt x="1620" y="538"/>
                  <a:pt x="1620" y="538"/>
                </a:cubicBezTo>
                <a:close/>
                <a:moveTo>
                  <a:pt x="1624" y="535"/>
                </a:moveTo>
                <a:cubicBezTo>
                  <a:pt x="1624" y="535"/>
                  <a:pt x="1624" y="534"/>
                  <a:pt x="1624" y="534"/>
                </a:cubicBezTo>
                <a:cubicBezTo>
                  <a:pt x="1623" y="534"/>
                  <a:pt x="1623" y="534"/>
                  <a:pt x="1622" y="534"/>
                </a:cubicBezTo>
                <a:cubicBezTo>
                  <a:pt x="1622" y="535"/>
                  <a:pt x="1623" y="535"/>
                  <a:pt x="1623" y="536"/>
                </a:cubicBezTo>
                <a:cubicBezTo>
                  <a:pt x="1623" y="535"/>
                  <a:pt x="1623" y="535"/>
                  <a:pt x="1623" y="535"/>
                </a:cubicBezTo>
                <a:cubicBezTo>
                  <a:pt x="1623" y="535"/>
                  <a:pt x="1623" y="535"/>
                  <a:pt x="1624" y="535"/>
                </a:cubicBezTo>
                <a:close/>
                <a:moveTo>
                  <a:pt x="1616" y="539"/>
                </a:moveTo>
                <a:cubicBezTo>
                  <a:pt x="1615" y="539"/>
                  <a:pt x="1615" y="539"/>
                  <a:pt x="1615" y="539"/>
                </a:cubicBezTo>
                <a:cubicBezTo>
                  <a:pt x="1615" y="540"/>
                  <a:pt x="1615" y="540"/>
                  <a:pt x="1615" y="540"/>
                </a:cubicBezTo>
                <a:cubicBezTo>
                  <a:pt x="1615" y="540"/>
                  <a:pt x="1615" y="540"/>
                  <a:pt x="1615" y="540"/>
                </a:cubicBezTo>
                <a:cubicBezTo>
                  <a:pt x="1615" y="540"/>
                  <a:pt x="1615" y="540"/>
                  <a:pt x="1616" y="540"/>
                </a:cubicBezTo>
                <a:cubicBezTo>
                  <a:pt x="1616" y="540"/>
                  <a:pt x="1616" y="540"/>
                  <a:pt x="1617" y="540"/>
                </a:cubicBezTo>
                <a:cubicBezTo>
                  <a:pt x="1617" y="539"/>
                  <a:pt x="1617" y="539"/>
                  <a:pt x="1617" y="539"/>
                </a:cubicBezTo>
                <a:cubicBezTo>
                  <a:pt x="1616" y="539"/>
                  <a:pt x="1616" y="539"/>
                  <a:pt x="1616" y="539"/>
                </a:cubicBezTo>
                <a:close/>
                <a:moveTo>
                  <a:pt x="1660" y="383"/>
                </a:moveTo>
                <a:cubicBezTo>
                  <a:pt x="1660" y="383"/>
                  <a:pt x="1660" y="383"/>
                  <a:pt x="1659" y="383"/>
                </a:cubicBezTo>
                <a:cubicBezTo>
                  <a:pt x="1659" y="383"/>
                  <a:pt x="1658" y="383"/>
                  <a:pt x="1658" y="383"/>
                </a:cubicBezTo>
                <a:cubicBezTo>
                  <a:pt x="1658" y="384"/>
                  <a:pt x="1658" y="384"/>
                  <a:pt x="1657" y="384"/>
                </a:cubicBezTo>
                <a:cubicBezTo>
                  <a:pt x="1657" y="384"/>
                  <a:pt x="1657" y="384"/>
                  <a:pt x="1657" y="384"/>
                </a:cubicBezTo>
                <a:cubicBezTo>
                  <a:pt x="1657" y="384"/>
                  <a:pt x="1656" y="384"/>
                  <a:pt x="1656" y="384"/>
                </a:cubicBezTo>
                <a:cubicBezTo>
                  <a:pt x="1656" y="383"/>
                  <a:pt x="1656" y="383"/>
                  <a:pt x="1655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5" y="383"/>
                  <a:pt x="1655" y="383"/>
                  <a:pt x="1654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4" y="384"/>
                  <a:pt x="1654" y="384"/>
                  <a:pt x="1654" y="384"/>
                </a:cubicBezTo>
                <a:cubicBezTo>
                  <a:pt x="1654" y="384"/>
                  <a:pt x="1653" y="384"/>
                  <a:pt x="1653" y="384"/>
                </a:cubicBezTo>
                <a:cubicBezTo>
                  <a:pt x="1653" y="384"/>
                  <a:pt x="1653" y="384"/>
                  <a:pt x="1653" y="384"/>
                </a:cubicBezTo>
                <a:cubicBezTo>
                  <a:pt x="1653" y="384"/>
                  <a:pt x="1653" y="384"/>
                  <a:pt x="1653" y="384"/>
                </a:cubicBezTo>
                <a:cubicBezTo>
                  <a:pt x="1652" y="385"/>
                  <a:pt x="1652" y="385"/>
                  <a:pt x="1652" y="385"/>
                </a:cubicBezTo>
                <a:cubicBezTo>
                  <a:pt x="1652" y="385"/>
                  <a:pt x="1651" y="385"/>
                  <a:pt x="1651" y="385"/>
                </a:cubicBezTo>
                <a:cubicBezTo>
                  <a:pt x="1651" y="385"/>
                  <a:pt x="1651" y="385"/>
                  <a:pt x="1651" y="385"/>
                </a:cubicBezTo>
                <a:cubicBezTo>
                  <a:pt x="1651" y="385"/>
                  <a:pt x="1651" y="386"/>
                  <a:pt x="1651" y="386"/>
                </a:cubicBezTo>
                <a:cubicBezTo>
                  <a:pt x="1651" y="386"/>
                  <a:pt x="1651" y="386"/>
                  <a:pt x="1651" y="386"/>
                </a:cubicBezTo>
                <a:cubicBezTo>
                  <a:pt x="1650" y="386"/>
                  <a:pt x="1650" y="386"/>
                  <a:pt x="1650" y="386"/>
                </a:cubicBezTo>
                <a:cubicBezTo>
                  <a:pt x="1650" y="387"/>
                  <a:pt x="1650" y="387"/>
                  <a:pt x="1650" y="387"/>
                </a:cubicBezTo>
                <a:cubicBezTo>
                  <a:pt x="1650" y="387"/>
                  <a:pt x="1650" y="387"/>
                  <a:pt x="1651" y="387"/>
                </a:cubicBezTo>
                <a:cubicBezTo>
                  <a:pt x="1651" y="387"/>
                  <a:pt x="1651" y="387"/>
                  <a:pt x="1651" y="387"/>
                </a:cubicBezTo>
                <a:cubicBezTo>
                  <a:pt x="1652" y="387"/>
                  <a:pt x="1652" y="387"/>
                  <a:pt x="1652" y="387"/>
                </a:cubicBezTo>
                <a:cubicBezTo>
                  <a:pt x="1652" y="386"/>
                  <a:pt x="1652" y="386"/>
                  <a:pt x="1652" y="386"/>
                </a:cubicBezTo>
                <a:cubicBezTo>
                  <a:pt x="1653" y="386"/>
                  <a:pt x="1653" y="386"/>
                  <a:pt x="1653" y="386"/>
                </a:cubicBezTo>
                <a:cubicBezTo>
                  <a:pt x="1653" y="385"/>
                  <a:pt x="1653" y="385"/>
                  <a:pt x="1653" y="385"/>
                </a:cubicBezTo>
                <a:cubicBezTo>
                  <a:pt x="1653" y="385"/>
                  <a:pt x="1654" y="385"/>
                  <a:pt x="1654" y="385"/>
                </a:cubicBezTo>
                <a:cubicBezTo>
                  <a:pt x="1654" y="385"/>
                  <a:pt x="1654" y="385"/>
                  <a:pt x="1654" y="385"/>
                </a:cubicBezTo>
                <a:cubicBezTo>
                  <a:pt x="1655" y="385"/>
                  <a:pt x="1655" y="385"/>
                  <a:pt x="1655" y="385"/>
                </a:cubicBezTo>
                <a:cubicBezTo>
                  <a:pt x="1656" y="385"/>
                  <a:pt x="1656" y="385"/>
                  <a:pt x="1656" y="385"/>
                </a:cubicBezTo>
                <a:cubicBezTo>
                  <a:pt x="1657" y="385"/>
                  <a:pt x="1657" y="384"/>
                  <a:pt x="1658" y="384"/>
                </a:cubicBezTo>
                <a:cubicBezTo>
                  <a:pt x="1658" y="384"/>
                  <a:pt x="1659" y="385"/>
                  <a:pt x="1659" y="385"/>
                </a:cubicBezTo>
                <a:cubicBezTo>
                  <a:pt x="1659" y="385"/>
                  <a:pt x="1660" y="385"/>
                  <a:pt x="1660" y="385"/>
                </a:cubicBezTo>
                <a:cubicBezTo>
                  <a:pt x="1660" y="384"/>
                  <a:pt x="1660" y="384"/>
                  <a:pt x="1660" y="384"/>
                </a:cubicBezTo>
                <a:cubicBezTo>
                  <a:pt x="1660" y="384"/>
                  <a:pt x="1660" y="383"/>
                  <a:pt x="1660" y="383"/>
                </a:cubicBezTo>
                <a:close/>
                <a:moveTo>
                  <a:pt x="1668" y="381"/>
                </a:moveTo>
                <a:cubicBezTo>
                  <a:pt x="1667" y="381"/>
                  <a:pt x="1667" y="382"/>
                  <a:pt x="1667" y="382"/>
                </a:cubicBezTo>
                <a:cubicBezTo>
                  <a:pt x="1667" y="382"/>
                  <a:pt x="1666" y="382"/>
                  <a:pt x="1666" y="382"/>
                </a:cubicBezTo>
                <a:cubicBezTo>
                  <a:pt x="1666" y="382"/>
                  <a:pt x="1666" y="382"/>
                  <a:pt x="1666" y="382"/>
                </a:cubicBezTo>
                <a:cubicBezTo>
                  <a:pt x="1666" y="382"/>
                  <a:pt x="1665" y="382"/>
                  <a:pt x="1665" y="382"/>
                </a:cubicBezTo>
                <a:cubicBezTo>
                  <a:pt x="1665" y="382"/>
                  <a:pt x="1665" y="383"/>
                  <a:pt x="1665" y="383"/>
                </a:cubicBezTo>
                <a:cubicBezTo>
                  <a:pt x="1665" y="383"/>
                  <a:pt x="1664" y="383"/>
                  <a:pt x="1664" y="383"/>
                </a:cubicBezTo>
                <a:cubicBezTo>
                  <a:pt x="1664" y="383"/>
                  <a:pt x="1663" y="383"/>
                  <a:pt x="1663" y="384"/>
                </a:cubicBezTo>
                <a:cubicBezTo>
                  <a:pt x="1663" y="384"/>
                  <a:pt x="1663" y="384"/>
                  <a:pt x="1664" y="384"/>
                </a:cubicBezTo>
                <a:cubicBezTo>
                  <a:pt x="1664" y="384"/>
                  <a:pt x="1664" y="384"/>
                  <a:pt x="1665" y="384"/>
                </a:cubicBezTo>
                <a:cubicBezTo>
                  <a:pt x="1665" y="384"/>
                  <a:pt x="1666" y="384"/>
                  <a:pt x="1666" y="383"/>
                </a:cubicBezTo>
                <a:cubicBezTo>
                  <a:pt x="1666" y="383"/>
                  <a:pt x="1667" y="383"/>
                  <a:pt x="1667" y="383"/>
                </a:cubicBezTo>
                <a:cubicBezTo>
                  <a:pt x="1667" y="383"/>
                  <a:pt x="1667" y="383"/>
                  <a:pt x="1667" y="383"/>
                </a:cubicBezTo>
                <a:cubicBezTo>
                  <a:pt x="1667" y="382"/>
                  <a:pt x="1668" y="382"/>
                  <a:pt x="1668" y="382"/>
                </a:cubicBezTo>
                <a:cubicBezTo>
                  <a:pt x="1668" y="382"/>
                  <a:pt x="1669" y="382"/>
                  <a:pt x="1669" y="382"/>
                </a:cubicBezTo>
                <a:cubicBezTo>
                  <a:pt x="1669" y="382"/>
                  <a:pt x="1669" y="382"/>
                  <a:pt x="1669" y="382"/>
                </a:cubicBezTo>
                <a:cubicBezTo>
                  <a:pt x="1668" y="381"/>
                  <a:pt x="1668" y="381"/>
                  <a:pt x="1668" y="381"/>
                </a:cubicBezTo>
                <a:close/>
                <a:moveTo>
                  <a:pt x="1651" y="391"/>
                </a:moveTo>
                <a:cubicBezTo>
                  <a:pt x="1650" y="391"/>
                  <a:pt x="1650" y="391"/>
                  <a:pt x="1650" y="391"/>
                </a:cubicBezTo>
                <a:cubicBezTo>
                  <a:pt x="1649" y="391"/>
                  <a:pt x="1649" y="391"/>
                  <a:pt x="1649" y="391"/>
                </a:cubicBezTo>
                <a:cubicBezTo>
                  <a:pt x="1649" y="391"/>
                  <a:pt x="1649" y="391"/>
                  <a:pt x="1649" y="391"/>
                </a:cubicBezTo>
                <a:cubicBezTo>
                  <a:pt x="1649" y="391"/>
                  <a:pt x="1650" y="391"/>
                  <a:pt x="1650" y="391"/>
                </a:cubicBezTo>
                <a:cubicBezTo>
                  <a:pt x="1650" y="391"/>
                  <a:pt x="1650" y="391"/>
                  <a:pt x="1651" y="391"/>
                </a:cubicBezTo>
                <a:close/>
                <a:moveTo>
                  <a:pt x="1679" y="377"/>
                </a:moveTo>
                <a:cubicBezTo>
                  <a:pt x="1679" y="377"/>
                  <a:pt x="1679" y="377"/>
                  <a:pt x="1680" y="377"/>
                </a:cubicBezTo>
                <a:cubicBezTo>
                  <a:pt x="1679" y="377"/>
                  <a:pt x="1679" y="377"/>
                  <a:pt x="1679" y="377"/>
                </a:cubicBezTo>
                <a:cubicBezTo>
                  <a:pt x="1679" y="377"/>
                  <a:pt x="1679" y="377"/>
                  <a:pt x="1679" y="377"/>
                </a:cubicBezTo>
                <a:close/>
                <a:moveTo>
                  <a:pt x="1681" y="373"/>
                </a:moveTo>
                <a:cubicBezTo>
                  <a:pt x="1681" y="374"/>
                  <a:pt x="1681" y="374"/>
                  <a:pt x="1681" y="374"/>
                </a:cubicBezTo>
                <a:cubicBezTo>
                  <a:pt x="1681" y="374"/>
                  <a:pt x="1681" y="374"/>
                  <a:pt x="1682" y="374"/>
                </a:cubicBezTo>
                <a:cubicBezTo>
                  <a:pt x="1681" y="374"/>
                  <a:pt x="1681" y="374"/>
                  <a:pt x="1681" y="373"/>
                </a:cubicBezTo>
                <a:cubicBezTo>
                  <a:pt x="1681" y="373"/>
                  <a:pt x="1681" y="373"/>
                  <a:pt x="1681" y="373"/>
                </a:cubicBezTo>
                <a:close/>
                <a:moveTo>
                  <a:pt x="1596" y="301"/>
                </a:moveTo>
                <a:cubicBezTo>
                  <a:pt x="1596" y="301"/>
                  <a:pt x="1596" y="301"/>
                  <a:pt x="1596" y="300"/>
                </a:cubicBezTo>
                <a:cubicBezTo>
                  <a:pt x="1596" y="300"/>
                  <a:pt x="1596" y="300"/>
                  <a:pt x="1595" y="300"/>
                </a:cubicBezTo>
                <a:cubicBezTo>
                  <a:pt x="1595" y="300"/>
                  <a:pt x="1595" y="300"/>
                  <a:pt x="1595" y="300"/>
                </a:cubicBezTo>
                <a:cubicBezTo>
                  <a:pt x="1595" y="300"/>
                  <a:pt x="1595" y="300"/>
                  <a:pt x="1594" y="300"/>
                </a:cubicBezTo>
                <a:cubicBezTo>
                  <a:pt x="1594" y="300"/>
                  <a:pt x="1594" y="300"/>
                  <a:pt x="1594" y="300"/>
                </a:cubicBezTo>
                <a:cubicBezTo>
                  <a:pt x="1594" y="300"/>
                  <a:pt x="1595" y="300"/>
                  <a:pt x="1595" y="300"/>
                </a:cubicBezTo>
                <a:cubicBezTo>
                  <a:pt x="1595" y="300"/>
                  <a:pt x="1595" y="300"/>
                  <a:pt x="1595" y="300"/>
                </a:cubicBezTo>
                <a:cubicBezTo>
                  <a:pt x="1595" y="300"/>
                  <a:pt x="1595" y="299"/>
                  <a:pt x="1595" y="299"/>
                </a:cubicBezTo>
                <a:cubicBezTo>
                  <a:pt x="1594" y="299"/>
                  <a:pt x="1594" y="299"/>
                  <a:pt x="1594" y="299"/>
                </a:cubicBezTo>
                <a:cubicBezTo>
                  <a:pt x="1593" y="299"/>
                  <a:pt x="1593" y="299"/>
                  <a:pt x="1593" y="299"/>
                </a:cubicBezTo>
                <a:cubicBezTo>
                  <a:pt x="1593" y="299"/>
                  <a:pt x="1592" y="299"/>
                  <a:pt x="1592" y="299"/>
                </a:cubicBezTo>
                <a:cubicBezTo>
                  <a:pt x="1592" y="299"/>
                  <a:pt x="1592" y="299"/>
                  <a:pt x="1592" y="299"/>
                </a:cubicBezTo>
                <a:cubicBezTo>
                  <a:pt x="1591" y="299"/>
                  <a:pt x="1591" y="299"/>
                  <a:pt x="1591" y="299"/>
                </a:cubicBezTo>
                <a:cubicBezTo>
                  <a:pt x="1591" y="300"/>
                  <a:pt x="1591" y="300"/>
                  <a:pt x="1591" y="300"/>
                </a:cubicBezTo>
                <a:cubicBezTo>
                  <a:pt x="1591" y="300"/>
                  <a:pt x="1591" y="301"/>
                  <a:pt x="1591" y="301"/>
                </a:cubicBezTo>
                <a:cubicBezTo>
                  <a:pt x="1591" y="301"/>
                  <a:pt x="1591" y="301"/>
                  <a:pt x="1592" y="301"/>
                </a:cubicBezTo>
                <a:cubicBezTo>
                  <a:pt x="1592" y="301"/>
                  <a:pt x="1592" y="301"/>
                  <a:pt x="1592" y="301"/>
                </a:cubicBezTo>
                <a:cubicBezTo>
                  <a:pt x="1592" y="301"/>
                  <a:pt x="1592" y="301"/>
                  <a:pt x="1592" y="301"/>
                </a:cubicBezTo>
                <a:cubicBezTo>
                  <a:pt x="1592" y="301"/>
                  <a:pt x="1593" y="301"/>
                  <a:pt x="1593" y="301"/>
                </a:cubicBezTo>
                <a:cubicBezTo>
                  <a:pt x="1593" y="301"/>
                  <a:pt x="1593" y="302"/>
                  <a:pt x="1593" y="302"/>
                </a:cubicBezTo>
                <a:cubicBezTo>
                  <a:pt x="1593" y="302"/>
                  <a:pt x="1594" y="302"/>
                  <a:pt x="1594" y="302"/>
                </a:cubicBezTo>
                <a:cubicBezTo>
                  <a:pt x="1594" y="302"/>
                  <a:pt x="1595" y="302"/>
                  <a:pt x="1595" y="302"/>
                </a:cubicBezTo>
                <a:cubicBezTo>
                  <a:pt x="1595" y="302"/>
                  <a:pt x="1595" y="302"/>
                  <a:pt x="1595" y="302"/>
                </a:cubicBezTo>
                <a:cubicBezTo>
                  <a:pt x="1595" y="302"/>
                  <a:pt x="1595" y="301"/>
                  <a:pt x="1595" y="301"/>
                </a:cubicBezTo>
                <a:cubicBezTo>
                  <a:pt x="1595" y="301"/>
                  <a:pt x="1595" y="301"/>
                  <a:pt x="1595" y="301"/>
                </a:cubicBezTo>
                <a:cubicBezTo>
                  <a:pt x="1595" y="301"/>
                  <a:pt x="1596" y="301"/>
                  <a:pt x="1596" y="301"/>
                </a:cubicBezTo>
                <a:close/>
                <a:moveTo>
                  <a:pt x="1676" y="379"/>
                </a:moveTo>
                <a:cubicBezTo>
                  <a:pt x="1676" y="379"/>
                  <a:pt x="1675" y="379"/>
                  <a:pt x="1675" y="380"/>
                </a:cubicBezTo>
                <a:cubicBezTo>
                  <a:pt x="1675" y="380"/>
                  <a:pt x="1675" y="380"/>
                  <a:pt x="1675" y="380"/>
                </a:cubicBezTo>
                <a:cubicBezTo>
                  <a:pt x="1676" y="380"/>
                  <a:pt x="1676" y="380"/>
                  <a:pt x="1676" y="380"/>
                </a:cubicBezTo>
                <a:cubicBezTo>
                  <a:pt x="1676" y="379"/>
                  <a:pt x="1676" y="379"/>
                  <a:pt x="1677" y="379"/>
                </a:cubicBezTo>
                <a:cubicBezTo>
                  <a:pt x="1677" y="379"/>
                  <a:pt x="1676" y="378"/>
                  <a:pt x="1676" y="378"/>
                </a:cubicBezTo>
                <a:cubicBezTo>
                  <a:pt x="1676" y="379"/>
                  <a:pt x="1676" y="379"/>
                  <a:pt x="1676" y="379"/>
                </a:cubicBezTo>
                <a:close/>
                <a:moveTo>
                  <a:pt x="1680" y="375"/>
                </a:moveTo>
                <a:cubicBezTo>
                  <a:pt x="1680" y="376"/>
                  <a:pt x="1680" y="376"/>
                  <a:pt x="1680" y="376"/>
                </a:cubicBezTo>
                <a:cubicBezTo>
                  <a:pt x="1680" y="376"/>
                  <a:pt x="1680" y="376"/>
                  <a:pt x="1680" y="376"/>
                </a:cubicBezTo>
                <a:cubicBezTo>
                  <a:pt x="1680" y="376"/>
                  <a:pt x="1680" y="375"/>
                  <a:pt x="1680" y="375"/>
                </a:cubicBezTo>
                <a:cubicBezTo>
                  <a:pt x="1680" y="375"/>
                  <a:pt x="1680" y="375"/>
                  <a:pt x="1680" y="375"/>
                </a:cubicBezTo>
                <a:close/>
                <a:moveTo>
                  <a:pt x="1593" y="305"/>
                </a:moveTo>
                <a:cubicBezTo>
                  <a:pt x="1593" y="305"/>
                  <a:pt x="1592" y="305"/>
                  <a:pt x="1592" y="305"/>
                </a:cubicBezTo>
                <a:cubicBezTo>
                  <a:pt x="1592" y="305"/>
                  <a:pt x="1592" y="306"/>
                  <a:pt x="1592" y="306"/>
                </a:cubicBezTo>
                <a:cubicBezTo>
                  <a:pt x="1592" y="306"/>
                  <a:pt x="1592" y="306"/>
                  <a:pt x="1593" y="306"/>
                </a:cubicBezTo>
                <a:cubicBezTo>
                  <a:pt x="1593" y="306"/>
                  <a:pt x="1593" y="306"/>
                  <a:pt x="1593" y="306"/>
                </a:cubicBezTo>
                <a:cubicBezTo>
                  <a:pt x="1594" y="306"/>
                  <a:pt x="1594" y="306"/>
                  <a:pt x="1594" y="306"/>
                </a:cubicBezTo>
                <a:cubicBezTo>
                  <a:pt x="1594" y="306"/>
                  <a:pt x="1594" y="306"/>
                  <a:pt x="1595" y="306"/>
                </a:cubicBezTo>
                <a:cubicBezTo>
                  <a:pt x="1595" y="306"/>
                  <a:pt x="1594" y="305"/>
                  <a:pt x="1594" y="305"/>
                </a:cubicBezTo>
                <a:cubicBezTo>
                  <a:pt x="1595" y="305"/>
                  <a:pt x="1595" y="305"/>
                  <a:pt x="1595" y="305"/>
                </a:cubicBezTo>
                <a:cubicBezTo>
                  <a:pt x="1594" y="305"/>
                  <a:pt x="1594" y="305"/>
                  <a:pt x="1593" y="305"/>
                </a:cubicBezTo>
                <a:close/>
                <a:moveTo>
                  <a:pt x="1691" y="357"/>
                </a:moveTo>
                <a:cubicBezTo>
                  <a:pt x="1691" y="357"/>
                  <a:pt x="1691" y="357"/>
                  <a:pt x="1690" y="356"/>
                </a:cubicBezTo>
                <a:cubicBezTo>
                  <a:pt x="1690" y="356"/>
                  <a:pt x="1690" y="356"/>
                  <a:pt x="1690" y="356"/>
                </a:cubicBezTo>
                <a:cubicBezTo>
                  <a:pt x="1689" y="356"/>
                  <a:pt x="1689" y="357"/>
                  <a:pt x="1689" y="357"/>
                </a:cubicBezTo>
                <a:cubicBezTo>
                  <a:pt x="1689" y="357"/>
                  <a:pt x="1689" y="357"/>
                  <a:pt x="1690" y="357"/>
                </a:cubicBezTo>
                <a:cubicBezTo>
                  <a:pt x="1690" y="357"/>
                  <a:pt x="1690" y="358"/>
                  <a:pt x="1691" y="358"/>
                </a:cubicBezTo>
                <a:cubicBezTo>
                  <a:pt x="1691" y="358"/>
                  <a:pt x="1691" y="357"/>
                  <a:pt x="1691" y="357"/>
                </a:cubicBezTo>
                <a:close/>
                <a:moveTo>
                  <a:pt x="1708" y="272"/>
                </a:moveTo>
                <a:cubicBezTo>
                  <a:pt x="1708" y="272"/>
                  <a:pt x="1708" y="272"/>
                  <a:pt x="1708" y="272"/>
                </a:cubicBezTo>
                <a:cubicBezTo>
                  <a:pt x="1708" y="272"/>
                  <a:pt x="1708" y="273"/>
                  <a:pt x="1708" y="273"/>
                </a:cubicBezTo>
                <a:cubicBezTo>
                  <a:pt x="1708" y="273"/>
                  <a:pt x="1708" y="273"/>
                  <a:pt x="1708" y="273"/>
                </a:cubicBezTo>
                <a:cubicBezTo>
                  <a:pt x="1708" y="273"/>
                  <a:pt x="1709" y="273"/>
                  <a:pt x="1709" y="272"/>
                </a:cubicBezTo>
                <a:cubicBezTo>
                  <a:pt x="1709" y="272"/>
                  <a:pt x="1708" y="272"/>
                  <a:pt x="1708" y="272"/>
                </a:cubicBezTo>
                <a:cubicBezTo>
                  <a:pt x="1708" y="272"/>
                  <a:pt x="1708" y="272"/>
                  <a:pt x="1708" y="272"/>
                </a:cubicBezTo>
                <a:close/>
                <a:moveTo>
                  <a:pt x="1723" y="298"/>
                </a:moveTo>
                <a:cubicBezTo>
                  <a:pt x="1723" y="298"/>
                  <a:pt x="1723" y="298"/>
                  <a:pt x="1723" y="298"/>
                </a:cubicBezTo>
                <a:cubicBezTo>
                  <a:pt x="1722" y="298"/>
                  <a:pt x="1722" y="298"/>
                  <a:pt x="1722" y="298"/>
                </a:cubicBezTo>
                <a:cubicBezTo>
                  <a:pt x="1722" y="298"/>
                  <a:pt x="1722" y="298"/>
                  <a:pt x="1722" y="298"/>
                </a:cubicBezTo>
                <a:cubicBezTo>
                  <a:pt x="1721" y="298"/>
                  <a:pt x="1721" y="298"/>
                  <a:pt x="1721" y="298"/>
                </a:cubicBezTo>
                <a:cubicBezTo>
                  <a:pt x="1720" y="298"/>
                  <a:pt x="1720" y="299"/>
                  <a:pt x="1719" y="299"/>
                </a:cubicBezTo>
                <a:cubicBezTo>
                  <a:pt x="1719" y="299"/>
                  <a:pt x="1719" y="299"/>
                  <a:pt x="1719" y="299"/>
                </a:cubicBezTo>
                <a:cubicBezTo>
                  <a:pt x="1718" y="299"/>
                  <a:pt x="1718" y="299"/>
                  <a:pt x="1718" y="299"/>
                </a:cubicBezTo>
                <a:cubicBezTo>
                  <a:pt x="1718" y="299"/>
                  <a:pt x="1718" y="299"/>
                  <a:pt x="1718" y="299"/>
                </a:cubicBezTo>
                <a:cubicBezTo>
                  <a:pt x="1719" y="299"/>
                  <a:pt x="1719" y="299"/>
                  <a:pt x="1719" y="299"/>
                </a:cubicBezTo>
                <a:cubicBezTo>
                  <a:pt x="1719" y="299"/>
                  <a:pt x="1720" y="299"/>
                  <a:pt x="1720" y="300"/>
                </a:cubicBezTo>
                <a:cubicBezTo>
                  <a:pt x="1719" y="300"/>
                  <a:pt x="1719" y="300"/>
                  <a:pt x="1719" y="300"/>
                </a:cubicBezTo>
                <a:cubicBezTo>
                  <a:pt x="1719" y="300"/>
                  <a:pt x="1719" y="301"/>
                  <a:pt x="1719" y="301"/>
                </a:cubicBezTo>
                <a:cubicBezTo>
                  <a:pt x="1719" y="301"/>
                  <a:pt x="1719" y="302"/>
                  <a:pt x="1719" y="302"/>
                </a:cubicBezTo>
                <a:cubicBezTo>
                  <a:pt x="1719" y="302"/>
                  <a:pt x="1719" y="303"/>
                  <a:pt x="1719" y="303"/>
                </a:cubicBezTo>
                <a:cubicBezTo>
                  <a:pt x="1719" y="303"/>
                  <a:pt x="1718" y="303"/>
                  <a:pt x="1718" y="303"/>
                </a:cubicBezTo>
                <a:cubicBezTo>
                  <a:pt x="1718" y="303"/>
                  <a:pt x="1718" y="303"/>
                  <a:pt x="1718" y="303"/>
                </a:cubicBezTo>
                <a:cubicBezTo>
                  <a:pt x="1718" y="304"/>
                  <a:pt x="1719" y="304"/>
                  <a:pt x="1719" y="304"/>
                </a:cubicBezTo>
                <a:cubicBezTo>
                  <a:pt x="1719" y="305"/>
                  <a:pt x="1719" y="305"/>
                  <a:pt x="1719" y="305"/>
                </a:cubicBezTo>
                <a:cubicBezTo>
                  <a:pt x="1719" y="304"/>
                  <a:pt x="1719" y="304"/>
                  <a:pt x="1719" y="304"/>
                </a:cubicBezTo>
                <a:cubicBezTo>
                  <a:pt x="1719" y="304"/>
                  <a:pt x="1719" y="303"/>
                  <a:pt x="1719" y="303"/>
                </a:cubicBezTo>
                <a:cubicBezTo>
                  <a:pt x="1719" y="303"/>
                  <a:pt x="1720" y="303"/>
                  <a:pt x="1720" y="303"/>
                </a:cubicBezTo>
                <a:cubicBezTo>
                  <a:pt x="1720" y="303"/>
                  <a:pt x="1720" y="303"/>
                  <a:pt x="1720" y="302"/>
                </a:cubicBezTo>
                <a:cubicBezTo>
                  <a:pt x="1720" y="302"/>
                  <a:pt x="1721" y="302"/>
                  <a:pt x="1721" y="302"/>
                </a:cubicBezTo>
                <a:cubicBezTo>
                  <a:pt x="1721" y="302"/>
                  <a:pt x="1722" y="302"/>
                  <a:pt x="1722" y="302"/>
                </a:cubicBezTo>
                <a:cubicBezTo>
                  <a:pt x="1722" y="302"/>
                  <a:pt x="1723" y="302"/>
                  <a:pt x="1724" y="302"/>
                </a:cubicBezTo>
                <a:cubicBezTo>
                  <a:pt x="1724" y="302"/>
                  <a:pt x="1724" y="302"/>
                  <a:pt x="1724" y="302"/>
                </a:cubicBezTo>
                <a:cubicBezTo>
                  <a:pt x="1724" y="301"/>
                  <a:pt x="1724" y="301"/>
                  <a:pt x="1724" y="301"/>
                </a:cubicBezTo>
                <a:cubicBezTo>
                  <a:pt x="1724" y="300"/>
                  <a:pt x="1724" y="300"/>
                  <a:pt x="1724" y="300"/>
                </a:cubicBezTo>
                <a:cubicBezTo>
                  <a:pt x="1724" y="299"/>
                  <a:pt x="1723" y="299"/>
                  <a:pt x="1723" y="298"/>
                </a:cubicBezTo>
                <a:close/>
                <a:moveTo>
                  <a:pt x="1708" y="270"/>
                </a:moveTo>
                <a:cubicBezTo>
                  <a:pt x="1708" y="270"/>
                  <a:pt x="1708" y="270"/>
                  <a:pt x="1708" y="270"/>
                </a:cubicBezTo>
                <a:cubicBezTo>
                  <a:pt x="1707" y="270"/>
                  <a:pt x="1707" y="270"/>
                  <a:pt x="1707" y="270"/>
                </a:cubicBezTo>
                <a:cubicBezTo>
                  <a:pt x="1707" y="271"/>
                  <a:pt x="1708" y="271"/>
                  <a:pt x="1708" y="271"/>
                </a:cubicBezTo>
                <a:cubicBezTo>
                  <a:pt x="1708" y="271"/>
                  <a:pt x="1708" y="271"/>
                  <a:pt x="1709" y="272"/>
                </a:cubicBezTo>
                <a:cubicBezTo>
                  <a:pt x="1709" y="271"/>
                  <a:pt x="1709" y="271"/>
                  <a:pt x="1709" y="271"/>
                </a:cubicBezTo>
                <a:cubicBezTo>
                  <a:pt x="1709" y="271"/>
                  <a:pt x="1708" y="271"/>
                  <a:pt x="1708" y="270"/>
                </a:cubicBezTo>
                <a:close/>
                <a:moveTo>
                  <a:pt x="1685" y="368"/>
                </a:moveTo>
                <a:cubicBezTo>
                  <a:pt x="1685" y="368"/>
                  <a:pt x="1685" y="368"/>
                  <a:pt x="1685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5" y="368"/>
                  <a:pt x="1685" y="368"/>
                </a:cubicBezTo>
                <a:close/>
                <a:moveTo>
                  <a:pt x="1590" y="298"/>
                </a:moveTo>
                <a:cubicBezTo>
                  <a:pt x="1590" y="298"/>
                  <a:pt x="1590" y="298"/>
                  <a:pt x="1590" y="298"/>
                </a:cubicBezTo>
                <a:cubicBezTo>
                  <a:pt x="1590" y="298"/>
                  <a:pt x="1589" y="298"/>
                  <a:pt x="1589" y="298"/>
                </a:cubicBezTo>
                <a:cubicBezTo>
                  <a:pt x="1589" y="298"/>
                  <a:pt x="1588" y="298"/>
                  <a:pt x="1588" y="298"/>
                </a:cubicBezTo>
                <a:cubicBezTo>
                  <a:pt x="1588" y="298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9" y="299"/>
                  <a:pt x="1589" y="299"/>
                </a:cubicBezTo>
                <a:cubicBezTo>
                  <a:pt x="1589" y="299"/>
                  <a:pt x="1589" y="299"/>
                  <a:pt x="1589" y="300"/>
                </a:cubicBezTo>
                <a:cubicBezTo>
                  <a:pt x="1589" y="300"/>
                  <a:pt x="1590" y="300"/>
                  <a:pt x="1590" y="300"/>
                </a:cubicBezTo>
                <a:cubicBezTo>
                  <a:pt x="1590" y="299"/>
                  <a:pt x="1590" y="299"/>
                  <a:pt x="1590" y="299"/>
                </a:cubicBezTo>
                <a:cubicBezTo>
                  <a:pt x="1590" y="299"/>
                  <a:pt x="1590" y="299"/>
                  <a:pt x="1590" y="299"/>
                </a:cubicBezTo>
                <a:cubicBezTo>
                  <a:pt x="1590" y="298"/>
                  <a:pt x="1590" y="298"/>
                  <a:pt x="1590" y="298"/>
                </a:cubicBezTo>
                <a:close/>
                <a:moveTo>
                  <a:pt x="1693" y="358"/>
                </a:moveTo>
                <a:cubicBezTo>
                  <a:pt x="1693" y="358"/>
                  <a:pt x="1693" y="358"/>
                  <a:pt x="1693" y="359"/>
                </a:cubicBezTo>
                <a:cubicBezTo>
                  <a:pt x="1692" y="359"/>
                  <a:pt x="1692" y="359"/>
                  <a:pt x="1692" y="360"/>
                </a:cubicBezTo>
                <a:cubicBezTo>
                  <a:pt x="1692" y="360"/>
                  <a:pt x="1692" y="360"/>
                  <a:pt x="1692" y="360"/>
                </a:cubicBezTo>
                <a:cubicBezTo>
                  <a:pt x="1691" y="360"/>
                  <a:pt x="1691" y="360"/>
                  <a:pt x="1691" y="360"/>
                </a:cubicBezTo>
                <a:cubicBezTo>
                  <a:pt x="1690" y="360"/>
                  <a:pt x="1690" y="361"/>
                  <a:pt x="1690" y="361"/>
                </a:cubicBezTo>
                <a:cubicBezTo>
                  <a:pt x="1690" y="361"/>
                  <a:pt x="1689" y="360"/>
                  <a:pt x="1689" y="360"/>
                </a:cubicBezTo>
                <a:cubicBezTo>
                  <a:pt x="1689" y="360"/>
                  <a:pt x="1689" y="361"/>
                  <a:pt x="1689" y="361"/>
                </a:cubicBezTo>
                <a:cubicBezTo>
                  <a:pt x="1689" y="361"/>
                  <a:pt x="1689" y="361"/>
                  <a:pt x="1690" y="361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3"/>
                  <a:pt x="1690" y="363"/>
                </a:cubicBezTo>
                <a:cubicBezTo>
                  <a:pt x="1690" y="363"/>
                  <a:pt x="1690" y="363"/>
                  <a:pt x="1690" y="363"/>
                </a:cubicBezTo>
                <a:cubicBezTo>
                  <a:pt x="1690" y="363"/>
                  <a:pt x="1690" y="363"/>
                  <a:pt x="1690" y="363"/>
                </a:cubicBezTo>
                <a:cubicBezTo>
                  <a:pt x="1690" y="363"/>
                  <a:pt x="1690" y="363"/>
                  <a:pt x="1691" y="363"/>
                </a:cubicBezTo>
                <a:cubicBezTo>
                  <a:pt x="1691" y="362"/>
                  <a:pt x="1691" y="362"/>
                  <a:pt x="1691" y="362"/>
                </a:cubicBezTo>
                <a:cubicBezTo>
                  <a:pt x="1691" y="362"/>
                  <a:pt x="1692" y="362"/>
                  <a:pt x="1692" y="362"/>
                </a:cubicBezTo>
                <a:cubicBezTo>
                  <a:pt x="1692" y="362"/>
                  <a:pt x="1693" y="362"/>
                  <a:pt x="1693" y="362"/>
                </a:cubicBezTo>
                <a:cubicBezTo>
                  <a:pt x="1693" y="362"/>
                  <a:pt x="1693" y="361"/>
                  <a:pt x="1693" y="361"/>
                </a:cubicBezTo>
                <a:cubicBezTo>
                  <a:pt x="1693" y="361"/>
                  <a:pt x="1693" y="361"/>
                  <a:pt x="1694" y="361"/>
                </a:cubicBezTo>
                <a:cubicBezTo>
                  <a:pt x="1694" y="361"/>
                  <a:pt x="1694" y="361"/>
                  <a:pt x="1694" y="361"/>
                </a:cubicBezTo>
                <a:cubicBezTo>
                  <a:pt x="1694" y="360"/>
                  <a:pt x="1694" y="360"/>
                  <a:pt x="1694" y="360"/>
                </a:cubicBezTo>
                <a:cubicBezTo>
                  <a:pt x="1694" y="359"/>
                  <a:pt x="1693" y="359"/>
                  <a:pt x="1693" y="358"/>
                </a:cubicBezTo>
                <a:close/>
                <a:moveTo>
                  <a:pt x="1694" y="358"/>
                </a:moveTo>
                <a:cubicBezTo>
                  <a:pt x="1694" y="358"/>
                  <a:pt x="1694" y="359"/>
                  <a:pt x="1694" y="359"/>
                </a:cubicBezTo>
                <a:cubicBezTo>
                  <a:pt x="1694" y="359"/>
                  <a:pt x="1695" y="359"/>
                  <a:pt x="1695" y="360"/>
                </a:cubicBezTo>
                <a:cubicBezTo>
                  <a:pt x="1695" y="360"/>
                  <a:pt x="1695" y="360"/>
                  <a:pt x="1695" y="360"/>
                </a:cubicBezTo>
                <a:cubicBezTo>
                  <a:pt x="1695" y="360"/>
                  <a:pt x="1695" y="360"/>
                  <a:pt x="1696" y="360"/>
                </a:cubicBezTo>
                <a:cubicBezTo>
                  <a:pt x="1696" y="359"/>
                  <a:pt x="1696" y="359"/>
                  <a:pt x="1696" y="359"/>
                </a:cubicBezTo>
                <a:cubicBezTo>
                  <a:pt x="1696" y="359"/>
                  <a:pt x="1695" y="358"/>
                  <a:pt x="1695" y="358"/>
                </a:cubicBezTo>
                <a:cubicBezTo>
                  <a:pt x="1695" y="358"/>
                  <a:pt x="1695" y="358"/>
                  <a:pt x="1694" y="358"/>
                </a:cubicBezTo>
                <a:close/>
                <a:moveTo>
                  <a:pt x="1678" y="377"/>
                </a:moveTo>
                <a:cubicBezTo>
                  <a:pt x="1678" y="377"/>
                  <a:pt x="1678" y="378"/>
                  <a:pt x="1678" y="378"/>
                </a:cubicBezTo>
                <a:cubicBezTo>
                  <a:pt x="1678" y="378"/>
                  <a:pt x="1678" y="378"/>
                  <a:pt x="1678" y="378"/>
                </a:cubicBezTo>
                <a:cubicBezTo>
                  <a:pt x="1678" y="378"/>
                  <a:pt x="1678" y="378"/>
                  <a:pt x="1678" y="378"/>
                </a:cubicBezTo>
                <a:cubicBezTo>
                  <a:pt x="1678" y="377"/>
                  <a:pt x="1678" y="377"/>
                  <a:pt x="1678" y="377"/>
                </a:cubicBezTo>
                <a:cubicBezTo>
                  <a:pt x="1678" y="377"/>
                  <a:pt x="1678" y="377"/>
                  <a:pt x="1678" y="377"/>
                </a:cubicBezTo>
                <a:close/>
                <a:moveTo>
                  <a:pt x="1596" y="304"/>
                </a:move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4" y="304"/>
                </a:cubicBezTo>
                <a:cubicBezTo>
                  <a:pt x="1594" y="304"/>
                  <a:pt x="1594" y="304"/>
                  <a:pt x="1594" y="305"/>
                </a:cubicBezTo>
                <a:cubicBezTo>
                  <a:pt x="1595" y="305"/>
                  <a:pt x="1595" y="304"/>
                  <a:pt x="1595" y="304"/>
                </a:cubicBezTo>
                <a:cubicBezTo>
                  <a:pt x="1595" y="304"/>
                  <a:pt x="1595" y="304"/>
                  <a:pt x="1596" y="304"/>
                </a:cubicBezTo>
                <a:close/>
                <a:moveTo>
                  <a:pt x="1687" y="365"/>
                </a:moveTo>
                <a:cubicBezTo>
                  <a:pt x="1687" y="365"/>
                  <a:pt x="1687" y="365"/>
                  <a:pt x="1687" y="366"/>
                </a:cubicBezTo>
                <a:cubicBezTo>
                  <a:pt x="1687" y="366"/>
                  <a:pt x="1687" y="366"/>
                  <a:pt x="1687" y="366"/>
                </a:cubicBezTo>
                <a:cubicBezTo>
                  <a:pt x="1687" y="366"/>
                  <a:pt x="1687" y="367"/>
                  <a:pt x="1687" y="367"/>
                </a:cubicBezTo>
                <a:cubicBezTo>
                  <a:pt x="1687" y="367"/>
                  <a:pt x="1688" y="367"/>
                  <a:pt x="1688" y="367"/>
                </a:cubicBezTo>
                <a:cubicBezTo>
                  <a:pt x="1688" y="366"/>
                  <a:pt x="1688" y="366"/>
                  <a:pt x="1687" y="366"/>
                </a:cubicBezTo>
                <a:cubicBezTo>
                  <a:pt x="1688" y="366"/>
                  <a:pt x="1688" y="365"/>
                  <a:pt x="1688" y="365"/>
                </a:cubicBezTo>
                <a:cubicBezTo>
                  <a:pt x="1688" y="365"/>
                  <a:pt x="1688" y="365"/>
                  <a:pt x="1687" y="365"/>
                </a:cubicBezTo>
                <a:close/>
                <a:moveTo>
                  <a:pt x="1685" y="370"/>
                </a:moveTo>
                <a:cubicBezTo>
                  <a:pt x="1685" y="370"/>
                  <a:pt x="1685" y="370"/>
                  <a:pt x="1684" y="370"/>
                </a:cubicBezTo>
                <a:cubicBezTo>
                  <a:pt x="1684" y="370"/>
                  <a:pt x="1685" y="370"/>
                  <a:pt x="1685" y="370"/>
                </a:cubicBezTo>
                <a:cubicBezTo>
                  <a:pt x="1685" y="370"/>
                  <a:pt x="1685" y="370"/>
                  <a:pt x="1685" y="370"/>
                </a:cubicBezTo>
                <a:cubicBezTo>
                  <a:pt x="1685" y="370"/>
                  <a:pt x="1686" y="370"/>
                  <a:pt x="1686" y="370"/>
                </a:cubicBezTo>
                <a:cubicBezTo>
                  <a:pt x="1686" y="369"/>
                  <a:pt x="1686" y="369"/>
                  <a:pt x="1685" y="369"/>
                </a:cubicBezTo>
                <a:cubicBezTo>
                  <a:pt x="1685" y="369"/>
                  <a:pt x="1685" y="369"/>
                  <a:pt x="1685" y="370"/>
                </a:cubicBezTo>
                <a:close/>
                <a:moveTo>
                  <a:pt x="1686" y="367"/>
                </a:moveTo>
                <a:cubicBezTo>
                  <a:pt x="1686" y="367"/>
                  <a:pt x="1686" y="368"/>
                  <a:pt x="1686" y="368"/>
                </a:cubicBezTo>
                <a:cubicBezTo>
                  <a:pt x="1686" y="368"/>
                  <a:pt x="1686" y="368"/>
                  <a:pt x="1687" y="368"/>
                </a:cubicBezTo>
                <a:cubicBezTo>
                  <a:pt x="1687" y="368"/>
                  <a:pt x="1687" y="368"/>
                  <a:pt x="1687" y="368"/>
                </a:cubicBezTo>
                <a:cubicBezTo>
                  <a:pt x="1687" y="368"/>
                  <a:pt x="1687" y="368"/>
                  <a:pt x="1687" y="368"/>
                </a:cubicBezTo>
                <a:cubicBezTo>
                  <a:pt x="1687" y="368"/>
                  <a:pt x="1687" y="368"/>
                  <a:pt x="1687" y="367"/>
                </a:cubicBezTo>
                <a:cubicBezTo>
                  <a:pt x="1686" y="367"/>
                  <a:pt x="1686" y="367"/>
                  <a:pt x="1686" y="367"/>
                </a:cubicBezTo>
                <a:close/>
                <a:moveTo>
                  <a:pt x="1594" y="303"/>
                </a:moveTo>
                <a:cubicBezTo>
                  <a:pt x="1594" y="303"/>
                  <a:pt x="1594" y="303"/>
                  <a:pt x="1594" y="303"/>
                </a:cubicBezTo>
                <a:cubicBezTo>
                  <a:pt x="1594" y="303"/>
                  <a:pt x="1594" y="303"/>
                  <a:pt x="1594" y="303"/>
                </a:cubicBezTo>
                <a:cubicBezTo>
                  <a:pt x="1593" y="303"/>
                  <a:pt x="1593" y="303"/>
                  <a:pt x="1593" y="303"/>
                </a:cubicBezTo>
                <a:cubicBezTo>
                  <a:pt x="1593" y="304"/>
                  <a:pt x="1593" y="304"/>
                  <a:pt x="1594" y="304"/>
                </a:cubicBezTo>
                <a:cubicBezTo>
                  <a:pt x="1594" y="304"/>
                  <a:pt x="1594" y="304"/>
                  <a:pt x="1594" y="304"/>
                </a:cubicBezTo>
                <a:cubicBezTo>
                  <a:pt x="1594" y="304"/>
                  <a:pt x="1594" y="303"/>
                  <a:pt x="1594" y="303"/>
                </a:cubicBezTo>
                <a:close/>
                <a:moveTo>
                  <a:pt x="1101" y="33"/>
                </a:moveTo>
                <a:cubicBezTo>
                  <a:pt x="1101" y="33"/>
                  <a:pt x="1101" y="34"/>
                  <a:pt x="1101" y="34"/>
                </a:cubicBezTo>
                <a:cubicBezTo>
                  <a:pt x="1101" y="34"/>
                  <a:pt x="1102" y="35"/>
                  <a:pt x="1102" y="35"/>
                </a:cubicBezTo>
                <a:cubicBezTo>
                  <a:pt x="1102" y="35"/>
                  <a:pt x="1102" y="35"/>
                  <a:pt x="1103" y="35"/>
                </a:cubicBezTo>
                <a:cubicBezTo>
                  <a:pt x="1103" y="35"/>
                  <a:pt x="1103" y="35"/>
                  <a:pt x="1103" y="35"/>
                </a:cubicBezTo>
                <a:cubicBezTo>
                  <a:pt x="1103" y="34"/>
                  <a:pt x="1103" y="34"/>
                  <a:pt x="1102" y="34"/>
                </a:cubicBezTo>
                <a:cubicBezTo>
                  <a:pt x="1102" y="34"/>
                  <a:pt x="1102" y="33"/>
                  <a:pt x="1102" y="33"/>
                </a:cubicBezTo>
                <a:cubicBezTo>
                  <a:pt x="1101" y="33"/>
                  <a:pt x="1101" y="33"/>
                  <a:pt x="1101" y="33"/>
                </a:cubicBezTo>
                <a:close/>
                <a:moveTo>
                  <a:pt x="1302" y="81"/>
                </a:moveTo>
                <a:cubicBezTo>
                  <a:pt x="1303" y="81"/>
                  <a:pt x="1303" y="81"/>
                  <a:pt x="1303" y="81"/>
                </a:cubicBezTo>
                <a:cubicBezTo>
                  <a:pt x="1303" y="81"/>
                  <a:pt x="1304" y="81"/>
                  <a:pt x="1304" y="81"/>
                </a:cubicBezTo>
                <a:cubicBezTo>
                  <a:pt x="1304" y="81"/>
                  <a:pt x="1305" y="81"/>
                  <a:pt x="1305" y="81"/>
                </a:cubicBezTo>
                <a:cubicBezTo>
                  <a:pt x="1305" y="81"/>
                  <a:pt x="1306" y="81"/>
                  <a:pt x="1306" y="82"/>
                </a:cubicBezTo>
                <a:cubicBezTo>
                  <a:pt x="1306" y="82"/>
                  <a:pt x="1307" y="82"/>
                  <a:pt x="1307" y="82"/>
                </a:cubicBezTo>
                <a:cubicBezTo>
                  <a:pt x="1307" y="82"/>
                  <a:pt x="1307" y="81"/>
                  <a:pt x="1308" y="81"/>
                </a:cubicBezTo>
                <a:cubicBezTo>
                  <a:pt x="1308" y="81"/>
                  <a:pt x="1308" y="81"/>
                  <a:pt x="1308" y="81"/>
                </a:cubicBezTo>
                <a:cubicBezTo>
                  <a:pt x="1307" y="81"/>
                  <a:pt x="1307" y="81"/>
                  <a:pt x="1307" y="81"/>
                </a:cubicBezTo>
                <a:cubicBezTo>
                  <a:pt x="1307" y="81"/>
                  <a:pt x="1307" y="81"/>
                  <a:pt x="1307" y="81"/>
                </a:cubicBezTo>
                <a:cubicBezTo>
                  <a:pt x="1307" y="80"/>
                  <a:pt x="1307" y="80"/>
                  <a:pt x="1307" y="80"/>
                </a:cubicBezTo>
                <a:cubicBezTo>
                  <a:pt x="1307" y="80"/>
                  <a:pt x="1307" y="80"/>
                  <a:pt x="1306" y="80"/>
                </a:cubicBezTo>
                <a:cubicBezTo>
                  <a:pt x="1306" y="80"/>
                  <a:pt x="1306" y="80"/>
                  <a:pt x="1306" y="80"/>
                </a:cubicBezTo>
                <a:cubicBezTo>
                  <a:pt x="1306" y="80"/>
                  <a:pt x="1306" y="80"/>
                  <a:pt x="1306" y="80"/>
                </a:cubicBezTo>
                <a:cubicBezTo>
                  <a:pt x="1306" y="80"/>
                  <a:pt x="1305" y="80"/>
                  <a:pt x="1305" y="80"/>
                </a:cubicBezTo>
                <a:cubicBezTo>
                  <a:pt x="1305" y="80"/>
                  <a:pt x="1305" y="80"/>
                  <a:pt x="1305" y="80"/>
                </a:cubicBezTo>
                <a:cubicBezTo>
                  <a:pt x="1305" y="80"/>
                  <a:pt x="1304" y="80"/>
                  <a:pt x="1304" y="80"/>
                </a:cubicBezTo>
                <a:cubicBezTo>
                  <a:pt x="1304" y="80"/>
                  <a:pt x="1304" y="80"/>
                  <a:pt x="1304" y="80"/>
                </a:cubicBezTo>
                <a:cubicBezTo>
                  <a:pt x="1304" y="80"/>
                  <a:pt x="1304" y="80"/>
                  <a:pt x="1303" y="80"/>
                </a:cubicBezTo>
                <a:cubicBezTo>
                  <a:pt x="1303" y="80"/>
                  <a:pt x="1303" y="80"/>
                  <a:pt x="1303" y="80"/>
                </a:cubicBezTo>
                <a:cubicBezTo>
                  <a:pt x="1302" y="80"/>
                  <a:pt x="1302" y="80"/>
                  <a:pt x="1302" y="80"/>
                </a:cubicBezTo>
                <a:cubicBezTo>
                  <a:pt x="1302" y="80"/>
                  <a:pt x="1301" y="80"/>
                  <a:pt x="1301" y="80"/>
                </a:cubicBezTo>
                <a:cubicBezTo>
                  <a:pt x="1301" y="80"/>
                  <a:pt x="1301" y="81"/>
                  <a:pt x="1301" y="81"/>
                </a:cubicBezTo>
                <a:cubicBezTo>
                  <a:pt x="1302" y="81"/>
                  <a:pt x="1302" y="81"/>
                  <a:pt x="1302" y="81"/>
                </a:cubicBezTo>
                <a:close/>
                <a:moveTo>
                  <a:pt x="1743" y="341"/>
                </a:moveTo>
                <a:cubicBezTo>
                  <a:pt x="1742" y="340"/>
                  <a:pt x="1742" y="340"/>
                  <a:pt x="1742" y="340"/>
                </a:cubicBezTo>
                <a:cubicBezTo>
                  <a:pt x="1742" y="339"/>
                  <a:pt x="1742" y="339"/>
                  <a:pt x="1742" y="339"/>
                </a:cubicBezTo>
                <a:cubicBezTo>
                  <a:pt x="1741" y="339"/>
                  <a:pt x="1741" y="338"/>
                  <a:pt x="1741" y="338"/>
                </a:cubicBezTo>
                <a:cubicBezTo>
                  <a:pt x="1740" y="338"/>
                  <a:pt x="1740" y="337"/>
                  <a:pt x="1740" y="337"/>
                </a:cubicBezTo>
                <a:cubicBezTo>
                  <a:pt x="1740" y="337"/>
                  <a:pt x="1740" y="337"/>
                  <a:pt x="1740" y="337"/>
                </a:cubicBezTo>
                <a:cubicBezTo>
                  <a:pt x="1740" y="337"/>
                  <a:pt x="1741" y="337"/>
                  <a:pt x="1741" y="337"/>
                </a:cubicBezTo>
                <a:cubicBezTo>
                  <a:pt x="1741" y="336"/>
                  <a:pt x="1740" y="336"/>
                  <a:pt x="1740" y="336"/>
                </a:cubicBezTo>
                <a:cubicBezTo>
                  <a:pt x="1740" y="336"/>
                  <a:pt x="1739" y="336"/>
                  <a:pt x="1739" y="336"/>
                </a:cubicBezTo>
                <a:cubicBezTo>
                  <a:pt x="1739" y="336"/>
                  <a:pt x="1739" y="336"/>
                  <a:pt x="1738" y="336"/>
                </a:cubicBezTo>
                <a:cubicBezTo>
                  <a:pt x="1738" y="336"/>
                  <a:pt x="1738" y="336"/>
                  <a:pt x="1737" y="336"/>
                </a:cubicBezTo>
                <a:cubicBezTo>
                  <a:pt x="1737" y="336"/>
                  <a:pt x="1737" y="336"/>
                  <a:pt x="1737" y="336"/>
                </a:cubicBezTo>
                <a:cubicBezTo>
                  <a:pt x="1737" y="336"/>
                  <a:pt x="1738" y="337"/>
                  <a:pt x="1738" y="337"/>
                </a:cubicBezTo>
                <a:cubicBezTo>
                  <a:pt x="1738" y="337"/>
                  <a:pt x="1739" y="337"/>
                  <a:pt x="1739" y="337"/>
                </a:cubicBezTo>
                <a:cubicBezTo>
                  <a:pt x="1739" y="337"/>
                  <a:pt x="1739" y="338"/>
                  <a:pt x="1739" y="338"/>
                </a:cubicBezTo>
                <a:cubicBezTo>
                  <a:pt x="1739" y="338"/>
                  <a:pt x="1739" y="338"/>
                  <a:pt x="1739" y="338"/>
                </a:cubicBezTo>
                <a:cubicBezTo>
                  <a:pt x="1739" y="339"/>
                  <a:pt x="1739" y="339"/>
                  <a:pt x="1740" y="339"/>
                </a:cubicBezTo>
                <a:cubicBezTo>
                  <a:pt x="1740" y="340"/>
                  <a:pt x="1740" y="340"/>
                  <a:pt x="1740" y="340"/>
                </a:cubicBezTo>
                <a:cubicBezTo>
                  <a:pt x="1741" y="340"/>
                  <a:pt x="1741" y="340"/>
                  <a:pt x="1741" y="341"/>
                </a:cubicBezTo>
                <a:cubicBezTo>
                  <a:pt x="1741" y="341"/>
                  <a:pt x="1741" y="341"/>
                  <a:pt x="1741" y="341"/>
                </a:cubicBezTo>
                <a:cubicBezTo>
                  <a:pt x="1742" y="341"/>
                  <a:pt x="1742" y="341"/>
                  <a:pt x="1742" y="341"/>
                </a:cubicBezTo>
                <a:cubicBezTo>
                  <a:pt x="1742" y="342"/>
                  <a:pt x="1742" y="342"/>
                  <a:pt x="1743" y="342"/>
                </a:cubicBezTo>
                <a:cubicBezTo>
                  <a:pt x="1743" y="342"/>
                  <a:pt x="1743" y="343"/>
                  <a:pt x="1744" y="343"/>
                </a:cubicBezTo>
                <a:cubicBezTo>
                  <a:pt x="1744" y="343"/>
                  <a:pt x="1744" y="343"/>
                  <a:pt x="1744" y="343"/>
                </a:cubicBezTo>
                <a:cubicBezTo>
                  <a:pt x="1744" y="342"/>
                  <a:pt x="1744" y="342"/>
                  <a:pt x="1744" y="342"/>
                </a:cubicBezTo>
                <a:cubicBezTo>
                  <a:pt x="1743" y="341"/>
                  <a:pt x="1743" y="341"/>
                  <a:pt x="1743" y="341"/>
                </a:cubicBezTo>
                <a:close/>
                <a:moveTo>
                  <a:pt x="1226" y="163"/>
                </a:moveTo>
                <a:cubicBezTo>
                  <a:pt x="1226" y="163"/>
                  <a:pt x="1226" y="162"/>
                  <a:pt x="1226" y="162"/>
                </a:cubicBezTo>
                <a:cubicBezTo>
                  <a:pt x="1225" y="162"/>
                  <a:pt x="1225" y="162"/>
                  <a:pt x="1225" y="162"/>
                </a:cubicBezTo>
                <a:cubicBezTo>
                  <a:pt x="1225" y="162"/>
                  <a:pt x="1225" y="162"/>
                  <a:pt x="1225" y="163"/>
                </a:cubicBezTo>
                <a:cubicBezTo>
                  <a:pt x="1225" y="163"/>
                  <a:pt x="1225" y="163"/>
                  <a:pt x="1226" y="163"/>
                </a:cubicBezTo>
                <a:cubicBezTo>
                  <a:pt x="1226" y="163"/>
                  <a:pt x="1226" y="163"/>
                  <a:pt x="1226" y="163"/>
                </a:cubicBezTo>
                <a:cubicBezTo>
                  <a:pt x="1226" y="164"/>
                  <a:pt x="1226" y="164"/>
                  <a:pt x="1227" y="164"/>
                </a:cubicBezTo>
                <a:cubicBezTo>
                  <a:pt x="1227" y="164"/>
                  <a:pt x="1228" y="164"/>
                  <a:pt x="1228" y="164"/>
                </a:cubicBezTo>
                <a:cubicBezTo>
                  <a:pt x="1228" y="164"/>
                  <a:pt x="1228" y="164"/>
                  <a:pt x="1229" y="164"/>
                </a:cubicBezTo>
                <a:cubicBezTo>
                  <a:pt x="1228" y="163"/>
                  <a:pt x="1228" y="163"/>
                  <a:pt x="1228" y="163"/>
                </a:cubicBezTo>
                <a:cubicBezTo>
                  <a:pt x="1228" y="163"/>
                  <a:pt x="1228" y="163"/>
                  <a:pt x="1227" y="163"/>
                </a:cubicBezTo>
                <a:cubicBezTo>
                  <a:pt x="1227" y="163"/>
                  <a:pt x="1227" y="163"/>
                  <a:pt x="1226" y="163"/>
                </a:cubicBezTo>
                <a:close/>
                <a:moveTo>
                  <a:pt x="1296" y="75"/>
                </a:moveTo>
                <a:cubicBezTo>
                  <a:pt x="1295" y="75"/>
                  <a:pt x="1295" y="75"/>
                  <a:pt x="1294" y="75"/>
                </a:cubicBezTo>
                <a:cubicBezTo>
                  <a:pt x="1294" y="75"/>
                  <a:pt x="1294" y="76"/>
                  <a:pt x="1294" y="76"/>
                </a:cubicBezTo>
                <a:cubicBezTo>
                  <a:pt x="1295" y="76"/>
                  <a:pt x="1295" y="76"/>
                  <a:pt x="1296" y="76"/>
                </a:cubicBezTo>
                <a:cubicBezTo>
                  <a:pt x="1296" y="76"/>
                  <a:pt x="1297" y="76"/>
                  <a:pt x="1297" y="76"/>
                </a:cubicBezTo>
                <a:cubicBezTo>
                  <a:pt x="1297" y="76"/>
                  <a:pt x="1297" y="75"/>
                  <a:pt x="1297" y="75"/>
                </a:cubicBezTo>
                <a:cubicBezTo>
                  <a:pt x="1297" y="75"/>
                  <a:pt x="1296" y="75"/>
                  <a:pt x="1296" y="75"/>
                </a:cubicBezTo>
                <a:cubicBezTo>
                  <a:pt x="1296" y="75"/>
                  <a:pt x="1296" y="75"/>
                  <a:pt x="1296" y="75"/>
                </a:cubicBezTo>
                <a:close/>
                <a:moveTo>
                  <a:pt x="1751" y="346"/>
                </a:moveTo>
                <a:cubicBezTo>
                  <a:pt x="1751" y="346"/>
                  <a:pt x="1751" y="345"/>
                  <a:pt x="1751" y="345"/>
                </a:cubicBezTo>
                <a:cubicBezTo>
                  <a:pt x="1750" y="345"/>
                  <a:pt x="1750" y="345"/>
                  <a:pt x="1750" y="345"/>
                </a:cubicBezTo>
                <a:cubicBezTo>
                  <a:pt x="1749" y="344"/>
                  <a:pt x="1749" y="344"/>
                  <a:pt x="1749" y="344"/>
                </a:cubicBezTo>
                <a:cubicBezTo>
                  <a:pt x="1749" y="343"/>
                  <a:pt x="1748" y="343"/>
                  <a:pt x="1748" y="343"/>
                </a:cubicBezTo>
                <a:cubicBezTo>
                  <a:pt x="1748" y="343"/>
                  <a:pt x="1748" y="343"/>
                  <a:pt x="1747" y="343"/>
                </a:cubicBezTo>
                <a:cubicBezTo>
                  <a:pt x="1748" y="343"/>
                  <a:pt x="1748" y="343"/>
                  <a:pt x="1748" y="344"/>
                </a:cubicBezTo>
                <a:cubicBezTo>
                  <a:pt x="1748" y="344"/>
                  <a:pt x="1748" y="344"/>
                  <a:pt x="1749" y="344"/>
                </a:cubicBezTo>
                <a:cubicBezTo>
                  <a:pt x="1749" y="345"/>
                  <a:pt x="1749" y="345"/>
                  <a:pt x="1749" y="345"/>
                </a:cubicBezTo>
                <a:cubicBezTo>
                  <a:pt x="1750" y="346"/>
                  <a:pt x="1750" y="346"/>
                  <a:pt x="1751" y="346"/>
                </a:cubicBezTo>
                <a:cubicBezTo>
                  <a:pt x="1751" y="347"/>
                  <a:pt x="1751" y="347"/>
                  <a:pt x="1751" y="347"/>
                </a:cubicBezTo>
                <a:cubicBezTo>
                  <a:pt x="1752" y="347"/>
                  <a:pt x="1752" y="347"/>
                  <a:pt x="1753" y="347"/>
                </a:cubicBezTo>
                <a:cubicBezTo>
                  <a:pt x="1753" y="347"/>
                  <a:pt x="1753" y="347"/>
                  <a:pt x="1753" y="347"/>
                </a:cubicBezTo>
                <a:cubicBezTo>
                  <a:pt x="1752" y="347"/>
                  <a:pt x="1752" y="346"/>
                  <a:pt x="1751" y="346"/>
                </a:cubicBezTo>
                <a:close/>
                <a:moveTo>
                  <a:pt x="1307" y="75"/>
                </a:moveTo>
                <a:cubicBezTo>
                  <a:pt x="1307" y="75"/>
                  <a:pt x="1307" y="75"/>
                  <a:pt x="1306" y="74"/>
                </a:cubicBezTo>
                <a:cubicBezTo>
                  <a:pt x="1306" y="74"/>
                  <a:pt x="1306" y="74"/>
                  <a:pt x="1306" y="74"/>
                </a:cubicBezTo>
                <a:cubicBezTo>
                  <a:pt x="1306" y="74"/>
                  <a:pt x="1306" y="75"/>
                  <a:pt x="1306" y="75"/>
                </a:cubicBezTo>
                <a:cubicBezTo>
                  <a:pt x="1306" y="75"/>
                  <a:pt x="1306" y="75"/>
                  <a:pt x="1306" y="75"/>
                </a:cubicBezTo>
                <a:cubicBezTo>
                  <a:pt x="1306" y="75"/>
                  <a:pt x="1306" y="76"/>
                  <a:pt x="1306" y="76"/>
                </a:cubicBezTo>
                <a:cubicBezTo>
                  <a:pt x="1307" y="76"/>
                  <a:pt x="1307" y="76"/>
                  <a:pt x="1307" y="76"/>
                </a:cubicBezTo>
                <a:cubicBezTo>
                  <a:pt x="1307" y="76"/>
                  <a:pt x="1307" y="76"/>
                  <a:pt x="1308" y="76"/>
                </a:cubicBezTo>
                <a:cubicBezTo>
                  <a:pt x="1308" y="76"/>
                  <a:pt x="1308" y="76"/>
                  <a:pt x="1308" y="76"/>
                </a:cubicBezTo>
                <a:cubicBezTo>
                  <a:pt x="1307" y="75"/>
                  <a:pt x="1307" y="75"/>
                  <a:pt x="1307" y="75"/>
                </a:cubicBezTo>
                <a:close/>
                <a:moveTo>
                  <a:pt x="1294" y="71"/>
                </a:moveTo>
                <a:cubicBezTo>
                  <a:pt x="1294" y="71"/>
                  <a:pt x="1293" y="71"/>
                  <a:pt x="1293" y="71"/>
                </a:cubicBezTo>
                <a:cubicBezTo>
                  <a:pt x="1293" y="71"/>
                  <a:pt x="1293" y="71"/>
                  <a:pt x="1294" y="71"/>
                </a:cubicBezTo>
                <a:cubicBezTo>
                  <a:pt x="1294" y="71"/>
                  <a:pt x="1294" y="71"/>
                  <a:pt x="1295" y="71"/>
                </a:cubicBezTo>
                <a:cubicBezTo>
                  <a:pt x="1295" y="71"/>
                  <a:pt x="1295" y="71"/>
                  <a:pt x="1296" y="71"/>
                </a:cubicBezTo>
                <a:cubicBezTo>
                  <a:pt x="1296" y="71"/>
                  <a:pt x="1296" y="71"/>
                  <a:pt x="1296" y="71"/>
                </a:cubicBezTo>
                <a:cubicBezTo>
                  <a:pt x="1296" y="71"/>
                  <a:pt x="1296" y="71"/>
                  <a:pt x="1296" y="71"/>
                </a:cubicBezTo>
                <a:cubicBezTo>
                  <a:pt x="1296" y="71"/>
                  <a:pt x="1296" y="72"/>
                  <a:pt x="1296" y="72"/>
                </a:cubicBezTo>
                <a:cubicBezTo>
                  <a:pt x="1296" y="72"/>
                  <a:pt x="1297" y="71"/>
                  <a:pt x="1297" y="71"/>
                </a:cubicBezTo>
                <a:cubicBezTo>
                  <a:pt x="1298" y="71"/>
                  <a:pt x="1298" y="71"/>
                  <a:pt x="1298" y="71"/>
                </a:cubicBezTo>
                <a:cubicBezTo>
                  <a:pt x="1298" y="71"/>
                  <a:pt x="1299" y="70"/>
                  <a:pt x="1299" y="70"/>
                </a:cubicBezTo>
                <a:cubicBezTo>
                  <a:pt x="1299" y="70"/>
                  <a:pt x="1299" y="70"/>
                  <a:pt x="1299" y="70"/>
                </a:cubicBezTo>
                <a:cubicBezTo>
                  <a:pt x="1299" y="70"/>
                  <a:pt x="1299" y="69"/>
                  <a:pt x="1299" y="69"/>
                </a:cubicBezTo>
                <a:cubicBezTo>
                  <a:pt x="1299" y="69"/>
                  <a:pt x="1299" y="69"/>
                  <a:pt x="1299" y="69"/>
                </a:cubicBezTo>
                <a:cubicBezTo>
                  <a:pt x="1299" y="69"/>
                  <a:pt x="1299" y="69"/>
                  <a:pt x="1298" y="69"/>
                </a:cubicBezTo>
                <a:cubicBezTo>
                  <a:pt x="1298" y="69"/>
                  <a:pt x="1298" y="69"/>
                  <a:pt x="1298" y="69"/>
                </a:cubicBezTo>
                <a:cubicBezTo>
                  <a:pt x="1298" y="69"/>
                  <a:pt x="1297" y="69"/>
                  <a:pt x="1297" y="70"/>
                </a:cubicBezTo>
                <a:cubicBezTo>
                  <a:pt x="1296" y="70"/>
                  <a:pt x="1296" y="70"/>
                  <a:pt x="1295" y="70"/>
                </a:cubicBezTo>
                <a:cubicBezTo>
                  <a:pt x="1295" y="70"/>
                  <a:pt x="1294" y="70"/>
                  <a:pt x="1294" y="71"/>
                </a:cubicBezTo>
                <a:close/>
                <a:moveTo>
                  <a:pt x="1270" y="99"/>
                </a:moveTo>
                <a:cubicBezTo>
                  <a:pt x="1270" y="99"/>
                  <a:pt x="1271" y="99"/>
                  <a:pt x="1271" y="99"/>
                </a:cubicBezTo>
                <a:cubicBezTo>
                  <a:pt x="1271" y="99"/>
                  <a:pt x="1272" y="98"/>
                  <a:pt x="1272" y="98"/>
                </a:cubicBezTo>
                <a:cubicBezTo>
                  <a:pt x="1272" y="98"/>
                  <a:pt x="1272" y="98"/>
                  <a:pt x="1272" y="98"/>
                </a:cubicBezTo>
                <a:cubicBezTo>
                  <a:pt x="1272" y="98"/>
                  <a:pt x="1272" y="98"/>
                  <a:pt x="1272" y="97"/>
                </a:cubicBezTo>
                <a:cubicBezTo>
                  <a:pt x="1271" y="97"/>
                  <a:pt x="1271" y="97"/>
                  <a:pt x="1271" y="97"/>
                </a:cubicBezTo>
                <a:cubicBezTo>
                  <a:pt x="1270" y="97"/>
                  <a:pt x="1270" y="98"/>
                  <a:pt x="1270" y="98"/>
                </a:cubicBezTo>
                <a:cubicBezTo>
                  <a:pt x="1270" y="98"/>
                  <a:pt x="1270" y="98"/>
                  <a:pt x="1270" y="98"/>
                </a:cubicBezTo>
                <a:cubicBezTo>
                  <a:pt x="1270" y="98"/>
                  <a:pt x="1270" y="98"/>
                  <a:pt x="1270" y="99"/>
                </a:cubicBezTo>
                <a:cubicBezTo>
                  <a:pt x="1270" y="99"/>
                  <a:pt x="1270" y="99"/>
                  <a:pt x="1270" y="99"/>
                </a:cubicBezTo>
                <a:close/>
                <a:moveTo>
                  <a:pt x="1280" y="137"/>
                </a:moveTo>
                <a:cubicBezTo>
                  <a:pt x="1280" y="137"/>
                  <a:pt x="1280" y="136"/>
                  <a:pt x="1280" y="136"/>
                </a:cubicBezTo>
                <a:cubicBezTo>
                  <a:pt x="1280" y="136"/>
                  <a:pt x="1280" y="136"/>
                  <a:pt x="1280" y="136"/>
                </a:cubicBezTo>
                <a:cubicBezTo>
                  <a:pt x="1280" y="136"/>
                  <a:pt x="1280" y="137"/>
                  <a:pt x="1280" y="137"/>
                </a:cubicBezTo>
                <a:cubicBezTo>
                  <a:pt x="1280" y="137"/>
                  <a:pt x="1280" y="137"/>
                  <a:pt x="1280" y="137"/>
                </a:cubicBezTo>
                <a:cubicBezTo>
                  <a:pt x="1280" y="137"/>
                  <a:pt x="1280" y="137"/>
                  <a:pt x="1280" y="137"/>
                </a:cubicBezTo>
                <a:close/>
                <a:moveTo>
                  <a:pt x="1697" y="183"/>
                </a:moveTo>
                <a:cubicBezTo>
                  <a:pt x="1696" y="183"/>
                  <a:pt x="1696" y="183"/>
                  <a:pt x="1696" y="183"/>
                </a:cubicBezTo>
                <a:cubicBezTo>
                  <a:pt x="1695" y="183"/>
                  <a:pt x="1695" y="183"/>
                  <a:pt x="1695" y="183"/>
                </a:cubicBezTo>
                <a:cubicBezTo>
                  <a:pt x="1695" y="183"/>
                  <a:pt x="1695" y="183"/>
                  <a:pt x="1695" y="183"/>
                </a:cubicBezTo>
                <a:cubicBezTo>
                  <a:pt x="1696" y="183"/>
                  <a:pt x="1696" y="183"/>
                  <a:pt x="1696" y="183"/>
                </a:cubicBezTo>
                <a:cubicBezTo>
                  <a:pt x="1696" y="183"/>
                  <a:pt x="1697" y="183"/>
                  <a:pt x="1697" y="183"/>
                </a:cubicBezTo>
                <a:close/>
                <a:moveTo>
                  <a:pt x="1276" y="132"/>
                </a:moveTo>
                <a:cubicBezTo>
                  <a:pt x="1277" y="132"/>
                  <a:pt x="1277" y="132"/>
                  <a:pt x="1277" y="133"/>
                </a:cubicBezTo>
                <a:cubicBezTo>
                  <a:pt x="1277" y="133"/>
                  <a:pt x="1277" y="133"/>
                  <a:pt x="1277" y="133"/>
                </a:cubicBezTo>
                <a:cubicBezTo>
                  <a:pt x="1278" y="133"/>
                  <a:pt x="1278" y="133"/>
                  <a:pt x="1278" y="132"/>
                </a:cubicBezTo>
                <a:cubicBezTo>
                  <a:pt x="1277" y="132"/>
                  <a:pt x="1277" y="132"/>
                  <a:pt x="1277" y="132"/>
                </a:cubicBezTo>
                <a:cubicBezTo>
                  <a:pt x="1277" y="132"/>
                  <a:pt x="1277" y="132"/>
                  <a:pt x="1276" y="132"/>
                </a:cubicBezTo>
                <a:close/>
                <a:moveTo>
                  <a:pt x="1278" y="137"/>
                </a:moveTo>
                <a:cubicBezTo>
                  <a:pt x="1278" y="137"/>
                  <a:pt x="1279" y="137"/>
                  <a:pt x="1279" y="137"/>
                </a:cubicBezTo>
                <a:cubicBezTo>
                  <a:pt x="1279" y="136"/>
                  <a:pt x="1279" y="135"/>
                  <a:pt x="1279" y="135"/>
                </a:cubicBezTo>
                <a:cubicBezTo>
                  <a:pt x="1279" y="134"/>
                  <a:pt x="1278" y="134"/>
                  <a:pt x="1278" y="134"/>
                </a:cubicBezTo>
                <a:cubicBezTo>
                  <a:pt x="1278" y="134"/>
                  <a:pt x="1278" y="134"/>
                  <a:pt x="1278" y="134"/>
                </a:cubicBezTo>
                <a:cubicBezTo>
                  <a:pt x="1278" y="134"/>
                  <a:pt x="1278" y="134"/>
                  <a:pt x="1278" y="135"/>
                </a:cubicBezTo>
                <a:cubicBezTo>
                  <a:pt x="1278" y="135"/>
                  <a:pt x="1278" y="135"/>
                  <a:pt x="1278" y="136"/>
                </a:cubicBezTo>
                <a:cubicBezTo>
                  <a:pt x="1278" y="136"/>
                  <a:pt x="1278" y="136"/>
                  <a:pt x="1278" y="137"/>
                </a:cubicBezTo>
                <a:cubicBezTo>
                  <a:pt x="1278" y="137"/>
                  <a:pt x="1278" y="137"/>
                  <a:pt x="1278" y="137"/>
                </a:cubicBezTo>
                <a:close/>
                <a:moveTo>
                  <a:pt x="1268" y="33"/>
                </a:moveTo>
                <a:cubicBezTo>
                  <a:pt x="1268" y="33"/>
                  <a:pt x="1268" y="33"/>
                  <a:pt x="1268" y="33"/>
                </a:cubicBezTo>
                <a:cubicBezTo>
                  <a:pt x="1268" y="34"/>
                  <a:pt x="1267" y="34"/>
                  <a:pt x="1267" y="34"/>
                </a:cubicBezTo>
                <a:cubicBezTo>
                  <a:pt x="1267" y="34"/>
                  <a:pt x="1266" y="34"/>
                  <a:pt x="1266" y="34"/>
                </a:cubicBezTo>
                <a:cubicBezTo>
                  <a:pt x="1265" y="34"/>
                  <a:pt x="1265" y="34"/>
                  <a:pt x="1265" y="34"/>
                </a:cubicBezTo>
                <a:cubicBezTo>
                  <a:pt x="1264" y="35"/>
                  <a:pt x="1264" y="35"/>
                  <a:pt x="1264" y="35"/>
                </a:cubicBezTo>
                <a:cubicBezTo>
                  <a:pt x="1264" y="36"/>
                  <a:pt x="1264" y="36"/>
                  <a:pt x="1264" y="36"/>
                </a:cubicBezTo>
                <a:cubicBezTo>
                  <a:pt x="1264" y="36"/>
                  <a:pt x="1265" y="36"/>
                  <a:pt x="1265" y="37"/>
                </a:cubicBezTo>
                <a:cubicBezTo>
                  <a:pt x="1265" y="37"/>
                  <a:pt x="1265" y="37"/>
                  <a:pt x="1266" y="37"/>
                </a:cubicBezTo>
                <a:cubicBezTo>
                  <a:pt x="1266" y="37"/>
                  <a:pt x="1266" y="37"/>
                  <a:pt x="1266" y="37"/>
                </a:cubicBezTo>
                <a:cubicBezTo>
                  <a:pt x="1266" y="37"/>
                  <a:pt x="1265" y="38"/>
                  <a:pt x="1265" y="38"/>
                </a:cubicBezTo>
                <a:cubicBezTo>
                  <a:pt x="1264" y="38"/>
                  <a:pt x="1264" y="38"/>
                  <a:pt x="1264" y="38"/>
                </a:cubicBezTo>
                <a:cubicBezTo>
                  <a:pt x="1264" y="39"/>
                  <a:pt x="1264" y="39"/>
                  <a:pt x="1264" y="40"/>
                </a:cubicBezTo>
                <a:cubicBezTo>
                  <a:pt x="1264" y="40"/>
                  <a:pt x="1264" y="40"/>
                  <a:pt x="1264" y="40"/>
                </a:cubicBezTo>
                <a:cubicBezTo>
                  <a:pt x="1264" y="40"/>
                  <a:pt x="1263" y="40"/>
                  <a:pt x="1263" y="40"/>
                </a:cubicBezTo>
                <a:cubicBezTo>
                  <a:pt x="1263" y="41"/>
                  <a:pt x="1262" y="41"/>
                  <a:pt x="1262" y="41"/>
                </a:cubicBezTo>
                <a:cubicBezTo>
                  <a:pt x="1263" y="41"/>
                  <a:pt x="1263" y="41"/>
                  <a:pt x="1264" y="41"/>
                </a:cubicBezTo>
                <a:cubicBezTo>
                  <a:pt x="1264" y="42"/>
                  <a:pt x="1264" y="42"/>
                  <a:pt x="1264" y="42"/>
                </a:cubicBezTo>
                <a:cubicBezTo>
                  <a:pt x="1264" y="42"/>
                  <a:pt x="1264" y="42"/>
                  <a:pt x="1265" y="42"/>
                </a:cubicBezTo>
                <a:cubicBezTo>
                  <a:pt x="1265" y="42"/>
                  <a:pt x="1265" y="41"/>
                  <a:pt x="1264" y="41"/>
                </a:cubicBezTo>
                <a:cubicBezTo>
                  <a:pt x="1265" y="41"/>
                  <a:pt x="1265" y="41"/>
                  <a:pt x="1265" y="41"/>
                </a:cubicBezTo>
                <a:cubicBezTo>
                  <a:pt x="1265" y="41"/>
                  <a:pt x="1265" y="41"/>
                  <a:pt x="1266" y="41"/>
                </a:cubicBezTo>
                <a:cubicBezTo>
                  <a:pt x="1266" y="42"/>
                  <a:pt x="1266" y="42"/>
                  <a:pt x="1267" y="42"/>
                </a:cubicBezTo>
                <a:cubicBezTo>
                  <a:pt x="1267" y="42"/>
                  <a:pt x="1268" y="42"/>
                  <a:pt x="1268" y="42"/>
                </a:cubicBezTo>
                <a:cubicBezTo>
                  <a:pt x="1268" y="42"/>
                  <a:pt x="1268" y="42"/>
                  <a:pt x="1269" y="42"/>
                </a:cubicBezTo>
                <a:cubicBezTo>
                  <a:pt x="1269" y="42"/>
                  <a:pt x="1269" y="43"/>
                  <a:pt x="1269" y="43"/>
                </a:cubicBezTo>
                <a:cubicBezTo>
                  <a:pt x="1270" y="43"/>
                  <a:pt x="1270" y="44"/>
                  <a:pt x="1270" y="44"/>
                </a:cubicBezTo>
                <a:cubicBezTo>
                  <a:pt x="1270" y="45"/>
                  <a:pt x="1271" y="45"/>
                  <a:pt x="1271" y="45"/>
                </a:cubicBezTo>
                <a:cubicBezTo>
                  <a:pt x="1271" y="45"/>
                  <a:pt x="1272" y="45"/>
                  <a:pt x="1272" y="45"/>
                </a:cubicBezTo>
                <a:cubicBezTo>
                  <a:pt x="1273" y="46"/>
                  <a:pt x="1273" y="46"/>
                  <a:pt x="1273" y="46"/>
                </a:cubicBezTo>
                <a:cubicBezTo>
                  <a:pt x="1274" y="46"/>
                  <a:pt x="1274" y="46"/>
                  <a:pt x="1275" y="46"/>
                </a:cubicBezTo>
                <a:cubicBezTo>
                  <a:pt x="1275" y="46"/>
                  <a:pt x="1276" y="46"/>
                  <a:pt x="1276" y="46"/>
                </a:cubicBezTo>
                <a:cubicBezTo>
                  <a:pt x="1277" y="46"/>
                  <a:pt x="1277" y="46"/>
                  <a:pt x="1278" y="46"/>
                </a:cubicBezTo>
                <a:cubicBezTo>
                  <a:pt x="1278" y="46"/>
                  <a:pt x="1278" y="46"/>
                  <a:pt x="1279" y="47"/>
                </a:cubicBezTo>
                <a:cubicBezTo>
                  <a:pt x="1279" y="47"/>
                  <a:pt x="1280" y="47"/>
                  <a:pt x="1280" y="47"/>
                </a:cubicBezTo>
                <a:cubicBezTo>
                  <a:pt x="1281" y="48"/>
                  <a:pt x="1282" y="48"/>
                  <a:pt x="1283" y="48"/>
                </a:cubicBezTo>
                <a:cubicBezTo>
                  <a:pt x="1283" y="48"/>
                  <a:pt x="1284" y="48"/>
                  <a:pt x="1284" y="48"/>
                </a:cubicBezTo>
                <a:cubicBezTo>
                  <a:pt x="1285" y="48"/>
                  <a:pt x="1285" y="48"/>
                  <a:pt x="1285" y="48"/>
                </a:cubicBezTo>
                <a:cubicBezTo>
                  <a:pt x="1286" y="48"/>
                  <a:pt x="1286" y="48"/>
                  <a:pt x="1286" y="48"/>
                </a:cubicBezTo>
                <a:cubicBezTo>
                  <a:pt x="1287" y="49"/>
                  <a:pt x="1287" y="49"/>
                  <a:pt x="1287" y="49"/>
                </a:cubicBezTo>
                <a:cubicBezTo>
                  <a:pt x="1287" y="49"/>
                  <a:pt x="1288" y="50"/>
                  <a:pt x="1288" y="50"/>
                </a:cubicBezTo>
                <a:cubicBezTo>
                  <a:pt x="1289" y="50"/>
                  <a:pt x="1289" y="50"/>
                  <a:pt x="1289" y="50"/>
                </a:cubicBezTo>
                <a:cubicBezTo>
                  <a:pt x="1290" y="50"/>
                  <a:pt x="1290" y="50"/>
                  <a:pt x="1290" y="50"/>
                </a:cubicBezTo>
                <a:cubicBezTo>
                  <a:pt x="1291" y="49"/>
                  <a:pt x="1292" y="49"/>
                  <a:pt x="1292" y="49"/>
                </a:cubicBezTo>
                <a:cubicBezTo>
                  <a:pt x="1293" y="49"/>
                  <a:pt x="1293" y="49"/>
                  <a:pt x="1294" y="49"/>
                </a:cubicBezTo>
                <a:cubicBezTo>
                  <a:pt x="1294" y="49"/>
                  <a:pt x="1295" y="48"/>
                  <a:pt x="1296" y="48"/>
                </a:cubicBezTo>
                <a:cubicBezTo>
                  <a:pt x="1296" y="48"/>
                  <a:pt x="1296" y="48"/>
                  <a:pt x="1296" y="47"/>
                </a:cubicBezTo>
                <a:cubicBezTo>
                  <a:pt x="1295" y="47"/>
                  <a:pt x="1295" y="47"/>
                  <a:pt x="1294" y="46"/>
                </a:cubicBezTo>
                <a:cubicBezTo>
                  <a:pt x="1294" y="46"/>
                  <a:pt x="1294" y="46"/>
                  <a:pt x="1294" y="46"/>
                </a:cubicBezTo>
                <a:cubicBezTo>
                  <a:pt x="1293" y="46"/>
                  <a:pt x="1293" y="45"/>
                  <a:pt x="1292" y="45"/>
                </a:cubicBezTo>
                <a:cubicBezTo>
                  <a:pt x="1292" y="45"/>
                  <a:pt x="1291" y="44"/>
                  <a:pt x="1291" y="44"/>
                </a:cubicBezTo>
                <a:cubicBezTo>
                  <a:pt x="1290" y="44"/>
                  <a:pt x="1290" y="44"/>
                  <a:pt x="1289" y="44"/>
                </a:cubicBezTo>
                <a:cubicBezTo>
                  <a:pt x="1289" y="43"/>
                  <a:pt x="1289" y="43"/>
                  <a:pt x="1289" y="43"/>
                </a:cubicBezTo>
                <a:cubicBezTo>
                  <a:pt x="1290" y="43"/>
                  <a:pt x="1290" y="43"/>
                  <a:pt x="1290" y="43"/>
                </a:cubicBezTo>
                <a:cubicBezTo>
                  <a:pt x="1290" y="43"/>
                  <a:pt x="1291" y="43"/>
                  <a:pt x="1291" y="43"/>
                </a:cubicBezTo>
                <a:cubicBezTo>
                  <a:pt x="1291" y="43"/>
                  <a:pt x="1292" y="43"/>
                  <a:pt x="1292" y="43"/>
                </a:cubicBezTo>
                <a:cubicBezTo>
                  <a:pt x="1292" y="43"/>
                  <a:pt x="1292" y="43"/>
                  <a:pt x="1292" y="43"/>
                </a:cubicBezTo>
                <a:cubicBezTo>
                  <a:pt x="1292" y="42"/>
                  <a:pt x="1291" y="42"/>
                  <a:pt x="1291" y="42"/>
                </a:cubicBezTo>
                <a:cubicBezTo>
                  <a:pt x="1290" y="41"/>
                  <a:pt x="1290" y="41"/>
                  <a:pt x="1289" y="40"/>
                </a:cubicBezTo>
                <a:cubicBezTo>
                  <a:pt x="1289" y="40"/>
                  <a:pt x="1289" y="40"/>
                  <a:pt x="1290" y="39"/>
                </a:cubicBezTo>
                <a:cubicBezTo>
                  <a:pt x="1289" y="39"/>
                  <a:pt x="1289" y="39"/>
                  <a:pt x="1289" y="38"/>
                </a:cubicBezTo>
                <a:cubicBezTo>
                  <a:pt x="1289" y="38"/>
                  <a:pt x="1289" y="38"/>
                  <a:pt x="1288" y="38"/>
                </a:cubicBezTo>
                <a:cubicBezTo>
                  <a:pt x="1288" y="37"/>
                  <a:pt x="1288" y="37"/>
                  <a:pt x="1288" y="37"/>
                </a:cubicBezTo>
                <a:cubicBezTo>
                  <a:pt x="1288" y="37"/>
                  <a:pt x="1288" y="37"/>
                  <a:pt x="1288" y="36"/>
                </a:cubicBezTo>
                <a:cubicBezTo>
                  <a:pt x="1288" y="36"/>
                  <a:pt x="1287" y="36"/>
                  <a:pt x="1287" y="36"/>
                </a:cubicBezTo>
                <a:cubicBezTo>
                  <a:pt x="1286" y="35"/>
                  <a:pt x="1285" y="35"/>
                  <a:pt x="1284" y="34"/>
                </a:cubicBezTo>
                <a:cubicBezTo>
                  <a:pt x="1283" y="34"/>
                  <a:pt x="1282" y="33"/>
                  <a:pt x="1281" y="33"/>
                </a:cubicBezTo>
                <a:cubicBezTo>
                  <a:pt x="1281" y="33"/>
                  <a:pt x="1280" y="33"/>
                  <a:pt x="1279" y="33"/>
                </a:cubicBezTo>
                <a:cubicBezTo>
                  <a:pt x="1279" y="33"/>
                  <a:pt x="1279" y="33"/>
                  <a:pt x="1279" y="33"/>
                </a:cubicBezTo>
                <a:cubicBezTo>
                  <a:pt x="1279" y="34"/>
                  <a:pt x="1279" y="34"/>
                  <a:pt x="1279" y="34"/>
                </a:cubicBezTo>
                <a:cubicBezTo>
                  <a:pt x="1280" y="34"/>
                  <a:pt x="1280" y="35"/>
                  <a:pt x="1281" y="35"/>
                </a:cubicBezTo>
                <a:cubicBezTo>
                  <a:pt x="1281" y="35"/>
                  <a:pt x="1281" y="36"/>
                  <a:pt x="1281" y="36"/>
                </a:cubicBezTo>
                <a:cubicBezTo>
                  <a:pt x="1280" y="36"/>
                  <a:pt x="1280" y="36"/>
                  <a:pt x="1280" y="36"/>
                </a:cubicBezTo>
                <a:cubicBezTo>
                  <a:pt x="1280" y="37"/>
                  <a:pt x="1280" y="37"/>
                  <a:pt x="1280" y="37"/>
                </a:cubicBezTo>
                <a:cubicBezTo>
                  <a:pt x="1280" y="37"/>
                  <a:pt x="1280" y="38"/>
                  <a:pt x="1279" y="38"/>
                </a:cubicBezTo>
                <a:cubicBezTo>
                  <a:pt x="1279" y="38"/>
                  <a:pt x="1279" y="38"/>
                  <a:pt x="1279" y="39"/>
                </a:cubicBezTo>
                <a:cubicBezTo>
                  <a:pt x="1278" y="39"/>
                  <a:pt x="1278" y="39"/>
                  <a:pt x="1278" y="39"/>
                </a:cubicBezTo>
                <a:cubicBezTo>
                  <a:pt x="1278" y="39"/>
                  <a:pt x="1278" y="38"/>
                  <a:pt x="1278" y="38"/>
                </a:cubicBezTo>
                <a:cubicBezTo>
                  <a:pt x="1278" y="38"/>
                  <a:pt x="1278" y="38"/>
                  <a:pt x="1279" y="38"/>
                </a:cubicBezTo>
                <a:cubicBezTo>
                  <a:pt x="1279" y="38"/>
                  <a:pt x="1279" y="37"/>
                  <a:pt x="1279" y="37"/>
                </a:cubicBezTo>
                <a:cubicBezTo>
                  <a:pt x="1279" y="37"/>
                  <a:pt x="1279" y="37"/>
                  <a:pt x="1278" y="37"/>
                </a:cubicBezTo>
                <a:cubicBezTo>
                  <a:pt x="1279" y="36"/>
                  <a:pt x="1279" y="36"/>
                  <a:pt x="1279" y="36"/>
                </a:cubicBezTo>
                <a:cubicBezTo>
                  <a:pt x="1279" y="35"/>
                  <a:pt x="1279" y="35"/>
                  <a:pt x="1279" y="35"/>
                </a:cubicBezTo>
                <a:cubicBezTo>
                  <a:pt x="1278" y="34"/>
                  <a:pt x="1278" y="34"/>
                  <a:pt x="1277" y="33"/>
                </a:cubicBezTo>
                <a:cubicBezTo>
                  <a:pt x="1277" y="33"/>
                  <a:pt x="1276" y="32"/>
                  <a:pt x="1276" y="32"/>
                </a:cubicBezTo>
                <a:cubicBezTo>
                  <a:pt x="1275" y="32"/>
                  <a:pt x="1274" y="32"/>
                  <a:pt x="1273" y="31"/>
                </a:cubicBezTo>
                <a:cubicBezTo>
                  <a:pt x="1273" y="31"/>
                  <a:pt x="1273" y="32"/>
                  <a:pt x="1273" y="32"/>
                </a:cubicBezTo>
                <a:cubicBezTo>
                  <a:pt x="1272" y="32"/>
                  <a:pt x="1272" y="32"/>
                  <a:pt x="1272" y="32"/>
                </a:cubicBezTo>
                <a:cubicBezTo>
                  <a:pt x="1271" y="33"/>
                  <a:pt x="1271" y="33"/>
                  <a:pt x="1270" y="33"/>
                </a:cubicBezTo>
                <a:cubicBezTo>
                  <a:pt x="1269" y="33"/>
                  <a:pt x="1269" y="33"/>
                  <a:pt x="1268" y="33"/>
                </a:cubicBezTo>
                <a:close/>
                <a:moveTo>
                  <a:pt x="1275" y="104"/>
                </a:moveTo>
                <a:cubicBezTo>
                  <a:pt x="1276" y="104"/>
                  <a:pt x="1276" y="104"/>
                  <a:pt x="1276" y="104"/>
                </a:cubicBezTo>
                <a:cubicBezTo>
                  <a:pt x="1276" y="104"/>
                  <a:pt x="1276" y="104"/>
                  <a:pt x="1275" y="104"/>
                </a:cubicBezTo>
                <a:cubicBezTo>
                  <a:pt x="1275" y="103"/>
                  <a:pt x="1275" y="103"/>
                  <a:pt x="1275" y="103"/>
                </a:cubicBezTo>
                <a:cubicBezTo>
                  <a:pt x="1275" y="104"/>
                  <a:pt x="1275" y="104"/>
                  <a:pt x="1275" y="104"/>
                </a:cubicBezTo>
                <a:cubicBezTo>
                  <a:pt x="1275" y="104"/>
                  <a:pt x="1275" y="104"/>
                  <a:pt x="1275" y="104"/>
                </a:cubicBezTo>
                <a:close/>
                <a:moveTo>
                  <a:pt x="1271" y="102"/>
                </a:moveTo>
                <a:cubicBezTo>
                  <a:pt x="1271" y="102"/>
                  <a:pt x="1271" y="102"/>
                  <a:pt x="1272" y="102"/>
                </a:cubicBezTo>
                <a:cubicBezTo>
                  <a:pt x="1271" y="101"/>
                  <a:pt x="1271" y="101"/>
                  <a:pt x="1271" y="101"/>
                </a:cubicBezTo>
                <a:cubicBezTo>
                  <a:pt x="1270" y="101"/>
                  <a:pt x="1270" y="101"/>
                  <a:pt x="1270" y="101"/>
                </a:cubicBezTo>
                <a:cubicBezTo>
                  <a:pt x="1270" y="101"/>
                  <a:pt x="1270" y="101"/>
                  <a:pt x="1270" y="102"/>
                </a:cubicBezTo>
                <a:cubicBezTo>
                  <a:pt x="1270" y="102"/>
                  <a:pt x="1270" y="102"/>
                  <a:pt x="1270" y="102"/>
                </a:cubicBezTo>
                <a:cubicBezTo>
                  <a:pt x="1270" y="102"/>
                  <a:pt x="1271" y="102"/>
                  <a:pt x="1271" y="102"/>
                </a:cubicBezTo>
                <a:close/>
                <a:moveTo>
                  <a:pt x="1306" y="74"/>
                </a:moveTo>
                <a:cubicBezTo>
                  <a:pt x="1306" y="74"/>
                  <a:pt x="1307" y="74"/>
                  <a:pt x="1307" y="74"/>
                </a:cubicBezTo>
                <a:cubicBezTo>
                  <a:pt x="1307" y="73"/>
                  <a:pt x="1306" y="73"/>
                  <a:pt x="1306" y="73"/>
                </a:cubicBezTo>
                <a:cubicBezTo>
                  <a:pt x="1306" y="73"/>
                  <a:pt x="1305" y="73"/>
                  <a:pt x="1305" y="73"/>
                </a:cubicBezTo>
                <a:cubicBezTo>
                  <a:pt x="1305" y="73"/>
                  <a:pt x="1305" y="74"/>
                  <a:pt x="1305" y="74"/>
                </a:cubicBezTo>
                <a:cubicBezTo>
                  <a:pt x="1305" y="74"/>
                  <a:pt x="1305" y="74"/>
                  <a:pt x="1305" y="74"/>
                </a:cubicBezTo>
                <a:cubicBezTo>
                  <a:pt x="1305" y="74"/>
                  <a:pt x="1306" y="74"/>
                  <a:pt x="1306" y="74"/>
                </a:cubicBezTo>
                <a:close/>
                <a:moveTo>
                  <a:pt x="1239" y="95"/>
                </a:moveTo>
                <a:cubicBezTo>
                  <a:pt x="1240" y="95"/>
                  <a:pt x="1240" y="96"/>
                  <a:pt x="1240" y="96"/>
                </a:cubicBezTo>
                <a:cubicBezTo>
                  <a:pt x="1240" y="96"/>
                  <a:pt x="1240" y="96"/>
                  <a:pt x="1240" y="96"/>
                </a:cubicBezTo>
                <a:cubicBezTo>
                  <a:pt x="1240" y="96"/>
                  <a:pt x="1241" y="97"/>
                  <a:pt x="1241" y="97"/>
                </a:cubicBezTo>
                <a:cubicBezTo>
                  <a:pt x="1241" y="97"/>
                  <a:pt x="1242" y="97"/>
                  <a:pt x="1242" y="96"/>
                </a:cubicBezTo>
                <a:cubicBezTo>
                  <a:pt x="1242" y="96"/>
                  <a:pt x="1242" y="96"/>
                  <a:pt x="1242" y="96"/>
                </a:cubicBezTo>
                <a:cubicBezTo>
                  <a:pt x="1242" y="96"/>
                  <a:pt x="1242" y="96"/>
                  <a:pt x="1242" y="95"/>
                </a:cubicBezTo>
                <a:cubicBezTo>
                  <a:pt x="1242" y="95"/>
                  <a:pt x="1241" y="95"/>
                  <a:pt x="1241" y="95"/>
                </a:cubicBezTo>
                <a:cubicBezTo>
                  <a:pt x="1241" y="95"/>
                  <a:pt x="1240" y="95"/>
                  <a:pt x="1240" y="95"/>
                </a:cubicBezTo>
                <a:cubicBezTo>
                  <a:pt x="1240" y="95"/>
                  <a:pt x="1240" y="95"/>
                  <a:pt x="1239" y="95"/>
                </a:cubicBezTo>
                <a:close/>
                <a:moveTo>
                  <a:pt x="1244" y="83"/>
                </a:moveTo>
                <a:cubicBezTo>
                  <a:pt x="1244" y="83"/>
                  <a:pt x="1245" y="83"/>
                  <a:pt x="1245" y="84"/>
                </a:cubicBezTo>
                <a:cubicBezTo>
                  <a:pt x="1245" y="83"/>
                  <a:pt x="1246" y="83"/>
                  <a:pt x="1246" y="83"/>
                </a:cubicBezTo>
                <a:cubicBezTo>
                  <a:pt x="1245" y="83"/>
                  <a:pt x="1245" y="83"/>
                  <a:pt x="1244" y="83"/>
                </a:cubicBezTo>
                <a:cubicBezTo>
                  <a:pt x="1244" y="83"/>
                  <a:pt x="1244" y="82"/>
                  <a:pt x="1244" y="82"/>
                </a:cubicBezTo>
                <a:cubicBezTo>
                  <a:pt x="1244" y="82"/>
                  <a:pt x="1243" y="82"/>
                  <a:pt x="1243" y="82"/>
                </a:cubicBezTo>
                <a:cubicBezTo>
                  <a:pt x="1243" y="82"/>
                  <a:pt x="1243" y="82"/>
                  <a:pt x="1243" y="82"/>
                </a:cubicBezTo>
                <a:cubicBezTo>
                  <a:pt x="1243" y="82"/>
                  <a:pt x="1243" y="83"/>
                  <a:pt x="1243" y="83"/>
                </a:cubicBezTo>
                <a:cubicBezTo>
                  <a:pt x="1243" y="83"/>
                  <a:pt x="1244" y="83"/>
                  <a:pt x="1244" y="83"/>
                </a:cubicBezTo>
                <a:close/>
                <a:moveTo>
                  <a:pt x="1260" y="101"/>
                </a:moveTo>
                <a:cubicBezTo>
                  <a:pt x="1260" y="101"/>
                  <a:pt x="1259" y="101"/>
                  <a:pt x="1259" y="101"/>
                </a:cubicBezTo>
                <a:cubicBezTo>
                  <a:pt x="1259" y="101"/>
                  <a:pt x="1259" y="102"/>
                  <a:pt x="1259" y="102"/>
                </a:cubicBezTo>
                <a:cubicBezTo>
                  <a:pt x="1260" y="102"/>
                  <a:pt x="1260" y="102"/>
                  <a:pt x="1260" y="102"/>
                </a:cubicBezTo>
                <a:cubicBezTo>
                  <a:pt x="1261" y="102"/>
                  <a:pt x="1261" y="102"/>
                  <a:pt x="1261" y="102"/>
                </a:cubicBezTo>
                <a:cubicBezTo>
                  <a:pt x="1261" y="102"/>
                  <a:pt x="1262" y="102"/>
                  <a:pt x="1262" y="101"/>
                </a:cubicBezTo>
                <a:cubicBezTo>
                  <a:pt x="1261" y="101"/>
                  <a:pt x="1261" y="101"/>
                  <a:pt x="1260" y="101"/>
                </a:cubicBezTo>
                <a:cubicBezTo>
                  <a:pt x="1260" y="101"/>
                  <a:pt x="1260" y="101"/>
                  <a:pt x="1260" y="101"/>
                </a:cubicBezTo>
                <a:close/>
                <a:moveTo>
                  <a:pt x="1256" y="101"/>
                </a:moveTo>
                <a:cubicBezTo>
                  <a:pt x="1256" y="102"/>
                  <a:pt x="1256" y="102"/>
                  <a:pt x="1256" y="102"/>
                </a:cubicBezTo>
                <a:cubicBezTo>
                  <a:pt x="1256" y="102"/>
                  <a:pt x="1257" y="102"/>
                  <a:pt x="1257" y="102"/>
                </a:cubicBezTo>
                <a:cubicBezTo>
                  <a:pt x="1257" y="102"/>
                  <a:pt x="1258" y="102"/>
                  <a:pt x="1258" y="102"/>
                </a:cubicBezTo>
                <a:cubicBezTo>
                  <a:pt x="1258" y="101"/>
                  <a:pt x="1258" y="101"/>
                  <a:pt x="1257" y="101"/>
                </a:cubicBezTo>
                <a:cubicBezTo>
                  <a:pt x="1257" y="101"/>
                  <a:pt x="1257" y="101"/>
                  <a:pt x="1256" y="101"/>
                </a:cubicBezTo>
                <a:cubicBezTo>
                  <a:pt x="1256" y="101"/>
                  <a:pt x="1256" y="101"/>
                  <a:pt x="1256" y="101"/>
                </a:cubicBezTo>
                <a:close/>
                <a:moveTo>
                  <a:pt x="1247" y="89"/>
                </a:moveTo>
                <a:cubicBezTo>
                  <a:pt x="1248" y="89"/>
                  <a:pt x="1248" y="89"/>
                  <a:pt x="1248" y="89"/>
                </a:cubicBezTo>
                <a:cubicBezTo>
                  <a:pt x="1248" y="89"/>
                  <a:pt x="1248" y="89"/>
                  <a:pt x="1248" y="90"/>
                </a:cubicBezTo>
                <a:cubicBezTo>
                  <a:pt x="1248" y="90"/>
                  <a:pt x="1248" y="90"/>
                  <a:pt x="1248" y="90"/>
                </a:cubicBezTo>
                <a:cubicBezTo>
                  <a:pt x="1248" y="90"/>
                  <a:pt x="1248" y="90"/>
                  <a:pt x="1249" y="90"/>
                </a:cubicBezTo>
                <a:cubicBezTo>
                  <a:pt x="1248" y="89"/>
                  <a:pt x="1248" y="89"/>
                  <a:pt x="1248" y="89"/>
                </a:cubicBezTo>
                <a:cubicBezTo>
                  <a:pt x="1249" y="89"/>
                  <a:pt x="1249" y="89"/>
                  <a:pt x="1249" y="88"/>
                </a:cubicBezTo>
                <a:cubicBezTo>
                  <a:pt x="1249" y="88"/>
                  <a:pt x="1249" y="88"/>
                  <a:pt x="1249" y="88"/>
                </a:cubicBezTo>
                <a:cubicBezTo>
                  <a:pt x="1249" y="88"/>
                  <a:pt x="1249" y="88"/>
                  <a:pt x="1248" y="87"/>
                </a:cubicBezTo>
                <a:cubicBezTo>
                  <a:pt x="1248" y="87"/>
                  <a:pt x="1249" y="87"/>
                  <a:pt x="1249" y="87"/>
                </a:cubicBezTo>
                <a:cubicBezTo>
                  <a:pt x="1248" y="87"/>
                  <a:pt x="1248" y="87"/>
                  <a:pt x="1248" y="86"/>
                </a:cubicBezTo>
                <a:cubicBezTo>
                  <a:pt x="1248" y="86"/>
                  <a:pt x="1248" y="86"/>
                  <a:pt x="1247" y="86"/>
                </a:cubicBezTo>
                <a:cubicBezTo>
                  <a:pt x="1247" y="86"/>
                  <a:pt x="1247" y="86"/>
                  <a:pt x="1247" y="86"/>
                </a:cubicBezTo>
                <a:cubicBezTo>
                  <a:pt x="1247" y="86"/>
                  <a:pt x="1247" y="87"/>
                  <a:pt x="1246" y="87"/>
                </a:cubicBezTo>
                <a:cubicBezTo>
                  <a:pt x="1247" y="87"/>
                  <a:pt x="1247" y="87"/>
                  <a:pt x="1247" y="87"/>
                </a:cubicBezTo>
                <a:cubicBezTo>
                  <a:pt x="1247" y="88"/>
                  <a:pt x="1247" y="88"/>
                  <a:pt x="1247" y="88"/>
                </a:cubicBezTo>
                <a:cubicBezTo>
                  <a:pt x="1247" y="88"/>
                  <a:pt x="1247" y="88"/>
                  <a:pt x="1246" y="88"/>
                </a:cubicBezTo>
                <a:cubicBezTo>
                  <a:pt x="1246" y="88"/>
                  <a:pt x="1246" y="87"/>
                  <a:pt x="1246" y="87"/>
                </a:cubicBezTo>
                <a:cubicBezTo>
                  <a:pt x="1246" y="88"/>
                  <a:pt x="1246" y="88"/>
                  <a:pt x="1246" y="89"/>
                </a:cubicBezTo>
                <a:cubicBezTo>
                  <a:pt x="1246" y="89"/>
                  <a:pt x="1246" y="89"/>
                  <a:pt x="1247" y="89"/>
                </a:cubicBezTo>
                <a:cubicBezTo>
                  <a:pt x="1247" y="89"/>
                  <a:pt x="1247" y="89"/>
                  <a:pt x="1247" y="89"/>
                </a:cubicBezTo>
                <a:close/>
                <a:moveTo>
                  <a:pt x="1262" y="36"/>
                </a:moveTo>
                <a:cubicBezTo>
                  <a:pt x="1261" y="36"/>
                  <a:pt x="1260" y="36"/>
                  <a:pt x="1259" y="35"/>
                </a:cubicBezTo>
                <a:cubicBezTo>
                  <a:pt x="1259" y="35"/>
                  <a:pt x="1258" y="35"/>
                  <a:pt x="1257" y="35"/>
                </a:cubicBezTo>
                <a:cubicBezTo>
                  <a:pt x="1257" y="35"/>
                  <a:pt x="1256" y="35"/>
                  <a:pt x="1255" y="35"/>
                </a:cubicBezTo>
                <a:cubicBezTo>
                  <a:pt x="1255" y="35"/>
                  <a:pt x="1255" y="35"/>
                  <a:pt x="1254" y="35"/>
                </a:cubicBezTo>
                <a:cubicBezTo>
                  <a:pt x="1254" y="35"/>
                  <a:pt x="1253" y="34"/>
                  <a:pt x="1253" y="34"/>
                </a:cubicBezTo>
                <a:cubicBezTo>
                  <a:pt x="1253" y="34"/>
                  <a:pt x="1253" y="34"/>
                  <a:pt x="1252" y="34"/>
                </a:cubicBezTo>
                <a:cubicBezTo>
                  <a:pt x="1252" y="34"/>
                  <a:pt x="1252" y="34"/>
                  <a:pt x="1251" y="34"/>
                </a:cubicBezTo>
                <a:cubicBezTo>
                  <a:pt x="1251" y="34"/>
                  <a:pt x="1250" y="34"/>
                  <a:pt x="1250" y="34"/>
                </a:cubicBezTo>
                <a:cubicBezTo>
                  <a:pt x="1250" y="34"/>
                  <a:pt x="1249" y="34"/>
                  <a:pt x="1249" y="34"/>
                </a:cubicBezTo>
                <a:cubicBezTo>
                  <a:pt x="1249" y="35"/>
                  <a:pt x="1250" y="35"/>
                  <a:pt x="1250" y="35"/>
                </a:cubicBezTo>
                <a:cubicBezTo>
                  <a:pt x="1250" y="35"/>
                  <a:pt x="1251" y="35"/>
                  <a:pt x="1251" y="35"/>
                </a:cubicBezTo>
                <a:cubicBezTo>
                  <a:pt x="1251" y="36"/>
                  <a:pt x="1251" y="36"/>
                  <a:pt x="1252" y="36"/>
                </a:cubicBezTo>
                <a:cubicBezTo>
                  <a:pt x="1252" y="36"/>
                  <a:pt x="1252" y="36"/>
                  <a:pt x="1253" y="37"/>
                </a:cubicBezTo>
                <a:cubicBezTo>
                  <a:pt x="1253" y="37"/>
                  <a:pt x="1253" y="37"/>
                  <a:pt x="1254" y="38"/>
                </a:cubicBezTo>
                <a:cubicBezTo>
                  <a:pt x="1254" y="38"/>
                  <a:pt x="1255" y="38"/>
                  <a:pt x="1255" y="38"/>
                </a:cubicBezTo>
                <a:cubicBezTo>
                  <a:pt x="1256" y="38"/>
                  <a:pt x="1257" y="38"/>
                  <a:pt x="1257" y="38"/>
                </a:cubicBezTo>
                <a:cubicBezTo>
                  <a:pt x="1258" y="38"/>
                  <a:pt x="1258" y="39"/>
                  <a:pt x="1258" y="39"/>
                </a:cubicBezTo>
                <a:cubicBezTo>
                  <a:pt x="1258" y="39"/>
                  <a:pt x="1258" y="39"/>
                  <a:pt x="1258" y="39"/>
                </a:cubicBezTo>
                <a:cubicBezTo>
                  <a:pt x="1257" y="39"/>
                  <a:pt x="1256" y="39"/>
                  <a:pt x="1256" y="39"/>
                </a:cubicBezTo>
                <a:cubicBezTo>
                  <a:pt x="1255" y="39"/>
                  <a:pt x="1255" y="39"/>
                  <a:pt x="1254" y="39"/>
                </a:cubicBezTo>
                <a:cubicBezTo>
                  <a:pt x="1254" y="39"/>
                  <a:pt x="1254" y="39"/>
                  <a:pt x="1254" y="39"/>
                </a:cubicBezTo>
                <a:cubicBezTo>
                  <a:pt x="1255" y="39"/>
                  <a:pt x="1255" y="39"/>
                  <a:pt x="1255" y="40"/>
                </a:cubicBezTo>
                <a:cubicBezTo>
                  <a:pt x="1256" y="40"/>
                  <a:pt x="1256" y="40"/>
                  <a:pt x="1257" y="40"/>
                </a:cubicBezTo>
                <a:cubicBezTo>
                  <a:pt x="1257" y="40"/>
                  <a:pt x="1258" y="40"/>
                  <a:pt x="1258" y="39"/>
                </a:cubicBezTo>
                <a:cubicBezTo>
                  <a:pt x="1259" y="39"/>
                  <a:pt x="1259" y="39"/>
                  <a:pt x="1260" y="39"/>
                </a:cubicBezTo>
                <a:cubicBezTo>
                  <a:pt x="1260" y="39"/>
                  <a:pt x="1260" y="39"/>
                  <a:pt x="1260" y="39"/>
                </a:cubicBezTo>
                <a:cubicBezTo>
                  <a:pt x="1261" y="38"/>
                  <a:pt x="1261" y="38"/>
                  <a:pt x="1261" y="38"/>
                </a:cubicBezTo>
                <a:cubicBezTo>
                  <a:pt x="1261" y="38"/>
                  <a:pt x="1262" y="37"/>
                  <a:pt x="1262" y="37"/>
                </a:cubicBezTo>
                <a:cubicBezTo>
                  <a:pt x="1262" y="37"/>
                  <a:pt x="1262" y="37"/>
                  <a:pt x="1262" y="36"/>
                </a:cubicBezTo>
                <a:close/>
                <a:moveTo>
                  <a:pt x="1248" y="83"/>
                </a:moveTo>
                <a:cubicBezTo>
                  <a:pt x="1248" y="83"/>
                  <a:pt x="1249" y="83"/>
                  <a:pt x="1249" y="83"/>
                </a:cubicBezTo>
                <a:cubicBezTo>
                  <a:pt x="1249" y="83"/>
                  <a:pt x="1250" y="83"/>
                  <a:pt x="1250" y="83"/>
                </a:cubicBezTo>
                <a:cubicBezTo>
                  <a:pt x="1250" y="83"/>
                  <a:pt x="1250" y="83"/>
                  <a:pt x="1250" y="83"/>
                </a:cubicBezTo>
                <a:cubicBezTo>
                  <a:pt x="1250" y="83"/>
                  <a:pt x="1249" y="82"/>
                  <a:pt x="1248" y="82"/>
                </a:cubicBezTo>
                <a:cubicBezTo>
                  <a:pt x="1248" y="82"/>
                  <a:pt x="1248" y="82"/>
                  <a:pt x="1248" y="82"/>
                </a:cubicBezTo>
                <a:cubicBezTo>
                  <a:pt x="1247" y="82"/>
                  <a:pt x="1247" y="82"/>
                  <a:pt x="1247" y="82"/>
                </a:cubicBezTo>
                <a:cubicBezTo>
                  <a:pt x="1247" y="82"/>
                  <a:pt x="1246" y="82"/>
                  <a:pt x="1246" y="83"/>
                </a:cubicBezTo>
                <a:cubicBezTo>
                  <a:pt x="1246" y="83"/>
                  <a:pt x="1247" y="83"/>
                  <a:pt x="1247" y="83"/>
                </a:cubicBezTo>
                <a:cubicBezTo>
                  <a:pt x="1247" y="83"/>
                  <a:pt x="1248" y="83"/>
                  <a:pt x="1248" y="83"/>
                </a:cubicBezTo>
                <a:close/>
                <a:moveTo>
                  <a:pt x="1268" y="95"/>
                </a:moveTo>
                <a:cubicBezTo>
                  <a:pt x="1268" y="95"/>
                  <a:pt x="1268" y="95"/>
                  <a:pt x="1268" y="95"/>
                </a:cubicBezTo>
                <a:cubicBezTo>
                  <a:pt x="1267" y="95"/>
                  <a:pt x="1267" y="95"/>
                  <a:pt x="1267" y="95"/>
                </a:cubicBezTo>
                <a:cubicBezTo>
                  <a:pt x="1266" y="95"/>
                  <a:pt x="1266" y="95"/>
                  <a:pt x="1266" y="95"/>
                </a:cubicBezTo>
                <a:cubicBezTo>
                  <a:pt x="1265" y="95"/>
                  <a:pt x="1265" y="95"/>
                  <a:pt x="1265" y="95"/>
                </a:cubicBezTo>
                <a:cubicBezTo>
                  <a:pt x="1265" y="95"/>
                  <a:pt x="1265" y="95"/>
                  <a:pt x="1265" y="95"/>
                </a:cubicBezTo>
                <a:cubicBezTo>
                  <a:pt x="1265" y="95"/>
                  <a:pt x="1266" y="95"/>
                  <a:pt x="1266" y="95"/>
                </a:cubicBezTo>
                <a:cubicBezTo>
                  <a:pt x="1266" y="96"/>
                  <a:pt x="1267" y="96"/>
                  <a:pt x="1267" y="96"/>
                </a:cubicBezTo>
                <a:cubicBezTo>
                  <a:pt x="1267" y="96"/>
                  <a:pt x="1267" y="95"/>
                  <a:pt x="1268" y="95"/>
                </a:cubicBezTo>
                <a:close/>
                <a:moveTo>
                  <a:pt x="1269" y="99"/>
                </a:moveTo>
                <a:cubicBezTo>
                  <a:pt x="1269" y="98"/>
                  <a:pt x="1269" y="98"/>
                  <a:pt x="1269" y="98"/>
                </a:cubicBezTo>
                <a:cubicBezTo>
                  <a:pt x="1269" y="98"/>
                  <a:pt x="1269" y="98"/>
                  <a:pt x="1270" y="98"/>
                </a:cubicBezTo>
                <a:cubicBezTo>
                  <a:pt x="1269" y="98"/>
                  <a:pt x="1269" y="98"/>
                  <a:pt x="1269" y="98"/>
                </a:cubicBezTo>
                <a:cubicBezTo>
                  <a:pt x="1269" y="98"/>
                  <a:pt x="1269" y="97"/>
                  <a:pt x="1268" y="97"/>
                </a:cubicBezTo>
                <a:cubicBezTo>
                  <a:pt x="1268" y="98"/>
                  <a:pt x="1268" y="98"/>
                  <a:pt x="1268" y="98"/>
                </a:cubicBezTo>
                <a:cubicBezTo>
                  <a:pt x="1268" y="98"/>
                  <a:pt x="1268" y="98"/>
                  <a:pt x="1268" y="98"/>
                </a:cubicBezTo>
                <a:cubicBezTo>
                  <a:pt x="1268" y="98"/>
                  <a:pt x="1268" y="98"/>
                  <a:pt x="1269" y="99"/>
                </a:cubicBezTo>
                <a:close/>
                <a:moveTo>
                  <a:pt x="1685" y="180"/>
                </a:moveTo>
                <a:cubicBezTo>
                  <a:pt x="1686" y="181"/>
                  <a:pt x="1686" y="181"/>
                  <a:pt x="1686" y="181"/>
                </a:cubicBezTo>
                <a:cubicBezTo>
                  <a:pt x="1687" y="181"/>
                  <a:pt x="1687" y="182"/>
                  <a:pt x="1688" y="182"/>
                </a:cubicBezTo>
                <a:cubicBezTo>
                  <a:pt x="1688" y="183"/>
                  <a:pt x="1688" y="183"/>
                  <a:pt x="1689" y="183"/>
                </a:cubicBezTo>
                <a:cubicBezTo>
                  <a:pt x="1689" y="183"/>
                  <a:pt x="1690" y="183"/>
                  <a:pt x="1690" y="183"/>
                </a:cubicBezTo>
                <a:cubicBezTo>
                  <a:pt x="1690" y="183"/>
                  <a:pt x="1691" y="183"/>
                  <a:pt x="1691" y="183"/>
                </a:cubicBezTo>
                <a:cubicBezTo>
                  <a:pt x="1691" y="183"/>
                  <a:pt x="1691" y="182"/>
                  <a:pt x="1691" y="182"/>
                </a:cubicBezTo>
                <a:cubicBezTo>
                  <a:pt x="1691" y="182"/>
                  <a:pt x="1691" y="182"/>
                  <a:pt x="1690" y="181"/>
                </a:cubicBezTo>
                <a:cubicBezTo>
                  <a:pt x="1691" y="181"/>
                  <a:pt x="1691" y="181"/>
                  <a:pt x="1691" y="181"/>
                </a:cubicBezTo>
                <a:cubicBezTo>
                  <a:pt x="1691" y="181"/>
                  <a:pt x="1691" y="181"/>
                  <a:pt x="1691" y="180"/>
                </a:cubicBezTo>
                <a:cubicBezTo>
                  <a:pt x="1690" y="180"/>
                  <a:pt x="1690" y="180"/>
                  <a:pt x="1690" y="179"/>
                </a:cubicBezTo>
                <a:cubicBezTo>
                  <a:pt x="1690" y="179"/>
                  <a:pt x="1689" y="179"/>
                  <a:pt x="1689" y="180"/>
                </a:cubicBezTo>
                <a:cubicBezTo>
                  <a:pt x="1689" y="179"/>
                  <a:pt x="1689" y="179"/>
                  <a:pt x="1688" y="179"/>
                </a:cubicBezTo>
                <a:cubicBezTo>
                  <a:pt x="1688" y="179"/>
                  <a:pt x="1688" y="179"/>
                  <a:pt x="1688" y="178"/>
                </a:cubicBezTo>
                <a:cubicBezTo>
                  <a:pt x="1687" y="178"/>
                  <a:pt x="1687" y="178"/>
                  <a:pt x="1686" y="178"/>
                </a:cubicBezTo>
                <a:cubicBezTo>
                  <a:pt x="1686" y="178"/>
                  <a:pt x="1686" y="178"/>
                  <a:pt x="1686" y="178"/>
                </a:cubicBezTo>
                <a:cubicBezTo>
                  <a:pt x="1686" y="178"/>
                  <a:pt x="1686" y="178"/>
                  <a:pt x="1685" y="178"/>
                </a:cubicBezTo>
                <a:cubicBezTo>
                  <a:pt x="1685" y="178"/>
                  <a:pt x="1685" y="178"/>
                  <a:pt x="1685" y="178"/>
                </a:cubicBezTo>
                <a:cubicBezTo>
                  <a:pt x="1685" y="178"/>
                  <a:pt x="1685" y="178"/>
                  <a:pt x="1684" y="178"/>
                </a:cubicBezTo>
                <a:cubicBezTo>
                  <a:pt x="1684" y="178"/>
                  <a:pt x="1684" y="178"/>
                  <a:pt x="1684" y="178"/>
                </a:cubicBezTo>
                <a:cubicBezTo>
                  <a:pt x="1684" y="179"/>
                  <a:pt x="1684" y="179"/>
                  <a:pt x="1683" y="180"/>
                </a:cubicBezTo>
                <a:cubicBezTo>
                  <a:pt x="1684" y="180"/>
                  <a:pt x="1684" y="180"/>
                  <a:pt x="1684" y="180"/>
                </a:cubicBezTo>
                <a:cubicBezTo>
                  <a:pt x="1684" y="180"/>
                  <a:pt x="1685" y="180"/>
                  <a:pt x="1685" y="180"/>
                </a:cubicBezTo>
                <a:close/>
                <a:moveTo>
                  <a:pt x="1274" y="63"/>
                </a:moveTo>
                <a:cubicBezTo>
                  <a:pt x="1274" y="63"/>
                  <a:pt x="1274" y="63"/>
                  <a:pt x="1274" y="63"/>
                </a:cubicBezTo>
                <a:cubicBezTo>
                  <a:pt x="1274" y="63"/>
                  <a:pt x="1274" y="63"/>
                  <a:pt x="1274" y="62"/>
                </a:cubicBezTo>
                <a:cubicBezTo>
                  <a:pt x="1274" y="62"/>
                  <a:pt x="1274" y="62"/>
                  <a:pt x="1274" y="62"/>
                </a:cubicBezTo>
                <a:cubicBezTo>
                  <a:pt x="1273" y="62"/>
                  <a:pt x="1273" y="62"/>
                  <a:pt x="1273" y="62"/>
                </a:cubicBezTo>
                <a:cubicBezTo>
                  <a:pt x="1273" y="62"/>
                  <a:pt x="1274" y="63"/>
                  <a:pt x="1274" y="63"/>
                </a:cubicBezTo>
                <a:close/>
                <a:moveTo>
                  <a:pt x="1264" y="103"/>
                </a:moveTo>
                <a:cubicBezTo>
                  <a:pt x="1264" y="103"/>
                  <a:pt x="1264" y="103"/>
                  <a:pt x="1264" y="103"/>
                </a:cubicBezTo>
                <a:cubicBezTo>
                  <a:pt x="1265" y="103"/>
                  <a:pt x="1265" y="103"/>
                  <a:pt x="1266" y="103"/>
                </a:cubicBezTo>
                <a:cubicBezTo>
                  <a:pt x="1266" y="103"/>
                  <a:pt x="1266" y="103"/>
                  <a:pt x="1266" y="103"/>
                </a:cubicBezTo>
                <a:cubicBezTo>
                  <a:pt x="1266" y="103"/>
                  <a:pt x="1266" y="103"/>
                  <a:pt x="1265" y="103"/>
                </a:cubicBezTo>
                <a:cubicBezTo>
                  <a:pt x="1265" y="103"/>
                  <a:pt x="1264" y="103"/>
                  <a:pt x="1264" y="103"/>
                </a:cubicBezTo>
                <a:close/>
                <a:moveTo>
                  <a:pt x="1268" y="67"/>
                </a:moveTo>
                <a:cubicBezTo>
                  <a:pt x="1267" y="67"/>
                  <a:pt x="1267" y="67"/>
                  <a:pt x="1267" y="67"/>
                </a:cubicBezTo>
                <a:cubicBezTo>
                  <a:pt x="1267" y="67"/>
                  <a:pt x="1266" y="67"/>
                  <a:pt x="1266" y="67"/>
                </a:cubicBezTo>
                <a:cubicBezTo>
                  <a:pt x="1266" y="67"/>
                  <a:pt x="1266" y="67"/>
                  <a:pt x="1266" y="68"/>
                </a:cubicBezTo>
                <a:cubicBezTo>
                  <a:pt x="1266" y="68"/>
                  <a:pt x="1266" y="68"/>
                  <a:pt x="1266" y="68"/>
                </a:cubicBezTo>
                <a:cubicBezTo>
                  <a:pt x="1266" y="68"/>
                  <a:pt x="1266" y="69"/>
                  <a:pt x="1266" y="69"/>
                </a:cubicBezTo>
                <a:cubicBezTo>
                  <a:pt x="1266" y="69"/>
                  <a:pt x="1266" y="69"/>
                  <a:pt x="1267" y="69"/>
                </a:cubicBezTo>
                <a:cubicBezTo>
                  <a:pt x="1267" y="69"/>
                  <a:pt x="1267" y="69"/>
                  <a:pt x="1268" y="69"/>
                </a:cubicBezTo>
                <a:cubicBezTo>
                  <a:pt x="1268" y="69"/>
                  <a:pt x="1268" y="68"/>
                  <a:pt x="1268" y="68"/>
                </a:cubicBezTo>
                <a:cubicBezTo>
                  <a:pt x="1268" y="68"/>
                  <a:pt x="1268" y="68"/>
                  <a:pt x="1268" y="67"/>
                </a:cubicBezTo>
                <a:cubicBezTo>
                  <a:pt x="1268" y="67"/>
                  <a:pt x="1268" y="67"/>
                  <a:pt x="1268" y="67"/>
                </a:cubicBezTo>
                <a:close/>
                <a:moveTo>
                  <a:pt x="1274" y="94"/>
                </a:moveTo>
                <a:cubicBezTo>
                  <a:pt x="1274" y="94"/>
                  <a:pt x="1273" y="94"/>
                  <a:pt x="1273" y="93"/>
                </a:cubicBezTo>
                <a:cubicBezTo>
                  <a:pt x="1273" y="93"/>
                  <a:pt x="1272" y="93"/>
                  <a:pt x="1272" y="93"/>
                </a:cubicBezTo>
                <a:cubicBezTo>
                  <a:pt x="1272" y="93"/>
                  <a:pt x="1271" y="93"/>
                  <a:pt x="1271" y="93"/>
                </a:cubicBezTo>
                <a:cubicBezTo>
                  <a:pt x="1271" y="93"/>
                  <a:pt x="1271" y="93"/>
                  <a:pt x="1271" y="94"/>
                </a:cubicBezTo>
                <a:cubicBezTo>
                  <a:pt x="1271" y="94"/>
                  <a:pt x="1271" y="94"/>
                  <a:pt x="1271" y="94"/>
                </a:cubicBezTo>
                <a:cubicBezTo>
                  <a:pt x="1271" y="93"/>
                  <a:pt x="1270" y="93"/>
                  <a:pt x="1270" y="93"/>
                </a:cubicBezTo>
                <a:cubicBezTo>
                  <a:pt x="1270" y="93"/>
                  <a:pt x="1270" y="93"/>
                  <a:pt x="1270" y="93"/>
                </a:cubicBezTo>
                <a:cubicBezTo>
                  <a:pt x="1270" y="93"/>
                  <a:pt x="1270" y="94"/>
                  <a:pt x="1270" y="94"/>
                </a:cubicBezTo>
                <a:cubicBezTo>
                  <a:pt x="1270" y="94"/>
                  <a:pt x="1271" y="94"/>
                  <a:pt x="1271" y="94"/>
                </a:cubicBezTo>
                <a:cubicBezTo>
                  <a:pt x="1271" y="94"/>
                  <a:pt x="1271" y="94"/>
                  <a:pt x="1272" y="95"/>
                </a:cubicBezTo>
                <a:cubicBezTo>
                  <a:pt x="1272" y="95"/>
                  <a:pt x="1272" y="95"/>
                  <a:pt x="1273" y="95"/>
                </a:cubicBezTo>
                <a:cubicBezTo>
                  <a:pt x="1273" y="95"/>
                  <a:pt x="1273" y="95"/>
                  <a:pt x="1273" y="95"/>
                </a:cubicBezTo>
                <a:cubicBezTo>
                  <a:pt x="1273" y="95"/>
                  <a:pt x="1273" y="95"/>
                  <a:pt x="1273" y="95"/>
                </a:cubicBezTo>
                <a:cubicBezTo>
                  <a:pt x="1273" y="95"/>
                  <a:pt x="1273" y="94"/>
                  <a:pt x="1273" y="94"/>
                </a:cubicBezTo>
                <a:cubicBezTo>
                  <a:pt x="1273" y="94"/>
                  <a:pt x="1273" y="94"/>
                  <a:pt x="1274" y="94"/>
                </a:cubicBezTo>
                <a:cubicBezTo>
                  <a:pt x="1274" y="94"/>
                  <a:pt x="1274" y="94"/>
                  <a:pt x="1274" y="94"/>
                </a:cubicBezTo>
                <a:close/>
                <a:moveTo>
                  <a:pt x="1527" y="78"/>
                </a:moveTo>
                <a:cubicBezTo>
                  <a:pt x="1527" y="78"/>
                  <a:pt x="1528" y="78"/>
                  <a:pt x="1528" y="78"/>
                </a:cubicBezTo>
                <a:cubicBezTo>
                  <a:pt x="1528" y="77"/>
                  <a:pt x="1528" y="77"/>
                  <a:pt x="1528" y="77"/>
                </a:cubicBezTo>
                <a:cubicBezTo>
                  <a:pt x="1528" y="77"/>
                  <a:pt x="1528" y="77"/>
                  <a:pt x="1528" y="77"/>
                </a:cubicBezTo>
                <a:cubicBezTo>
                  <a:pt x="1528" y="76"/>
                  <a:pt x="1528" y="76"/>
                  <a:pt x="1527" y="76"/>
                </a:cubicBezTo>
                <a:cubicBezTo>
                  <a:pt x="1527" y="76"/>
                  <a:pt x="1526" y="77"/>
                  <a:pt x="1525" y="77"/>
                </a:cubicBezTo>
                <a:cubicBezTo>
                  <a:pt x="1525" y="77"/>
                  <a:pt x="1525" y="78"/>
                  <a:pt x="1524" y="78"/>
                </a:cubicBezTo>
                <a:cubicBezTo>
                  <a:pt x="1525" y="78"/>
                  <a:pt x="1525" y="78"/>
                  <a:pt x="1526" y="78"/>
                </a:cubicBezTo>
                <a:cubicBezTo>
                  <a:pt x="1526" y="78"/>
                  <a:pt x="1527" y="78"/>
                  <a:pt x="1527" y="78"/>
                </a:cubicBezTo>
                <a:close/>
                <a:moveTo>
                  <a:pt x="1487" y="88"/>
                </a:moveTo>
                <a:cubicBezTo>
                  <a:pt x="1487" y="88"/>
                  <a:pt x="1487" y="88"/>
                  <a:pt x="1487" y="88"/>
                </a:cubicBezTo>
                <a:cubicBezTo>
                  <a:pt x="1487" y="89"/>
                  <a:pt x="1487" y="89"/>
                  <a:pt x="1487" y="89"/>
                </a:cubicBezTo>
                <a:cubicBezTo>
                  <a:pt x="1487" y="89"/>
                  <a:pt x="1486" y="89"/>
                  <a:pt x="1486" y="88"/>
                </a:cubicBezTo>
                <a:cubicBezTo>
                  <a:pt x="1486" y="89"/>
                  <a:pt x="1486" y="89"/>
                  <a:pt x="1486" y="89"/>
                </a:cubicBezTo>
                <a:cubicBezTo>
                  <a:pt x="1486" y="89"/>
                  <a:pt x="1487" y="90"/>
                  <a:pt x="1487" y="90"/>
                </a:cubicBezTo>
                <a:cubicBezTo>
                  <a:pt x="1487" y="90"/>
                  <a:pt x="1487" y="90"/>
                  <a:pt x="1487" y="90"/>
                </a:cubicBezTo>
                <a:cubicBezTo>
                  <a:pt x="1487" y="91"/>
                  <a:pt x="1487" y="91"/>
                  <a:pt x="1487" y="91"/>
                </a:cubicBezTo>
                <a:cubicBezTo>
                  <a:pt x="1487" y="91"/>
                  <a:pt x="1488" y="91"/>
                  <a:pt x="1488" y="91"/>
                </a:cubicBezTo>
                <a:cubicBezTo>
                  <a:pt x="1488" y="92"/>
                  <a:pt x="1489" y="92"/>
                  <a:pt x="1489" y="92"/>
                </a:cubicBezTo>
                <a:cubicBezTo>
                  <a:pt x="1489" y="92"/>
                  <a:pt x="1489" y="92"/>
                  <a:pt x="1489" y="93"/>
                </a:cubicBezTo>
                <a:cubicBezTo>
                  <a:pt x="1489" y="93"/>
                  <a:pt x="1489" y="93"/>
                  <a:pt x="1489" y="93"/>
                </a:cubicBezTo>
                <a:cubicBezTo>
                  <a:pt x="1489" y="93"/>
                  <a:pt x="1489" y="93"/>
                  <a:pt x="1489" y="93"/>
                </a:cubicBezTo>
                <a:cubicBezTo>
                  <a:pt x="1490" y="93"/>
                  <a:pt x="1490" y="93"/>
                  <a:pt x="1490" y="93"/>
                </a:cubicBezTo>
                <a:cubicBezTo>
                  <a:pt x="1490" y="93"/>
                  <a:pt x="1491" y="93"/>
                  <a:pt x="1491" y="94"/>
                </a:cubicBezTo>
                <a:cubicBezTo>
                  <a:pt x="1491" y="94"/>
                  <a:pt x="1491" y="94"/>
                  <a:pt x="1491" y="94"/>
                </a:cubicBezTo>
                <a:cubicBezTo>
                  <a:pt x="1491" y="94"/>
                  <a:pt x="1491" y="94"/>
                  <a:pt x="1490" y="94"/>
                </a:cubicBezTo>
                <a:cubicBezTo>
                  <a:pt x="1490" y="94"/>
                  <a:pt x="1490" y="94"/>
                  <a:pt x="1490" y="94"/>
                </a:cubicBezTo>
                <a:cubicBezTo>
                  <a:pt x="1490" y="94"/>
                  <a:pt x="1489" y="94"/>
                  <a:pt x="1489" y="94"/>
                </a:cubicBezTo>
                <a:cubicBezTo>
                  <a:pt x="1489" y="94"/>
                  <a:pt x="1489" y="94"/>
                  <a:pt x="1489" y="94"/>
                </a:cubicBezTo>
                <a:cubicBezTo>
                  <a:pt x="1489" y="94"/>
                  <a:pt x="1489" y="95"/>
                  <a:pt x="1489" y="95"/>
                </a:cubicBezTo>
                <a:cubicBezTo>
                  <a:pt x="1490" y="96"/>
                  <a:pt x="1491" y="96"/>
                  <a:pt x="1492" y="97"/>
                </a:cubicBezTo>
                <a:cubicBezTo>
                  <a:pt x="1493" y="98"/>
                  <a:pt x="1493" y="98"/>
                  <a:pt x="1494" y="98"/>
                </a:cubicBezTo>
                <a:cubicBezTo>
                  <a:pt x="1494" y="98"/>
                  <a:pt x="1495" y="98"/>
                  <a:pt x="1496" y="99"/>
                </a:cubicBezTo>
                <a:cubicBezTo>
                  <a:pt x="1496" y="99"/>
                  <a:pt x="1496" y="99"/>
                  <a:pt x="1497" y="99"/>
                </a:cubicBezTo>
                <a:cubicBezTo>
                  <a:pt x="1497" y="100"/>
                  <a:pt x="1497" y="100"/>
                  <a:pt x="1498" y="100"/>
                </a:cubicBezTo>
                <a:cubicBezTo>
                  <a:pt x="1498" y="100"/>
                  <a:pt x="1498" y="101"/>
                  <a:pt x="1498" y="101"/>
                </a:cubicBezTo>
                <a:cubicBezTo>
                  <a:pt x="1498" y="101"/>
                  <a:pt x="1498" y="101"/>
                  <a:pt x="1499" y="102"/>
                </a:cubicBezTo>
                <a:cubicBezTo>
                  <a:pt x="1499" y="102"/>
                  <a:pt x="1500" y="102"/>
                  <a:pt x="1500" y="102"/>
                </a:cubicBezTo>
                <a:cubicBezTo>
                  <a:pt x="1501" y="102"/>
                  <a:pt x="1502" y="102"/>
                  <a:pt x="1502" y="102"/>
                </a:cubicBezTo>
                <a:cubicBezTo>
                  <a:pt x="1503" y="103"/>
                  <a:pt x="1503" y="103"/>
                  <a:pt x="1504" y="103"/>
                </a:cubicBezTo>
                <a:cubicBezTo>
                  <a:pt x="1504" y="103"/>
                  <a:pt x="1504" y="103"/>
                  <a:pt x="1505" y="104"/>
                </a:cubicBezTo>
                <a:cubicBezTo>
                  <a:pt x="1505" y="104"/>
                  <a:pt x="1506" y="104"/>
                  <a:pt x="1506" y="104"/>
                </a:cubicBezTo>
                <a:cubicBezTo>
                  <a:pt x="1506" y="104"/>
                  <a:pt x="1506" y="103"/>
                  <a:pt x="1507" y="103"/>
                </a:cubicBezTo>
                <a:cubicBezTo>
                  <a:pt x="1507" y="103"/>
                  <a:pt x="1507" y="103"/>
                  <a:pt x="1507" y="103"/>
                </a:cubicBezTo>
                <a:cubicBezTo>
                  <a:pt x="1507" y="102"/>
                  <a:pt x="1507" y="102"/>
                  <a:pt x="1506" y="102"/>
                </a:cubicBezTo>
                <a:cubicBezTo>
                  <a:pt x="1506" y="101"/>
                  <a:pt x="1507" y="101"/>
                  <a:pt x="1507" y="101"/>
                </a:cubicBezTo>
                <a:cubicBezTo>
                  <a:pt x="1506" y="101"/>
                  <a:pt x="1506" y="101"/>
                  <a:pt x="1506" y="101"/>
                </a:cubicBezTo>
                <a:cubicBezTo>
                  <a:pt x="1506" y="101"/>
                  <a:pt x="1505" y="101"/>
                  <a:pt x="1505" y="100"/>
                </a:cubicBezTo>
                <a:cubicBezTo>
                  <a:pt x="1505" y="100"/>
                  <a:pt x="1505" y="100"/>
                  <a:pt x="1505" y="100"/>
                </a:cubicBezTo>
                <a:cubicBezTo>
                  <a:pt x="1505" y="100"/>
                  <a:pt x="1506" y="100"/>
                  <a:pt x="1506" y="100"/>
                </a:cubicBezTo>
                <a:cubicBezTo>
                  <a:pt x="1506" y="100"/>
                  <a:pt x="1506" y="100"/>
                  <a:pt x="1506" y="100"/>
                </a:cubicBezTo>
                <a:cubicBezTo>
                  <a:pt x="1506" y="100"/>
                  <a:pt x="1506" y="100"/>
                  <a:pt x="1507" y="101"/>
                </a:cubicBezTo>
                <a:cubicBezTo>
                  <a:pt x="1507" y="101"/>
                  <a:pt x="1507" y="101"/>
                  <a:pt x="1508" y="101"/>
                </a:cubicBezTo>
                <a:cubicBezTo>
                  <a:pt x="1508" y="101"/>
                  <a:pt x="1508" y="102"/>
                  <a:pt x="1508" y="102"/>
                </a:cubicBezTo>
                <a:cubicBezTo>
                  <a:pt x="1508" y="102"/>
                  <a:pt x="1508" y="102"/>
                  <a:pt x="1508" y="102"/>
                </a:cubicBezTo>
                <a:cubicBezTo>
                  <a:pt x="1508" y="102"/>
                  <a:pt x="1509" y="102"/>
                  <a:pt x="1509" y="102"/>
                </a:cubicBezTo>
                <a:cubicBezTo>
                  <a:pt x="1509" y="102"/>
                  <a:pt x="1510" y="102"/>
                  <a:pt x="1510" y="102"/>
                </a:cubicBezTo>
                <a:cubicBezTo>
                  <a:pt x="1511" y="101"/>
                  <a:pt x="1511" y="101"/>
                  <a:pt x="1512" y="101"/>
                </a:cubicBezTo>
                <a:cubicBezTo>
                  <a:pt x="1512" y="100"/>
                  <a:pt x="1513" y="100"/>
                  <a:pt x="1514" y="100"/>
                </a:cubicBezTo>
                <a:cubicBezTo>
                  <a:pt x="1515" y="100"/>
                  <a:pt x="1515" y="100"/>
                  <a:pt x="1516" y="100"/>
                </a:cubicBezTo>
                <a:cubicBezTo>
                  <a:pt x="1516" y="100"/>
                  <a:pt x="1516" y="100"/>
                  <a:pt x="1517" y="100"/>
                </a:cubicBezTo>
                <a:cubicBezTo>
                  <a:pt x="1517" y="100"/>
                  <a:pt x="1517" y="100"/>
                  <a:pt x="1517" y="100"/>
                </a:cubicBezTo>
                <a:cubicBezTo>
                  <a:pt x="1517" y="100"/>
                  <a:pt x="1517" y="101"/>
                  <a:pt x="1517" y="101"/>
                </a:cubicBezTo>
                <a:cubicBezTo>
                  <a:pt x="1517" y="101"/>
                  <a:pt x="1517" y="101"/>
                  <a:pt x="1518" y="101"/>
                </a:cubicBezTo>
                <a:cubicBezTo>
                  <a:pt x="1518" y="101"/>
                  <a:pt x="1518" y="102"/>
                  <a:pt x="1519" y="102"/>
                </a:cubicBezTo>
                <a:cubicBezTo>
                  <a:pt x="1519" y="102"/>
                  <a:pt x="1519" y="102"/>
                  <a:pt x="1520" y="102"/>
                </a:cubicBezTo>
                <a:cubicBezTo>
                  <a:pt x="1520" y="101"/>
                  <a:pt x="1520" y="101"/>
                  <a:pt x="1520" y="101"/>
                </a:cubicBezTo>
                <a:cubicBezTo>
                  <a:pt x="1521" y="101"/>
                  <a:pt x="1521" y="101"/>
                  <a:pt x="1522" y="101"/>
                </a:cubicBezTo>
                <a:cubicBezTo>
                  <a:pt x="1522" y="101"/>
                  <a:pt x="1523" y="101"/>
                  <a:pt x="1523" y="101"/>
                </a:cubicBezTo>
                <a:cubicBezTo>
                  <a:pt x="1523" y="101"/>
                  <a:pt x="1523" y="100"/>
                  <a:pt x="1523" y="100"/>
                </a:cubicBezTo>
                <a:cubicBezTo>
                  <a:pt x="1522" y="100"/>
                  <a:pt x="1521" y="100"/>
                  <a:pt x="1521" y="100"/>
                </a:cubicBezTo>
                <a:cubicBezTo>
                  <a:pt x="1520" y="100"/>
                  <a:pt x="1520" y="100"/>
                  <a:pt x="1519" y="100"/>
                </a:cubicBezTo>
                <a:cubicBezTo>
                  <a:pt x="1518" y="99"/>
                  <a:pt x="1518" y="99"/>
                  <a:pt x="1518" y="99"/>
                </a:cubicBezTo>
                <a:cubicBezTo>
                  <a:pt x="1517" y="98"/>
                  <a:pt x="1516" y="98"/>
                  <a:pt x="1516" y="98"/>
                </a:cubicBezTo>
                <a:cubicBezTo>
                  <a:pt x="1515" y="98"/>
                  <a:pt x="1515" y="97"/>
                  <a:pt x="1515" y="97"/>
                </a:cubicBezTo>
                <a:cubicBezTo>
                  <a:pt x="1515" y="97"/>
                  <a:pt x="1514" y="97"/>
                  <a:pt x="1514" y="97"/>
                </a:cubicBezTo>
                <a:cubicBezTo>
                  <a:pt x="1514" y="97"/>
                  <a:pt x="1514" y="96"/>
                  <a:pt x="1513" y="96"/>
                </a:cubicBezTo>
                <a:cubicBezTo>
                  <a:pt x="1513" y="96"/>
                  <a:pt x="1512" y="95"/>
                  <a:pt x="1512" y="95"/>
                </a:cubicBezTo>
                <a:cubicBezTo>
                  <a:pt x="1512" y="95"/>
                  <a:pt x="1511" y="94"/>
                  <a:pt x="1511" y="94"/>
                </a:cubicBezTo>
                <a:cubicBezTo>
                  <a:pt x="1511" y="94"/>
                  <a:pt x="1511" y="93"/>
                  <a:pt x="1511" y="93"/>
                </a:cubicBezTo>
                <a:cubicBezTo>
                  <a:pt x="1511" y="93"/>
                  <a:pt x="1511" y="92"/>
                  <a:pt x="1511" y="92"/>
                </a:cubicBezTo>
                <a:cubicBezTo>
                  <a:pt x="1511" y="92"/>
                  <a:pt x="1510" y="92"/>
                  <a:pt x="1510" y="91"/>
                </a:cubicBezTo>
                <a:cubicBezTo>
                  <a:pt x="1510" y="91"/>
                  <a:pt x="1510" y="91"/>
                  <a:pt x="1510" y="90"/>
                </a:cubicBezTo>
                <a:cubicBezTo>
                  <a:pt x="1510" y="90"/>
                  <a:pt x="1509" y="90"/>
                  <a:pt x="1509" y="90"/>
                </a:cubicBezTo>
                <a:cubicBezTo>
                  <a:pt x="1509" y="90"/>
                  <a:pt x="1509" y="90"/>
                  <a:pt x="1509" y="89"/>
                </a:cubicBezTo>
                <a:cubicBezTo>
                  <a:pt x="1509" y="89"/>
                  <a:pt x="1510" y="89"/>
                  <a:pt x="1510" y="89"/>
                </a:cubicBezTo>
                <a:cubicBezTo>
                  <a:pt x="1510" y="89"/>
                  <a:pt x="1509" y="89"/>
                  <a:pt x="1509" y="89"/>
                </a:cubicBezTo>
                <a:cubicBezTo>
                  <a:pt x="1510" y="89"/>
                  <a:pt x="1510" y="89"/>
                  <a:pt x="1510" y="89"/>
                </a:cubicBezTo>
                <a:cubicBezTo>
                  <a:pt x="1510" y="89"/>
                  <a:pt x="1510" y="89"/>
                  <a:pt x="1511" y="89"/>
                </a:cubicBezTo>
                <a:cubicBezTo>
                  <a:pt x="1511" y="88"/>
                  <a:pt x="1511" y="88"/>
                  <a:pt x="1511" y="88"/>
                </a:cubicBezTo>
                <a:cubicBezTo>
                  <a:pt x="1510" y="88"/>
                  <a:pt x="1510" y="88"/>
                  <a:pt x="1510" y="88"/>
                </a:cubicBezTo>
                <a:cubicBezTo>
                  <a:pt x="1510" y="87"/>
                  <a:pt x="1510" y="87"/>
                  <a:pt x="1509" y="87"/>
                </a:cubicBezTo>
                <a:cubicBezTo>
                  <a:pt x="1508" y="87"/>
                  <a:pt x="1508" y="87"/>
                  <a:pt x="1507" y="86"/>
                </a:cubicBezTo>
                <a:cubicBezTo>
                  <a:pt x="1507" y="86"/>
                  <a:pt x="1506" y="86"/>
                  <a:pt x="1506" y="86"/>
                </a:cubicBezTo>
                <a:cubicBezTo>
                  <a:pt x="1505" y="85"/>
                  <a:pt x="1505" y="85"/>
                  <a:pt x="1505" y="85"/>
                </a:cubicBezTo>
                <a:cubicBezTo>
                  <a:pt x="1504" y="85"/>
                  <a:pt x="1504" y="85"/>
                  <a:pt x="1503" y="85"/>
                </a:cubicBezTo>
                <a:cubicBezTo>
                  <a:pt x="1503" y="84"/>
                  <a:pt x="1503" y="84"/>
                  <a:pt x="1502" y="84"/>
                </a:cubicBezTo>
                <a:cubicBezTo>
                  <a:pt x="1502" y="84"/>
                  <a:pt x="1502" y="84"/>
                  <a:pt x="1502" y="84"/>
                </a:cubicBezTo>
                <a:cubicBezTo>
                  <a:pt x="1502" y="84"/>
                  <a:pt x="1503" y="85"/>
                  <a:pt x="1503" y="85"/>
                </a:cubicBezTo>
                <a:cubicBezTo>
                  <a:pt x="1504" y="86"/>
                  <a:pt x="1504" y="86"/>
                  <a:pt x="1504" y="86"/>
                </a:cubicBezTo>
                <a:cubicBezTo>
                  <a:pt x="1504" y="86"/>
                  <a:pt x="1504" y="86"/>
                  <a:pt x="1505" y="86"/>
                </a:cubicBezTo>
                <a:cubicBezTo>
                  <a:pt x="1504" y="86"/>
                  <a:pt x="1504" y="86"/>
                  <a:pt x="1503" y="86"/>
                </a:cubicBezTo>
                <a:cubicBezTo>
                  <a:pt x="1503" y="86"/>
                  <a:pt x="1503" y="86"/>
                  <a:pt x="1503" y="86"/>
                </a:cubicBezTo>
                <a:cubicBezTo>
                  <a:pt x="1502" y="86"/>
                  <a:pt x="1502" y="86"/>
                  <a:pt x="1502" y="85"/>
                </a:cubicBezTo>
                <a:cubicBezTo>
                  <a:pt x="1502" y="86"/>
                  <a:pt x="1501" y="86"/>
                  <a:pt x="1501" y="86"/>
                </a:cubicBezTo>
                <a:cubicBezTo>
                  <a:pt x="1501" y="86"/>
                  <a:pt x="1501" y="86"/>
                  <a:pt x="1501" y="87"/>
                </a:cubicBezTo>
                <a:cubicBezTo>
                  <a:pt x="1501" y="87"/>
                  <a:pt x="1501" y="87"/>
                  <a:pt x="1502" y="88"/>
                </a:cubicBezTo>
                <a:cubicBezTo>
                  <a:pt x="1502" y="88"/>
                  <a:pt x="1502" y="88"/>
                  <a:pt x="1502" y="89"/>
                </a:cubicBezTo>
                <a:cubicBezTo>
                  <a:pt x="1502" y="89"/>
                  <a:pt x="1503" y="90"/>
                  <a:pt x="1503" y="90"/>
                </a:cubicBezTo>
                <a:cubicBezTo>
                  <a:pt x="1503" y="91"/>
                  <a:pt x="1503" y="91"/>
                  <a:pt x="1503" y="91"/>
                </a:cubicBezTo>
                <a:cubicBezTo>
                  <a:pt x="1503" y="91"/>
                  <a:pt x="1503" y="91"/>
                  <a:pt x="1503" y="91"/>
                </a:cubicBezTo>
                <a:cubicBezTo>
                  <a:pt x="1502" y="91"/>
                  <a:pt x="1502" y="91"/>
                  <a:pt x="1501" y="91"/>
                </a:cubicBezTo>
                <a:cubicBezTo>
                  <a:pt x="1501" y="90"/>
                  <a:pt x="1501" y="90"/>
                  <a:pt x="1500" y="90"/>
                </a:cubicBezTo>
                <a:cubicBezTo>
                  <a:pt x="1500" y="89"/>
                  <a:pt x="1500" y="89"/>
                  <a:pt x="1500" y="88"/>
                </a:cubicBezTo>
                <a:cubicBezTo>
                  <a:pt x="1500" y="88"/>
                  <a:pt x="1499" y="88"/>
                  <a:pt x="1499" y="88"/>
                </a:cubicBezTo>
                <a:cubicBezTo>
                  <a:pt x="1499" y="88"/>
                  <a:pt x="1498" y="88"/>
                  <a:pt x="1498" y="88"/>
                </a:cubicBezTo>
                <a:cubicBezTo>
                  <a:pt x="1498" y="88"/>
                  <a:pt x="1497" y="88"/>
                  <a:pt x="1497" y="88"/>
                </a:cubicBezTo>
                <a:cubicBezTo>
                  <a:pt x="1497" y="88"/>
                  <a:pt x="1497" y="88"/>
                  <a:pt x="1497" y="87"/>
                </a:cubicBezTo>
                <a:cubicBezTo>
                  <a:pt x="1496" y="87"/>
                  <a:pt x="1496" y="87"/>
                  <a:pt x="1496" y="87"/>
                </a:cubicBezTo>
                <a:cubicBezTo>
                  <a:pt x="1496" y="87"/>
                  <a:pt x="1496" y="86"/>
                  <a:pt x="1496" y="86"/>
                </a:cubicBezTo>
                <a:cubicBezTo>
                  <a:pt x="1496" y="86"/>
                  <a:pt x="1496" y="86"/>
                  <a:pt x="1496" y="85"/>
                </a:cubicBezTo>
                <a:cubicBezTo>
                  <a:pt x="1495" y="85"/>
                  <a:pt x="1495" y="85"/>
                  <a:pt x="1494" y="85"/>
                </a:cubicBezTo>
                <a:cubicBezTo>
                  <a:pt x="1494" y="85"/>
                  <a:pt x="1494" y="84"/>
                  <a:pt x="1493" y="84"/>
                </a:cubicBezTo>
                <a:cubicBezTo>
                  <a:pt x="1493" y="84"/>
                  <a:pt x="1492" y="84"/>
                  <a:pt x="1492" y="83"/>
                </a:cubicBezTo>
                <a:cubicBezTo>
                  <a:pt x="1491" y="83"/>
                  <a:pt x="1491" y="83"/>
                  <a:pt x="1491" y="83"/>
                </a:cubicBezTo>
                <a:cubicBezTo>
                  <a:pt x="1491" y="83"/>
                  <a:pt x="1491" y="83"/>
                  <a:pt x="1491" y="82"/>
                </a:cubicBezTo>
                <a:cubicBezTo>
                  <a:pt x="1490" y="82"/>
                  <a:pt x="1490" y="82"/>
                  <a:pt x="1489" y="82"/>
                </a:cubicBezTo>
                <a:cubicBezTo>
                  <a:pt x="1489" y="82"/>
                  <a:pt x="1488" y="82"/>
                  <a:pt x="1488" y="82"/>
                </a:cubicBezTo>
                <a:cubicBezTo>
                  <a:pt x="1488" y="83"/>
                  <a:pt x="1488" y="83"/>
                  <a:pt x="1488" y="83"/>
                </a:cubicBezTo>
                <a:cubicBezTo>
                  <a:pt x="1488" y="84"/>
                  <a:pt x="1488" y="84"/>
                  <a:pt x="1487" y="84"/>
                </a:cubicBezTo>
                <a:cubicBezTo>
                  <a:pt x="1487" y="84"/>
                  <a:pt x="1487" y="84"/>
                  <a:pt x="1487" y="85"/>
                </a:cubicBezTo>
                <a:cubicBezTo>
                  <a:pt x="1487" y="85"/>
                  <a:pt x="1487" y="85"/>
                  <a:pt x="1487" y="85"/>
                </a:cubicBezTo>
                <a:cubicBezTo>
                  <a:pt x="1486" y="85"/>
                  <a:pt x="1486" y="86"/>
                  <a:pt x="1485" y="86"/>
                </a:cubicBezTo>
                <a:cubicBezTo>
                  <a:pt x="1485" y="86"/>
                  <a:pt x="1485" y="86"/>
                  <a:pt x="1485" y="86"/>
                </a:cubicBezTo>
                <a:cubicBezTo>
                  <a:pt x="1485" y="87"/>
                  <a:pt x="1486" y="87"/>
                  <a:pt x="1486" y="88"/>
                </a:cubicBezTo>
                <a:cubicBezTo>
                  <a:pt x="1486" y="88"/>
                  <a:pt x="1486" y="88"/>
                  <a:pt x="1487" y="88"/>
                </a:cubicBezTo>
                <a:close/>
                <a:moveTo>
                  <a:pt x="1526" y="114"/>
                </a:moveTo>
                <a:cubicBezTo>
                  <a:pt x="1526" y="115"/>
                  <a:pt x="1525" y="115"/>
                  <a:pt x="1525" y="115"/>
                </a:cubicBezTo>
                <a:cubicBezTo>
                  <a:pt x="1525" y="115"/>
                  <a:pt x="1524" y="115"/>
                  <a:pt x="1523" y="116"/>
                </a:cubicBezTo>
                <a:cubicBezTo>
                  <a:pt x="1523" y="116"/>
                  <a:pt x="1524" y="116"/>
                  <a:pt x="1524" y="116"/>
                </a:cubicBezTo>
                <a:cubicBezTo>
                  <a:pt x="1523" y="117"/>
                  <a:pt x="1523" y="117"/>
                  <a:pt x="1523" y="118"/>
                </a:cubicBezTo>
                <a:cubicBezTo>
                  <a:pt x="1523" y="118"/>
                  <a:pt x="1522" y="119"/>
                  <a:pt x="1522" y="119"/>
                </a:cubicBezTo>
                <a:cubicBezTo>
                  <a:pt x="1521" y="119"/>
                  <a:pt x="1521" y="120"/>
                  <a:pt x="1520" y="120"/>
                </a:cubicBezTo>
                <a:cubicBezTo>
                  <a:pt x="1520" y="120"/>
                  <a:pt x="1520" y="120"/>
                  <a:pt x="1520" y="120"/>
                </a:cubicBezTo>
                <a:cubicBezTo>
                  <a:pt x="1520" y="120"/>
                  <a:pt x="1521" y="120"/>
                  <a:pt x="1521" y="121"/>
                </a:cubicBezTo>
                <a:cubicBezTo>
                  <a:pt x="1521" y="121"/>
                  <a:pt x="1521" y="121"/>
                  <a:pt x="1522" y="121"/>
                </a:cubicBezTo>
                <a:cubicBezTo>
                  <a:pt x="1522" y="120"/>
                  <a:pt x="1523" y="120"/>
                  <a:pt x="1523" y="120"/>
                </a:cubicBezTo>
                <a:cubicBezTo>
                  <a:pt x="1524" y="120"/>
                  <a:pt x="1524" y="120"/>
                  <a:pt x="1525" y="120"/>
                </a:cubicBezTo>
                <a:cubicBezTo>
                  <a:pt x="1526" y="120"/>
                  <a:pt x="1526" y="120"/>
                  <a:pt x="1527" y="121"/>
                </a:cubicBezTo>
                <a:cubicBezTo>
                  <a:pt x="1527" y="121"/>
                  <a:pt x="1528" y="121"/>
                  <a:pt x="1529" y="121"/>
                </a:cubicBezTo>
                <a:cubicBezTo>
                  <a:pt x="1530" y="121"/>
                  <a:pt x="1530" y="122"/>
                  <a:pt x="1531" y="122"/>
                </a:cubicBezTo>
                <a:cubicBezTo>
                  <a:pt x="1532" y="122"/>
                  <a:pt x="1533" y="122"/>
                  <a:pt x="1533" y="122"/>
                </a:cubicBezTo>
                <a:cubicBezTo>
                  <a:pt x="1534" y="122"/>
                  <a:pt x="1534" y="122"/>
                  <a:pt x="1535" y="122"/>
                </a:cubicBezTo>
                <a:cubicBezTo>
                  <a:pt x="1535" y="122"/>
                  <a:pt x="1536" y="123"/>
                  <a:pt x="1537" y="123"/>
                </a:cubicBezTo>
                <a:cubicBezTo>
                  <a:pt x="1537" y="123"/>
                  <a:pt x="1537" y="123"/>
                  <a:pt x="1538" y="123"/>
                </a:cubicBezTo>
                <a:cubicBezTo>
                  <a:pt x="1538" y="123"/>
                  <a:pt x="1539" y="123"/>
                  <a:pt x="1539" y="123"/>
                </a:cubicBezTo>
                <a:cubicBezTo>
                  <a:pt x="1539" y="123"/>
                  <a:pt x="1538" y="123"/>
                  <a:pt x="1538" y="122"/>
                </a:cubicBezTo>
                <a:cubicBezTo>
                  <a:pt x="1538" y="122"/>
                  <a:pt x="1538" y="122"/>
                  <a:pt x="1538" y="121"/>
                </a:cubicBezTo>
                <a:cubicBezTo>
                  <a:pt x="1538" y="121"/>
                  <a:pt x="1537" y="120"/>
                  <a:pt x="1537" y="120"/>
                </a:cubicBezTo>
                <a:cubicBezTo>
                  <a:pt x="1536" y="119"/>
                  <a:pt x="1535" y="119"/>
                  <a:pt x="1535" y="118"/>
                </a:cubicBezTo>
                <a:cubicBezTo>
                  <a:pt x="1534" y="118"/>
                  <a:pt x="1534" y="118"/>
                  <a:pt x="1533" y="117"/>
                </a:cubicBezTo>
                <a:cubicBezTo>
                  <a:pt x="1533" y="117"/>
                  <a:pt x="1532" y="117"/>
                  <a:pt x="1532" y="117"/>
                </a:cubicBezTo>
                <a:cubicBezTo>
                  <a:pt x="1531" y="116"/>
                  <a:pt x="1531" y="116"/>
                  <a:pt x="1531" y="116"/>
                </a:cubicBezTo>
                <a:cubicBezTo>
                  <a:pt x="1530" y="116"/>
                  <a:pt x="1530" y="116"/>
                  <a:pt x="1530" y="115"/>
                </a:cubicBezTo>
                <a:cubicBezTo>
                  <a:pt x="1529" y="115"/>
                  <a:pt x="1529" y="115"/>
                  <a:pt x="1529" y="115"/>
                </a:cubicBezTo>
                <a:cubicBezTo>
                  <a:pt x="1528" y="115"/>
                  <a:pt x="1528" y="115"/>
                  <a:pt x="1527" y="115"/>
                </a:cubicBezTo>
                <a:cubicBezTo>
                  <a:pt x="1527" y="115"/>
                  <a:pt x="1527" y="114"/>
                  <a:pt x="1526" y="114"/>
                </a:cubicBezTo>
                <a:close/>
                <a:moveTo>
                  <a:pt x="1535" y="97"/>
                </a:moveTo>
                <a:cubicBezTo>
                  <a:pt x="1536" y="98"/>
                  <a:pt x="1536" y="98"/>
                  <a:pt x="1536" y="98"/>
                </a:cubicBezTo>
                <a:cubicBezTo>
                  <a:pt x="1537" y="99"/>
                  <a:pt x="1538" y="100"/>
                  <a:pt x="1540" y="100"/>
                </a:cubicBezTo>
                <a:cubicBezTo>
                  <a:pt x="1541" y="101"/>
                  <a:pt x="1542" y="101"/>
                  <a:pt x="1543" y="102"/>
                </a:cubicBezTo>
                <a:cubicBezTo>
                  <a:pt x="1543" y="102"/>
                  <a:pt x="1544" y="102"/>
                  <a:pt x="1545" y="103"/>
                </a:cubicBezTo>
                <a:cubicBezTo>
                  <a:pt x="1545" y="103"/>
                  <a:pt x="1546" y="103"/>
                  <a:pt x="1547" y="103"/>
                </a:cubicBezTo>
                <a:cubicBezTo>
                  <a:pt x="1547" y="103"/>
                  <a:pt x="1548" y="103"/>
                  <a:pt x="1548" y="104"/>
                </a:cubicBezTo>
                <a:cubicBezTo>
                  <a:pt x="1549" y="104"/>
                  <a:pt x="1549" y="104"/>
                  <a:pt x="1550" y="104"/>
                </a:cubicBezTo>
                <a:cubicBezTo>
                  <a:pt x="1550" y="104"/>
                  <a:pt x="1551" y="104"/>
                  <a:pt x="1551" y="104"/>
                </a:cubicBezTo>
                <a:cubicBezTo>
                  <a:pt x="1552" y="104"/>
                  <a:pt x="1553" y="104"/>
                  <a:pt x="1554" y="104"/>
                </a:cubicBezTo>
                <a:cubicBezTo>
                  <a:pt x="1554" y="104"/>
                  <a:pt x="1554" y="104"/>
                  <a:pt x="1555" y="104"/>
                </a:cubicBezTo>
                <a:cubicBezTo>
                  <a:pt x="1555" y="103"/>
                  <a:pt x="1555" y="103"/>
                  <a:pt x="1556" y="103"/>
                </a:cubicBezTo>
                <a:cubicBezTo>
                  <a:pt x="1556" y="103"/>
                  <a:pt x="1556" y="102"/>
                  <a:pt x="1556" y="102"/>
                </a:cubicBezTo>
                <a:cubicBezTo>
                  <a:pt x="1555" y="102"/>
                  <a:pt x="1555" y="102"/>
                  <a:pt x="1555" y="101"/>
                </a:cubicBezTo>
                <a:cubicBezTo>
                  <a:pt x="1554" y="101"/>
                  <a:pt x="1554" y="101"/>
                  <a:pt x="1554" y="101"/>
                </a:cubicBezTo>
                <a:cubicBezTo>
                  <a:pt x="1554" y="101"/>
                  <a:pt x="1554" y="101"/>
                  <a:pt x="1554" y="101"/>
                </a:cubicBezTo>
                <a:cubicBezTo>
                  <a:pt x="1554" y="100"/>
                  <a:pt x="1554" y="100"/>
                  <a:pt x="1554" y="100"/>
                </a:cubicBezTo>
                <a:cubicBezTo>
                  <a:pt x="1554" y="100"/>
                  <a:pt x="1554" y="100"/>
                  <a:pt x="1553" y="100"/>
                </a:cubicBezTo>
                <a:cubicBezTo>
                  <a:pt x="1553" y="100"/>
                  <a:pt x="1553" y="100"/>
                  <a:pt x="1552" y="100"/>
                </a:cubicBezTo>
                <a:cubicBezTo>
                  <a:pt x="1552" y="99"/>
                  <a:pt x="1551" y="99"/>
                  <a:pt x="1551" y="99"/>
                </a:cubicBezTo>
                <a:cubicBezTo>
                  <a:pt x="1550" y="99"/>
                  <a:pt x="1549" y="98"/>
                  <a:pt x="1547" y="98"/>
                </a:cubicBezTo>
                <a:cubicBezTo>
                  <a:pt x="1547" y="98"/>
                  <a:pt x="1546" y="98"/>
                  <a:pt x="1545" y="98"/>
                </a:cubicBezTo>
                <a:cubicBezTo>
                  <a:pt x="1545" y="98"/>
                  <a:pt x="1545" y="98"/>
                  <a:pt x="1544" y="98"/>
                </a:cubicBezTo>
                <a:cubicBezTo>
                  <a:pt x="1544" y="98"/>
                  <a:pt x="1544" y="98"/>
                  <a:pt x="1544" y="98"/>
                </a:cubicBezTo>
                <a:cubicBezTo>
                  <a:pt x="1544" y="98"/>
                  <a:pt x="1544" y="97"/>
                  <a:pt x="1544" y="97"/>
                </a:cubicBezTo>
                <a:cubicBezTo>
                  <a:pt x="1543" y="97"/>
                  <a:pt x="1543" y="97"/>
                  <a:pt x="1543" y="97"/>
                </a:cubicBezTo>
                <a:cubicBezTo>
                  <a:pt x="1542" y="97"/>
                  <a:pt x="1542" y="97"/>
                  <a:pt x="1541" y="97"/>
                </a:cubicBezTo>
                <a:cubicBezTo>
                  <a:pt x="1541" y="96"/>
                  <a:pt x="1540" y="96"/>
                  <a:pt x="1540" y="96"/>
                </a:cubicBezTo>
                <a:cubicBezTo>
                  <a:pt x="1539" y="96"/>
                  <a:pt x="1539" y="96"/>
                  <a:pt x="1539" y="96"/>
                </a:cubicBezTo>
                <a:cubicBezTo>
                  <a:pt x="1539" y="96"/>
                  <a:pt x="1539" y="96"/>
                  <a:pt x="1539" y="96"/>
                </a:cubicBezTo>
                <a:cubicBezTo>
                  <a:pt x="1538" y="96"/>
                  <a:pt x="1538" y="96"/>
                  <a:pt x="1538" y="96"/>
                </a:cubicBezTo>
                <a:cubicBezTo>
                  <a:pt x="1537" y="96"/>
                  <a:pt x="1536" y="96"/>
                  <a:pt x="1535" y="95"/>
                </a:cubicBezTo>
                <a:cubicBezTo>
                  <a:pt x="1535" y="95"/>
                  <a:pt x="1535" y="95"/>
                  <a:pt x="1535" y="95"/>
                </a:cubicBezTo>
                <a:cubicBezTo>
                  <a:pt x="1535" y="95"/>
                  <a:pt x="1535" y="94"/>
                  <a:pt x="1535" y="94"/>
                </a:cubicBezTo>
                <a:cubicBezTo>
                  <a:pt x="1534" y="94"/>
                  <a:pt x="1534" y="94"/>
                  <a:pt x="1534" y="94"/>
                </a:cubicBezTo>
                <a:cubicBezTo>
                  <a:pt x="1534" y="94"/>
                  <a:pt x="1534" y="95"/>
                  <a:pt x="1534" y="95"/>
                </a:cubicBezTo>
                <a:cubicBezTo>
                  <a:pt x="1534" y="96"/>
                  <a:pt x="1535" y="97"/>
                  <a:pt x="1535" y="97"/>
                </a:cubicBezTo>
                <a:close/>
                <a:moveTo>
                  <a:pt x="1521" y="113"/>
                </a:moveTo>
                <a:cubicBezTo>
                  <a:pt x="1521" y="113"/>
                  <a:pt x="1521" y="112"/>
                  <a:pt x="1521" y="112"/>
                </a:cubicBezTo>
                <a:cubicBezTo>
                  <a:pt x="1521" y="112"/>
                  <a:pt x="1520" y="111"/>
                  <a:pt x="1520" y="111"/>
                </a:cubicBezTo>
                <a:cubicBezTo>
                  <a:pt x="1520" y="110"/>
                  <a:pt x="1519" y="110"/>
                  <a:pt x="1519" y="110"/>
                </a:cubicBezTo>
                <a:cubicBezTo>
                  <a:pt x="1519" y="110"/>
                  <a:pt x="1519" y="109"/>
                  <a:pt x="1519" y="109"/>
                </a:cubicBezTo>
                <a:cubicBezTo>
                  <a:pt x="1518" y="109"/>
                  <a:pt x="1518" y="109"/>
                  <a:pt x="1517" y="109"/>
                </a:cubicBezTo>
                <a:cubicBezTo>
                  <a:pt x="1517" y="109"/>
                  <a:pt x="1516" y="109"/>
                  <a:pt x="1516" y="109"/>
                </a:cubicBezTo>
                <a:cubicBezTo>
                  <a:pt x="1516" y="110"/>
                  <a:pt x="1516" y="110"/>
                  <a:pt x="1516" y="110"/>
                </a:cubicBezTo>
                <a:cubicBezTo>
                  <a:pt x="1516" y="110"/>
                  <a:pt x="1516" y="111"/>
                  <a:pt x="1516" y="111"/>
                </a:cubicBezTo>
                <a:cubicBezTo>
                  <a:pt x="1516" y="111"/>
                  <a:pt x="1516" y="111"/>
                  <a:pt x="1516" y="111"/>
                </a:cubicBezTo>
                <a:cubicBezTo>
                  <a:pt x="1516" y="112"/>
                  <a:pt x="1516" y="112"/>
                  <a:pt x="1516" y="112"/>
                </a:cubicBezTo>
                <a:cubicBezTo>
                  <a:pt x="1517" y="112"/>
                  <a:pt x="1517" y="112"/>
                  <a:pt x="1517" y="112"/>
                </a:cubicBezTo>
                <a:cubicBezTo>
                  <a:pt x="1518" y="113"/>
                  <a:pt x="1518" y="113"/>
                  <a:pt x="1518" y="114"/>
                </a:cubicBezTo>
                <a:cubicBezTo>
                  <a:pt x="1518" y="114"/>
                  <a:pt x="1519" y="114"/>
                  <a:pt x="1519" y="114"/>
                </a:cubicBezTo>
                <a:cubicBezTo>
                  <a:pt x="1519" y="114"/>
                  <a:pt x="1520" y="114"/>
                  <a:pt x="1520" y="114"/>
                </a:cubicBezTo>
                <a:cubicBezTo>
                  <a:pt x="1520" y="114"/>
                  <a:pt x="1520" y="114"/>
                  <a:pt x="1520" y="114"/>
                </a:cubicBezTo>
                <a:cubicBezTo>
                  <a:pt x="1520" y="114"/>
                  <a:pt x="1520" y="113"/>
                  <a:pt x="1520" y="113"/>
                </a:cubicBezTo>
                <a:cubicBezTo>
                  <a:pt x="1520" y="113"/>
                  <a:pt x="1521" y="113"/>
                  <a:pt x="1521" y="113"/>
                </a:cubicBezTo>
                <a:close/>
                <a:moveTo>
                  <a:pt x="1241" y="117"/>
                </a:moveTo>
                <a:cubicBezTo>
                  <a:pt x="1241" y="118"/>
                  <a:pt x="1241" y="118"/>
                  <a:pt x="1241" y="118"/>
                </a:cubicBezTo>
                <a:cubicBezTo>
                  <a:pt x="1241" y="118"/>
                  <a:pt x="1241" y="118"/>
                  <a:pt x="1241" y="119"/>
                </a:cubicBezTo>
                <a:cubicBezTo>
                  <a:pt x="1242" y="119"/>
                  <a:pt x="1242" y="119"/>
                  <a:pt x="1242" y="119"/>
                </a:cubicBezTo>
                <a:cubicBezTo>
                  <a:pt x="1242" y="118"/>
                  <a:pt x="1243" y="118"/>
                  <a:pt x="1243" y="118"/>
                </a:cubicBezTo>
                <a:cubicBezTo>
                  <a:pt x="1244" y="118"/>
                  <a:pt x="1244" y="118"/>
                  <a:pt x="1244" y="118"/>
                </a:cubicBezTo>
                <a:cubicBezTo>
                  <a:pt x="1244" y="118"/>
                  <a:pt x="1245" y="118"/>
                  <a:pt x="1245" y="117"/>
                </a:cubicBezTo>
                <a:cubicBezTo>
                  <a:pt x="1245" y="117"/>
                  <a:pt x="1246" y="117"/>
                  <a:pt x="1246" y="117"/>
                </a:cubicBezTo>
                <a:cubicBezTo>
                  <a:pt x="1246" y="117"/>
                  <a:pt x="1247" y="117"/>
                  <a:pt x="1247" y="117"/>
                </a:cubicBezTo>
                <a:cubicBezTo>
                  <a:pt x="1247" y="116"/>
                  <a:pt x="1247" y="116"/>
                  <a:pt x="1247" y="116"/>
                </a:cubicBezTo>
                <a:cubicBezTo>
                  <a:pt x="1247" y="116"/>
                  <a:pt x="1247" y="116"/>
                  <a:pt x="1247" y="116"/>
                </a:cubicBezTo>
                <a:cubicBezTo>
                  <a:pt x="1246" y="116"/>
                  <a:pt x="1246" y="116"/>
                  <a:pt x="1245" y="115"/>
                </a:cubicBezTo>
                <a:cubicBezTo>
                  <a:pt x="1245" y="115"/>
                  <a:pt x="1244" y="115"/>
                  <a:pt x="1244" y="115"/>
                </a:cubicBezTo>
                <a:cubicBezTo>
                  <a:pt x="1243" y="116"/>
                  <a:pt x="1243" y="116"/>
                  <a:pt x="1243" y="116"/>
                </a:cubicBezTo>
                <a:cubicBezTo>
                  <a:pt x="1243" y="116"/>
                  <a:pt x="1243" y="116"/>
                  <a:pt x="1243" y="117"/>
                </a:cubicBezTo>
                <a:cubicBezTo>
                  <a:pt x="1243" y="117"/>
                  <a:pt x="1242" y="117"/>
                  <a:pt x="1242" y="117"/>
                </a:cubicBezTo>
                <a:cubicBezTo>
                  <a:pt x="1242" y="117"/>
                  <a:pt x="1241" y="117"/>
                  <a:pt x="1241" y="117"/>
                </a:cubicBezTo>
                <a:close/>
                <a:moveTo>
                  <a:pt x="1640" y="161"/>
                </a:moveTo>
                <a:cubicBezTo>
                  <a:pt x="1640" y="161"/>
                  <a:pt x="1640" y="161"/>
                  <a:pt x="1641" y="161"/>
                </a:cubicBezTo>
                <a:cubicBezTo>
                  <a:pt x="1641" y="161"/>
                  <a:pt x="1641" y="161"/>
                  <a:pt x="1641" y="161"/>
                </a:cubicBezTo>
                <a:cubicBezTo>
                  <a:pt x="1640" y="160"/>
                  <a:pt x="1640" y="160"/>
                  <a:pt x="1640" y="160"/>
                </a:cubicBezTo>
                <a:cubicBezTo>
                  <a:pt x="1640" y="160"/>
                  <a:pt x="1639" y="160"/>
                  <a:pt x="1639" y="160"/>
                </a:cubicBezTo>
                <a:cubicBezTo>
                  <a:pt x="1639" y="161"/>
                  <a:pt x="1639" y="161"/>
                  <a:pt x="1640" y="161"/>
                </a:cubicBezTo>
                <a:cubicBezTo>
                  <a:pt x="1640" y="161"/>
                  <a:pt x="1640" y="161"/>
                  <a:pt x="1640" y="161"/>
                </a:cubicBezTo>
                <a:close/>
                <a:moveTo>
                  <a:pt x="1513" y="89"/>
                </a:moveTo>
                <a:cubicBezTo>
                  <a:pt x="1513" y="89"/>
                  <a:pt x="1513" y="89"/>
                  <a:pt x="1513" y="90"/>
                </a:cubicBezTo>
                <a:cubicBezTo>
                  <a:pt x="1513" y="90"/>
                  <a:pt x="1513" y="90"/>
                  <a:pt x="1513" y="90"/>
                </a:cubicBezTo>
                <a:cubicBezTo>
                  <a:pt x="1513" y="91"/>
                  <a:pt x="1514" y="91"/>
                  <a:pt x="1514" y="91"/>
                </a:cubicBezTo>
                <a:cubicBezTo>
                  <a:pt x="1514" y="91"/>
                  <a:pt x="1514" y="91"/>
                  <a:pt x="1514" y="92"/>
                </a:cubicBezTo>
                <a:cubicBezTo>
                  <a:pt x="1514" y="92"/>
                  <a:pt x="1514" y="92"/>
                  <a:pt x="1514" y="92"/>
                </a:cubicBezTo>
                <a:cubicBezTo>
                  <a:pt x="1514" y="92"/>
                  <a:pt x="1514" y="92"/>
                  <a:pt x="1514" y="93"/>
                </a:cubicBezTo>
                <a:cubicBezTo>
                  <a:pt x="1513" y="93"/>
                  <a:pt x="1513" y="93"/>
                  <a:pt x="1513" y="93"/>
                </a:cubicBezTo>
                <a:cubicBezTo>
                  <a:pt x="1513" y="93"/>
                  <a:pt x="1513" y="94"/>
                  <a:pt x="1513" y="94"/>
                </a:cubicBezTo>
                <a:cubicBezTo>
                  <a:pt x="1514" y="95"/>
                  <a:pt x="1515" y="96"/>
                  <a:pt x="1515" y="96"/>
                </a:cubicBezTo>
                <a:cubicBezTo>
                  <a:pt x="1516" y="97"/>
                  <a:pt x="1516" y="97"/>
                  <a:pt x="1517" y="97"/>
                </a:cubicBezTo>
                <a:cubicBezTo>
                  <a:pt x="1517" y="98"/>
                  <a:pt x="1518" y="98"/>
                  <a:pt x="1519" y="99"/>
                </a:cubicBezTo>
                <a:cubicBezTo>
                  <a:pt x="1520" y="99"/>
                  <a:pt x="1520" y="99"/>
                  <a:pt x="1520" y="99"/>
                </a:cubicBezTo>
                <a:cubicBezTo>
                  <a:pt x="1521" y="99"/>
                  <a:pt x="1521" y="99"/>
                  <a:pt x="1522" y="99"/>
                </a:cubicBezTo>
                <a:cubicBezTo>
                  <a:pt x="1522" y="99"/>
                  <a:pt x="1522" y="99"/>
                  <a:pt x="1523" y="99"/>
                </a:cubicBezTo>
                <a:cubicBezTo>
                  <a:pt x="1523" y="99"/>
                  <a:pt x="1523" y="100"/>
                  <a:pt x="1524" y="100"/>
                </a:cubicBezTo>
                <a:cubicBezTo>
                  <a:pt x="1524" y="100"/>
                  <a:pt x="1524" y="100"/>
                  <a:pt x="1524" y="100"/>
                </a:cubicBezTo>
                <a:cubicBezTo>
                  <a:pt x="1524" y="100"/>
                  <a:pt x="1525" y="100"/>
                  <a:pt x="1525" y="99"/>
                </a:cubicBezTo>
                <a:cubicBezTo>
                  <a:pt x="1525" y="99"/>
                  <a:pt x="1526" y="99"/>
                  <a:pt x="1526" y="99"/>
                </a:cubicBezTo>
                <a:cubicBezTo>
                  <a:pt x="1526" y="98"/>
                  <a:pt x="1526" y="98"/>
                  <a:pt x="1527" y="98"/>
                </a:cubicBezTo>
                <a:cubicBezTo>
                  <a:pt x="1527" y="98"/>
                  <a:pt x="1527" y="98"/>
                  <a:pt x="1527" y="97"/>
                </a:cubicBezTo>
                <a:cubicBezTo>
                  <a:pt x="1527" y="97"/>
                  <a:pt x="1527" y="97"/>
                  <a:pt x="1527" y="97"/>
                </a:cubicBezTo>
                <a:cubicBezTo>
                  <a:pt x="1526" y="96"/>
                  <a:pt x="1526" y="96"/>
                  <a:pt x="1525" y="96"/>
                </a:cubicBezTo>
                <a:cubicBezTo>
                  <a:pt x="1525" y="96"/>
                  <a:pt x="1525" y="95"/>
                  <a:pt x="1524" y="95"/>
                </a:cubicBezTo>
                <a:cubicBezTo>
                  <a:pt x="1525" y="95"/>
                  <a:pt x="1525" y="94"/>
                  <a:pt x="1525" y="94"/>
                </a:cubicBezTo>
                <a:cubicBezTo>
                  <a:pt x="1525" y="94"/>
                  <a:pt x="1525" y="94"/>
                  <a:pt x="1526" y="94"/>
                </a:cubicBezTo>
                <a:cubicBezTo>
                  <a:pt x="1526" y="94"/>
                  <a:pt x="1527" y="94"/>
                  <a:pt x="1527" y="94"/>
                </a:cubicBezTo>
                <a:cubicBezTo>
                  <a:pt x="1527" y="94"/>
                  <a:pt x="1527" y="94"/>
                  <a:pt x="1527" y="94"/>
                </a:cubicBezTo>
                <a:cubicBezTo>
                  <a:pt x="1526" y="93"/>
                  <a:pt x="1525" y="93"/>
                  <a:pt x="1524" y="92"/>
                </a:cubicBezTo>
                <a:cubicBezTo>
                  <a:pt x="1523" y="92"/>
                  <a:pt x="1522" y="92"/>
                  <a:pt x="1521" y="91"/>
                </a:cubicBezTo>
                <a:cubicBezTo>
                  <a:pt x="1521" y="91"/>
                  <a:pt x="1521" y="91"/>
                  <a:pt x="1520" y="91"/>
                </a:cubicBezTo>
                <a:cubicBezTo>
                  <a:pt x="1520" y="91"/>
                  <a:pt x="1519" y="91"/>
                  <a:pt x="1519" y="91"/>
                </a:cubicBezTo>
                <a:cubicBezTo>
                  <a:pt x="1518" y="90"/>
                  <a:pt x="1517" y="89"/>
                  <a:pt x="1516" y="89"/>
                </a:cubicBezTo>
                <a:cubicBezTo>
                  <a:pt x="1516" y="89"/>
                  <a:pt x="1515" y="89"/>
                  <a:pt x="1515" y="88"/>
                </a:cubicBezTo>
                <a:cubicBezTo>
                  <a:pt x="1514" y="88"/>
                  <a:pt x="1514" y="88"/>
                  <a:pt x="1513" y="88"/>
                </a:cubicBezTo>
                <a:cubicBezTo>
                  <a:pt x="1513" y="88"/>
                  <a:pt x="1512" y="88"/>
                  <a:pt x="1511" y="87"/>
                </a:cubicBezTo>
                <a:cubicBezTo>
                  <a:pt x="1512" y="88"/>
                  <a:pt x="1512" y="88"/>
                  <a:pt x="1512" y="88"/>
                </a:cubicBezTo>
                <a:cubicBezTo>
                  <a:pt x="1512" y="89"/>
                  <a:pt x="1512" y="89"/>
                  <a:pt x="1513" y="89"/>
                </a:cubicBezTo>
                <a:close/>
                <a:moveTo>
                  <a:pt x="1527" y="142"/>
                </a:moveTo>
                <a:cubicBezTo>
                  <a:pt x="1527" y="142"/>
                  <a:pt x="1527" y="142"/>
                  <a:pt x="1527" y="142"/>
                </a:cubicBezTo>
                <a:cubicBezTo>
                  <a:pt x="1527" y="142"/>
                  <a:pt x="1526" y="143"/>
                  <a:pt x="1526" y="143"/>
                </a:cubicBezTo>
                <a:cubicBezTo>
                  <a:pt x="1526" y="143"/>
                  <a:pt x="1524" y="142"/>
                  <a:pt x="1524" y="142"/>
                </a:cubicBezTo>
                <a:cubicBezTo>
                  <a:pt x="1525" y="143"/>
                  <a:pt x="1525" y="143"/>
                  <a:pt x="1525" y="143"/>
                </a:cubicBezTo>
                <a:cubicBezTo>
                  <a:pt x="1526" y="144"/>
                  <a:pt x="1526" y="144"/>
                  <a:pt x="1526" y="144"/>
                </a:cubicBezTo>
                <a:cubicBezTo>
                  <a:pt x="1526" y="144"/>
                  <a:pt x="1526" y="144"/>
                  <a:pt x="1526" y="143"/>
                </a:cubicBezTo>
                <a:cubicBezTo>
                  <a:pt x="1527" y="144"/>
                  <a:pt x="1527" y="144"/>
                  <a:pt x="1528" y="144"/>
                </a:cubicBezTo>
                <a:cubicBezTo>
                  <a:pt x="1528" y="144"/>
                  <a:pt x="1528" y="144"/>
                  <a:pt x="1528" y="143"/>
                </a:cubicBezTo>
                <a:cubicBezTo>
                  <a:pt x="1528" y="143"/>
                  <a:pt x="1528" y="143"/>
                  <a:pt x="1528" y="143"/>
                </a:cubicBezTo>
                <a:cubicBezTo>
                  <a:pt x="1528" y="143"/>
                  <a:pt x="1528" y="142"/>
                  <a:pt x="1528" y="142"/>
                </a:cubicBezTo>
                <a:cubicBezTo>
                  <a:pt x="1528" y="142"/>
                  <a:pt x="1528" y="142"/>
                  <a:pt x="1527" y="142"/>
                </a:cubicBezTo>
                <a:close/>
                <a:moveTo>
                  <a:pt x="1656" y="182"/>
                </a:moveTo>
                <a:cubicBezTo>
                  <a:pt x="1656" y="181"/>
                  <a:pt x="1656" y="181"/>
                  <a:pt x="1656" y="181"/>
                </a:cubicBezTo>
                <a:cubicBezTo>
                  <a:pt x="1656" y="181"/>
                  <a:pt x="1656" y="181"/>
                  <a:pt x="1656" y="180"/>
                </a:cubicBezTo>
                <a:cubicBezTo>
                  <a:pt x="1656" y="180"/>
                  <a:pt x="1656" y="180"/>
                  <a:pt x="1655" y="179"/>
                </a:cubicBezTo>
                <a:cubicBezTo>
                  <a:pt x="1655" y="179"/>
                  <a:pt x="1655" y="179"/>
                  <a:pt x="1655" y="179"/>
                </a:cubicBezTo>
                <a:cubicBezTo>
                  <a:pt x="1655" y="179"/>
                  <a:pt x="1655" y="179"/>
                  <a:pt x="1655" y="180"/>
                </a:cubicBezTo>
                <a:cubicBezTo>
                  <a:pt x="1655" y="180"/>
                  <a:pt x="1655" y="180"/>
                  <a:pt x="1656" y="181"/>
                </a:cubicBezTo>
                <a:cubicBezTo>
                  <a:pt x="1656" y="181"/>
                  <a:pt x="1656" y="181"/>
                  <a:pt x="1656" y="182"/>
                </a:cubicBezTo>
                <a:close/>
                <a:moveTo>
                  <a:pt x="1657" y="180"/>
                </a:moveTo>
                <a:cubicBezTo>
                  <a:pt x="1657" y="180"/>
                  <a:pt x="1657" y="180"/>
                  <a:pt x="1657" y="179"/>
                </a:cubicBezTo>
                <a:cubicBezTo>
                  <a:pt x="1657" y="179"/>
                  <a:pt x="1656" y="179"/>
                  <a:pt x="1656" y="179"/>
                </a:cubicBezTo>
                <a:cubicBezTo>
                  <a:pt x="1656" y="179"/>
                  <a:pt x="1656" y="178"/>
                  <a:pt x="1656" y="178"/>
                </a:cubicBezTo>
                <a:cubicBezTo>
                  <a:pt x="1656" y="178"/>
                  <a:pt x="1655" y="179"/>
                  <a:pt x="1655" y="179"/>
                </a:cubicBezTo>
                <a:cubicBezTo>
                  <a:pt x="1656" y="179"/>
                  <a:pt x="1656" y="179"/>
                  <a:pt x="1656" y="180"/>
                </a:cubicBezTo>
                <a:cubicBezTo>
                  <a:pt x="1656" y="180"/>
                  <a:pt x="1656" y="180"/>
                  <a:pt x="1657" y="180"/>
                </a:cubicBezTo>
                <a:close/>
                <a:moveTo>
                  <a:pt x="1658" y="179"/>
                </a:moveTo>
                <a:cubicBezTo>
                  <a:pt x="1658" y="179"/>
                  <a:pt x="1658" y="179"/>
                  <a:pt x="1658" y="179"/>
                </a:cubicBezTo>
                <a:cubicBezTo>
                  <a:pt x="1658" y="179"/>
                  <a:pt x="1658" y="179"/>
                  <a:pt x="1658" y="178"/>
                </a:cubicBezTo>
                <a:cubicBezTo>
                  <a:pt x="1658" y="178"/>
                  <a:pt x="1657" y="178"/>
                  <a:pt x="1657" y="178"/>
                </a:cubicBezTo>
                <a:cubicBezTo>
                  <a:pt x="1657" y="178"/>
                  <a:pt x="1657" y="178"/>
                  <a:pt x="1657" y="178"/>
                </a:cubicBezTo>
                <a:cubicBezTo>
                  <a:pt x="1657" y="179"/>
                  <a:pt x="1657" y="179"/>
                  <a:pt x="1657" y="179"/>
                </a:cubicBezTo>
                <a:cubicBezTo>
                  <a:pt x="1657" y="179"/>
                  <a:pt x="1657" y="179"/>
                  <a:pt x="1658" y="179"/>
                </a:cubicBezTo>
                <a:close/>
                <a:moveTo>
                  <a:pt x="1649" y="164"/>
                </a:moveTo>
                <a:cubicBezTo>
                  <a:pt x="1649" y="164"/>
                  <a:pt x="1649" y="164"/>
                  <a:pt x="1650" y="164"/>
                </a:cubicBezTo>
                <a:cubicBezTo>
                  <a:pt x="1649" y="164"/>
                  <a:pt x="1649" y="163"/>
                  <a:pt x="1649" y="163"/>
                </a:cubicBezTo>
                <a:cubicBezTo>
                  <a:pt x="1649" y="163"/>
                  <a:pt x="1649" y="163"/>
                  <a:pt x="1649" y="163"/>
                </a:cubicBezTo>
                <a:cubicBezTo>
                  <a:pt x="1649" y="164"/>
                  <a:pt x="1649" y="164"/>
                  <a:pt x="1649" y="164"/>
                </a:cubicBezTo>
                <a:cubicBezTo>
                  <a:pt x="1649" y="164"/>
                  <a:pt x="1649" y="164"/>
                  <a:pt x="1649" y="164"/>
                </a:cubicBezTo>
                <a:close/>
                <a:moveTo>
                  <a:pt x="1653" y="180"/>
                </a:moveTo>
                <a:cubicBezTo>
                  <a:pt x="1653" y="180"/>
                  <a:pt x="1653" y="179"/>
                  <a:pt x="1654" y="179"/>
                </a:cubicBezTo>
                <a:cubicBezTo>
                  <a:pt x="1654" y="179"/>
                  <a:pt x="1654" y="179"/>
                  <a:pt x="1654" y="179"/>
                </a:cubicBezTo>
                <a:cubicBezTo>
                  <a:pt x="1654" y="179"/>
                  <a:pt x="1654" y="179"/>
                  <a:pt x="1654" y="179"/>
                </a:cubicBezTo>
                <a:cubicBezTo>
                  <a:pt x="1654" y="178"/>
                  <a:pt x="1653" y="178"/>
                  <a:pt x="1653" y="178"/>
                </a:cubicBezTo>
                <a:cubicBezTo>
                  <a:pt x="1653" y="178"/>
                  <a:pt x="1653" y="178"/>
                  <a:pt x="1653" y="178"/>
                </a:cubicBezTo>
                <a:cubicBezTo>
                  <a:pt x="1653" y="178"/>
                  <a:pt x="1652" y="178"/>
                  <a:pt x="1652" y="178"/>
                </a:cubicBezTo>
                <a:cubicBezTo>
                  <a:pt x="1652" y="178"/>
                  <a:pt x="1652" y="179"/>
                  <a:pt x="1652" y="179"/>
                </a:cubicBezTo>
                <a:cubicBezTo>
                  <a:pt x="1653" y="179"/>
                  <a:pt x="1653" y="179"/>
                  <a:pt x="1653" y="180"/>
                </a:cubicBezTo>
                <a:close/>
                <a:moveTo>
                  <a:pt x="1207" y="142"/>
                </a:moveTo>
                <a:cubicBezTo>
                  <a:pt x="1207" y="142"/>
                  <a:pt x="1207" y="142"/>
                  <a:pt x="1207" y="141"/>
                </a:cubicBezTo>
                <a:cubicBezTo>
                  <a:pt x="1207" y="141"/>
                  <a:pt x="1207" y="141"/>
                  <a:pt x="1207" y="141"/>
                </a:cubicBezTo>
                <a:cubicBezTo>
                  <a:pt x="1207" y="141"/>
                  <a:pt x="1206" y="141"/>
                  <a:pt x="1206" y="141"/>
                </a:cubicBezTo>
                <a:cubicBezTo>
                  <a:pt x="1206" y="141"/>
                  <a:pt x="1206" y="141"/>
                  <a:pt x="1206" y="142"/>
                </a:cubicBezTo>
                <a:cubicBezTo>
                  <a:pt x="1206" y="142"/>
                  <a:pt x="1206" y="142"/>
                  <a:pt x="1206" y="142"/>
                </a:cubicBezTo>
                <a:cubicBezTo>
                  <a:pt x="1206" y="142"/>
                  <a:pt x="1206" y="142"/>
                  <a:pt x="1206" y="142"/>
                </a:cubicBezTo>
                <a:cubicBezTo>
                  <a:pt x="1206" y="142"/>
                  <a:pt x="1206" y="142"/>
                  <a:pt x="1207" y="142"/>
                </a:cubicBezTo>
                <a:cubicBezTo>
                  <a:pt x="1207" y="142"/>
                  <a:pt x="1207" y="142"/>
                  <a:pt x="1207" y="142"/>
                </a:cubicBezTo>
                <a:close/>
                <a:moveTo>
                  <a:pt x="1645" y="162"/>
                </a:moveTo>
                <a:cubicBezTo>
                  <a:pt x="1645" y="162"/>
                  <a:pt x="1646" y="162"/>
                  <a:pt x="1646" y="162"/>
                </a:cubicBezTo>
                <a:cubicBezTo>
                  <a:pt x="1645" y="162"/>
                  <a:pt x="1645" y="161"/>
                  <a:pt x="1644" y="161"/>
                </a:cubicBezTo>
                <a:cubicBezTo>
                  <a:pt x="1644" y="161"/>
                  <a:pt x="1644" y="161"/>
                  <a:pt x="1644" y="161"/>
                </a:cubicBezTo>
                <a:cubicBezTo>
                  <a:pt x="1644" y="161"/>
                  <a:pt x="1644" y="162"/>
                  <a:pt x="1644" y="162"/>
                </a:cubicBezTo>
                <a:cubicBezTo>
                  <a:pt x="1645" y="162"/>
                  <a:pt x="1645" y="162"/>
                  <a:pt x="1645" y="162"/>
                </a:cubicBezTo>
                <a:close/>
                <a:moveTo>
                  <a:pt x="1302" y="75"/>
                </a:moveTo>
                <a:cubicBezTo>
                  <a:pt x="1301" y="75"/>
                  <a:pt x="1301" y="75"/>
                  <a:pt x="1301" y="75"/>
                </a:cubicBezTo>
                <a:cubicBezTo>
                  <a:pt x="1301" y="75"/>
                  <a:pt x="1301" y="75"/>
                  <a:pt x="1300" y="76"/>
                </a:cubicBezTo>
                <a:cubicBezTo>
                  <a:pt x="1300" y="76"/>
                  <a:pt x="1300" y="76"/>
                  <a:pt x="1299" y="76"/>
                </a:cubicBezTo>
                <a:cubicBezTo>
                  <a:pt x="1299" y="76"/>
                  <a:pt x="1299" y="76"/>
                  <a:pt x="1300" y="76"/>
                </a:cubicBezTo>
                <a:cubicBezTo>
                  <a:pt x="1300" y="76"/>
                  <a:pt x="1300" y="76"/>
                  <a:pt x="1300" y="76"/>
                </a:cubicBezTo>
                <a:cubicBezTo>
                  <a:pt x="1301" y="76"/>
                  <a:pt x="1301" y="76"/>
                  <a:pt x="1301" y="76"/>
                </a:cubicBezTo>
                <a:cubicBezTo>
                  <a:pt x="1301" y="76"/>
                  <a:pt x="1301" y="76"/>
                  <a:pt x="1301" y="76"/>
                </a:cubicBezTo>
                <a:cubicBezTo>
                  <a:pt x="1301" y="76"/>
                  <a:pt x="1302" y="77"/>
                  <a:pt x="1302" y="77"/>
                </a:cubicBezTo>
                <a:cubicBezTo>
                  <a:pt x="1302" y="77"/>
                  <a:pt x="1302" y="77"/>
                  <a:pt x="1302" y="77"/>
                </a:cubicBezTo>
                <a:cubicBezTo>
                  <a:pt x="1302" y="76"/>
                  <a:pt x="1302" y="76"/>
                  <a:pt x="1302" y="76"/>
                </a:cubicBezTo>
                <a:cubicBezTo>
                  <a:pt x="1302" y="76"/>
                  <a:pt x="1302" y="76"/>
                  <a:pt x="1302" y="76"/>
                </a:cubicBezTo>
                <a:cubicBezTo>
                  <a:pt x="1302" y="76"/>
                  <a:pt x="1302" y="75"/>
                  <a:pt x="1302" y="75"/>
                </a:cubicBezTo>
                <a:cubicBezTo>
                  <a:pt x="1302" y="75"/>
                  <a:pt x="1302" y="75"/>
                  <a:pt x="1302" y="75"/>
                </a:cubicBezTo>
                <a:close/>
                <a:moveTo>
                  <a:pt x="1038" y="196"/>
                </a:moveTo>
                <a:cubicBezTo>
                  <a:pt x="1038" y="196"/>
                  <a:pt x="1038" y="196"/>
                  <a:pt x="1037" y="196"/>
                </a:cubicBezTo>
                <a:cubicBezTo>
                  <a:pt x="1037" y="195"/>
                  <a:pt x="1037" y="196"/>
                  <a:pt x="1037" y="196"/>
                </a:cubicBezTo>
                <a:cubicBezTo>
                  <a:pt x="1037" y="196"/>
                  <a:pt x="1038" y="196"/>
                  <a:pt x="1038" y="197"/>
                </a:cubicBezTo>
                <a:cubicBezTo>
                  <a:pt x="1038" y="196"/>
                  <a:pt x="1038" y="196"/>
                  <a:pt x="1038" y="196"/>
                </a:cubicBezTo>
                <a:close/>
                <a:moveTo>
                  <a:pt x="1299" y="45"/>
                </a:moveTo>
                <a:cubicBezTo>
                  <a:pt x="1300" y="45"/>
                  <a:pt x="1300" y="45"/>
                  <a:pt x="1300" y="45"/>
                </a:cubicBezTo>
                <a:cubicBezTo>
                  <a:pt x="1300" y="45"/>
                  <a:pt x="1301" y="46"/>
                  <a:pt x="1301" y="46"/>
                </a:cubicBezTo>
                <a:cubicBezTo>
                  <a:pt x="1301" y="46"/>
                  <a:pt x="1301" y="46"/>
                  <a:pt x="1301" y="46"/>
                </a:cubicBezTo>
                <a:cubicBezTo>
                  <a:pt x="1301" y="46"/>
                  <a:pt x="1301" y="46"/>
                  <a:pt x="1301" y="47"/>
                </a:cubicBezTo>
                <a:cubicBezTo>
                  <a:pt x="1301" y="47"/>
                  <a:pt x="1302" y="48"/>
                  <a:pt x="1302" y="49"/>
                </a:cubicBezTo>
                <a:cubicBezTo>
                  <a:pt x="1302" y="49"/>
                  <a:pt x="1302" y="49"/>
                  <a:pt x="1303" y="49"/>
                </a:cubicBezTo>
                <a:cubicBezTo>
                  <a:pt x="1303" y="50"/>
                  <a:pt x="1303" y="50"/>
                  <a:pt x="1304" y="50"/>
                </a:cubicBezTo>
                <a:cubicBezTo>
                  <a:pt x="1304" y="50"/>
                  <a:pt x="1303" y="50"/>
                  <a:pt x="1303" y="50"/>
                </a:cubicBezTo>
                <a:cubicBezTo>
                  <a:pt x="1303" y="50"/>
                  <a:pt x="1302" y="50"/>
                  <a:pt x="1302" y="50"/>
                </a:cubicBezTo>
                <a:cubicBezTo>
                  <a:pt x="1302" y="50"/>
                  <a:pt x="1301" y="51"/>
                  <a:pt x="1301" y="51"/>
                </a:cubicBezTo>
                <a:cubicBezTo>
                  <a:pt x="1301" y="51"/>
                  <a:pt x="1302" y="52"/>
                  <a:pt x="1302" y="52"/>
                </a:cubicBezTo>
                <a:cubicBezTo>
                  <a:pt x="1302" y="53"/>
                  <a:pt x="1302" y="53"/>
                  <a:pt x="1302" y="53"/>
                </a:cubicBezTo>
                <a:cubicBezTo>
                  <a:pt x="1302" y="54"/>
                  <a:pt x="1302" y="54"/>
                  <a:pt x="1302" y="54"/>
                </a:cubicBezTo>
                <a:cubicBezTo>
                  <a:pt x="1302" y="54"/>
                  <a:pt x="1302" y="55"/>
                  <a:pt x="1302" y="55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6"/>
                  <a:pt x="1302" y="56"/>
                  <a:pt x="1302" y="56"/>
                </a:cubicBezTo>
                <a:cubicBezTo>
                  <a:pt x="1302" y="56"/>
                  <a:pt x="1302" y="57"/>
                  <a:pt x="1303" y="57"/>
                </a:cubicBezTo>
                <a:cubicBezTo>
                  <a:pt x="1303" y="57"/>
                  <a:pt x="1303" y="58"/>
                  <a:pt x="1303" y="58"/>
                </a:cubicBezTo>
                <a:cubicBezTo>
                  <a:pt x="1303" y="59"/>
                  <a:pt x="1304" y="59"/>
                  <a:pt x="1304" y="59"/>
                </a:cubicBezTo>
                <a:cubicBezTo>
                  <a:pt x="1304" y="59"/>
                  <a:pt x="1304" y="59"/>
                  <a:pt x="1304" y="60"/>
                </a:cubicBezTo>
                <a:cubicBezTo>
                  <a:pt x="1304" y="60"/>
                  <a:pt x="1304" y="60"/>
                  <a:pt x="1304" y="60"/>
                </a:cubicBezTo>
                <a:cubicBezTo>
                  <a:pt x="1304" y="60"/>
                  <a:pt x="1306" y="60"/>
                  <a:pt x="1306" y="60"/>
                </a:cubicBezTo>
                <a:cubicBezTo>
                  <a:pt x="1306" y="60"/>
                  <a:pt x="1307" y="60"/>
                  <a:pt x="1307" y="59"/>
                </a:cubicBezTo>
                <a:cubicBezTo>
                  <a:pt x="1308" y="59"/>
                  <a:pt x="1308" y="59"/>
                  <a:pt x="1309" y="59"/>
                </a:cubicBezTo>
                <a:cubicBezTo>
                  <a:pt x="1309" y="58"/>
                  <a:pt x="1309" y="58"/>
                  <a:pt x="1310" y="58"/>
                </a:cubicBezTo>
                <a:cubicBezTo>
                  <a:pt x="1310" y="58"/>
                  <a:pt x="1309" y="58"/>
                  <a:pt x="1309" y="58"/>
                </a:cubicBezTo>
                <a:cubicBezTo>
                  <a:pt x="1310" y="58"/>
                  <a:pt x="1310" y="58"/>
                  <a:pt x="1310" y="57"/>
                </a:cubicBezTo>
                <a:cubicBezTo>
                  <a:pt x="1311" y="57"/>
                  <a:pt x="1312" y="57"/>
                  <a:pt x="1313" y="57"/>
                </a:cubicBezTo>
                <a:cubicBezTo>
                  <a:pt x="1313" y="57"/>
                  <a:pt x="1313" y="57"/>
                  <a:pt x="1314" y="57"/>
                </a:cubicBezTo>
                <a:cubicBezTo>
                  <a:pt x="1314" y="57"/>
                  <a:pt x="1314" y="57"/>
                  <a:pt x="1314" y="57"/>
                </a:cubicBezTo>
                <a:cubicBezTo>
                  <a:pt x="1315" y="57"/>
                  <a:pt x="1315" y="57"/>
                  <a:pt x="1315" y="57"/>
                </a:cubicBezTo>
                <a:cubicBezTo>
                  <a:pt x="1315" y="57"/>
                  <a:pt x="1316" y="57"/>
                  <a:pt x="1316" y="57"/>
                </a:cubicBezTo>
                <a:cubicBezTo>
                  <a:pt x="1316" y="57"/>
                  <a:pt x="1316" y="57"/>
                  <a:pt x="1317" y="56"/>
                </a:cubicBezTo>
                <a:cubicBezTo>
                  <a:pt x="1317" y="56"/>
                  <a:pt x="1317" y="56"/>
                  <a:pt x="1318" y="56"/>
                </a:cubicBezTo>
                <a:cubicBezTo>
                  <a:pt x="1319" y="56"/>
                  <a:pt x="1319" y="56"/>
                  <a:pt x="1320" y="56"/>
                </a:cubicBezTo>
                <a:cubicBezTo>
                  <a:pt x="1320" y="56"/>
                  <a:pt x="1320" y="55"/>
                  <a:pt x="1321" y="55"/>
                </a:cubicBezTo>
                <a:cubicBezTo>
                  <a:pt x="1321" y="55"/>
                  <a:pt x="1321" y="55"/>
                  <a:pt x="1321" y="55"/>
                </a:cubicBezTo>
                <a:cubicBezTo>
                  <a:pt x="1322" y="55"/>
                  <a:pt x="1322" y="54"/>
                  <a:pt x="1323" y="54"/>
                </a:cubicBezTo>
                <a:cubicBezTo>
                  <a:pt x="1323" y="53"/>
                  <a:pt x="1323" y="53"/>
                  <a:pt x="1323" y="53"/>
                </a:cubicBezTo>
                <a:cubicBezTo>
                  <a:pt x="1322" y="52"/>
                  <a:pt x="1322" y="52"/>
                  <a:pt x="1321" y="52"/>
                </a:cubicBezTo>
                <a:cubicBezTo>
                  <a:pt x="1321" y="51"/>
                  <a:pt x="1321" y="51"/>
                  <a:pt x="1321" y="51"/>
                </a:cubicBezTo>
                <a:cubicBezTo>
                  <a:pt x="1321" y="50"/>
                  <a:pt x="1321" y="50"/>
                  <a:pt x="1321" y="50"/>
                </a:cubicBezTo>
                <a:cubicBezTo>
                  <a:pt x="1320" y="49"/>
                  <a:pt x="1320" y="49"/>
                  <a:pt x="1319" y="49"/>
                </a:cubicBezTo>
                <a:cubicBezTo>
                  <a:pt x="1319" y="49"/>
                  <a:pt x="1318" y="49"/>
                  <a:pt x="1318" y="48"/>
                </a:cubicBezTo>
                <a:cubicBezTo>
                  <a:pt x="1318" y="48"/>
                  <a:pt x="1317" y="49"/>
                  <a:pt x="1317" y="49"/>
                </a:cubicBezTo>
                <a:cubicBezTo>
                  <a:pt x="1317" y="48"/>
                  <a:pt x="1317" y="48"/>
                  <a:pt x="1316" y="48"/>
                </a:cubicBezTo>
                <a:cubicBezTo>
                  <a:pt x="1316" y="48"/>
                  <a:pt x="1315" y="48"/>
                  <a:pt x="1315" y="47"/>
                </a:cubicBezTo>
                <a:cubicBezTo>
                  <a:pt x="1314" y="47"/>
                  <a:pt x="1314" y="47"/>
                  <a:pt x="1314" y="46"/>
                </a:cubicBezTo>
                <a:cubicBezTo>
                  <a:pt x="1313" y="46"/>
                  <a:pt x="1313" y="46"/>
                  <a:pt x="1313" y="46"/>
                </a:cubicBezTo>
                <a:cubicBezTo>
                  <a:pt x="1313" y="46"/>
                  <a:pt x="1313" y="46"/>
                  <a:pt x="1313" y="46"/>
                </a:cubicBezTo>
                <a:cubicBezTo>
                  <a:pt x="1312" y="46"/>
                  <a:pt x="1312" y="46"/>
                  <a:pt x="1312" y="46"/>
                </a:cubicBezTo>
                <a:cubicBezTo>
                  <a:pt x="1312" y="46"/>
                  <a:pt x="1312" y="46"/>
                  <a:pt x="1312" y="45"/>
                </a:cubicBezTo>
                <a:cubicBezTo>
                  <a:pt x="1311" y="45"/>
                  <a:pt x="1311" y="45"/>
                  <a:pt x="1311" y="45"/>
                </a:cubicBezTo>
                <a:cubicBezTo>
                  <a:pt x="1310" y="45"/>
                  <a:pt x="1310" y="45"/>
                  <a:pt x="1310" y="45"/>
                </a:cubicBezTo>
                <a:cubicBezTo>
                  <a:pt x="1310" y="45"/>
                  <a:pt x="1310" y="45"/>
                  <a:pt x="1310" y="45"/>
                </a:cubicBezTo>
                <a:cubicBezTo>
                  <a:pt x="1309" y="45"/>
                  <a:pt x="1309" y="45"/>
                  <a:pt x="1309" y="45"/>
                </a:cubicBezTo>
                <a:cubicBezTo>
                  <a:pt x="1309" y="45"/>
                  <a:pt x="1308" y="44"/>
                  <a:pt x="1308" y="44"/>
                </a:cubicBezTo>
                <a:cubicBezTo>
                  <a:pt x="1308" y="44"/>
                  <a:pt x="1307" y="44"/>
                  <a:pt x="1307" y="43"/>
                </a:cubicBezTo>
                <a:cubicBezTo>
                  <a:pt x="1307" y="44"/>
                  <a:pt x="1307" y="44"/>
                  <a:pt x="1307" y="44"/>
                </a:cubicBezTo>
                <a:cubicBezTo>
                  <a:pt x="1307" y="44"/>
                  <a:pt x="1308" y="44"/>
                  <a:pt x="1308" y="45"/>
                </a:cubicBezTo>
                <a:cubicBezTo>
                  <a:pt x="1308" y="45"/>
                  <a:pt x="1308" y="45"/>
                  <a:pt x="1308" y="45"/>
                </a:cubicBezTo>
                <a:cubicBezTo>
                  <a:pt x="1308" y="45"/>
                  <a:pt x="1307" y="45"/>
                  <a:pt x="1307" y="45"/>
                </a:cubicBezTo>
                <a:cubicBezTo>
                  <a:pt x="1307" y="46"/>
                  <a:pt x="1307" y="46"/>
                  <a:pt x="1307" y="46"/>
                </a:cubicBezTo>
                <a:cubicBezTo>
                  <a:pt x="1307" y="46"/>
                  <a:pt x="1307" y="46"/>
                  <a:pt x="1306" y="46"/>
                </a:cubicBezTo>
                <a:cubicBezTo>
                  <a:pt x="1306" y="46"/>
                  <a:pt x="1306" y="45"/>
                  <a:pt x="1306" y="45"/>
                </a:cubicBezTo>
                <a:cubicBezTo>
                  <a:pt x="1306" y="44"/>
                  <a:pt x="1306" y="44"/>
                  <a:pt x="1306" y="43"/>
                </a:cubicBezTo>
                <a:cubicBezTo>
                  <a:pt x="1306" y="43"/>
                  <a:pt x="1305" y="42"/>
                  <a:pt x="1305" y="42"/>
                </a:cubicBezTo>
                <a:cubicBezTo>
                  <a:pt x="1305" y="42"/>
                  <a:pt x="1304" y="42"/>
                  <a:pt x="1304" y="42"/>
                </a:cubicBezTo>
                <a:cubicBezTo>
                  <a:pt x="1303" y="42"/>
                  <a:pt x="1303" y="41"/>
                  <a:pt x="1302" y="41"/>
                </a:cubicBezTo>
                <a:cubicBezTo>
                  <a:pt x="1302" y="41"/>
                  <a:pt x="1302" y="41"/>
                  <a:pt x="1301" y="41"/>
                </a:cubicBezTo>
                <a:cubicBezTo>
                  <a:pt x="1301" y="41"/>
                  <a:pt x="1301" y="41"/>
                  <a:pt x="1301" y="42"/>
                </a:cubicBezTo>
                <a:cubicBezTo>
                  <a:pt x="1301" y="42"/>
                  <a:pt x="1301" y="42"/>
                  <a:pt x="1301" y="42"/>
                </a:cubicBezTo>
                <a:cubicBezTo>
                  <a:pt x="1301" y="42"/>
                  <a:pt x="1302" y="43"/>
                  <a:pt x="1302" y="43"/>
                </a:cubicBezTo>
                <a:cubicBezTo>
                  <a:pt x="1302" y="43"/>
                  <a:pt x="1302" y="43"/>
                  <a:pt x="1303" y="44"/>
                </a:cubicBezTo>
                <a:cubicBezTo>
                  <a:pt x="1303" y="44"/>
                  <a:pt x="1302" y="44"/>
                  <a:pt x="1302" y="44"/>
                </a:cubicBezTo>
                <a:cubicBezTo>
                  <a:pt x="1302" y="44"/>
                  <a:pt x="1301" y="44"/>
                  <a:pt x="1301" y="44"/>
                </a:cubicBezTo>
                <a:cubicBezTo>
                  <a:pt x="1301" y="44"/>
                  <a:pt x="1301" y="43"/>
                  <a:pt x="1301" y="43"/>
                </a:cubicBezTo>
                <a:cubicBezTo>
                  <a:pt x="1301" y="43"/>
                  <a:pt x="1300" y="43"/>
                  <a:pt x="1300" y="43"/>
                </a:cubicBezTo>
                <a:cubicBezTo>
                  <a:pt x="1300" y="43"/>
                  <a:pt x="1300" y="43"/>
                  <a:pt x="1300" y="43"/>
                </a:cubicBezTo>
                <a:cubicBezTo>
                  <a:pt x="1300" y="43"/>
                  <a:pt x="1300" y="43"/>
                  <a:pt x="1300" y="43"/>
                </a:cubicBezTo>
                <a:cubicBezTo>
                  <a:pt x="1300" y="43"/>
                  <a:pt x="1300" y="44"/>
                  <a:pt x="1300" y="44"/>
                </a:cubicBezTo>
                <a:cubicBezTo>
                  <a:pt x="1300" y="44"/>
                  <a:pt x="1300" y="44"/>
                  <a:pt x="1300" y="44"/>
                </a:cubicBezTo>
                <a:cubicBezTo>
                  <a:pt x="1299" y="44"/>
                  <a:pt x="1299" y="45"/>
                  <a:pt x="1299" y="45"/>
                </a:cubicBezTo>
                <a:close/>
                <a:moveTo>
                  <a:pt x="1099" y="157"/>
                </a:moveTo>
                <a:cubicBezTo>
                  <a:pt x="1099" y="157"/>
                  <a:pt x="1099" y="157"/>
                  <a:pt x="1099" y="157"/>
                </a:cubicBezTo>
                <a:cubicBezTo>
                  <a:pt x="1098" y="157"/>
                  <a:pt x="1098" y="157"/>
                  <a:pt x="1098" y="156"/>
                </a:cubicBezTo>
                <a:cubicBezTo>
                  <a:pt x="1098" y="156"/>
                  <a:pt x="1098" y="156"/>
                  <a:pt x="1097" y="156"/>
                </a:cubicBezTo>
                <a:cubicBezTo>
                  <a:pt x="1097" y="157"/>
                  <a:pt x="1097" y="157"/>
                  <a:pt x="1097" y="157"/>
                </a:cubicBezTo>
                <a:cubicBezTo>
                  <a:pt x="1098" y="157"/>
                  <a:pt x="1098" y="157"/>
                  <a:pt x="1098" y="157"/>
                </a:cubicBezTo>
                <a:cubicBezTo>
                  <a:pt x="1098" y="157"/>
                  <a:pt x="1098" y="157"/>
                  <a:pt x="1099" y="157"/>
                </a:cubicBezTo>
                <a:close/>
                <a:moveTo>
                  <a:pt x="1148" y="147"/>
                </a:moveTo>
                <a:cubicBezTo>
                  <a:pt x="1148" y="147"/>
                  <a:pt x="1148" y="147"/>
                  <a:pt x="1148" y="147"/>
                </a:cubicBezTo>
                <a:cubicBezTo>
                  <a:pt x="1149" y="147"/>
                  <a:pt x="1149" y="147"/>
                  <a:pt x="1149" y="147"/>
                </a:cubicBezTo>
                <a:cubicBezTo>
                  <a:pt x="1149" y="147"/>
                  <a:pt x="1149" y="147"/>
                  <a:pt x="1149" y="146"/>
                </a:cubicBezTo>
                <a:cubicBezTo>
                  <a:pt x="1149" y="146"/>
                  <a:pt x="1148" y="147"/>
                  <a:pt x="1148" y="147"/>
                </a:cubicBezTo>
                <a:cubicBezTo>
                  <a:pt x="1148" y="147"/>
                  <a:pt x="1148" y="147"/>
                  <a:pt x="1148" y="147"/>
                </a:cubicBezTo>
                <a:close/>
                <a:moveTo>
                  <a:pt x="1330" y="56"/>
                </a:moveTo>
                <a:cubicBezTo>
                  <a:pt x="1330" y="56"/>
                  <a:pt x="1330" y="56"/>
                  <a:pt x="1331" y="56"/>
                </a:cubicBezTo>
                <a:cubicBezTo>
                  <a:pt x="1331" y="56"/>
                  <a:pt x="1331" y="56"/>
                  <a:pt x="1331" y="56"/>
                </a:cubicBezTo>
                <a:cubicBezTo>
                  <a:pt x="1331" y="56"/>
                  <a:pt x="1331" y="56"/>
                  <a:pt x="1330" y="56"/>
                </a:cubicBezTo>
                <a:cubicBezTo>
                  <a:pt x="1331" y="55"/>
                  <a:pt x="1331" y="55"/>
                  <a:pt x="1331" y="55"/>
                </a:cubicBezTo>
                <a:cubicBezTo>
                  <a:pt x="1331" y="55"/>
                  <a:pt x="1331" y="55"/>
                  <a:pt x="1332" y="55"/>
                </a:cubicBezTo>
                <a:cubicBezTo>
                  <a:pt x="1332" y="55"/>
                  <a:pt x="1331" y="55"/>
                  <a:pt x="1331" y="55"/>
                </a:cubicBezTo>
                <a:cubicBezTo>
                  <a:pt x="1331" y="55"/>
                  <a:pt x="1331" y="55"/>
                  <a:pt x="1330" y="55"/>
                </a:cubicBezTo>
                <a:cubicBezTo>
                  <a:pt x="1330" y="55"/>
                  <a:pt x="1330" y="55"/>
                  <a:pt x="1329" y="55"/>
                </a:cubicBezTo>
                <a:cubicBezTo>
                  <a:pt x="1329" y="55"/>
                  <a:pt x="1329" y="55"/>
                  <a:pt x="1329" y="56"/>
                </a:cubicBezTo>
                <a:cubicBezTo>
                  <a:pt x="1329" y="56"/>
                  <a:pt x="1329" y="56"/>
                  <a:pt x="1329" y="56"/>
                </a:cubicBezTo>
                <a:cubicBezTo>
                  <a:pt x="1329" y="56"/>
                  <a:pt x="1328" y="56"/>
                  <a:pt x="1328" y="56"/>
                </a:cubicBezTo>
                <a:cubicBezTo>
                  <a:pt x="1329" y="56"/>
                  <a:pt x="1329" y="56"/>
                  <a:pt x="1329" y="57"/>
                </a:cubicBezTo>
                <a:cubicBezTo>
                  <a:pt x="1329" y="57"/>
                  <a:pt x="1329" y="56"/>
                  <a:pt x="1330" y="56"/>
                </a:cubicBezTo>
                <a:close/>
                <a:moveTo>
                  <a:pt x="1067" y="166"/>
                </a:moveTo>
                <a:cubicBezTo>
                  <a:pt x="1067" y="166"/>
                  <a:pt x="1067" y="166"/>
                  <a:pt x="1066" y="166"/>
                </a:cubicBezTo>
                <a:cubicBezTo>
                  <a:pt x="1066" y="166"/>
                  <a:pt x="1066" y="166"/>
                  <a:pt x="1066" y="166"/>
                </a:cubicBezTo>
                <a:cubicBezTo>
                  <a:pt x="1066" y="166"/>
                  <a:pt x="1066" y="167"/>
                  <a:pt x="1066" y="167"/>
                </a:cubicBezTo>
                <a:cubicBezTo>
                  <a:pt x="1066" y="167"/>
                  <a:pt x="1066" y="167"/>
                  <a:pt x="1066" y="167"/>
                </a:cubicBezTo>
                <a:cubicBezTo>
                  <a:pt x="1066" y="168"/>
                  <a:pt x="1066" y="168"/>
                  <a:pt x="1067" y="168"/>
                </a:cubicBezTo>
                <a:cubicBezTo>
                  <a:pt x="1067" y="168"/>
                  <a:pt x="1067" y="168"/>
                  <a:pt x="1067" y="168"/>
                </a:cubicBezTo>
                <a:cubicBezTo>
                  <a:pt x="1067" y="168"/>
                  <a:pt x="1067" y="168"/>
                  <a:pt x="1067" y="167"/>
                </a:cubicBezTo>
                <a:cubicBezTo>
                  <a:pt x="1067" y="167"/>
                  <a:pt x="1067" y="167"/>
                  <a:pt x="1067" y="167"/>
                </a:cubicBezTo>
                <a:cubicBezTo>
                  <a:pt x="1067" y="167"/>
                  <a:pt x="1067" y="167"/>
                  <a:pt x="1067" y="166"/>
                </a:cubicBezTo>
                <a:cubicBezTo>
                  <a:pt x="1067" y="166"/>
                  <a:pt x="1067" y="166"/>
                  <a:pt x="1067" y="166"/>
                </a:cubicBezTo>
                <a:close/>
                <a:moveTo>
                  <a:pt x="1449" y="112"/>
                </a:moveTo>
                <a:cubicBezTo>
                  <a:pt x="1449" y="113"/>
                  <a:pt x="1449" y="113"/>
                  <a:pt x="1449" y="113"/>
                </a:cubicBezTo>
                <a:cubicBezTo>
                  <a:pt x="1449" y="113"/>
                  <a:pt x="1450" y="113"/>
                  <a:pt x="1450" y="113"/>
                </a:cubicBezTo>
                <a:cubicBezTo>
                  <a:pt x="1450" y="113"/>
                  <a:pt x="1450" y="112"/>
                  <a:pt x="1450" y="112"/>
                </a:cubicBezTo>
                <a:cubicBezTo>
                  <a:pt x="1450" y="112"/>
                  <a:pt x="1450" y="112"/>
                  <a:pt x="1450" y="111"/>
                </a:cubicBezTo>
                <a:cubicBezTo>
                  <a:pt x="1450" y="111"/>
                  <a:pt x="1449" y="111"/>
                  <a:pt x="1449" y="111"/>
                </a:cubicBezTo>
                <a:cubicBezTo>
                  <a:pt x="1448" y="112"/>
                  <a:pt x="1448" y="112"/>
                  <a:pt x="1448" y="112"/>
                </a:cubicBezTo>
                <a:cubicBezTo>
                  <a:pt x="1448" y="112"/>
                  <a:pt x="1448" y="112"/>
                  <a:pt x="1448" y="112"/>
                </a:cubicBezTo>
                <a:cubicBezTo>
                  <a:pt x="1448" y="112"/>
                  <a:pt x="1449" y="112"/>
                  <a:pt x="1449" y="112"/>
                </a:cubicBezTo>
                <a:close/>
                <a:moveTo>
                  <a:pt x="1497" y="111"/>
                </a:moveTo>
                <a:cubicBezTo>
                  <a:pt x="1497" y="111"/>
                  <a:pt x="1496" y="111"/>
                  <a:pt x="1496" y="110"/>
                </a:cubicBezTo>
                <a:cubicBezTo>
                  <a:pt x="1495" y="110"/>
                  <a:pt x="1495" y="110"/>
                  <a:pt x="1495" y="109"/>
                </a:cubicBezTo>
                <a:cubicBezTo>
                  <a:pt x="1494" y="109"/>
                  <a:pt x="1494" y="109"/>
                  <a:pt x="1494" y="109"/>
                </a:cubicBezTo>
                <a:cubicBezTo>
                  <a:pt x="1494" y="109"/>
                  <a:pt x="1494" y="109"/>
                  <a:pt x="1494" y="109"/>
                </a:cubicBezTo>
                <a:cubicBezTo>
                  <a:pt x="1494" y="109"/>
                  <a:pt x="1494" y="110"/>
                  <a:pt x="1494" y="110"/>
                </a:cubicBezTo>
                <a:cubicBezTo>
                  <a:pt x="1494" y="110"/>
                  <a:pt x="1494" y="110"/>
                  <a:pt x="1494" y="111"/>
                </a:cubicBezTo>
                <a:cubicBezTo>
                  <a:pt x="1495" y="111"/>
                  <a:pt x="1495" y="111"/>
                  <a:pt x="1496" y="111"/>
                </a:cubicBezTo>
                <a:cubicBezTo>
                  <a:pt x="1496" y="111"/>
                  <a:pt x="1496" y="111"/>
                  <a:pt x="1497" y="112"/>
                </a:cubicBezTo>
                <a:cubicBezTo>
                  <a:pt x="1497" y="112"/>
                  <a:pt x="1497" y="112"/>
                  <a:pt x="1498" y="112"/>
                </a:cubicBezTo>
                <a:cubicBezTo>
                  <a:pt x="1498" y="112"/>
                  <a:pt x="1499" y="113"/>
                  <a:pt x="1499" y="113"/>
                </a:cubicBezTo>
                <a:cubicBezTo>
                  <a:pt x="1499" y="113"/>
                  <a:pt x="1499" y="113"/>
                  <a:pt x="1500" y="113"/>
                </a:cubicBezTo>
                <a:cubicBezTo>
                  <a:pt x="1500" y="113"/>
                  <a:pt x="1500" y="113"/>
                  <a:pt x="1500" y="113"/>
                </a:cubicBezTo>
                <a:cubicBezTo>
                  <a:pt x="1499" y="112"/>
                  <a:pt x="1499" y="112"/>
                  <a:pt x="1498" y="111"/>
                </a:cubicBezTo>
                <a:cubicBezTo>
                  <a:pt x="1498" y="111"/>
                  <a:pt x="1498" y="111"/>
                  <a:pt x="1497" y="111"/>
                </a:cubicBezTo>
                <a:close/>
                <a:moveTo>
                  <a:pt x="1331" y="57"/>
                </a:moveTo>
                <a:cubicBezTo>
                  <a:pt x="1332" y="57"/>
                  <a:pt x="1332" y="58"/>
                  <a:pt x="1333" y="58"/>
                </a:cubicBezTo>
                <a:cubicBezTo>
                  <a:pt x="1333" y="58"/>
                  <a:pt x="1334" y="58"/>
                  <a:pt x="1335" y="58"/>
                </a:cubicBezTo>
                <a:cubicBezTo>
                  <a:pt x="1335" y="58"/>
                  <a:pt x="1335" y="58"/>
                  <a:pt x="1335" y="58"/>
                </a:cubicBezTo>
                <a:cubicBezTo>
                  <a:pt x="1336" y="58"/>
                  <a:pt x="1336" y="58"/>
                  <a:pt x="1336" y="58"/>
                </a:cubicBezTo>
                <a:cubicBezTo>
                  <a:pt x="1336" y="58"/>
                  <a:pt x="1337" y="58"/>
                  <a:pt x="1337" y="58"/>
                </a:cubicBezTo>
                <a:cubicBezTo>
                  <a:pt x="1337" y="57"/>
                  <a:pt x="1337" y="57"/>
                  <a:pt x="1337" y="57"/>
                </a:cubicBezTo>
                <a:cubicBezTo>
                  <a:pt x="1336" y="57"/>
                  <a:pt x="1336" y="56"/>
                  <a:pt x="1336" y="56"/>
                </a:cubicBezTo>
                <a:cubicBezTo>
                  <a:pt x="1336" y="56"/>
                  <a:pt x="1335" y="56"/>
                  <a:pt x="1335" y="56"/>
                </a:cubicBezTo>
                <a:cubicBezTo>
                  <a:pt x="1335" y="56"/>
                  <a:pt x="1335" y="56"/>
                  <a:pt x="1334" y="56"/>
                </a:cubicBezTo>
                <a:cubicBezTo>
                  <a:pt x="1334" y="56"/>
                  <a:pt x="1334" y="57"/>
                  <a:pt x="1333" y="57"/>
                </a:cubicBezTo>
                <a:cubicBezTo>
                  <a:pt x="1333" y="57"/>
                  <a:pt x="1332" y="57"/>
                  <a:pt x="1332" y="56"/>
                </a:cubicBezTo>
                <a:cubicBezTo>
                  <a:pt x="1332" y="57"/>
                  <a:pt x="1331" y="57"/>
                  <a:pt x="1331" y="57"/>
                </a:cubicBezTo>
                <a:cubicBezTo>
                  <a:pt x="1331" y="57"/>
                  <a:pt x="1331" y="57"/>
                  <a:pt x="1331" y="57"/>
                </a:cubicBezTo>
                <a:close/>
                <a:moveTo>
                  <a:pt x="1432" y="119"/>
                </a:moveTo>
                <a:cubicBezTo>
                  <a:pt x="1432" y="119"/>
                  <a:pt x="1433" y="119"/>
                  <a:pt x="1433" y="119"/>
                </a:cubicBezTo>
                <a:cubicBezTo>
                  <a:pt x="1433" y="119"/>
                  <a:pt x="1434" y="119"/>
                  <a:pt x="1434" y="119"/>
                </a:cubicBezTo>
                <a:cubicBezTo>
                  <a:pt x="1434" y="119"/>
                  <a:pt x="1434" y="119"/>
                  <a:pt x="1434" y="120"/>
                </a:cubicBezTo>
                <a:cubicBezTo>
                  <a:pt x="1434" y="119"/>
                  <a:pt x="1434" y="119"/>
                  <a:pt x="1434" y="119"/>
                </a:cubicBezTo>
                <a:cubicBezTo>
                  <a:pt x="1434" y="119"/>
                  <a:pt x="1434" y="119"/>
                  <a:pt x="1434" y="119"/>
                </a:cubicBezTo>
                <a:cubicBezTo>
                  <a:pt x="1433" y="118"/>
                  <a:pt x="1433" y="118"/>
                  <a:pt x="1433" y="118"/>
                </a:cubicBezTo>
                <a:cubicBezTo>
                  <a:pt x="1432" y="118"/>
                  <a:pt x="1432" y="118"/>
                  <a:pt x="1432" y="118"/>
                </a:cubicBezTo>
                <a:cubicBezTo>
                  <a:pt x="1432" y="118"/>
                  <a:pt x="1431" y="118"/>
                  <a:pt x="1431" y="118"/>
                </a:cubicBezTo>
                <a:cubicBezTo>
                  <a:pt x="1431" y="118"/>
                  <a:pt x="1431" y="118"/>
                  <a:pt x="1431" y="118"/>
                </a:cubicBezTo>
                <a:cubicBezTo>
                  <a:pt x="1431" y="118"/>
                  <a:pt x="1432" y="118"/>
                  <a:pt x="1432" y="119"/>
                </a:cubicBezTo>
                <a:cubicBezTo>
                  <a:pt x="1432" y="119"/>
                  <a:pt x="1432" y="119"/>
                  <a:pt x="1432" y="119"/>
                </a:cubicBezTo>
                <a:close/>
                <a:moveTo>
                  <a:pt x="1478" y="88"/>
                </a:moveTo>
                <a:cubicBezTo>
                  <a:pt x="1479" y="89"/>
                  <a:pt x="1479" y="89"/>
                  <a:pt x="1480" y="90"/>
                </a:cubicBezTo>
                <a:cubicBezTo>
                  <a:pt x="1480" y="90"/>
                  <a:pt x="1481" y="91"/>
                  <a:pt x="1481" y="92"/>
                </a:cubicBezTo>
                <a:cubicBezTo>
                  <a:pt x="1481" y="92"/>
                  <a:pt x="1481" y="93"/>
                  <a:pt x="1482" y="93"/>
                </a:cubicBezTo>
                <a:cubicBezTo>
                  <a:pt x="1482" y="94"/>
                  <a:pt x="1482" y="94"/>
                  <a:pt x="1483" y="94"/>
                </a:cubicBezTo>
                <a:cubicBezTo>
                  <a:pt x="1483" y="94"/>
                  <a:pt x="1483" y="94"/>
                  <a:pt x="1483" y="94"/>
                </a:cubicBezTo>
                <a:cubicBezTo>
                  <a:pt x="1483" y="94"/>
                  <a:pt x="1484" y="93"/>
                  <a:pt x="1484" y="93"/>
                </a:cubicBezTo>
                <a:cubicBezTo>
                  <a:pt x="1483" y="92"/>
                  <a:pt x="1483" y="92"/>
                  <a:pt x="1483" y="91"/>
                </a:cubicBezTo>
                <a:cubicBezTo>
                  <a:pt x="1483" y="91"/>
                  <a:pt x="1483" y="90"/>
                  <a:pt x="1483" y="90"/>
                </a:cubicBezTo>
                <a:cubicBezTo>
                  <a:pt x="1482" y="90"/>
                  <a:pt x="1482" y="90"/>
                  <a:pt x="1482" y="89"/>
                </a:cubicBezTo>
                <a:cubicBezTo>
                  <a:pt x="1481" y="89"/>
                  <a:pt x="1480" y="89"/>
                  <a:pt x="1480" y="89"/>
                </a:cubicBezTo>
                <a:cubicBezTo>
                  <a:pt x="1479" y="88"/>
                  <a:pt x="1479" y="88"/>
                  <a:pt x="1479" y="87"/>
                </a:cubicBezTo>
                <a:cubicBezTo>
                  <a:pt x="1479" y="87"/>
                  <a:pt x="1478" y="87"/>
                  <a:pt x="1478" y="87"/>
                </a:cubicBezTo>
                <a:cubicBezTo>
                  <a:pt x="1478" y="87"/>
                  <a:pt x="1478" y="87"/>
                  <a:pt x="1477" y="86"/>
                </a:cubicBezTo>
                <a:cubicBezTo>
                  <a:pt x="1477" y="87"/>
                  <a:pt x="1477" y="87"/>
                  <a:pt x="1478" y="87"/>
                </a:cubicBezTo>
                <a:cubicBezTo>
                  <a:pt x="1478" y="87"/>
                  <a:pt x="1478" y="88"/>
                  <a:pt x="1478" y="88"/>
                </a:cubicBezTo>
                <a:close/>
                <a:moveTo>
                  <a:pt x="1387" y="102"/>
                </a:moveTo>
                <a:cubicBezTo>
                  <a:pt x="1388" y="102"/>
                  <a:pt x="1388" y="102"/>
                  <a:pt x="1388" y="102"/>
                </a:cubicBezTo>
                <a:cubicBezTo>
                  <a:pt x="1388" y="102"/>
                  <a:pt x="1388" y="103"/>
                  <a:pt x="1388" y="103"/>
                </a:cubicBezTo>
                <a:cubicBezTo>
                  <a:pt x="1388" y="103"/>
                  <a:pt x="1388" y="103"/>
                  <a:pt x="1388" y="103"/>
                </a:cubicBezTo>
                <a:cubicBezTo>
                  <a:pt x="1387" y="103"/>
                  <a:pt x="1387" y="103"/>
                  <a:pt x="1387" y="103"/>
                </a:cubicBezTo>
                <a:cubicBezTo>
                  <a:pt x="1387" y="103"/>
                  <a:pt x="1387" y="103"/>
                  <a:pt x="1386" y="103"/>
                </a:cubicBezTo>
                <a:cubicBezTo>
                  <a:pt x="1387" y="103"/>
                  <a:pt x="1387" y="103"/>
                  <a:pt x="1387" y="104"/>
                </a:cubicBezTo>
                <a:cubicBezTo>
                  <a:pt x="1387" y="104"/>
                  <a:pt x="1388" y="104"/>
                  <a:pt x="1389" y="104"/>
                </a:cubicBezTo>
                <a:cubicBezTo>
                  <a:pt x="1390" y="104"/>
                  <a:pt x="1390" y="105"/>
                  <a:pt x="1391" y="105"/>
                </a:cubicBezTo>
                <a:cubicBezTo>
                  <a:pt x="1392" y="105"/>
                  <a:pt x="1392" y="105"/>
                  <a:pt x="1393" y="105"/>
                </a:cubicBezTo>
                <a:cubicBezTo>
                  <a:pt x="1393" y="106"/>
                  <a:pt x="1393" y="106"/>
                  <a:pt x="1393" y="106"/>
                </a:cubicBezTo>
                <a:cubicBezTo>
                  <a:pt x="1394" y="106"/>
                  <a:pt x="1394" y="106"/>
                  <a:pt x="1394" y="106"/>
                </a:cubicBezTo>
                <a:cubicBezTo>
                  <a:pt x="1394" y="106"/>
                  <a:pt x="1395" y="105"/>
                  <a:pt x="1395" y="105"/>
                </a:cubicBezTo>
                <a:cubicBezTo>
                  <a:pt x="1395" y="105"/>
                  <a:pt x="1395" y="105"/>
                  <a:pt x="1395" y="105"/>
                </a:cubicBezTo>
                <a:cubicBezTo>
                  <a:pt x="1395" y="105"/>
                  <a:pt x="1395" y="105"/>
                  <a:pt x="1395" y="105"/>
                </a:cubicBezTo>
                <a:cubicBezTo>
                  <a:pt x="1395" y="104"/>
                  <a:pt x="1395" y="104"/>
                  <a:pt x="1395" y="104"/>
                </a:cubicBezTo>
                <a:cubicBezTo>
                  <a:pt x="1395" y="104"/>
                  <a:pt x="1395" y="103"/>
                  <a:pt x="1395" y="103"/>
                </a:cubicBezTo>
                <a:cubicBezTo>
                  <a:pt x="1395" y="103"/>
                  <a:pt x="1395" y="102"/>
                  <a:pt x="1395" y="102"/>
                </a:cubicBezTo>
                <a:cubicBezTo>
                  <a:pt x="1394" y="102"/>
                  <a:pt x="1394" y="102"/>
                  <a:pt x="1394" y="101"/>
                </a:cubicBezTo>
                <a:cubicBezTo>
                  <a:pt x="1394" y="101"/>
                  <a:pt x="1394" y="101"/>
                  <a:pt x="1394" y="101"/>
                </a:cubicBezTo>
                <a:cubicBezTo>
                  <a:pt x="1394" y="101"/>
                  <a:pt x="1394" y="101"/>
                  <a:pt x="1393" y="101"/>
                </a:cubicBezTo>
                <a:cubicBezTo>
                  <a:pt x="1393" y="101"/>
                  <a:pt x="1392" y="100"/>
                  <a:pt x="1391" y="100"/>
                </a:cubicBezTo>
                <a:cubicBezTo>
                  <a:pt x="1390" y="101"/>
                  <a:pt x="1389" y="101"/>
                  <a:pt x="1389" y="101"/>
                </a:cubicBezTo>
                <a:cubicBezTo>
                  <a:pt x="1388" y="101"/>
                  <a:pt x="1388" y="101"/>
                  <a:pt x="1388" y="101"/>
                </a:cubicBezTo>
                <a:cubicBezTo>
                  <a:pt x="1387" y="101"/>
                  <a:pt x="1387" y="101"/>
                  <a:pt x="1387" y="101"/>
                </a:cubicBezTo>
                <a:cubicBezTo>
                  <a:pt x="1387" y="101"/>
                  <a:pt x="1387" y="101"/>
                  <a:pt x="1387" y="102"/>
                </a:cubicBezTo>
                <a:close/>
                <a:moveTo>
                  <a:pt x="1343" y="68"/>
                </a:moveTo>
                <a:cubicBezTo>
                  <a:pt x="1343" y="68"/>
                  <a:pt x="1343" y="68"/>
                  <a:pt x="1343" y="68"/>
                </a:cubicBezTo>
                <a:cubicBezTo>
                  <a:pt x="1343" y="68"/>
                  <a:pt x="1343" y="68"/>
                  <a:pt x="1344" y="68"/>
                </a:cubicBezTo>
                <a:cubicBezTo>
                  <a:pt x="1344" y="68"/>
                  <a:pt x="1344" y="68"/>
                  <a:pt x="1344" y="68"/>
                </a:cubicBezTo>
                <a:cubicBezTo>
                  <a:pt x="1344" y="67"/>
                  <a:pt x="1344" y="67"/>
                  <a:pt x="1344" y="66"/>
                </a:cubicBezTo>
                <a:cubicBezTo>
                  <a:pt x="1343" y="66"/>
                  <a:pt x="1343" y="66"/>
                  <a:pt x="1343" y="66"/>
                </a:cubicBezTo>
                <a:cubicBezTo>
                  <a:pt x="1342" y="66"/>
                  <a:pt x="1342" y="66"/>
                  <a:pt x="1342" y="66"/>
                </a:cubicBezTo>
                <a:cubicBezTo>
                  <a:pt x="1342" y="66"/>
                  <a:pt x="1342" y="66"/>
                  <a:pt x="1342" y="67"/>
                </a:cubicBezTo>
                <a:cubicBezTo>
                  <a:pt x="1342" y="67"/>
                  <a:pt x="1343" y="67"/>
                  <a:pt x="1343" y="68"/>
                </a:cubicBezTo>
                <a:cubicBezTo>
                  <a:pt x="1343" y="68"/>
                  <a:pt x="1343" y="68"/>
                  <a:pt x="1343" y="68"/>
                </a:cubicBezTo>
                <a:close/>
                <a:moveTo>
                  <a:pt x="1266" y="98"/>
                </a:moveTo>
                <a:cubicBezTo>
                  <a:pt x="1266" y="98"/>
                  <a:pt x="1266" y="98"/>
                  <a:pt x="1266" y="98"/>
                </a:cubicBezTo>
                <a:cubicBezTo>
                  <a:pt x="1266" y="98"/>
                  <a:pt x="1266" y="98"/>
                  <a:pt x="1266" y="98"/>
                </a:cubicBezTo>
                <a:cubicBezTo>
                  <a:pt x="1265" y="98"/>
                  <a:pt x="1265" y="98"/>
                  <a:pt x="1264" y="98"/>
                </a:cubicBezTo>
                <a:cubicBezTo>
                  <a:pt x="1264" y="98"/>
                  <a:pt x="1264" y="98"/>
                  <a:pt x="1264" y="98"/>
                </a:cubicBezTo>
                <a:cubicBezTo>
                  <a:pt x="1264" y="99"/>
                  <a:pt x="1265" y="99"/>
                  <a:pt x="1265" y="99"/>
                </a:cubicBezTo>
                <a:cubicBezTo>
                  <a:pt x="1265" y="99"/>
                  <a:pt x="1265" y="99"/>
                  <a:pt x="1265" y="99"/>
                </a:cubicBezTo>
                <a:cubicBezTo>
                  <a:pt x="1265" y="99"/>
                  <a:pt x="1265" y="99"/>
                  <a:pt x="1265" y="98"/>
                </a:cubicBezTo>
                <a:cubicBezTo>
                  <a:pt x="1265" y="98"/>
                  <a:pt x="1265" y="98"/>
                  <a:pt x="1265" y="98"/>
                </a:cubicBezTo>
                <a:cubicBezTo>
                  <a:pt x="1266" y="98"/>
                  <a:pt x="1266" y="98"/>
                  <a:pt x="1266" y="98"/>
                </a:cubicBezTo>
                <a:close/>
                <a:moveTo>
                  <a:pt x="1110" y="35"/>
                </a:moveTo>
                <a:cubicBezTo>
                  <a:pt x="1110" y="35"/>
                  <a:pt x="1110" y="35"/>
                  <a:pt x="1111" y="35"/>
                </a:cubicBezTo>
                <a:cubicBezTo>
                  <a:pt x="1110" y="35"/>
                  <a:pt x="1110" y="35"/>
                  <a:pt x="1110" y="35"/>
                </a:cubicBezTo>
                <a:cubicBezTo>
                  <a:pt x="1110" y="35"/>
                  <a:pt x="1110" y="35"/>
                  <a:pt x="1109" y="35"/>
                </a:cubicBezTo>
                <a:cubicBezTo>
                  <a:pt x="1109" y="35"/>
                  <a:pt x="1109" y="35"/>
                  <a:pt x="1109" y="35"/>
                </a:cubicBezTo>
                <a:cubicBezTo>
                  <a:pt x="1109" y="35"/>
                  <a:pt x="1109" y="35"/>
                  <a:pt x="1108" y="35"/>
                </a:cubicBezTo>
                <a:cubicBezTo>
                  <a:pt x="1108" y="35"/>
                  <a:pt x="1108" y="35"/>
                  <a:pt x="1108" y="35"/>
                </a:cubicBezTo>
                <a:cubicBezTo>
                  <a:pt x="1109" y="35"/>
                  <a:pt x="1109" y="35"/>
                  <a:pt x="1109" y="35"/>
                </a:cubicBezTo>
                <a:cubicBezTo>
                  <a:pt x="1110" y="35"/>
                  <a:pt x="1110" y="35"/>
                  <a:pt x="1110" y="35"/>
                </a:cubicBezTo>
                <a:close/>
                <a:moveTo>
                  <a:pt x="1107" y="38"/>
                </a:moveTo>
                <a:cubicBezTo>
                  <a:pt x="1108" y="38"/>
                  <a:pt x="1108" y="38"/>
                  <a:pt x="1108" y="38"/>
                </a:cubicBezTo>
                <a:cubicBezTo>
                  <a:pt x="1108" y="37"/>
                  <a:pt x="1108" y="37"/>
                  <a:pt x="1109" y="37"/>
                </a:cubicBezTo>
                <a:cubicBezTo>
                  <a:pt x="1109" y="37"/>
                  <a:pt x="1109" y="37"/>
                  <a:pt x="1108" y="37"/>
                </a:cubicBezTo>
                <a:cubicBezTo>
                  <a:pt x="1108" y="36"/>
                  <a:pt x="1108" y="36"/>
                  <a:pt x="1108" y="36"/>
                </a:cubicBezTo>
                <a:cubicBezTo>
                  <a:pt x="1108" y="36"/>
                  <a:pt x="1108" y="36"/>
                  <a:pt x="1107" y="36"/>
                </a:cubicBezTo>
                <a:cubicBezTo>
                  <a:pt x="1107" y="36"/>
                  <a:pt x="1107" y="36"/>
                  <a:pt x="1107" y="37"/>
                </a:cubicBezTo>
                <a:cubicBezTo>
                  <a:pt x="1106" y="37"/>
                  <a:pt x="1106" y="37"/>
                  <a:pt x="1106" y="37"/>
                </a:cubicBezTo>
                <a:cubicBezTo>
                  <a:pt x="1106" y="37"/>
                  <a:pt x="1106" y="37"/>
                  <a:pt x="1106" y="37"/>
                </a:cubicBezTo>
                <a:cubicBezTo>
                  <a:pt x="1106" y="37"/>
                  <a:pt x="1107" y="37"/>
                  <a:pt x="1107" y="38"/>
                </a:cubicBezTo>
                <a:close/>
                <a:moveTo>
                  <a:pt x="1106" y="35"/>
                </a:move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8" y="35"/>
                  <a:pt x="1108" y="35"/>
                </a:cubicBez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7" y="35"/>
                  <a:pt x="1106" y="35"/>
                </a:cubicBezTo>
                <a:close/>
                <a:moveTo>
                  <a:pt x="1114" y="27"/>
                </a:moveTo>
                <a:cubicBezTo>
                  <a:pt x="1114" y="27"/>
                  <a:pt x="1115" y="27"/>
                  <a:pt x="1115" y="27"/>
                </a:cubicBezTo>
                <a:cubicBezTo>
                  <a:pt x="1115" y="26"/>
                  <a:pt x="1115" y="26"/>
                  <a:pt x="1115" y="26"/>
                </a:cubicBezTo>
                <a:cubicBezTo>
                  <a:pt x="1115" y="26"/>
                  <a:pt x="1115" y="26"/>
                  <a:pt x="1115" y="25"/>
                </a:cubicBezTo>
                <a:cubicBezTo>
                  <a:pt x="1114" y="25"/>
                  <a:pt x="1114" y="25"/>
                  <a:pt x="1113" y="25"/>
                </a:cubicBezTo>
                <a:cubicBezTo>
                  <a:pt x="1113" y="25"/>
                  <a:pt x="1113" y="25"/>
                  <a:pt x="1113" y="25"/>
                </a:cubicBezTo>
                <a:cubicBezTo>
                  <a:pt x="1113" y="25"/>
                  <a:pt x="1113" y="25"/>
                  <a:pt x="1112" y="25"/>
                </a:cubicBezTo>
                <a:cubicBezTo>
                  <a:pt x="1112" y="25"/>
                  <a:pt x="1112" y="25"/>
                  <a:pt x="1112" y="25"/>
                </a:cubicBezTo>
                <a:cubicBezTo>
                  <a:pt x="1112" y="25"/>
                  <a:pt x="1112" y="26"/>
                  <a:pt x="1112" y="26"/>
                </a:cubicBezTo>
                <a:cubicBezTo>
                  <a:pt x="1113" y="26"/>
                  <a:pt x="1113" y="26"/>
                  <a:pt x="1114" y="27"/>
                </a:cubicBezTo>
                <a:close/>
                <a:moveTo>
                  <a:pt x="1114" y="29"/>
                </a:moveTo>
                <a:cubicBezTo>
                  <a:pt x="1114" y="29"/>
                  <a:pt x="1114" y="29"/>
                  <a:pt x="1114" y="29"/>
                </a:cubicBezTo>
                <a:cubicBezTo>
                  <a:pt x="1114" y="29"/>
                  <a:pt x="1114" y="29"/>
                  <a:pt x="1114" y="29"/>
                </a:cubicBezTo>
                <a:cubicBezTo>
                  <a:pt x="1114" y="29"/>
                  <a:pt x="1114" y="29"/>
                  <a:pt x="1114" y="30"/>
                </a:cubicBezTo>
                <a:cubicBezTo>
                  <a:pt x="1115" y="30"/>
                  <a:pt x="1115" y="30"/>
                  <a:pt x="1115" y="30"/>
                </a:cubicBezTo>
                <a:cubicBezTo>
                  <a:pt x="1116" y="30"/>
                  <a:pt x="1116" y="30"/>
                  <a:pt x="1116" y="29"/>
                </a:cubicBezTo>
                <a:cubicBezTo>
                  <a:pt x="1116" y="29"/>
                  <a:pt x="1116" y="29"/>
                  <a:pt x="1116" y="29"/>
                </a:cubicBezTo>
                <a:cubicBezTo>
                  <a:pt x="1116" y="29"/>
                  <a:pt x="1117" y="29"/>
                  <a:pt x="1117" y="29"/>
                </a:cubicBezTo>
                <a:cubicBezTo>
                  <a:pt x="1117" y="29"/>
                  <a:pt x="1117" y="28"/>
                  <a:pt x="1117" y="28"/>
                </a:cubicBezTo>
                <a:cubicBezTo>
                  <a:pt x="1116" y="28"/>
                  <a:pt x="1116" y="28"/>
                  <a:pt x="1116" y="28"/>
                </a:cubicBezTo>
                <a:cubicBezTo>
                  <a:pt x="1116" y="28"/>
                  <a:pt x="1116" y="28"/>
                  <a:pt x="1116" y="28"/>
                </a:cubicBezTo>
                <a:cubicBezTo>
                  <a:pt x="1115" y="28"/>
                  <a:pt x="1115" y="28"/>
                  <a:pt x="1115" y="28"/>
                </a:cubicBezTo>
                <a:cubicBezTo>
                  <a:pt x="1115" y="28"/>
                  <a:pt x="1115" y="28"/>
                  <a:pt x="1114" y="29"/>
                </a:cubicBezTo>
                <a:close/>
                <a:moveTo>
                  <a:pt x="1115" y="33"/>
                </a:moveTo>
                <a:cubicBezTo>
                  <a:pt x="1116" y="33"/>
                  <a:pt x="1116" y="33"/>
                  <a:pt x="1116" y="33"/>
                </a:cubicBezTo>
                <a:cubicBezTo>
                  <a:pt x="1116" y="32"/>
                  <a:pt x="1116" y="32"/>
                  <a:pt x="1116" y="32"/>
                </a:cubicBezTo>
                <a:cubicBezTo>
                  <a:pt x="1116" y="32"/>
                  <a:pt x="1116" y="32"/>
                  <a:pt x="1116" y="32"/>
                </a:cubicBezTo>
                <a:cubicBezTo>
                  <a:pt x="1116" y="32"/>
                  <a:pt x="1115" y="32"/>
                  <a:pt x="1115" y="32"/>
                </a:cubicBezTo>
                <a:cubicBezTo>
                  <a:pt x="1115" y="32"/>
                  <a:pt x="1115" y="32"/>
                  <a:pt x="1115" y="32"/>
                </a:cubicBezTo>
                <a:cubicBezTo>
                  <a:pt x="1114" y="32"/>
                  <a:pt x="1114" y="32"/>
                  <a:pt x="1114" y="32"/>
                </a:cubicBezTo>
                <a:cubicBezTo>
                  <a:pt x="1114" y="32"/>
                  <a:pt x="1114" y="32"/>
                  <a:pt x="1114" y="33"/>
                </a:cubicBezTo>
                <a:cubicBezTo>
                  <a:pt x="1115" y="33"/>
                  <a:pt x="1115" y="33"/>
                  <a:pt x="1115" y="33"/>
                </a:cubicBezTo>
                <a:close/>
                <a:moveTo>
                  <a:pt x="1105" y="25"/>
                </a:moveTo>
                <a:cubicBezTo>
                  <a:pt x="1105" y="25"/>
                  <a:pt x="1105" y="26"/>
                  <a:pt x="1105" y="26"/>
                </a:cubicBezTo>
                <a:cubicBezTo>
                  <a:pt x="1105" y="26"/>
                  <a:pt x="1106" y="26"/>
                  <a:pt x="1106" y="26"/>
                </a:cubicBezTo>
                <a:cubicBezTo>
                  <a:pt x="1106" y="26"/>
                  <a:pt x="1107" y="26"/>
                  <a:pt x="1107" y="26"/>
                </a:cubicBezTo>
                <a:cubicBezTo>
                  <a:pt x="1108" y="26"/>
                  <a:pt x="1108" y="26"/>
                  <a:pt x="1109" y="27"/>
                </a:cubicBezTo>
                <a:cubicBezTo>
                  <a:pt x="1110" y="27"/>
                  <a:pt x="1110" y="28"/>
                  <a:pt x="1111" y="28"/>
                </a:cubicBezTo>
                <a:cubicBezTo>
                  <a:pt x="1112" y="28"/>
                  <a:pt x="1112" y="28"/>
                  <a:pt x="1112" y="29"/>
                </a:cubicBezTo>
                <a:cubicBezTo>
                  <a:pt x="1112" y="29"/>
                  <a:pt x="1113" y="29"/>
                  <a:pt x="1113" y="29"/>
                </a:cubicBezTo>
                <a:cubicBezTo>
                  <a:pt x="1113" y="28"/>
                  <a:pt x="1113" y="28"/>
                  <a:pt x="1113" y="28"/>
                </a:cubicBezTo>
                <a:cubicBezTo>
                  <a:pt x="1114" y="28"/>
                  <a:pt x="1114" y="27"/>
                  <a:pt x="1114" y="27"/>
                </a:cubicBezTo>
                <a:cubicBezTo>
                  <a:pt x="1114" y="27"/>
                  <a:pt x="1114" y="27"/>
                  <a:pt x="1114" y="27"/>
                </a:cubicBezTo>
                <a:cubicBezTo>
                  <a:pt x="1113" y="27"/>
                  <a:pt x="1113" y="27"/>
                  <a:pt x="1113" y="27"/>
                </a:cubicBezTo>
                <a:cubicBezTo>
                  <a:pt x="1112" y="27"/>
                  <a:pt x="1112" y="27"/>
                  <a:pt x="1112" y="27"/>
                </a:cubicBezTo>
                <a:cubicBezTo>
                  <a:pt x="1111" y="27"/>
                  <a:pt x="1111" y="27"/>
                  <a:pt x="1110" y="26"/>
                </a:cubicBezTo>
                <a:cubicBezTo>
                  <a:pt x="1110" y="26"/>
                  <a:pt x="1109" y="26"/>
                  <a:pt x="1108" y="25"/>
                </a:cubicBezTo>
                <a:cubicBezTo>
                  <a:pt x="1108" y="25"/>
                  <a:pt x="1107" y="25"/>
                  <a:pt x="1107" y="25"/>
                </a:cubicBezTo>
                <a:cubicBezTo>
                  <a:pt x="1106" y="25"/>
                  <a:pt x="1106" y="25"/>
                  <a:pt x="1105" y="25"/>
                </a:cubicBezTo>
                <a:close/>
                <a:moveTo>
                  <a:pt x="1111" y="39"/>
                </a:moveTo>
                <a:cubicBezTo>
                  <a:pt x="1111" y="39"/>
                  <a:pt x="1111" y="39"/>
                  <a:pt x="1112" y="39"/>
                </a:cubicBezTo>
                <a:cubicBezTo>
                  <a:pt x="1112" y="39"/>
                  <a:pt x="1112" y="39"/>
                  <a:pt x="1112" y="39"/>
                </a:cubicBezTo>
                <a:cubicBezTo>
                  <a:pt x="1113" y="39"/>
                  <a:pt x="1114" y="39"/>
                  <a:pt x="1114" y="39"/>
                </a:cubicBezTo>
                <a:cubicBezTo>
                  <a:pt x="1115" y="39"/>
                  <a:pt x="1115" y="39"/>
                  <a:pt x="1116" y="39"/>
                </a:cubicBezTo>
                <a:cubicBezTo>
                  <a:pt x="1116" y="39"/>
                  <a:pt x="1116" y="39"/>
                  <a:pt x="1116" y="39"/>
                </a:cubicBezTo>
                <a:cubicBezTo>
                  <a:pt x="1116" y="39"/>
                  <a:pt x="1115" y="38"/>
                  <a:pt x="1115" y="38"/>
                </a:cubicBezTo>
                <a:cubicBezTo>
                  <a:pt x="1115" y="38"/>
                  <a:pt x="1115" y="38"/>
                  <a:pt x="1115" y="37"/>
                </a:cubicBezTo>
                <a:cubicBezTo>
                  <a:pt x="1115" y="37"/>
                  <a:pt x="1115" y="37"/>
                  <a:pt x="1115" y="37"/>
                </a:cubicBezTo>
                <a:cubicBezTo>
                  <a:pt x="1115" y="36"/>
                  <a:pt x="1115" y="36"/>
                  <a:pt x="1114" y="36"/>
                </a:cubicBezTo>
                <a:cubicBezTo>
                  <a:pt x="1114" y="36"/>
                  <a:pt x="1114" y="35"/>
                  <a:pt x="1114" y="35"/>
                </a:cubicBezTo>
                <a:cubicBezTo>
                  <a:pt x="1113" y="35"/>
                  <a:pt x="1113" y="35"/>
                  <a:pt x="1113" y="35"/>
                </a:cubicBezTo>
                <a:cubicBezTo>
                  <a:pt x="1112" y="35"/>
                  <a:pt x="1112" y="35"/>
                  <a:pt x="1111" y="35"/>
                </a:cubicBezTo>
                <a:cubicBezTo>
                  <a:pt x="1111" y="36"/>
                  <a:pt x="1110" y="36"/>
                  <a:pt x="1110" y="36"/>
                </a:cubicBezTo>
                <a:cubicBezTo>
                  <a:pt x="1110" y="36"/>
                  <a:pt x="1110" y="36"/>
                  <a:pt x="1110" y="36"/>
                </a:cubicBezTo>
                <a:cubicBezTo>
                  <a:pt x="1110" y="37"/>
                  <a:pt x="1110" y="37"/>
                  <a:pt x="1111" y="37"/>
                </a:cubicBezTo>
                <a:cubicBezTo>
                  <a:pt x="1111" y="38"/>
                  <a:pt x="1111" y="38"/>
                  <a:pt x="1111" y="39"/>
                </a:cubicBezTo>
                <a:close/>
                <a:moveTo>
                  <a:pt x="1644" y="389"/>
                </a:moveTo>
                <a:cubicBezTo>
                  <a:pt x="1645" y="389"/>
                  <a:pt x="1645" y="388"/>
                  <a:pt x="1645" y="388"/>
                </a:cubicBezTo>
                <a:cubicBezTo>
                  <a:pt x="1646" y="388"/>
                  <a:pt x="1646" y="388"/>
                  <a:pt x="1646" y="388"/>
                </a:cubicBezTo>
                <a:cubicBezTo>
                  <a:pt x="1647" y="388"/>
                  <a:pt x="1647" y="387"/>
                  <a:pt x="1648" y="387"/>
                </a:cubicBezTo>
                <a:cubicBezTo>
                  <a:pt x="1648" y="387"/>
                  <a:pt x="1648" y="387"/>
                  <a:pt x="1648" y="387"/>
                </a:cubicBezTo>
                <a:cubicBezTo>
                  <a:pt x="1648" y="387"/>
                  <a:pt x="1648" y="387"/>
                  <a:pt x="1648" y="387"/>
                </a:cubicBezTo>
                <a:cubicBezTo>
                  <a:pt x="1648" y="387"/>
                  <a:pt x="1647" y="386"/>
                  <a:pt x="1647" y="386"/>
                </a:cubicBezTo>
                <a:cubicBezTo>
                  <a:pt x="1647" y="386"/>
                  <a:pt x="1647" y="386"/>
                  <a:pt x="1647" y="386"/>
                </a:cubicBezTo>
                <a:cubicBezTo>
                  <a:pt x="1646" y="386"/>
                  <a:pt x="1646" y="386"/>
                  <a:pt x="1646" y="386"/>
                </a:cubicBezTo>
                <a:cubicBezTo>
                  <a:pt x="1646" y="386"/>
                  <a:pt x="1646" y="386"/>
                  <a:pt x="1646" y="386"/>
                </a:cubicBezTo>
                <a:cubicBezTo>
                  <a:pt x="1646" y="386"/>
                  <a:pt x="1645" y="386"/>
                  <a:pt x="1645" y="386"/>
                </a:cubicBezTo>
                <a:cubicBezTo>
                  <a:pt x="1645" y="387"/>
                  <a:pt x="1645" y="387"/>
                  <a:pt x="1645" y="387"/>
                </a:cubicBezTo>
                <a:cubicBezTo>
                  <a:pt x="1644" y="387"/>
                  <a:pt x="1644" y="388"/>
                  <a:pt x="1644" y="388"/>
                </a:cubicBezTo>
                <a:cubicBezTo>
                  <a:pt x="1644" y="388"/>
                  <a:pt x="1643" y="388"/>
                  <a:pt x="1643" y="388"/>
                </a:cubicBezTo>
                <a:cubicBezTo>
                  <a:pt x="1643" y="389"/>
                  <a:pt x="1643" y="389"/>
                  <a:pt x="1643" y="389"/>
                </a:cubicBezTo>
                <a:cubicBezTo>
                  <a:pt x="1643" y="389"/>
                  <a:pt x="1644" y="390"/>
                  <a:pt x="1644" y="390"/>
                </a:cubicBezTo>
                <a:cubicBezTo>
                  <a:pt x="1644" y="390"/>
                  <a:pt x="1644" y="389"/>
                  <a:pt x="1644" y="389"/>
                </a:cubicBezTo>
                <a:close/>
                <a:moveTo>
                  <a:pt x="1105" y="35"/>
                </a:moveTo>
                <a:cubicBezTo>
                  <a:pt x="1105" y="35"/>
                  <a:pt x="1105" y="35"/>
                  <a:pt x="1105" y="35"/>
                </a:cubicBezTo>
                <a:cubicBezTo>
                  <a:pt x="1104" y="35"/>
                  <a:pt x="1104" y="35"/>
                  <a:pt x="1104" y="34"/>
                </a:cubicBezTo>
                <a:cubicBezTo>
                  <a:pt x="1104" y="35"/>
                  <a:pt x="1104" y="35"/>
                  <a:pt x="1104" y="35"/>
                </a:cubicBezTo>
                <a:cubicBezTo>
                  <a:pt x="1104" y="35"/>
                  <a:pt x="1104" y="35"/>
                  <a:pt x="1104" y="35"/>
                </a:cubicBezTo>
                <a:cubicBezTo>
                  <a:pt x="1103" y="35"/>
                  <a:pt x="1103" y="36"/>
                  <a:pt x="1103" y="36"/>
                </a:cubicBezTo>
                <a:cubicBezTo>
                  <a:pt x="1103" y="36"/>
                  <a:pt x="1104" y="36"/>
                  <a:pt x="1104" y="36"/>
                </a:cubicBezTo>
                <a:cubicBezTo>
                  <a:pt x="1104" y="36"/>
                  <a:pt x="1104" y="36"/>
                  <a:pt x="1104" y="36"/>
                </a:cubicBezTo>
                <a:cubicBezTo>
                  <a:pt x="1105" y="36"/>
                  <a:pt x="1105" y="35"/>
                  <a:pt x="1105" y="35"/>
                </a:cubicBezTo>
                <a:close/>
                <a:moveTo>
                  <a:pt x="1109" y="32"/>
                </a:moveTo>
                <a:cubicBezTo>
                  <a:pt x="1109" y="32"/>
                  <a:pt x="1109" y="32"/>
                  <a:pt x="1110" y="32"/>
                </a:cubicBezTo>
                <a:cubicBezTo>
                  <a:pt x="1110" y="32"/>
                  <a:pt x="1110" y="32"/>
                  <a:pt x="1111" y="32"/>
                </a:cubicBezTo>
                <a:cubicBezTo>
                  <a:pt x="1111" y="32"/>
                  <a:pt x="1111" y="32"/>
                  <a:pt x="1112" y="32"/>
                </a:cubicBezTo>
                <a:cubicBezTo>
                  <a:pt x="1112" y="32"/>
                  <a:pt x="1112" y="32"/>
                  <a:pt x="1112" y="32"/>
                </a:cubicBezTo>
                <a:cubicBezTo>
                  <a:pt x="1111" y="31"/>
                  <a:pt x="1111" y="31"/>
                  <a:pt x="1111" y="31"/>
                </a:cubicBezTo>
                <a:cubicBezTo>
                  <a:pt x="1110" y="31"/>
                  <a:pt x="1110" y="31"/>
                  <a:pt x="1110" y="31"/>
                </a:cubicBezTo>
                <a:cubicBezTo>
                  <a:pt x="1110" y="31"/>
                  <a:pt x="1109" y="31"/>
                  <a:pt x="1109" y="31"/>
                </a:cubicBezTo>
                <a:cubicBezTo>
                  <a:pt x="1109" y="31"/>
                  <a:pt x="1108" y="31"/>
                  <a:pt x="1108" y="31"/>
                </a:cubicBezTo>
                <a:cubicBezTo>
                  <a:pt x="1107" y="31"/>
                  <a:pt x="1107" y="31"/>
                  <a:pt x="1107" y="31"/>
                </a:cubicBezTo>
                <a:cubicBezTo>
                  <a:pt x="1107" y="32"/>
                  <a:pt x="1107" y="32"/>
                  <a:pt x="1107" y="32"/>
                </a:cubicBezTo>
                <a:cubicBezTo>
                  <a:pt x="1107" y="32"/>
                  <a:pt x="1107" y="32"/>
                  <a:pt x="1107" y="32"/>
                </a:cubicBezTo>
                <a:cubicBezTo>
                  <a:pt x="1108" y="32"/>
                  <a:pt x="1108" y="32"/>
                  <a:pt x="1108" y="32"/>
                </a:cubicBezTo>
                <a:cubicBezTo>
                  <a:pt x="1108" y="32"/>
                  <a:pt x="1109" y="32"/>
                  <a:pt x="1109" y="32"/>
                </a:cubicBezTo>
                <a:close/>
                <a:moveTo>
                  <a:pt x="1652" y="281"/>
                </a:moveTo>
                <a:cubicBezTo>
                  <a:pt x="1652" y="281"/>
                  <a:pt x="1652" y="281"/>
                  <a:pt x="1652" y="281"/>
                </a:cubicBezTo>
                <a:cubicBezTo>
                  <a:pt x="1652" y="281"/>
                  <a:pt x="1652" y="281"/>
                  <a:pt x="1651" y="281"/>
                </a:cubicBezTo>
                <a:cubicBezTo>
                  <a:pt x="1651" y="281"/>
                  <a:pt x="1651" y="281"/>
                  <a:pt x="1651" y="281"/>
                </a:cubicBezTo>
                <a:cubicBezTo>
                  <a:pt x="1651" y="281"/>
                  <a:pt x="1650" y="281"/>
                  <a:pt x="1650" y="282"/>
                </a:cubicBezTo>
                <a:cubicBezTo>
                  <a:pt x="1651" y="282"/>
                  <a:pt x="1651" y="282"/>
                  <a:pt x="1651" y="282"/>
                </a:cubicBezTo>
                <a:cubicBezTo>
                  <a:pt x="1651" y="282"/>
                  <a:pt x="1652" y="282"/>
                  <a:pt x="1652" y="281"/>
                </a:cubicBezTo>
                <a:close/>
                <a:moveTo>
                  <a:pt x="1104" y="31"/>
                </a:moveTo>
                <a:cubicBezTo>
                  <a:pt x="1105" y="31"/>
                  <a:pt x="1105" y="31"/>
                  <a:pt x="1106" y="31"/>
                </a:cubicBezTo>
                <a:cubicBezTo>
                  <a:pt x="1106" y="31"/>
                  <a:pt x="1107" y="31"/>
                  <a:pt x="1107" y="31"/>
                </a:cubicBezTo>
                <a:cubicBezTo>
                  <a:pt x="1107" y="30"/>
                  <a:pt x="1106" y="30"/>
                  <a:pt x="1106" y="30"/>
                </a:cubicBezTo>
                <a:cubicBezTo>
                  <a:pt x="1106" y="30"/>
                  <a:pt x="1106" y="30"/>
                  <a:pt x="1106" y="30"/>
                </a:cubicBezTo>
                <a:cubicBezTo>
                  <a:pt x="1106" y="30"/>
                  <a:pt x="1105" y="30"/>
                  <a:pt x="1105" y="30"/>
                </a:cubicBezTo>
                <a:cubicBezTo>
                  <a:pt x="1105" y="30"/>
                  <a:pt x="1105" y="30"/>
                  <a:pt x="1105" y="30"/>
                </a:cubicBezTo>
                <a:cubicBezTo>
                  <a:pt x="1104" y="30"/>
                  <a:pt x="1104" y="30"/>
                  <a:pt x="1104" y="29"/>
                </a:cubicBezTo>
                <a:cubicBezTo>
                  <a:pt x="1104" y="29"/>
                  <a:pt x="1104" y="29"/>
                  <a:pt x="1104" y="30"/>
                </a:cubicBezTo>
                <a:cubicBezTo>
                  <a:pt x="1103" y="29"/>
                  <a:pt x="1103" y="29"/>
                  <a:pt x="1102" y="29"/>
                </a:cubicBezTo>
                <a:cubicBezTo>
                  <a:pt x="1102" y="29"/>
                  <a:pt x="1101" y="29"/>
                  <a:pt x="1101" y="29"/>
                </a:cubicBezTo>
                <a:cubicBezTo>
                  <a:pt x="1101" y="30"/>
                  <a:pt x="1100" y="30"/>
                  <a:pt x="1100" y="30"/>
                </a:cubicBezTo>
                <a:cubicBezTo>
                  <a:pt x="1100" y="30"/>
                  <a:pt x="1100" y="30"/>
                  <a:pt x="1100" y="30"/>
                </a:cubicBezTo>
                <a:cubicBezTo>
                  <a:pt x="1100" y="30"/>
                  <a:pt x="1101" y="30"/>
                  <a:pt x="1101" y="31"/>
                </a:cubicBezTo>
                <a:cubicBezTo>
                  <a:pt x="1101" y="31"/>
                  <a:pt x="1102" y="31"/>
                  <a:pt x="1102" y="31"/>
                </a:cubicBezTo>
                <a:cubicBezTo>
                  <a:pt x="1102" y="31"/>
                  <a:pt x="1103" y="31"/>
                  <a:pt x="1103" y="31"/>
                </a:cubicBezTo>
                <a:cubicBezTo>
                  <a:pt x="1103" y="31"/>
                  <a:pt x="1104" y="31"/>
                  <a:pt x="1104" y="31"/>
                </a:cubicBezTo>
                <a:close/>
                <a:moveTo>
                  <a:pt x="1106" y="34"/>
                </a:moveTo>
                <a:cubicBezTo>
                  <a:pt x="1106" y="34"/>
                  <a:pt x="1105" y="34"/>
                  <a:pt x="1105" y="34"/>
                </a:cubicBezTo>
                <a:cubicBezTo>
                  <a:pt x="1105" y="34"/>
                  <a:pt x="1104" y="34"/>
                  <a:pt x="1104" y="33"/>
                </a:cubicBezTo>
                <a:cubicBezTo>
                  <a:pt x="1104" y="34"/>
                  <a:pt x="1104" y="34"/>
                  <a:pt x="1104" y="34"/>
                </a:cubicBezTo>
                <a:cubicBezTo>
                  <a:pt x="1104" y="34"/>
                  <a:pt x="1104" y="34"/>
                  <a:pt x="1104" y="34"/>
                </a:cubicBezTo>
                <a:cubicBezTo>
                  <a:pt x="1104" y="34"/>
                  <a:pt x="1106" y="35"/>
                  <a:pt x="1106" y="35"/>
                </a:cubicBezTo>
                <a:cubicBezTo>
                  <a:pt x="1106" y="35"/>
                  <a:pt x="1106" y="34"/>
                  <a:pt x="1106" y="34"/>
                </a:cubicBezTo>
                <a:close/>
                <a:moveTo>
                  <a:pt x="1103" y="37"/>
                </a:moveTo>
                <a:cubicBezTo>
                  <a:pt x="1103" y="38"/>
                  <a:pt x="1103" y="38"/>
                  <a:pt x="1104" y="38"/>
                </a:cubicBezTo>
                <a:cubicBezTo>
                  <a:pt x="1104" y="38"/>
                  <a:pt x="1104" y="38"/>
                  <a:pt x="1104" y="38"/>
                </a:cubicBezTo>
                <a:cubicBezTo>
                  <a:pt x="1104" y="38"/>
                  <a:pt x="1104" y="38"/>
                  <a:pt x="1104" y="38"/>
                </a:cubicBezTo>
                <a:cubicBezTo>
                  <a:pt x="1104" y="37"/>
                  <a:pt x="1104" y="37"/>
                  <a:pt x="1104" y="37"/>
                </a:cubicBezTo>
                <a:cubicBezTo>
                  <a:pt x="1104" y="37"/>
                  <a:pt x="1103" y="37"/>
                  <a:pt x="1103" y="37"/>
                </a:cubicBezTo>
                <a:cubicBezTo>
                  <a:pt x="1103" y="37"/>
                  <a:pt x="1103" y="37"/>
                  <a:pt x="1103" y="37"/>
                </a:cubicBezTo>
                <a:close/>
                <a:moveTo>
                  <a:pt x="1618" y="320"/>
                </a:moveTo>
                <a:cubicBezTo>
                  <a:pt x="1618" y="321"/>
                  <a:pt x="1618" y="321"/>
                  <a:pt x="1618" y="322"/>
                </a:cubicBezTo>
                <a:cubicBezTo>
                  <a:pt x="1618" y="322"/>
                  <a:pt x="1618" y="323"/>
                  <a:pt x="1618" y="323"/>
                </a:cubicBezTo>
                <a:cubicBezTo>
                  <a:pt x="1618" y="323"/>
                  <a:pt x="1618" y="324"/>
                  <a:pt x="1618" y="324"/>
                </a:cubicBezTo>
                <a:cubicBezTo>
                  <a:pt x="1618" y="324"/>
                  <a:pt x="1618" y="324"/>
                  <a:pt x="1618" y="325"/>
                </a:cubicBezTo>
                <a:cubicBezTo>
                  <a:pt x="1618" y="325"/>
                  <a:pt x="1618" y="326"/>
                  <a:pt x="1618" y="327"/>
                </a:cubicBezTo>
                <a:cubicBezTo>
                  <a:pt x="1618" y="327"/>
                  <a:pt x="1618" y="328"/>
                  <a:pt x="1618" y="328"/>
                </a:cubicBezTo>
                <a:cubicBezTo>
                  <a:pt x="1619" y="328"/>
                  <a:pt x="1619" y="329"/>
                  <a:pt x="1619" y="329"/>
                </a:cubicBezTo>
                <a:cubicBezTo>
                  <a:pt x="1619" y="329"/>
                  <a:pt x="1619" y="329"/>
                  <a:pt x="1619" y="329"/>
                </a:cubicBezTo>
                <a:cubicBezTo>
                  <a:pt x="1619" y="329"/>
                  <a:pt x="1619" y="329"/>
                  <a:pt x="1619" y="329"/>
                </a:cubicBezTo>
                <a:cubicBezTo>
                  <a:pt x="1619" y="330"/>
                  <a:pt x="1620" y="331"/>
                  <a:pt x="1621" y="332"/>
                </a:cubicBezTo>
                <a:cubicBezTo>
                  <a:pt x="1621" y="332"/>
                  <a:pt x="1621" y="332"/>
                  <a:pt x="1622" y="333"/>
                </a:cubicBezTo>
                <a:cubicBezTo>
                  <a:pt x="1622" y="333"/>
                  <a:pt x="1622" y="334"/>
                  <a:pt x="1622" y="334"/>
                </a:cubicBezTo>
                <a:cubicBezTo>
                  <a:pt x="1622" y="335"/>
                  <a:pt x="1622" y="335"/>
                  <a:pt x="1622" y="335"/>
                </a:cubicBezTo>
                <a:cubicBezTo>
                  <a:pt x="1622" y="336"/>
                  <a:pt x="1622" y="336"/>
                  <a:pt x="1622" y="336"/>
                </a:cubicBezTo>
                <a:cubicBezTo>
                  <a:pt x="1622" y="337"/>
                  <a:pt x="1622" y="337"/>
                  <a:pt x="1622" y="338"/>
                </a:cubicBezTo>
                <a:cubicBezTo>
                  <a:pt x="1622" y="338"/>
                  <a:pt x="1622" y="338"/>
                  <a:pt x="1622" y="338"/>
                </a:cubicBezTo>
                <a:cubicBezTo>
                  <a:pt x="1622" y="339"/>
                  <a:pt x="1622" y="339"/>
                  <a:pt x="1623" y="339"/>
                </a:cubicBezTo>
                <a:cubicBezTo>
                  <a:pt x="1623" y="339"/>
                  <a:pt x="1623" y="340"/>
                  <a:pt x="1623" y="340"/>
                </a:cubicBezTo>
                <a:cubicBezTo>
                  <a:pt x="1623" y="340"/>
                  <a:pt x="1623" y="340"/>
                  <a:pt x="1623" y="340"/>
                </a:cubicBezTo>
                <a:cubicBezTo>
                  <a:pt x="1623" y="340"/>
                  <a:pt x="1623" y="341"/>
                  <a:pt x="1623" y="341"/>
                </a:cubicBezTo>
                <a:cubicBezTo>
                  <a:pt x="1623" y="341"/>
                  <a:pt x="1623" y="342"/>
                  <a:pt x="1623" y="342"/>
                </a:cubicBezTo>
                <a:cubicBezTo>
                  <a:pt x="1623" y="343"/>
                  <a:pt x="1623" y="343"/>
                  <a:pt x="1623" y="343"/>
                </a:cubicBezTo>
                <a:cubicBezTo>
                  <a:pt x="1623" y="344"/>
                  <a:pt x="1623" y="344"/>
                  <a:pt x="1624" y="344"/>
                </a:cubicBezTo>
                <a:cubicBezTo>
                  <a:pt x="1623" y="345"/>
                  <a:pt x="1623" y="345"/>
                  <a:pt x="1623" y="346"/>
                </a:cubicBezTo>
                <a:cubicBezTo>
                  <a:pt x="1623" y="346"/>
                  <a:pt x="1623" y="346"/>
                  <a:pt x="1623" y="346"/>
                </a:cubicBezTo>
                <a:cubicBezTo>
                  <a:pt x="1623" y="347"/>
                  <a:pt x="1623" y="347"/>
                  <a:pt x="1623" y="347"/>
                </a:cubicBezTo>
                <a:cubicBezTo>
                  <a:pt x="1623" y="347"/>
                  <a:pt x="1623" y="348"/>
                  <a:pt x="1623" y="348"/>
                </a:cubicBezTo>
                <a:cubicBezTo>
                  <a:pt x="1623" y="349"/>
                  <a:pt x="1623" y="349"/>
                  <a:pt x="1623" y="350"/>
                </a:cubicBezTo>
                <a:cubicBezTo>
                  <a:pt x="1623" y="350"/>
                  <a:pt x="1623" y="350"/>
                  <a:pt x="1622" y="350"/>
                </a:cubicBezTo>
                <a:cubicBezTo>
                  <a:pt x="1622" y="351"/>
                  <a:pt x="1622" y="351"/>
                  <a:pt x="1622" y="351"/>
                </a:cubicBezTo>
                <a:cubicBezTo>
                  <a:pt x="1623" y="352"/>
                  <a:pt x="1623" y="352"/>
                  <a:pt x="1623" y="352"/>
                </a:cubicBezTo>
                <a:cubicBezTo>
                  <a:pt x="1623" y="353"/>
                  <a:pt x="1624" y="354"/>
                  <a:pt x="1624" y="355"/>
                </a:cubicBezTo>
                <a:cubicBezTo>
                  <a:pt x="1624" y="355"/>
                  <a:pt x="1624" y="355"/>
                  <a:pt x="1624" y="355"/>
                </a:cubicBezTo>
                <a:cubicBezTo>
                  <a:pt x="1624" y="356"/>
                  <a:pt x="1624" y="356"/>
                  <a:pt x="1624" y="356"/>
                </a:cubicBezTo>
                <a:cubicBezTo>
                  <a:pt x="1624" y="357"/>
                  <a:pt x="1624" y="357"/>
                  <a:pt x="1624" y="358"/>
                </a:cubicBezTo>
                <a:cubicBezTo>
                  <a:pt x="1624" y="358"/>
                  <a:pt x="1623" y="359"/>
                  <a:pt x="1623" y="359"/>
                </a:cubicBezTo>
                <a:cubicBezTo>
                  <a:pt x="1624" y="360"/>
                  <a:pt x="1624" y="360"/>
                  <a:pt x="1624" y="360"/>
                </a:cubicBezTo>
                <a:cubicBezTo>
                  <a:pt x="1624" y="361"/>
                  <a:pt x="1624" y="361"/>
                  <a:pt x="1624" y="361"/>
                </a:cubicBezTo>
                <a:cubicBezTo>
                  <a:pt x="1624" y="362"/>
                  <a:pt x="1624" y="362"/>
                  <a:pt x="1625" y="363"/>
                </a:cubicBezTo>
                <a:cubicBezTo>
                  <a:pt x="1625" y="363"/>
                  <a:pt x="1625" y="363"/>
                  <a:pt x="1625" y="364"/>
                </a:cubicBezTo>
                <a:cubicBezTo>
                  <a:pt x="1624" y="364"/>
                  <a:pt x="1624" y="364"/>
                  <a:pt x="1624" y="365"/>
                </a:cubicBezTo>
                <a:cubicBezTo>
                  <a:pt x="1624" y="365"/>
                  <a:pt x="1623" y="365"/>
                  <a:pt x="1623" y="366"/>
                </a:cubicBezTo>
                <a:cubicBezTo>
                  <a:pt x="1623" y="366"/>
                  <a:pt x="1623" y="367"/>
                  <a:pt x="1623" y="367"/>
                </a:cubicBezTo>
                <a:cubicBezTo>
                  <a:pt x="1623" y="367"/>
                  <a:pt x="1624" y="368"/>
                  <a:pt x="1624" y="368"/>
                </a:cubicBezTo>
                <a:cubicBezTo>
                  <a:pt x="1624" y="368"/>
                  <a:pt x="1624" y="369"/>
                  <a:pt x="1624" y="369"/>
                </a:cubicBezTo>
                <a:cubicBezTo>
                  <a:pt x="1625" y="370"/>
                  <a:pt x="1625" y="370"/>
                  <a:pt x="1625" y="370"/>
                </a:cubicBezTo>
                <a:cubicBezTo>
                  <a:pt x="1626" y="370"/>
                  <a:pt x="1626" y="370"/>
                  <a:pt x="1626" y="369"/>
                </a:cubicBezTo>
                <a:cubicBezTo>
                  <a:pt x="1626" y="369"/>
                  <a:pt x="1626" y="369"/>
                  <a:pt x="1626" y="369"/>
                </a:cubicBezTo>
                <a:cubicBezTo>
                  <a:pt x="1626" y="369"/>
                  <a:pt x="1626" y="368"/>
                  <a:pt x="1626" y="368"/>
                </a:cubicBezTo>
                <a:cubicBezTo>
                  <a:pt x="1626" y="368"/>
                  <a:pt x="1626" y="367"/>
                  <a:pt x="1626" y="367"/>
                </a:cubicBezTo>
                <a:cubicBezTo>
                  <a:pt x="1626" y="367"/>
                  <a:pt x="1626" y="366"/>
                  <a:pt x="1627" y="366"/>
                </a:cubicBezTo>
                <a:cubicBezTo>
                  <a:pt x="1627" y="366"/>
                  <a:pt x="1627" y="366"/>
                  <a:pt x="1628" y="366"/>
                </a:cubicBezTo>
                <a:cubicBezTo>
                  <a:pt x="1628" y="366"/>
                  <a:pt x="1628" y="366"/>
                  <a:pt x="1628" y="366"/>
                </a:cubicBezTo>
                <a:cubicBezTo>
                  <a:pt x="1628" y="366"/>
                  <a:pt x="1628" y="367"/>
                  <a:pt x="1628" y="367"/>
                </a:cubicBezTo>
                <a:cubicBezTo>
                  <a:pt x="1628" y="367"/>
                  <a:pt x="1628" y="367"/>
                  <a:pt x="1629" y="367"/>
                </a:cubicBezTo>
                <a:cubicBezTo>
                  <a:pt x="1629" y="367"/>
                  <a:pt x="1630" y="368"/>
                  <a:pt x="1631" y="368"/>
                </a:cubicBezTo>
                <a:cubicBezTo>
                  <a:pt x="1631" y="368"/>
                  <a:pt x="1631" y="368"/>
                  <a:pt x="1631" y="368"/>
                </a:cubicBezTo>
                <a:cubicBezTo>
                  <a:pt x="1631" y="368"/>
                  <a:pt x="1631" y="368"/>
                  <a:pt x="1631" y="368"/>
                </a:cubicBezTo>
                <a:cubicBezTo>
                  <a:pt x="1632" y="368"/>
                  <a:pt x="1632" y="368"/>
                  <a:pt x="1632" y="368"/>
                </a:cubicBezTo>
                <a:cubicBezTo>
                  <a:pt x="1632" y="368"/>
                  <a:pt x="1631" y="368"/>
                  <a:pt x="1631" y="368"/>
                </a:cubicBezTo>
                <a:cubicBezTo>
                  <a:pt x="1631" y="369"/>
                  <a:pt x="1631" y="369"/>
                  <a:pt x="1631" y="369"/>
                </a:cubicBezTo>
                <a:cubicBezTo>
                  <a:pt x="1631" y="369"/>
                  <a:pt x="1632" y="370"/>
                  <a:pt x="1632" y="370"/>
                </a:cubicBezTo>
                <a:cubicBezTo>
                  <a:pt x="1632" y="370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3" y="370"/>
                  <a:pt x="1633" y="370"/>
                  <a:pt x="1633" y="370"/>
                </a:cubicBezTo>
                <a:cubicBezTo>
                  <a:pt x="1633" y="370"/>
                  <a:pt x="1633" y="369"/>
                  <a:pt x="1633" y="369"/>
                </a:cubicBezTo>
                <a:cubicBezTo>
                  <a:pt x="1633" y="369"/>
                  <a:pt x="1633" y="368"/>
                  <a:pt x="1632" y="368"/>
                </a:cubicBezTo>
                <a:cubicBezTo>
                  <a:pt x="1632" y="368"/>
                  <a:pt x="1632" y="367"/>
                  <a:pt x="1632" y="367"/>
                </a:cubicBezTo>
                <a:cubicBezTo>
                  <a:pt x="1632" y="367"/>
                  <a:pt x="1632" y="367"/>
                  <a:pt x="1632" y="366"/>
                </a:cubicBezTo>
                <a:cubicBezTo>
                  <a:pt x="1632" y="366"/>
                  <a:pt x="1632" y="366"/>
                  <a:pt x="1632" y="366"/>
                </a:cubicBezTo>
                <a:cubicBezTo>
                  <a:pt x="1631" y="366"/>
                  <a:pt x="1631" y="366"/>
                  <a:pt x="1631" y="366"/>
                </a:cubicBezTo>
                <a:cubicBezTo>
                  <a:pt x="1630" y="366"/>
                  <a:pt x="1630" y="365"/>
                  <a:pt x="1630" y="365"/>
                </a:cubicBezTo>
                <a:cubicBezTo>
                  <a:pt x="1630" y="365"/>
                  <a:pt x="1630" y="364"/>
                  <a:pt x="1630" y="364"/>
                </a:cubicBezTo>
                <a:cubicBezTo>
                  <a:pt x="1630" y="363"/>
                  <a:pt x="1630" y="363"/>
                  <a:pt x="1630" y="363"/>
                </a:cubicBezTo>
                <a:cubicBezTo>
                  <a:pt x="1629" y="362"/>
                  <a:pt x="1629" y="362"/>
                  <a:pt x="1629" y="362"/>
                </a:cubicBezTo>
                <a:cubicBezTo>
                  <a:pt x="1628" y="361"/>
                  <a:pt x="1628" y="361"/>
                  <a:pt x="1628" y="361"/>
                </a:cubicBezTo>
                <a:cubicBezTo>
                  <a:pt x="1628" y="361"/>
                  <a:pt x="1627" y="360"/>
                  <a:pt x="1627" y="360"/>
                </a:cubicBezTo>
                <a:cubicBezTo>
                  <a:pt x="1627" y="360"/>
                  <a:pt x="1627" y="359"/>
                  <a:pt x="1627" y="359"/>
                </a:cubicBezTo>
                <a:cubicBezTo>
                  <a:pt x="1627" y="358"/>
                  <a:pt x="1627" y="358"/>
                  <a:pt x="1627" y="358"/>
                </a:cubicBezTo>
                <a:cubicBezTo>
                  <a:pt x="1627" y="357"/>
                  <a:pt x="1627" y="357"/>
                  <a:pt x="1627" y="357"/>
                </a:cubicBezTo>
                <a:cubicBezTo>
                  <a:pt x="1627" y="356"/>
                  <a:pt x="1627" y="356"/>
                  <a:pt x="1627" y="355"/>
                </a:cubicBezTo>
                <a:cubicBezTo>
                  <a:pt x="1628" y="355"/>
                  <a:pt x="1628" y="355"/>
                  <a:pt x="1628" y="354"/>
                </a:cubicBezTo>
                <a:cubicBezTo>
                  <a:pt x="1628" y="354"/>
                  <a:pt x="1628" y="353"/>
                  <a:pt x="1627" y="353"/>
                </a:cubicBezTo>
                <a:cubicBezTo>
                  <a:pt x="1628" y="353"/>
                  <a:pt x="1628" y="352"/>
                  <a:pt x="1628" y="352"/>
                </a:cubicBezTo>
                <a:cubicBezTo>
                  <a:pt x="1628" y="352"/>
                  <a:pt x="1628" y="352"/>
                  <a:pt x="1628" y="351"/>
                </a:cubicBezTo>
                <a:cubicBezTo>
                  <a:pt x="1628" y="351"/>
                  <a:pt x="1628" y="351"/>
                  <a:pt x="1628" y="350"/>
                </a:cubicBezTo>
                <a:cubicBezTo>
                  <a:pt x="1628" y="350"/>
                  <a:pt x="1628" y="350"/>
                  <a:pt x="1629" y="350"/>
                </a:cubicBezTo>
                <a:cubicBezTo>
                  <a:pt x="1629" y="350"/>
                  <a:pt x="1629" y="350"/>
                  <a:pt x="1629" y="349"/>
                </a:cubicBezTo>
                <a:cubicBezTo>
                  <a:pt x="1629" y="349"/>
                  <a:pt x="1629" y="349"/>
                  <a:pt x="1629" y="349"/>
                </a:cubicBezTo>
                <a:cubicBezTo>
                  <a:pt x="1629" y="349"/>
                  <a:pt x="1630" y="349"/>
                  <a:pt x="1630" y="349"/>
                </a:cubicBezTo>
                <a:cubicBezTo>
                  <a:pt x="1630" y="349"/>
                  <a:pt x="1630" y="349"/>
                  <a:pt x="1630" y="350"/>
                </a:cubicBezTo>
                <a:cubicBezTo>
                  <a:pt x="1631" y="350"/>
                  <a:pt x="1631" y="350"/>
                  <a:pt x="1632" y="350"/>
                </a:cubicBezTo>
                <a:cubicBezTo>
                  <a:pt x="1632" y="350"/>
                  <a:pt x="1632" y="350"/>
                  <a:pt x="1633" y="350"/>
                </a:cubicBezTo>
                <a:cubicBezTo>
                  <a:pt x="1633" y="351"/>
                  <a:pt x="1633" y="351"/>
                  <a:pt x="1634" y="351"/>
                </a:cubicBezTo>
                <a:cubicBezTo>
                  <a:pt x="1634" y="352"/>
                  <a:pt x="1634" y="352"/>
                  <a:pt x="1634" y="353"/>
                </a:cubicBezTo>
                <a:cubicBezTo>
                  <a:pt x="1634" y="353"/>
                  <a:pt x="1635" y="353"/>
                  <a:pt x="1635" y="353"/>
                </a:cubicBezTo>
                <a:cubicBezTo>
                  <a:pt x="1635" y="354"/>
                  <a:pt x="1635" y="354"/>
                  <a:pt x="1636" y="354"/>
                </a:cubicBezTo>
                <a:cubicBezTo>
                  <a:pt x="1636" y="355"/>
                  <a:pt x="1636" y="355"/>
                  <a:pt x="1636" y="355"/>
                </a:cubicBezTo>
                <a:cubicBezTo>
                  <a:pt x="1636" y="356"/>
                  <a:pt x="1637" y="356"/>
                  <a:pt x="1637" y="356"/>
                </a:cubicBezTo>
                <a:cubicBezTo>
                  <a:pt x="1637" y="355"/>
                  <a:pt x="1637" y="355"/>
                  <a:pt x="1637" y="355"/>
                </a:cubicBezTo>
                <a:cubicBezTo>
                  <a:pt x="1636" y="354"/>
                  <a:pt x="1636" y="354"/>
                  <a:pt x="1636" y="353"/>
                </a:cubicBezTo>
                <a:cubicBezTo>
                  <a:pt x="1636" y="353"/>
                  <a:pt x="1635" y="353"/>
                  <a:pt x="1635" y="352"/>
                </a:cubicBezTo>
                <a:cubicBezTo>
                  <a:pt x="1635" y="352"/>
                  <a:pt x="1634" y="351"/>
                  <a:pt x="1634" y="351"/>
                </a:cubicBezTo>
                <a:cubicBezTo>
                  <a:pt x="1634" y="351"/>
                  <a:pt x="1634" y="350"/>
                  <a:pt x="1634" y="350"/>
                </a:cubicBezTo>
                <a:cubicBezTo>
                  <a:pt x="1634" y="350"/>
                  <a:pt x="1634" y="349"/>
                  <a:pt x="1634" y="349"/>
                </a:cubicBezTo>
                <a:cubicBezTo>
                  <a:pt x="1634" y="349"/>
                  <a:pt x="1634" y="349"/>
                  <a:pt x="1634" y="349"/>
                </a:cubicBezTo>
                <a:cubicBezTo>
                  <a:pt x="1633" y="348"/>
                  <a:pt x="1633" y="348"/>
                  <a:pt x="1633" y="347"/>
                </a:cubicBezTo>
                <a:cubicBezTo>
                  <a:pt x="1633" y="347"/>
                  <a:pt x="1633" y="346"/>
                  <a:pt x="1633" y="346"/>
                </a:cubicBezTo>
                <a:cubicBezTo>
                  <a:pt x="1633" y="346"/>
                  <a:pt x="1633" y="346"/>
                  <a:pt x="1632" y="346"/>
                </a:cubicBezTo>
                <a:cubicBezTo>
                  <a:pt x="1632" y="345"/>
                  <a:pt x="1632" y="345"/>
                  <a:pt x="1632" y="345"/>
                </a:cubicBezTo>
                <a:cubicBezTo>
                  <a:pt x="1632" y="344"/>
                  <a:pt x="1632" y="344"/>
                  <a:pt x="1631" y="343"/>
                </a:cubicBezTo>
                <a:cubicBezTo>
                  <a:pt x="1631" y="342"/>
                  <a:pt x="1631" y="342"/>
                  <a:pt x="1631" y="341"/>
                </a:cubicBezTo>
                <a:cubicBezTo>
                  <a:pt x="1631" y="340"/>
                  <a:pt x="1631" y="340"/>
                  <a:pt x="1631" y="340"/>
                </a:cubicBezTo>
                <a:cubicBezTo>
                  <a:pt x="1630" y="339"/>
                  <a:pt x="1630" y="338"/>
                  <a:pt x="1629" y="337"/>
                </a:cubicBezTo>
                <a:cubicBezTo>
                  <a:pt x="1629" y="337"/>
                  <a:pt x="1629" y="336"/>
                  <a:pt x="1629" y="336"/>
                </a:cubicBezTo>
                <a:cubicBezTo>
                  <a:pt x="1629" y="336"/>
                  <a:pt x="1629" y="335"/>
                  <a:pt x="1628" y="335"/>
                </a:cubicBezTo>
                <a:cubicBezTo>
                  <a:pt x="1628" y="335"/>
                  <a:pt x="1629" y="335"/>
                  <a:pt x="1629" y="335"/>
                </a:cubicBezTo>
                <a:cubicBezTo>
                  <a:pt x="1629" y="334"/>
                  <a:pt x="1628" y="334"/>
                  <a:pt x="1628" y="334"/>
                </a:cubicBezTo>
                <a:cubicBezTo>
                  <a:pt x="1628" y="334"/>
                  <a:pt x="1628" y="333"/>
                  <a:pt x="1628" y="333"/>
                </a:cubicBezTo>
                <a:cubicBezTo>
                  <a:pt x="1628" y="333"/>
                  <a:pt x="1628" y="333"/>
                  <a:pt x="1628" y="334"/>
                </a:cubicBezTo>
                <a:cubicBezTo>
                  <a:pt x="1627" y="333"/>
                  <a:pt x="1627" y="333"/>
                  <a:pt x="1627" y="333"/>
                </a:cubicBezTo>
                <a:cubicBezTo>
                  <a:pt x="1627" y="333"/>
                  <a:pt x="1627" y="333"/>
                  <a:pt x="1627" y="333"/>
                </a:cubicBezTo>
                <a:cubicBezTo>
                  <a:pt x="1627" y="333"/>
                  <a:pt x="1627" y="333"/>
                  <a:pt x="1627" y="332"/>
                </a:cubicBezTo>
                <a:cubicBezTo>
                  <a:pt x="1627" y="332"/>
                  <a:pt x="1627" y="332"/>
                  <a:pt x="1627" y="332"/>
                </a:cubicBezTo>
                <a:cubicBezTo>
                  <a:pt x="1627" y="332"/>
                  <a:pt x="1627" y="331"/>
                  <a:pt x="1626" y="331"/>
                </a:cubicBezTo>
                <a:cubicBezTo>
                  <a:pt x="1626" y="331"/>
                  <a:pt x="1626" y="330"/>
                  <a:pt x="1626" y="330"/>
                </a:cubicBezTo>
                <a:cubicBezTo>
                  <a:pt x="1626" y="329"/>
                  <a:pt x="1626" y="329"/>
                  <a:pt x="1626" y="329"/>
                </a:cubicBezTo>
                <a:cubicBezTo>
                  <a:pt x="1625" y="328"/>
                  <a:pt x="1625" y="328"/>
                  <a:pt x="1625" y="328"/>
                </a:cubicBezTo>
                <a:cubicBezTo>
                  <a:pt x="1625" y="328"/>
                  <a:pt x="1625" y="327"/>
                  <a:pt x="1625" y="327"/>
                </a:cubicBezTo>
                <a:cubicBezTo>
                  <a:pt x="1626" y="327"/>
                  <a:pt x="1626" y="327"/>
                  <a:pt x="1626" y="327"/>
                </a:cubicBezTo>
                <a:cubicBezTo>
                  <a:pt x="1626" y="327"/>
                  <a:pt x="1626" y="327"/>
                  <a:pt x="1626" y="327"/>
                </a:cubicBezTo>
                <a:cubicBezTo>
                  <a:pt x="1626" y="327"/>
                  <a:pt x="1626" y="326"/>
                  <a:pt x="1626" y="326"/>
                </a:cubicBezTo>
                <a:cubicBezTo>
                  <a:pt x="1626" y="325"/>
                  <a:pt x="1626" y="325"/>
                  <a:pt x="1626" y="325"/>
                </a:cubicBezTo>
                <a:cubicBezTo>
                  <a:pt x="1626" y="324"/>
                  <a:pt x="1626" y="324"/>
                  <a:pt x="1626" y="324"/>
                </a:cubicBezTo>
                <a:cubicBezTo>
                  <a:pt x="1626" y="324"/>
                  <a:pt x="1626" y="323"/>
                  <a:pt x="1626" y="323"/>
                </a:cubicBezTo>
                <a:cubicBezTo>
                  <a:pt x="1625" y="323"/>
                  <a:pt x="1625" y="322"/>
                  <a:pt x="1625" y="322"/>
                </a:cubicBezTo>
                <a:cubicBezTo>
                  <a:pt x="1625" y="322"/>
                  <a:pt x="1625" y="322"/>
                  <a:pt x="1625" y="321"/>
                </a:cubicBezTo>
                <a:cubicBezTo>
                  <a:pt x="1625" y="321"/>
                  <a:pt x="1625" y="321"/>
                  <a:pt x="1624" y="321"/>
                </a:cubicBezTo>
                <a:cubicBezTo>
                  <a:pt x="1624" y="321"/>
                  <a:pt x="1624" y="321"/>
                  <a:pt x="1625" y="320"/>
                </a:cubicBezTo>
                <a:cubicBezTo>
                  <a:pt x="1625" y="320"/>
                  <a:pt x="1625" y="321"/>
                  <a:pt x="1625" y="321"/>
                </a:cubicBezTo>
                <a:cubicBezTo>
                  <a:pt x="1625" y="321"/>
                  <a:pt x="1625" y="321"/>
                  <a:pt x="1626" y="322"/>
                </a:cubicBezTo>
                <a:cubicBezTo>
                  <a:pt x="1626" y="322"/>
                  <a:pt x="1626" y="322"/>
                  <a:pt x="1626" y="323"/>
                </a:cubicBezTo>
                <a:cubicBezTo>
                  <a:pt x="1626" y="323"/>
                  <a:pt x="1626" y="322"/>
                  <a:pt x="1626" y="322"/>
                </a:cubicBezTo>
                <a:cubicBezTo>
                  <a:pt x="1626" y="321"/>
                  <a:pt x="1626" y="321"/>
                  <a:pt x="1625" y="320"/>
                </a:cubicBezTo>
                <a:cubicBezTo>
                  <a:pt x="1625" y="320"/>
                  <a:pt x="1625" y="319"/>
                  <a:pt x="1625" y="319"/>
                </a:cubicBezTo>
                <a:cubicBezTo>
                  <a:pt x="1624" y="319"/>
                  <a:pt x="1624" y="319"/>
                  <a:pt x="1624" y="319"/>
                </a:cubicBezTo>
                <a:cubicBezTo>
                  <a:pt x="1624" y="318"/>
                  <a:pt x="1624" y="318"/>
                  <a:pt x="1624" y="318"/>
                </a:cubicBezTo>
                <a:cubicBezTo>
                  <a:pt x="1624" y="317"/>
                  <a:pt x="1623" y="317"/>
                  <a:pt x="1622" y="316"/>
                </a:cubicBezTo>
                <a:cubicBezTo>
                  <a:pt x="1622" y="316"/>
                  <a:pt x="1622" y="315"/>
                  <a:pt x="1622" y="315"/>
                </a:cubicBezTo>
                <a:cubicBezTo>
                  <a:pt x="1622" y="315"/>
                  <a:pt x="1622" y="314"/>
                  <a:pt x="1623" y="314"/>
                </a:cubicBezTo>
                <a:cubicBezTo>
                  <a:pt x="1622" y="314"/>
                  <a:pt x="1622" y="313"/>
                  <a:pt x="1622" y="313"/>
                </a:cubicBezTo>
                <a:cubicBezTo>
                  <a:pt x="1622" y="313"/>
                  <a:pt x="1621" y="313"/>
                  <a:pt x="1621" y="312"/>
                </a:cubicBezTo>
                <a:cubicBezTo>
                  <a:pt x="1620" y="312"/>
                  <a:pt x="1620" y="311"/>
                  <a:pt x="1620" y="311"/>
                </a:cubicBezTo>
                <a:cubicBezTo>
                  <a:pt x="1620" y="311"/>
                  <a:pt x="1620" y="311"/>
                  <a:pt x="1620" y="311"/>
                </a:cubicBezTo>
                <a:cubicBezTo>
                  <a:pt x="1620" y="311"/>
                  <a:pt x="1620" y="311"/>
                  <a:pt x="1619" y="311"/>
                </a:cubicBezTo>
                <a:cubicBezTo>
                  <a:pt x="1620" y="311"/>
                  <a:pt x="1620" y="311"/>
                  <a:pt x="1620" y="311"/>
                </a:cubicBezTo>
                <a:cubicBezTo>
                  <a:pt x="1620" y="311"/>
                  <a:pt x="1620" y="311"/>
                  <a:pt x="1620" y="312"/>
                </a:cubicBezTo>
                <a:cubicBezTo>
                  <a:pt x="1619" y="312"/>
                  <a:pt x="1619" y="312"/>
                  <a:pt x="1619" y="312"/>
                </a:cubicBezTo>
                <a:cubicBezTo>
                  <a:pt x="1619" y="311"/>
                  <a:pt x="1618" y="311"/>
                  <a:pt x="1618" y="311"/>
                </a:cubicBezTo>
                <a:cubicBezTo>
                  <a:pt x="1618" y="311"/>
                  <a:pt x="1618" y="311"/>
                  <a:pt x="1617" y="311"/>
                </a:cubicBezTo>
                <a:cubicBezTo>
                  <a:pt x="1618" y="311"/>
                  <a:pt x="1618" y="312"/>
                  <a:pt x="1618" y="312"/>
                </a:cubicBezTo>
                <a:cubicBezTo>
                  <a:pt x="1619" y="313"/>
                  <a:pt x="1619" y="313"/>
                  <a:pt x="1620" y="314"/>
                </a:cubicBezTo>
                <a:cubicBezTo>
                  <a:pt x="1620" y="314"/>
                  <a:pt x="1620" y="314"/>
                  <a:pt x="1620" y="314"/>
                </a:cubicBezTo>
                <a:cubicBezTo>
                  <a:pt x="1620" y="315"/>
                  <a:pt x="1620" y="315"/>
                  <a:pt x="1620" y="315"/>
                </a:cubicBezTo>
                <a:cubicBezTo>
                  <a:pt x="1620" y="315"/>
                  <a:pt x="1620" y="315"/>
                  <a:pt x="1620" y="315"/>
                </a:cubicBezTo>
                <a:cubicBezTo>
                  <a:pt x="1621" y="315"/>
                  <a:pt x="1621" y="315"/>
                  <a:pt x="1621" y="315"/>
                </a:cubicBezTo>
                <a:cubicBezTo>
                  <a:pt x="1621" y="315"/>
                  <a:pt x="1621" y="315"/>
                  <a:pt x="1621" y="316"/>
                </a:cubicBezTo>
                <a:cubicBezTo>
                  <a:pt x="1621" y="316"/>
                  <a:pt x="1621" y="316"/>
                  <a:pt x="1621" y="316"/>
                </a:cubicBezTo>
                <a:cubicBezTo>
                  <a:pt x="1620" y="316"/>
                  <a:pt x="1620" y="316"/>
                  <a:pt x="1620" y="316"/>
                </a:cubicBezTo>
                <a:cubicBezTo>
                  <a:pt x="1620" y="316"/>
                  <a:pt x="1620" y="316"/>
                  <a:pt x="1620" y="316"/>
                </a:cubicBezTo>
                <a:cubicBezTo>
                  <a:pt x="1620" y="316"/>
                  <a:pt x="1620" y="316"/>
                  <a:pt x="1621" y="317"/>
                </a:cubicBezTo>
                <a:cubicBezTo>
                  <a:pt x="1621" y="317"/>
                  <a:pt x="1621" y="317"/>
                  <a:pt x="1621" y="317"/>
                </a:cubicBezTo>
                <a:cubicBezTo>
                  <a:pt x="1620" y="317"/>
                  <a:pt x="1620" y="317"/>
                  <a:pt x="1620" y="317"/>
                </a:cubicBezTo>
                <a:cubicBezTo>
                  <a:pt x="1619" y="317"/>
                  <a:pt x="1619" y="317"/>
                  <a:pt x="1619" y="317"/>
                </a:cubicBezTo>
                <a:cubicBezTo>
                  <a:pt x="1619" y="317"/>
                  <a:pt x="1619" y="316"/>
                  <a:pt x="1618" y="316"/>
                </a:cubicBezTo>
                <a:cubicBezTo>
                  <a:pt x="1618" y="316"/>
                  <a:pt x="1618" y="316"/>
                  <a:pt x="1618" y="316"/>
                </a:cubicBezTo>
                <a:cubicBezTo>
                  <a:pt x="1617" y="317"/>
                  <a:pt x="1617" y="317"/>
                  <a:pt x="1617" y="317"/>
                </a:cubicBezTo>
                <a:cubicBezTo>
                  <a:pt x="1617" y="317"/>
                  <a:pt x="1617" y="318"/>
                  <a:pt x="1617" y="318"/>
                </a:cubicBezTo>
                <a:cubicBezTo>
                  <a:pt x="1617" y="318"/>
                  <a:pt x="1617" y="319"/>
                  <a:pt x="1617" y="319"/>
                </a:cubicBezTo>
                <a:cubicBezTo>
                  <a:pt x="1617" y="319"/>
                  <a:pt x="1618" y="320"/>
                  <a:pt x="1618" y="320"/>
                </a:cubicBezTo>
                <a:close/>
                <a:moveTo>
                  <a:pt x="1089" y="41"/>
                </a:moveTo>
                <a:cubicBezTo>
                  <a:pt x="1089" y="41"/>
                  <a:pt x="1089" y="41"/>
                  <a:pt x="1089" y="41"/>
                </a:cubicBezTo>
                <a:cubicBezTo>
                  <a:pt x="1089" y="41"/>
                  <a:pt x="1090" y="41"/>
                  <a:pt x="1090" y="41"/>
                </a:cubicBezTo>
                <a:cubicBezTo>
                  <a:pt x="1090" y="42"/>
                  <a:pt x="1090" y="42"/>
                  <a:pt x="1090" y="42"/>
                </a:cubicBezTo>
                <a:cubicBezTo>
                  <a:pt x="1090" y="42"/>
                  <a:pt x="1091" y="42"/>
                  <a:pt x="1091" y="42"/>
                </a:cubicBezTo>
                <a:cubicBezTo>
                  <a:pt x="1092" y="42"/>
                  <a:pt x="1092" y="42"/>
                  <a:pt x="1092" y="42"/>
                </a:cubicBezTo>
                <a:cubicBezTo>
                  <a:pt x="1093" y="42"/>
                  <a:pt x="1093" y="42"/>
                  <a:pt x="1094" y="42"/>
                </a:cubicBezTo>
                <a:cubicBezTo>
                  <a:pt x="1094" y="42"/>
                  <a:pt x="1094" y="42"/>
                  <a:pt x="1095" y="42"/>
                </a:cubicBezTo>
                <a:cubicBezTo>
                  <a:pt x="1094" y="41"/>
                  <a:pt x="1094" y="41"/>
                  <a:pt x="1094" y="41"/>
                </a:cubicBezTo>
                <a:cubicBezTo>
                  <a:pt x="1094" y="41"/>
                  <a:pt x="1093" y="41"/>
                  <a:pt x="1093" y="41"/>
                </a:cubicBezTo>
                <a:cubicBezTo>
                  <a:pt x="1093" y="40"/>
                  <a:pt x="1093" y="40"/>
                  <a:pt x="1093" y="40"/>
                </a:cubicBezTo>
                <a:cubicBezTo>
                  <a:pt x="1092" y="40"/>
                  <a:pt x="1092" y="39"/>
                  <a:pt x="1092" y="39"/>
                </a:cubicBezTo>
                <a:cubicBezTo>
                  <a:pt x="1091" y="39"/>
                  <a:pt x="1091" y="39"/>
                  <a:pt x="1091" y="39"/>
                </a:cubicBezTo>
                <a:cubicBezTo>
                  <a:pt x="1091" y="39"/>
                  <a:pt x="1091" y="40"/>
                  <a:pt x="1091" y="40"/>
                </a:cubicBezTo>
                <a:cubicBezTo>
                  <a:pt x="1091" y="40"/>
                  <a:pt x="1091" y="41"/>
                  <a:pt x="1091" y="41"/>
                </a:cubicBezTo>
                <a:cubicBezTo>
                  <a:pt x="1090" y="41"/>
                  <a:pt x="1090" y="41"/>
                  <a:pt x="1089" y="41"/>
                </a:cubicBezTo>
                <a:close/>
                <a:moveTo>
                  <a:pt x="1098" y="38"/>
                </a:moveTo>
                <a:cubicBezTo>
                  <a:pt x="1098" y="38"/>
                  <a:pt x="1098" y="39"/>
                  <a:pt x="1099" y="39"/>
                </a:cubicBezTo>
                <a:cubicBezTo>
                  <a:pt x="1099" y="39"/>
                  <a:pt x="1100" y="39"/>
                  <a:pt x="1100" y="39"/>
                </a:cubicBezTo>
                <a:cubicBezTo>
                  <a:pt x="1101" y="39"/>
                  <a:pt x="1101" y="39"/>
                  <a:pt x="1102" y="39"/>
                </a:cubicBezTo>
                <a:cubicBezTo>
                  <a:pt x="1102" y="38"/>
                  <a:pt x="1102" y="38"/>
                  <a:pt x="1102" y="38"/>
                </a:cubicBezTo>
                <a:cubicBezTo>
                  <a:pt x="1102" y="38"/>
                  <a:pt x="1102" y="37"/>
                  <a:pt x="1102" y="37"/>
                </a:cubicBezTo>
                <a:cubicBezTo>
                  <a:pt x="1102" y="37"/>
                  <a:pt x="1101" y="37"/>
                  <a:pt x="1101" y="37"/>
                </a:cubicBezTo>
                <a:cubicBezTo>
                  <a:pt x="1101" y="37"/>
                  <a:pt x="1101" y="37"/>
                  <a:pt x="1100" y="36"/>
                </a:cubicBezTo>
                <a:cubicBezTo>
                  <a:pt x="1100" y="36"/>
                  <a:pt x="1100" y="36"/>
                  <a:pt x="1099" y="36"/>
                </a:cubicBezTo>
                <a:cubicBezTo>
                  <a:pt x="1099" y="37"/>
                  <a:pt x="1099" y="37"/>
                  <a:pt x="1099" y="37"/>
                </a:cubicBezTo>
                <a:cubicBezTo>
                  <a:pt x="1099" y="37"/>
                  <a:pt x="1099" y="37"/>
                  <a:pt x="1099" y="37"/>
                </a:cubicBezTo>
                <a:cubicBezTo>
                  <a:pt x="1099" y="38"/>
                  <a:pt x="1099" y="38"/>
                  <a:pt x="1099" y="38"/>
                </a:cubicBezTo>
                <a:cubicBezTo>
                  <a:pt x="1099" y="38"/>
                  <a:pt x="1098" y="38"/>
                  <a:pt x="1098" y="38"/>
                </a:cubicBezTo>
                <a:close/>
                <a:moveTo>
                  <a:pt x="1089" y="38"/>
                </a:moveTo>
                <a:cubicBezTo>
                  <a:pt x="1089" y="38"/>
                  <a:pt x="1089" y="38"/>
                  <a:pt x="1088" y="38"/>
                </a:cubicBezTo>
                <a:cubicBezTo>
                  <a:pt x="1088" y="38"/>
                  <a:pt x="1087" y="37"/>
                  <a:pt x="1087" y="37"/>
                </a:cubicBezTo>
                <a:cubicBezTo>
                  <a:pt x="1087" y="38"/>
                  <a:pt x="1087" y="38"/>
                  <a:pt x="1087" y="38"/>
                </a:cubicBezTo>
                <a:cubicBezTo>
                  <a:pt x="1087" y="38"/>
                  <a:pt x="1086" y="38"/>
                  <a:pt x="1086" y="39"/>
                </a:cubicBezTo>
                <a:cubicBezTo>
                  <a:pt x="1087" y="39"/>
                  <a:pt x="1087" y="39"/>
                  <a:pt x="1087" y="39"/>
                </a:cubicBezTo>
                <a:cubicBezTo>
                  <a:pt x="1087" y="40"/>
                  <a:pt x="1088" y="40"/>
                  <a:pt x="1088" y="40"/>
                </a:cubicBezTo>
                <a:cubicBezTo>
                  <a:pt x="1089" y="40"/>
                  <a:pt x="1089" y="40"/>
                  <a:pt x="1089" y="39"/>
                </a:cubicBezTo>
                <a:cubicBezTo>
                  <a:pt x="1089" y="39"/>
                  <a:pt x="1089" y="39"/>
                  <a:pt x="1089" y="39"/>
                </a:cubicBezTo>
                <a:cubicBezTo>
                  <a:pt x="1089" y="39"/>
                  <a:pt x="1089" y="38"/>
                  <a:pt x="1089" y="38"/>
                </a:cubicBezTo>
                <a:close/>
                <a:moveTo>
                  <a:pt x="1100" y="35"/>
                </a:moveTo>
                <a:cubicBezTo>
                  <a:pt x="1100" y="35"/>
                  <a:pt x="1101" y="35"/>
                  <a:pt x="1101" y="35"/>
                </a:cubicBezTo>
                <a:cubicBezTo>
                  <a:pt x="1101" y="35"/>
                  <a:pt x="1100" y="35"/>
                  <a:pt x="1100" y="34"/>
                </a:cubicBezTo>
                <a:cubicBezTo>
                  <a:pt x="1100" y="34"/>
                  <a:pt x="1100" y="34"/>
                  <a:pt x="1100" y="33"/>
                </a:cubicBezTo>
                <a:cubicBezTo>
                  <a:pt x="1100" y="33"/>
                  <a:pt x="1100" y="33"/>
                  <a:pt x="1099" y="33"/>
                </a:cubicBezTo>
                <a:cubicBezTo>
                  <a:pt x="1099" y="33"/>
                  <a:pt x="1099" y="34"/>
                  <a:pt x="1099" y="34"/>
                </a:cubicBezTo>
                <a:cubicBezTo>
                  <a:pt x="1099" y="34"/>
                  <a:pt x="1099" y="34"/>
                  <a:pt x="1099" y="34"/>
                </a:cubicBezTo>
                <a:cubicBezTo>
                  <a:pt x="1099" y="35"/>
                  <a:pt x="1099" y="35"/>
                  <a:pt x="1099" y="35"/>
                </a:cubicBezTo>
                <a:cubicBezTo>
                  <a:pt x="1099" y="35"/>
                  <a:pt x="1100" y="35"/>
                  <a:pt x="1100" y="35"/>
                </a:cubicBezTo>
                <a:close/>
                <a:moveTo>
                  <a:pt x="1113" y="21"/>
                </a:moveTo>
                <a:cubicBezTo>
                  <a:pt x="1114" y="21"/>
                  <a:pt x="1114" y="21"/>
                  <a:pt x="1114" y="21"/>
                </a:cubicBezTo>
                <a:cubicBezTo>
                  <a:pt x="1114" y="21"/>
                  <a:pt x="1114" y="21"/>
                  <a:pt x="1114" y="21"/>
                </a:cubicBezTo>
                <a:cubicBezTo>
                  <a:pt x="1114" y="21"/>
                  <a:pt x="1114" y="20"/>
                  <a:pt x="1114" y="20"/>
                </a:cubicBezTo>
                <a:cubicBezTo>
                  <a:pt x="1114" y="20"/>
                  <a:pt x="1114" y="20"/>
                  <a:pt x="1113" y="20"/>
                </a:cubicBezTo>
                <a:cubicBezTo>
                  <a:pt x="1113" y="20"/>
                  <a:pt x="1113" y="20"/>
                  <a:pt x="1113" y="20"/>
                </a:cubicBezTo>
                <a:cubicBezTo>
                  <a:pt x="1113" y="20"/>
                  <a:pt x="1112" y="20"/>
                  <a:pt x="1112" y="20"/>
                </a:cubicBezTo>
                <a:cubicBezTo>
                  <a:pt x="1112" y="21"/>
                  <a:pt x="1112" y="21"/>
                  <a:pt x="1112" y="21"/>
                </a:cubicBezTo>
                <a:cubicBezTo>
                  <a:pt x="1113" y="21"/>
                  <a:pt x="1113" y="21"/>
                  <a:pt x="1113" y="21"/>
                </a:cubicBezTo>
                <a:close/>
                <a:moveTo>
                  <a:pt x="1086" y="27"/>
                </a:moveTo>
                <a:cubicBezTo>
                  <a:pt x="1086" y="26"/>
                  <a:pt x="1086" y="26"/>
                  <a:pt x="1086" y="26"/>
                </a:cubicBezTo>
                <a:cubicBezTo>
                  <a:pt x="1086" y="26"/>
                  <a:pt x="1086" y="26"/>
                  <a:pt x="1086" y="26"/>
                </a:cubicBezTo>
                <a:cubicBezTo>
                  <a:pt x="1086" y="25"/>
                  <a:pt x="1086" y="25"/>
                  <a:pt x="1086" y="25"/>
                </a:cubicBezTo>
                <a:cubicBezTo>
                  <a:pt x="1086" y="25"/>
                  <a:pt x="1085" y="25"/>
                  <a:pt x="1085" y="25"/>
                </a:cubicBezTo>
                <a:cubicBezTo>
                  <a:pt x="1085" y="25"/>
                  <a:pt x="1085" y="25"/>
                  <a:pt x="1084" y="25"/>
                </a:cubicBezTo>
                <a:cubicBezTo>
                  <a:pt x="1084" y="26"/>
                  <a:pt x="1084" y="26"/>
                  <a:pt x="1084" y="26"/>
                </a:cubicBezTo>
                <a:cubicBezTo>
                  <a:pt x="1084" y="26"/>
                  <a:pt x="1084" y="26"/>
                  <a:pt x="1084" y="26"/>
                </a:cubicBezTo>
                <a:cubicBezTo>
                  <a:pt x="1085" y="26"/>
                  <a:pt x="1085" y="27"/>
                  <a:pt x="1086" y="27"/>
                </a:cubicBezTo>
                <a:close/>
                <a:moveTo>
                  <a:pt x="1079" y="34"/>
                </a:moveTo>
                <a:cubicBezTo>
                  <a:pt x="1079" y="34"/>
                  <a:pt x="1078" y="34"/>
                  <a:pt x="1078" y="34"/>
                </a:cubicBezTo>
                <a:cubicBezTo>
                  <a:pt x="1078" y="34"/>
                  <a:pt x="1077" y="34"/>
                  <a:pt x="1077" y="34"/>
                </a:cubicBezTo>
                <a:cubicBezTo>
                  <a:pt x="1077" y="34"/>
                  <a:pt x="1076" y="33"/>
                  <a:pt x="1076" y="33"/>
                </a:cubicBezTo>
                <a:cubicBezTo>
                  <a:pt x="1076" y="33"/>
                  <a:pt x="1075" y="33"/>
                  <a:pt x="1075" y="33"/>
                </a:cubicBezTo>
                <a:cubicBezTo>
                  <a:pt x="1075" y="33"/>
                  <a:pt x="1075" y="33"/>
                  <a:pt x="1075" y="33"/>
                </a:cubicBezTo>
                <a:cubicBezTo>
                  <a:pt x="1075" y="33"/>
                  <a:pt x="1075" y="33"/>
                  <a:pt x="1075" y="34"/>
                </a:cubicBezTo>
                <a:cubicBezTo>
                  <a:pt x="1074" y="34"/>
                  <a:pt x="1074" y="34"/>
                  <a:pt x="1074" y="34"/>
                </a:cubicBezTo>
                <a:cubicBezTo>
                  <a:pt x="1074" y="34"/>
                  <a:pt x="1074" y="34"/>
                  <a:pt x="1074" y="35"/>
                </a:cubicBezTo>
                <a:cubicBezTo>
                  <a:pt x="1075" y="35"/>
                  <a:pt x="1075" y="35"/>
                  <a:pt x="1075" y="35"/>
                </a:cubicBezTo>
                <a:cubicBezTo>
                  <a:pt x="1075" y="35"/>
                  <a:pt x="1076" y="35"/>
                  <a:pt x="1076" y="34"/>
                </a:cubicBezTo>
                <a:cubicBezTo>
                  <a:pt x="1076" y="35"/>
                  <a:pt x="1077" y="35"/>
                  <a:pt x="1077" y="35"/>
                </a:cubicBezTo>
                <a:cubicBezTo>
                  <a:pt x="1077" y="35"/>
                  <a:pt x="1077" y="35"/>
                  <a:pt x="1077" y="36"/>
                </a:cubicBezTo>
                <a:cubicBezTo>
                  <a:pt x="1078" y="36"/>
                  <a:pt x="1078" y="36"/>
                  <a:pt x="1078" y="36"/>
                </a:cubicBezTo>
                <a:cubicBezTo>
                  <a:pt x="1078" y="36"/>
                  <a:pt x="1079" y="36"/>
                  <a:pt x="1079" y="36"/>
                </a:cubicBezTo>
                <a:cubicBezTo>
                  <a:pt x="1078" y="36"/>
                  <a:pt x="1078" y="36"/>
                  <a:pt x="1078" y="36"/>
                </a:cubicBezTo>
                <a:cubicBezTo>
                  <a:pt x="1077" y="36"/>
                  <a:pt x="1077" y="36"/>
                  <a:pt x="1076" y="36"/>
                </a:cubicBezTo>
                <a:cubicBezTo>
                  <a:pt x="1076" y="36"/>
                  <a:pt x="1076" y="37"/>
                  <a:pt x="1075" y="37"/>
                </a:cubicBezTo>
                <a:cubicBezTo>
                  <a:pt x="1075" y="37"/>
                  <a:pt x="1076" y="38"/>
                  <a:pt x="1076" y="39"/>
                </a:cubicBezTo>
                <a:cubicBezTo>
                  <a:pt x="1076" y="39"/>
                  <a:pt x="1076" y="39"/>
                  <a:pt x="1076" y="39"/>
                </a:cubicBezTo>
                <a:cubicBezTo>
                  <a:pt x="1076" y="39"/>
                  <a:pt x="1076" y="39"/>
                  <a:pt x="1076" y="40"/>
                </a:cubicBezTo>
                <a:cubicBezTo>
                  <a:pt x="1076" y="40"/>
                  <a:pt x="1076" y="40"/>
                  <a:pt x="1076" y="40"/>
                </a:cubicBezTo>
                <a:cubicBezTo>
                  <a:pt x="1077" y="40"/>
                  <a:pt x="1077" y="40"/>
                  <a:pt x="1077" y="40"/>
                </a:cubicBezTo>
                <a:cubicBezTo>
                  <a:pt x="1077" y="40"/>
                  <a:pt x="1078" y="40"/>
                  <a:pt x="1078" y="40"/>
                </a:cubicBezTo>
                <a:cubicBezTo>
                  <a:pt x="1078" y="40"/>
                  <a:pt x="1078" y="40"/>
                  <a:pt x="1079" y="39"/>
                </a:cubicBezTo>
                <a:cubicBezTo>
                  <a:pt x="1079" y="39"/>
                  <a:pt x="1079" y="39"/>
                  <a:pt x="1079" y="39"/>
                </a:cubicBezTo>
                <a:cubicBezTo>
                  <a:pt x="1079" y="39"/>
                  <a:pt x="1079" y="39"/>
                  <a:pt x="1079" y="39"/>
                </a:cubicBezTo>
                <a:cubicBezTo>
                  <a:pt x="1080" y="39"/>
                  <a:pt x="1080" y="39"/>
                  <a:pt x="1080" y="39"/>
                </a:cubicBezTo>
                <a:cubicBezTo>
                  <a:pt x="1080" y="40"/>
                  <a:pt x="1080" y="40"/>
                  <a:pt x="1080" y="41"/>
                </a:cubicBezTo>
                <a:cubicBezTo>
                  <a:pt x="1081" y="41"/>
                  <a:pt x="1081" y="41"/>
                  <a:pt x="1081" y="41"/>
                </a:cubicBezTo>
                <a:cubicBezTo>
                  <a:pt x="1081" y="41"/>
                  <a:pt x="1081" y="41"/>
                  <a:pt x="1082" y="41"/>
                </a:cubicBezTo>
                <a:cubicBezTo>
                  <a:pt x="1082" y="40"/>
                  <a:pt x="1082" y="40"/>
                  <a:pt x="1082" y="40"/>
                </a:cubicBezTo>
                <a:cubicBezTo>
                  <a:pt x="1082" y="40"/>
                  <a:pt x="1082" y="40"/>
                  <a:pt x="1082" y="40"/>
                </a:cubicBezTo>
                <a:cubicBezTo>
                  <a:pt x="1082" y="39"/>
                  <a:pt x="1082" y="39"/>
                  <a:pt x="1082" y="39"/>
                </a:cubicBezTo>
                <a:cubicBezTo>
                  <a:pt x="1083" y="39"/>
                  <a:pt x="1083" y="39"/>
                  <a:pt x="1083" y="39"/>
                </a:cubicBezTo>
                <a:cubicBezTo>
                  <a:pt x="1083" y="39"/>
                  <a:pt x="1084" y="39"/>
                  <a:pt x="1084" y="39"/>
                </a:cubicBezTo>
                <a:cubicBezTo>
                  <a:pt x="1084" y="39"/>
                  <a:pt x="1084" y="39"/>
                  <a:pt x="1084" y="38"/>
                </a:cubicBezTo>
                <a:cubicBezTo>
                  <a:pt x="1084" y="38"/>
                  <a:pt x="1084" y="38"/>
                  <a:pt x="1084" y="37"/>
                </a:cubicBezTo>
                <a:cubicBezTo>
                  <a:pt x="1084" y="37"/>
                  <a:pt x="1083" y="37"/>
                  <a:pt x="1083" y="37"/>
                </a:cubicBezTo>
                <a:cubicBezTo>
                  <a:pt x="1083" y="36"/>
                  <a:pt x="1083" y="36"/>
                  <a:pt x="1083" y="36"/>
                </a:cubicBezTo>
                <a:cubicBezTo>
                  <a:pt x="1083" y="36"/>
                  <a:pt x="1084" y="36"/>
                  <a:pt x="1084" y="36"/>
                </a:cubicBezTo>
                <a:cubicBezTo>
                  <a:pt x="1085" y="36"/>
                  <a:pt x="1085" y="36"/>
                  <a:pt x="1085" y="36"/>
                </a:cubicBezTo>
                <a:cubicBezTo>
                  <a:pt x="1086" y="36"/>
                  <a:pt x="1087" y="36"/>
                  <a:pt x="1087" y="36"/>
                </a:cubicBezTo>
                <a:cubicBezTo>
                  <a:pt x="1087" y="36"/>
                  <a:pt x="1087" y="36"/>
                  <a:pt x="1088" y="36"/>
                </a:cubicBezTo>
                <a:cubicBezTo>
                  <a:pt x="1088" y="36"/>
                  <a:pt x="1088" y="36"/>
                  <a:pt x="1088" y="36"/>
                </a:cubicBezTo>
                <a:cubicBezTo>
                  <a:pt x="1088" y="35"/>
                  <a:pt x="1087" y="35"/>
                  <a:pt x="1087" y="35"/>
                </a:cubicBezTo>
                <a:cubicBezTo>
                  <a:pt x="1087" y="35"/>
                  <a:pt x="1087" y="35"/>
                  <a:pt x="1087" y="35"/>
                </a:cubicBezTo>
                <a:cubicBezTo>
                  <a:pt x="1087" y="35"/>
                  <a:pt x="1086" y="35"/>
                  <a:pt x="1086" y="35"/>
                </a:cubicBezTo>
                <a:cubicBezTo>
                  <a:pt x="1086" y="35"/>
                  <a:pt x="1086" y="35"/>
                  <a:pt x="1086" y="35"/>
                </a:cubicBezTo>
                <a:cubicBezTo>
                  <a:pt x="1086" y="34"/>
                  <a:pt x="1086" y="34"/>
                  <a:pt x="1086" y="34"/>
                </a:cubicBezTo>
                <a:cubicBezTo>
                  <a:pt x="1086" y="34"/>
                  <a:pt x="1086" y="34"/>
                  <a:pt x="1087" y="34"/>
                </a:cubicBezTo>
                <a:cubicBezTo>
                  <a:pt x="1087" y="34"/>
                  <a:pt x="1087" y="34"/>
                  <a:pt x="1087" y="34"/>
                </a:cubicBezTo>
                <a:cubicBezTo>
                  <a:pt x="1087" y="34"/>
                  <a:pt x="1087" y="34"/>
                  <a:pt x="1087" y="34"/>
                </a:cubicBezTo>
                <a:cubicBezTo>
                  <a:pt x="1088" y="34"/>
                  <a:pt x="1088" y="34"/>
                  <a:pt x="1088" y="34"/>
                </a:cubicBezTo>
                <a:cubicBezTo>
                  <a:pt x="1088" y="34"/>
                  <a:pt x="1089" y="34"/>
                  <a:pt x="1089" y="34"/>
                </a:cubicBezTo>
                <a:cubicBezTo>
                  <a:pt x="1089" y="34"/>
                  <a:pt x="1090" y="34"/>
                  <a:pt x="1090" y="33"/>
                </a:cubicBezTo>
                <a:cubicBezTo>
                  <a:pt x="1090" y="33"/>
                  <a:pt x="1091" y="33"/>
                  <a:pt x="1091" y="33"/>
                </a:cubicBezTo>
                <a:cubicBezTo>
                  <a:pt x="1091" y="33"/>
                  <a:pt x="1091" y="33"/>
                  <a:pt x="1091" y="33"/>
                </a:cubicBezTo>
                <a:cubicBezTo>
                  <a:pt x="1091" y="32"/>
                  <a:pt x="1091" y="32"/>
                  <a:pt x="1090" y="32"/>
                </a:cubicBezTo>
                <a:cubicBezTo>
                  <a:pt x="1090" y="32"/>
                  <a:pt x="1090" y="32"/>
                  <a:pt x="1090" y="32"/>
                </a:cubicBezTo>
                <a:cubicBezTo>
                  <a:pt x="1090" y="31"/>
                  <a:pt x="1090" y="31"/>
                  <a:pt x="1089" y="31"/>
                </a:cubicBezTo>
                <a:cubicBezTo>
                  <a:pt x="1089" y="31"/>
                  <a:pt x="1089" y="31"/>
                  <a:pt x="1089" y="30"/>
                </a:cubicBezTo>
                <a:cubicBezTo>
                  <a:pt x="1089" y="30"/>
                  <a:pt x="1089" y="30"/>
                  <a:pt x="1088" y="30"/>
                </a:cubicBezTo>
                <a:cubicBezTo>
                  <a:pt x="1088" y="30"/>
                  <a:pt x="1088" y="30"/>
                  <a:pt x="1087" y="31"/>
                </a:cubicBezTo>
                <a:cubicBezTo>
                  <a:pt x="1087" y="31"/>
                  <a:pt x="1086" y="31"/>
                  <a:pt x="1086" y="31"/>
                </a:cubicBezTo>
                <a:cubicBezTo>
                  <a:pt x="1086" y="31"/>
                  <a:pt x="1086" y="31"/>
                  <a:pt x="1086" y="31"/>
                </a:cubicBezTo>
                <a:cubicBezTo>
                  <a:pt x="1086" y="31"/>
                  <a:pt x="1086" y="31"/>
                  <a:pt x="1085" y="31"/>
                </a:cubicBezTo>
                <a:cubicBezTo>
                  <a:pt x="1086" y="31"/>
                  <a:pt x="1086" y="31"/>
                  <a:pt x="1086" y="30"/>
                </a:cubicBezTo>
                <a:cubicBezTo>
                  <a:pt x="1086" y="30"/>
                  <a:pt x="1086" y="30"/>
                  <a:pt x="1087" y="30"/>
                </a:cubicBezTo>
                <a:cubicBezTo>
                  <a:pt x="1087" y="30"/>
                  <a:pt x="1087" y="29"/>
                  <a:pt x="1087" y="29"/>
                </a:cubicBezTo>
                <a:cubicBezTo>
                  <a:pt x="1087" y="29"/>
                  <a:pt x="1087" y="29"/>
                  <a:pt x="1088" y="28"/>
                </a:cubicBezTo>
                <a:cubicBezTo>
                  <a:pt x="1088" y="28"/>
                  <a:pt x="1087" y="28"/>
                  <a:pt x="1087" y="28"/>
                </a:cubicBezTo>
                <a:cubicBezTo>
                  <a:pt x="1087" y="28"/>
                  <a:pt x="1086" y="29"/>
                  <a:pt x="1086" y="29"/>
                </a:cubicBezTo>
                <a:cubicBezTo>
                  <a:pt x="1086" y="29"/>
                  <a:pt x="1085" y="29"/>
                  <a:pt x="1085" y="30"/>
                </a:cubicBezTo>
                <a:cubicBezTo>
                  <a:pt x="1085" y="30"/>
                  <a:pt x="1085" y="30"/>
                  <a:pt x="1085" y="30"/>
                </a:cubicBezTo>
                <a:cubicBezTo>
                  <a:pt x="1085" y="30"/>
                  <a:pt x="1085" y="30"/>
                  <a:pt x="1085" y="29"/>
                </a:cubicBezTo>
                <a:cubicBezTo>
                  <a:pt x="1085" y="29"/>
                  <a:pt x="1085" y="29"/>
                  <a:pt x="1085" y="29"/>
                </a:cubicBezTo>
                <a:cubicBezTo>
                  <a:pt x="1085" y="29"/>
                  <a:pt x="1085" y="29"/>
                  <a:pt x="1085" y="28"/>
                </a:cubicBezTo>
                <a:cubicBezTo>
                  <a:pt x="1085" y="28"/>
                  <a:pt x="1084" y="29"/>
                  <a:pt x="1084" y="29"/>
                </a:cubicBezTo>
                <a:cubicBezTo>
                  <a:pt x="1084" y="29"/>
                  <a:pt x="1084" y="29"/>
                  <a:pt x="1084" y="30"/>
                </a:cubicBezTo>
                <a:cubicBezTo>
                  <a:pt x="1083" y="30"/>
                  <a:pt x="1083" y="30"/>
                  <a:pt x="1083" y="30"/>
                </a:cubicBezTo>
                <a:cubicBezTo>
                  <a:pt x="1083" y="30"/>
                  <a:pt x="1083" y="30"/>
                  <a:pt x="1083" y="30"/>
                </a:cubicBezTo>
                <a:cubicBezTo>
                  <a:pt x="1083" y="30"/>
                  <a:pt x="1083" y="30"/>
                  <a:pt x="1083" y="31"/>
                </a:cubicBezTo>
                <a:cubicBezTo>
                  <a:pt x="1083" y="31"/>
                  <a:pt x="1084" y="31"/>
                  <a:pt x="1084" y="31"/>
                </a:cubicBezTo>
                <a:cubicBezTo>
                  <a:pt x="1084" y="31"/>
                  <a:pt x="1084" y="31"/>
                  <a:pt x="1084" y="31"/>
                </a:cubicBezTo>
                <a:cubicBezTo>
                  <a:pt x="1084" y="31"/>
                  <a:pt x="1084" y="31"/>
                  <a:pt x="1084" y="31"/>
                </a:cubicBezTo>
                <a:cubicBezTo>
                  <a:pt x="1084" y="31"/>
                  <a:pt x="1084" y="31"/>
                  <a:pt x="1083" y="31"/>
                </a:cubicBezTo>
                <a:cubicBezTo>
                  <a:pt x="1083" y="31"/>
                  <a:pt x="1083" y="32"/>
                  <a:pt x="1083" y="32"/>
                </a:cubicBezTo>
                <a:cubicBezTo>
                  <a:pt x="1083" y="32"/>
                  <a:pt x="1083" y="32"/>
                  <a:pt x="1083" y="33"/>
                </a:cubicBezTo>
                <a:cubicBezTo>
                  <a:pt x="1082" y="33"/>
                  <a:pt x="1082" y="33"/>
                  <a:pt x="1082" y="33"/>
                </a:cubicBezTo>
                <a:cubicBezTo>
                  <a:pt x="1082" y="33"/>
                  <a:pt x="1082" y="33"/>
                  <a:pt x="1081" y="33"/>
                </a:cubicBezTo>
                <a:cubicBezTo>
                  <a:pt x="1081" y="33"/>
                  <a:pt x="1081" y="34"/>
                  <a:pt x="1080" y="34"/>
                </a:cubicBezTo>
                <a:cubicBezTo>
                  <a:pt x="1080" y="34"/>
                  <a:pt x="1080" y="34"/>
                  <a:pt x="1079" y="34"/>
                </a:cubicBezTo>
                <a:close/>
                <a:moveTo>
                  <a:pt x="1067" y="35"/>
                </a:moveTo>
                <a:cubicBezTo>
                  <a:pt x="1068" y="35"/>
                  <a:pt x="1068" y="35"/>
                  <a:pt x="1068" y="35"/>
                </a:cubicBezTo>
                <a:cubicBezTo>
                  <a:pt x="1069" y="35"/>
                  <a:pt x="1069" y="36"/>
                  <a:pt x="1069" y="36"/>
                </a:cubicBezTo>
                <a:cubicBezTo>
                  <a:pt x="1069" y="36"/>
                  <a:pt x="1069" y="36"/>
                  <a:pt x="1070" y="36"/>
                </a:cubicBezTo>
                <a:cubicBezTo>
                  <a:pt x="1070" y="36"/>
                  <a:pt x="1070" y="36"/>
                  <a:pt x="1070" y="36"/>
                </a:cubicBezTo>
                <a:cubicBezTo>
                  <a:pt x="1070" y="35"/>
                  <a:pt x="1070" y="35"/>
                  <a:pt x="1070" y="35"/>
                </a:cubicBezTo>
                <a:cubicBezTo>
                  <a:pt x="1070" y="35"/>
                  <a:pt x="1071" y="35"/>
                  <a:pt x="1071" y="35"/>
                </a:cubicBezTo>
                <a:cubicBezTo>
                  <a:pt x="1071" y="35"/>
                  <a:pt x="1071" y="35"/>
                  <a:pt x="1072" y="35"/>
                </a:cubicBezTo>
                <a:cubicBezTo>
                  <a:pt x="1072" y="36"/>
                  <a:pt x="1072" y="36"/>
                  <a:pt x="1072" y="36"/>
                </a:cubicBezTo>
                <a:cubicBezTo>
                  <a:pt x="1073" y="37"/>
                  <a:pt x="1073" y="37"/>
                  <a:pt x="1073" y="37"/>
                </a:cubicBezTo>
                <a:cubicBezTo>
                  <a:pt x="1073" y="37"/>
                  <a:pt x="1073" y="37"/>
                  <a:pt x="1074" y="36"/>
                </a:cubicBezTo>
                <a:cubicBezTo>
                  <a:pt x="1073" y="36"/>
                  <a:pt x="1073" y="36"/>
                  <a:pt x="1073" y="36"/>
                </a:cubicBezTo>
                <a:cubicBezTo>
                  <a:pt x="1073" y="35"/>
                  <a:pt x="1073" y="35"/>
                  <a:pt x="1073" y="35"/>
                </a:cubicBezTo>
                <a:cubicBezTo>
                  <a:pt x="1072" y="34"/>
                  <a:pt x="1072" y="34"/>
                  <a:pt x="1072" y="34"/>
                </a:cubicBezTo>
                <a:cubicBezTo>
                  <a:pt x="1072" y="34"/>
                  <a:pt x="1072" y="34"/>
                  <a:pt x="1071" y="34"/>
                </a:cubicBezTo>
                <a:cubicBezTo>
                  <a:pt x="1071" y="34"/>
                  <a:pt x="1071" y="33"/>
                  <a:pt x="1071" y="33"/>
                </a:cubicBezTo>
                <a:cubicBezTo>
                  <a:pt x="1071" y="33"/>
                  <a:pt x="1072" y="33"/>
                  <a:pt x="1072" y="32"/>
                </a:cubicBezTo>
                <a:cubicBezTo>
                  <a:pt x="1073" y="32"/>
                  <a:pt x="1073" y="32"/>
                  <a:pt x="1073" y="32"/>
                </a:cubicBezTo>
                <a:cubicBezTo>
                  <a:pt x="1074" y="32"/>
                  <a:pt x="1074" y="32"/>
                  <a:pt x="1075" y="32"/>
                </a:cubicBezTo>
                <a:cubicBezTo>
                  <a:pt x="1075" y="32"/>
                  <a:pt x="1075" y="31"/>
                  <a:pt x="1076" y="31"/>
                </a:cubicBezTo>
                <a:cubicBezTo>
                  <a:pt x="1076" y="31"/>
                  <a:pt x="1076" y="32"/>
                  <a:pt x="1077" y="32"/>
                </a:cubicBezTo>
                <a:cubicBezTo>
                  <a:pt x="1077" y="32"/>
                  <a:pt x="1077" y="32"/>
                  <a:pt x="1077" y="32"/>
                </a:cubicBezTo>
                <a:cubicBezTo>
                  <a:pt x="1078" y="33"/>
                  <a:pt x="1078" y="33"/>
                  <a:pt x="1078" y="33"/>
                </a:cubicBezTo>
                <a:cubicBezTo>
                  <a:pt x="1079" y="33"/>
                  <a:pt x="1079" y="33"/>
                  <a:pt x="1080" y="33"/>
                </a:cubicBezTo>
                <a:cubicBezTo>
                  <a:pt x="1080" y="33"/>
                  <a:pt x="1080" y="33"/>
                  <a:pt x="1080" y="33"/>
                </a:cubicBezTo>
                <a:cubicBezTo>
                  <a:pt x="1080" y="33"/>
                  <a:pt x="1081" y="33"/>
                  <a:pt x="1081" y="32"/>
                </a:cubicBezTo>
                <a:cubicBezTo>
                  <a:pt x="1081" y="32"/>
                  <a:pt x="1080" y="32"/>
                  <a:pt x="1080" y="32"/>
                </a:cubicBezTo>
                <a:cubicBezTo>
                  <a:pt x="1080" y="32"/>
                  <a:pt x="1079" y="32"/>
                  <a:pt x="1079" y="32"/>
                </a:cubicBezTo>
                <a:cubicBezTo>
                  <a:pt x="1078" y="31"/>
                  <a:pt x="1077" y="31"/>
                  <a:pt x="1076" y="30"/>
                </a:cubicBezTo>
                <a:cubicBezTo>
                  <a:pt x="1075" y="30"/>
                  <a:pt x="1074" y="30"/>
                  <a:pt x="1073" y="30"/>
                </a:cubicBezTo>
                <a:cubicBezTo>
                  <a:pt x="1072" y="30"/>
                  <a:pt x="1072" y="30"/>
                  <a:pt x="1071" y="30"/>
                </a:cubicBezTo>
                <a:cubicBezTo>
                  <a:pt x="1070" y="30"/>
                  <a:pt x="1070" y="31"/>
                  <a:pt x="1069" y="31"/>
                </a:cubicBezTo>
                <a:cubicBezTo>
                  <a:pt x="1068" y="31"/>
                  <a:pt x="1068" y="32"/>
                  <a:pt x="1068" y="32"/>
                </a:cubicBezTo>
                <a:cubicBezTo>
                  <a:pt x="1067" y="32"/>
                  <a:pt x="1067" y="32"/>
                  <a:pt x="1066" y="32"/>
                </a:cubicBezTo>
                <a:cubicBezTo>
                  <a:pt x="1066" y="32"/>
                  <a:pt x="1065" y="33"/>
                  <a:pt x="1065" y="33"/>
                </a:cubicBezTo>
                <a:cubicBezTo>
                  <a:pt x="1065" y="33"/>
                  <a:pt x="1065" y="34"/>
                  <a:pt x="1065" y="35"/>
                </a:cubicBezTo>
                <a:cubicBezTo>
                  <a:pt x="1065" y="35"/>
                  <a:pt x="1065" y="35"/>
                  <a:pt x="1066" y="35"/>
                </a:cubicBezTo>
                <a:cubicBezTo>
                  <a:pt x="1066" y="35"/>
                  <a:pt x="1067" y="35"/>
                  <a:pt x="1067" y="35"/>
                </a:cubicBezTo>
                <a:close/>
                <a:moveTo>
                  <a:pt x="1109" y="18"/>
                </a:moveTo>
                <a:cubicBezTo>
                  <a:pt x="1110" y="18"/>
                  <a:pt x="1110" y="18"/>
                  <a:pt x="1110" y="18"/>
                </a:cubicBezTo>
                <a:cubicBezTo>
                  <a:pt x="1110" y="18"/>
                  <a:pt x="1110" y="18"/>
                  <a:pt x="1110" y="18"/>
                </a:cubicBezTo>
                <a:cubicBezTo>
                  <a:pt x="1110" y="18"/>
                  <a:pt x="1109" y="18"/>
                  <a:pt x="1109" y="18"/>
                </a:cubicBezTo>
                <a:cubicBezTo>
                  <a:pt x="1109" y="18"/>
                  <a:pt x="1109" y="18"/>
                  <a:pt x="1109" y="18"/>
                </a:cubicBezTo>
                <a:close/>
                <a:moveTo>
                  <a:pt x="1108" y="17"/>
                </a:moveTo>
                <a:cubicBezTo>
                  <a:pt x="1108" y="17"/>
                  <a:pt x="1108" y="17"/>
                  <a:pt x="1108" y="17"/>
                </a:cubicBezTo>
                <a:cubicBezTo>
                  <a:pt x="1109" y="17"/>
                  <a:pt x="1109" y="17"/>
                  <a:pt x="1109" y="17"/>
                </a:cubicBezTo>
                <a:cubicBezTo>
                  <a:pt x="1110" y="17"/>
                  <a:pt x="1110" y="17"/>
                  <a:pt x="1111" y="17"/>
                </a:cubicBezTo>
                <a:cubicBezTo>
                  <a:pt x="1111" y="17"/>
                  <a:pt x="1111" y="17"/>
                  <a:pt x="1111" y="16"/>
                </a:cubicBezTo>
                <a:cubicBezTo>
                  <a:pt x="1111" y="16"/>
                  <a:pt x="1111" y="16"/>
                  <a:pt x="1111" y="16"/>
                </a:cubicBezTo>
                <a:cubicBezTo>
                  <a:pt x="1111" y="16"/>
                  <a:pt x="1111" y="16"/>
                  <a:pt x="1111" y="16"/>
                </a:cubicBezTo>
                <a:cubicBezTo>
                  <a:pt x="1111" y="16"/>
                  <a:pt x="1111" y="15"/>
                  <a:pt x="1111" y="15"/>
                </a:cubicBezTo>
                <a:cubicBezTo>
                  <a:pt x="1111" y="15"/>
                  <a:pt x="1110" y="15"/>
                  <a:pt x="1110" y="15"/>
                </a:cubicBezTo>
                <a:cubicBezTo>
                  <a:pt x="1110" y="15"/>
                  <a:pt x="1110" y="15"/>
                  <a:pt x="1109" y="15"/>
                </a:cubicBezTo>
                <a:cubicBezTo>
                  <a:pt x="1109" y="15"/>
                  <a:pt x="1108" y="15"/>
                  <a:pt x="1108" y="15"/>
                </a:cubicBezTo>
                <a:cubicBezTo>
                  <a:pt x="1107" y="15"/>
                  <a:pt x="1107" y="15"/>
                  <a:pt x="1107" y="15"/>
                </a:cubicBezTo>
                <a:cubicBezTo>
                  <a:pt x="1107" y="15"/>
                  <a:pt x="1107" y="15"/>
                  <a:pt x="1107" y="16"/>
                </a:cubicBezTo>
                <a:cubicBezTo>
                  <a:pt x="1107" y="16"/>
                  <a:pt x="1107" y="16"/>
                  <a:pt x="1107" y="16"/>
                </a:cubicBezTo>
                <a:cubicBezTo>
                  <a:pt x="1107" y="16"/>
                  <a:pt x="1107" y="16"/>
                  <a:pt x="1108" y="17"/>
                </a:cubicBezTo>
                <a:close/>
                <a:moveTo>
                  <a:pt x="1109" y="25"/>
                </a:moveTo>
                <a:cubicBezTo>
                  <a:pt x="1110" y="25"/>
                  <a:pt x="1110" y="25"/>
                  <a:pt x="1111" y="25"/>
                </a:cubicBezTo>
                <a:cubicBezTo>
                  <a:pt x="1111" y="25"/>
                  <a:pt x="1111" y="25"/>
                  <a:pt x="1111" y="24"/>
                </a:cubicBezTo>
                <a:cubicBezTo>
                  <a:pt x="1111" y="24"/>
                  <a:pt x="1111" y="24"/>
                  <a:pt x="1111" y="24"/>
                </a:cubicBezTo>
                <a:cubicBezTo>
                  <a:pt x="1111" y="24"/>
                  <a:pt x="1110" y="24"/>
                  <a:pt x="1110" y="23"/>
                </a:cubicBezTo>
                <a:cubicBezTo>
                  <a:pt x="1110" y="24"/>
                  <a:pt x="1110" y="24"/>
                  <a:pt x="1110" y="24"/>
                </a:cubicBezTo>
                <a:cubicBezTo>
                  <a:pt x="1109" y="24"/>
                  <a:pt x="1109" y="24"/>
                  <a:pt x="1109" y="24"/>
                </a:cubicBezTo>
                <a:cubicBezTo>
                  <a:pt x="1108" y="24"/>
                  <a:pt x="1108" y="25"/>
                  <a:pt x="1108" y="25"/>
                </a:cubicBezTo>
                <a:cubicBezTo>
                  <a:pt x="1108" y="25"/>
                  <a:pt x="1108" y="25"/>
                  <a:pt x="1109" y="25"/>
                </a:cubicBezTo>
                <a:cubicBezTo>
                  <a:pt x="1109" y="25"/>
                  <a:pt x="1109" y="25"/>
                  <a:pt x="1109" y="25"/>
                </a:cubicBezTo>
                <a:close/>
                <a:moveTo>
                  <a:pt x="1106" y="21"/>
                </a:moveTo>
                <a:cubicBezTo>
                  <a:pt x="1107" y="21"/>
                  <a:pt x="1107" y="21"/>
                  <a:pt x="1107" y="21"/>
                </a:cubicBezTo>
                <a:cubicBezTo>
                  <a:pt x="1108" y="21"/>
                  <a:pt x="1108" y="21"/>
                  <a:pt x="1108" y="21"/>
                </a:cubicBezTo>
                <a:cubicBezTo>
                  <a:pt x="1108" y="21"/>
                  <a:pt x="1108" y="21"/>
                  <a:pt x="1109" y="21"/>
                </a:cubicBezTo>
                <a:cubicBezTo>
                  <a:pt x="1109" y="21"/>
                  <a:pt x="1109" y="21"/>
                  <a:pt x="1109" y="21"/>
                </a:cubicBezTo>
                <a:cubicBezTo>
                  <a:pt x="1110" y="21"/>
                  <a:pt x="1110" y="20"/>
                  <a:pt x="1110" y="20"/>
                </a:cubicBezTo>
                <a:cubicBezTo>
                  <a:pt x="1110" y="20"/>
                  <a:pt x="1111" y="20"/>
                  <a:pt x="1111" y="20"/>
                </a:cubicBezTo>
                <a:cubicBezTo>
                  <a:pt x="1111" y="20"/>
                  <a:pt x="1111" y="20"/>
                  <a:pt x="1111" y="20"/>
                </a:cubicBezTo>
                <a:cubicBezTo>
                  <a:pt x="1111" y="20"/>
                  <a:pt x="1111" y="20"/>
                  <a:pt x="1111" y="19"/>
                </a:cubicBezTo>
                <a:cubicBezTo>
                  <a:pt x="1110" y="19"/>
                  <a:pt x="1110" y="19"/>
                  <a:pt x="1110" y="19"/>
                </a:cubicBezTo>
                <a:cubicBezTo>
                  <a:pt x="1110" y="19"/>
                  <a:pt x="1109" y="19"/>
                  <a:pt x="1109" y="19"/>
                </a:cubicBezTo>
                <a:cubicBezTo>
                  <a:pt x="1109" y="19"/>
                  <a:pt x="1108" y="19"/>
                  <a:pt x="1108" y="19"/>
                </a:cubicBezTo>
                <a:cubicBezTo>
                  <a:pt x="1108" y="19"/>
                  <a:pt x="1108" y="19"/>
                  <a:pt x="1107" y="19"/>
                </a:cubicBezTo>
                <a:cubicBezTo>
                  <a:pt x="1107" y="19"/>
                  <a:pt x="1107" y="19"/>
                  <a:pt x="1106" y="19"/>
                </a:cubicBezTo>
                <a:cubicBezTo>
                  <a:pt x="1106" y="19"/>
                  <a:pt x="1105" y="19"/>
                  <a:pt x="1105" y="20"/>
                </a:cubicBezTo>
                <a:cubicBezTo>
                  <a:pt x="1105" y="20"/>
                  <a:pt x="1105" y="20"/>
                  <a:pt x="1105" y="20"/>
                </a:cubicBezTo>
                <a:cubicBezTo>
                  <a:pt x="1105" y="20"/>
                  <a:pt x="1105" y="20"/>
                  <a:pt x="1105" y="21"/>
                </a:cubicBezTo>
                <a:cubicBezTo>
                  <a:pt x="1106" y="21"/>
                  <a:pt x="1106" y="21"/>
                  <a:pt x="1106" y="21"/>
                </a:cubicBezTo>
                <a:close/>
                <a:moveTo>
                  <a:pt x="1100" y="27"/>
                </a:moveTo>
                <a:cubicBezTo>
                  <a:pt x="1100" y="27"/>
                  <a:pt x="1100" y="28"/>
                  <a:pt x="1100" y="28"/>
                </a:cubicBezTo>
                <a:cubicBezTo>
                  <a:pt x="1101" y="28"/>
                  <a:pt x="1101" y="28"/>
                  <a:pt x="1102" y="28"/>
                </a:cubicBezTo>
                <a:cubicBezTo>
                  <a:pt x="1102" y="28"/>
                  <a:pt x="1102" y="28"/>
                  <a:pt x="1103" y="28"/>
                </a:cubicBezTo>
                <a:cubicBezTo>
                  <a:pt x="1103" y="28"/>
                  <a:pt x="1103" y="28"/>
                  <a:pt x="1103" y="28"/>
                </a:cubicBezTo>
                <a:cubicBezTo>
                  <a:pt x="1104" y="28"/>
                  <a:pt x="1104" y="28"/>
                  <a:pt x="1104" y="28"/>
                </a:cubicBezTo>
                <a:cubicBezTo>
                  <a:pt x="1104" y="28"/>
                  <a:pt x="1105" y="29"/>
                  <a:pt x="1105" y="29"/>
                </a:cubicBezTo>
                <a:cubicBezTo>
                  <a:pt x="1105" y="29"/>
                  <a:pt x="1105" y="29"/>
                  <a:pt x="1105" y="29"/>
                </a:cubicBezTo>
                <a:cubicBezTo>
                  <a:pt x="1106" y="29"/>
                  <a:pt x="1106" y="29"/>
                  <a:pt x="1106" y="29"/>
                </a:cubicBezTo>
                <a:cubicBezTo>
                  <a:pt x="1106" y="29"/>
                  <a:pt x="1106" y="29"/>
                  <a:pt x="1107" y="30"/>
                </a:cubicBezTo>
                <a:cubicBezTo>
                  <a:pt x="1107" y="30"/>
                  <a:pt x="1108" y="30"/>
                  <a:pt x="1108" y="30"/>
                </a:cubicBezTo>
                <a:cubicBezTo>
                  <a:pt x="1109" y="30"/>
                  <a:pt x="1109" y="30"/>
                  <a:pt x="1110" y="30"/>
                </a:cubicBezTo>
                <a:cubicBezTo>
                  <a:pt x="1110" y="30"/>
                  <a:pt x="1111" y="30"/>
                  <a:pt x="1111" y="31"/>
                </a:cubicBezTo>
                <a:cubicBezTo>
                  <a:pt x="1111" y="31"/>
                  <a:pt x="1112" y="31"/>
                  <a:pt x="1112" y="31"/>
                </a:cubicBezTo>
                <a:cubicBezTo>
                  <a:pt x="1112" y="31"/>
                  <a:pt x="1113" y="31"/>
                  <a:pt x="1113" y="31"/>
                </a:cubicBezTo>
                <a:cubicBezTo>
                  <a:pt x="1113" y="30"/>
                  <a:pt x="1113" y="30"/>
                  <a:pt x="1113" y="30"/>
                </a:cubicBezTo>
                <a:cubicBezTo>
                  <a:pt x="1113" y="30"/>
                  <a:pt x="1113" y="29"/>
                  <a:pt x="1112" y="29"/>
                </a:cubicBezTo>
                <a:cubicBezTo>
                  <a:pt x="1112" y="29"/>
                  <a:pt x="1112" y="29"/>
                  <a:pt x="1111" y="29"/>
                </a:cubicBezTo>
                <a:cubicBezTo>
                  <a:pt x="1111" y="29"/>
                  <a:pt x="1110" y="29"/>
                  <a:pt x="1109" y="28"/>
                </a:cubicBezTo>
                <a:cubicBezTo>
                  <a:pt x="1109" y="28"/>
                  <a:pt x="1108" y="28"/>
                  <a:pt x="1108" y="27"/>
                </a:cubicBezTo>
                <a:cubicBezTo>
                  <a:pt x="1107" y="27"/>
                  <a:pt x="1107" y="27"/>
                  <a:pt x="1107" y="27"/>
                </a:cubicBezTo>
                <a:cubicBezTo>
                  <a:pt x="1107" y="27"/>
                  <a:pt x="1107" y="27"/>
                  <a:pt x="1106" y="27"/>
                </a:cubicBezTo>
                <a:cubicBezTo>
                  <a:pt x="1106" y="27"/>
                  <a:pt x="1105" y="27"/>
                  <a:pt x="1105" y="27"/>
                </a:cubicBezTo>
                <a:cubicBezTo>
                  <a:pt x="1104" y="27"/>
                  <a:pt x="1104" y="27"/>
                  <a:pt x="1104" y="26"/>
                </a:cubicBezTo>
                <a:cubicBezTo>
                  <a:pt x="1103" y="26"/>
                  <a:pt x="1102" y="26"/>
                  <a:pt x="1101" y="26"/>
                </a:cubicBezTo>
                <a:cubicBezTo>
                  <a:pt x="1100" y="26"/>
                  <a:pt x="1100" y="26"/>
                  <a:pt x="1099" y="26"/>
                </a:cubicBezTo>
                <a:cubicBezTo>
                  <a:pt x="1100" y="27"/>
                  <a:pt x="1100" y="27"/>
                  <a:pt x="1100" y="27"/>
                </a:cubicBezTo>
                <a:cubicBezTo>
                  <a:pt x="1100" y="27"/>
                  <a:pt x="1100" y="27"/>
                  <a:pt x="1100" y="27"/>
                </a:cubicBezTo>
                <a:close/>
                <a:moveTo>
                  <a:pt x="1104" y="25"/>
                </a:moveTo>
                <a:cubicBezTo>
                  <a:pt x="1104" y="25"/>
                  <a:pt x="1105" y="25"/>
                  <a:pt x="1105" y="25"/>
                </a:cubicBezTo>
                <a:cubicBezTo>
                  <a:pt x="1105" y="25"/>
                  <a:pt x="1107" y="25"/>
                  <a:pt x="1107" y="25"/>
                </a:cubicBezTo>
                <a:cubicBezTo>
                  <a:pt x="1107" y="24"/>
                  <a:pt x="1108" y="24"/>
                  <a:pt x="1108" y="24"/>
                </a:cubicBezTo>
                <a:cubicBezTo>
                  <a:pt x="1109" y="23"/>
                  <a:pt x="1109" y="23"/>
                  <a:pt x="1109" y="23"/>
                </a:cubicBezTo>
                <a:cubicBezTo>
                  <a:pt x="1110" y="23"/>
                  <a:pt x="1110" y="22"/>
                  <a:pt x="1110" y="22"/>
                </a:cubicBezTo>
                <a:cubicBezTo>
                  <a:pt x="1110" y="22"/>
                  <a:pt x="1110" y="22"/>
                  <a:pt x="1110" y="22"/>
                </a:cubicBezTo>
                <a:cubicBezTo>
                  <a:pt x="1110" y="22"/>
                  <a:pt x="1110" y="22"/>
                  <a:pt x="1109" y="22"/>
                </a:cubicBezTo>
                <a:cubicBezTo>
                  <a:pt x="1109" y="22"/>
                  <a:pt x="1108" y="22"/>
                  <a:pt x="1108" y="22"/>
                </a:cubicBezTo>
                <a:cubicBezTo>
                  <a:pt x="1108" y="22"/>
                  <a:pt x="1107" y="22"/>
                  <a:pt x="1107" y="22"/>
                </a:cubicBezTo>
                <a:cubicBezTo>
                  <a:pt x="1106" y="22"/>
                  <a:pt x="1106" y="21"/>
                  <a:pt x="1105" y="21"/>
                </a:cubicBezTo>
                <a:cubicBezTo>
                  <a:pt x="1105" y="22"/>
                  <a:pt x="1105" y="22"/>
                  <a:pt x="1105" y="22"/>
                </a:cubicBezTo>
                <a:cubicBezTo>
                  <a:pt x="1105" y="22"/>
                  <a:pt x="1104" y="22"/>
                  <a:pt x="1104" y="23"/>
                </a:cubicBezTo>
                <a:cubicBezTo>
                  <a:pt x="1104" y="23"/>
                  <a:pt x="1105" y="23"/>
                  <a:pt x="1105" y="23"/>
                </a:cubicBezTo>
                <a:cubicBezTo>
                  <a:pt x="1105" y="23"/>
                  <a:pt x="1105" y="23"/>
                  <a:pt x="1106" y="23"/>
                </a:cubicBezTo>
                <a:cubicBezTo>
                  <a:pt x="1106" y="23"/>
                  <a:pt x="1106" y="23"/>
                  <a:pt x="1106" y="24"/>
                </a:cubicBezTo>
                <a:cubicBezTo>
                  <a:pt x="1106" y="24"/>
                  <a:pt x="1106" y="24"/>
                  <a:pt x="1106" y="24"/>
                </a:cubicBezTo>
                <a:cubicBezTo>
                  <a:pt x="1106" y="24"/>
                  <a:pt x="1105" y="24"/>
                  <a:pt x="1105" y="24"/>
                </a:cubicBezTo>
                <a:cubicBezTo>
                  <a:pt x="1104" y="24"/>
                  <a:pt x="1103" y="24"/>
                  <a:pt x="1103" y="24"/>
                </a:cubicBezTo>
                <a:cubicBezTo>
                  <a:pt x="1103" y="24"/>
                  <a:pt x="1102" y="25"/>
                  <a:pt x="1102" y="25"/>
                </a:cubicBezTo>
                <a:cubicBezTo>
                  <a:pt x="1102" y="25"/>
                  <a:pt x="1103" y="25"/>
                  <a:pt x="1103" y="25"/>
                </a:cubicBezTo>
                <a:cubicBezTo>
                  <a:pt x="1103" y="25"/>
                  <a:pt x="1104" y="25"/>
                  <a:pt x="1104" y="25"/>
                </a:cubicBezTo>
                <a:close/>
                <a:moveTo>
                  <a:pt x="1138" y="125"/>
                </a:moveTo>
                <a:cubicBezTo>
                  <a:pt x="1138" y="125"/>
                  <a:pt x="1137" y="125"/>
                  <a:pt x="1137" y="124"/>
                </a:cubicBezTo>
                <a:cubicBezTo>
                  <a:pt x="1137" y="124"/>
                  <a:pt x="1137" y="124"/>
                  <a:pt x="1137" y="124"/>
                </a:cubicBezTo>
                <a:cubicBezTo>
                  <a:pt x="1136" y="124"/>
                  <a:pt x="1136" y="124"/>
                  <a:pt x="1136" y="124"/>
                </a:cubicBezTo>
                <a:cubicBezTo>
                  <a:pt x="1135" y="124"/>
                  <a:pt x="1135" y="124"/>
                  <a:pt x="1134" y="124"/>
                </a:cubicBezTo>
                <a:cubicBezTo>
                  <a:pt x="1134" y="124"/>
                  <a:pt x="1134" y="124"/>
                  <a:pt x="1134" y="124"/>
                </a:cubicBezTo>
                <a:cubicBezTo>
                  <a:pt x="1134" y="124"/>
                  <a:pt x="1134" y="124"/>
                  <a:pt x="1134" y="124"/>
                </a:cubicBezTo>
                <a:cubicBezTo>
                  <a:pt x="1134" y="125"/>
                  <a:pt x="1134" y="125"/>
                  <a:pt x="1135" y="125"/>
                </a:cubicBezTo>
                <a:cubicBezTo>
                  <a:pt x="1135" y="125"/>
                  <a:pt x="1135" y="125"/>
                  <a:pt x="1135" y="125"/>
                </a:cubicBezTo>
                <a:cubicBezTo>
                  <a:pt x="1135" y="125"/>
                  <a:pt x="1136" y="125"/>
                  <a:pt x="1136" y="125"/>
                </a:cubicBezTo>
                <a:cubicBezTo>
                  <a:pt x="1136" y="125"/>
                  <a:pt x="1136" y="125"/>
                  <a:pt x="1136" y="126"/>
                </a:cubicBezTo>
                <a:cubicBezTo>
                  <a:pt x="1136" y="126"/>
                  <a:pt x="1137" y="126"/>
                  <a:pt x="1137" y="126"/>
                </a:cubicBezTo>
                <a:cubicBezTo>
                  <a:pt x="1137" y="126"/>
                  <a:pt x="1137" y="126"/>
                  <a:pt x="1138" y="127"/>
                </a:cubicBezTo>
                <a:cubicBezTo>
                  <a:pt x="1138" y="127"/>
                  <a:pt x="1138" y="127"/>
                  <a:pt x="1138" y="127"/>
                </a:cubicBezTo>
                <a:cubicBezTo>
                  <a:pt x="1138" y="127"/>
                  <a:pt x="1138" y="127"/>
                  <a:pt x="1138" y="126"/>
                </a:cubicBezTo>
                <a:cubicBezTo>
                  <a:pt x="1138" y="126"/>
                  <a:pt x="1138" y="126"/>
                  <a:pt x="1138" y="126"/>
                </a:cubicBezTo>
                <a:cubicBezTo>
                  <a:pt x="1138" y="126"/>
                  <a:pt x="1138" y="126"/>
                  <a:pt x="1138" y="125"/>
                </a:cubicBezTo>
                <a:cubicBezTo>
                  <a:pt x="1138" y="125"/>
                  <a:pt x="1138" y="125"/>
                  <a:pt x="1138" y="125"/>
                </a:cubicBezTo>
                <a:close/>
                <a:moveTo>
                  <a:pt x="1198" y="43"/>
                </a:moveTo>
                <a:cubicBezTo>
                  <a:pt x="1198" y="43"/>
                  <a:pt x="1197" y="43"/>
                  <a:pt x="1197" y="43"/>
                </a:cubicBezTo>
                <a:cubicBezTo>
                  <a:pt x="1197" y="42"/>
                  <a:pt x="1196" y="42"/>
                  <a:pt x="1196" y="42"/>
                </a:cubicBezTo>
                <a:cubicBezTo>
                  <a:pt x="1196" y="42"/>
                  <a:pt x="1196" y="42"/>
                  <a:pt x="1195" y="42"/>
                </a:cubicBezTo>
                <a:cubicBezTo>
                  <a:pt x="1195" y="42"/>
                  <a:pt x="1195" y="42"/>
                  <a:pt x="1195" y="43"/>
                </a:cubicBezTo>
                <a:cubicBezTo>
                  <a:pt x="1195" y="43"/>
                  <a:pt x="1195" y="43"/>
                  <a:pt x="1195" y="43"/>
                </a:cubicBezTo>
                <a:cubicBezTo>
                  <a:pt x="1196" y="43"/>
                  <a:pt x="1196" y="43"/>
                  <a:pt x="1197" y="43"/>
                </a:cubicBezTo>
                <a:cubicBezTo>
                  <a:pt x="1197" y="43"/>
                  <a:pt x="1197" y="44"/>
                  <a:pt x="1197" y="44"/>
                </a:cubicBezTo>
                <a:cubicBezTo>
                  <a:pt x="1198" y="44"/>
                  <a:pt x="1198" y="44"/>
                  <a:pt x="1198" y="44"/>
                </a:cubicBezTo>
                <a:cubicBezTo>
                  <a:pt x="1199" y="44"/>
                  <a:pt x="1199" y="44"/>
                  <a:pt x="1200" y="44"/>
                </a:cubicBezTo>
                <a:cubicBezTo>
                  <a:pt x="1200" y="43"/>
                  <a:pt x="1200" y="43"/>
                  <a:pt x="1200" y="43"/>
                </a:cubicBezTo>
                <a:cubicBezTo>
                  <a:pt x="1200" y="43"/>
                  <a:pt x="1200" y="43"/>
                  <a:pt x="1199" y="43"/>
                </a:cubicBezTo>
                <a:cubicBezTo>
                  <a:pt x="1199" y="43"/>
                  <a:pt x="1198" y="43"/>
                  <a:pt x="1198" y="43"/>
                </a:cubicBezTo>
                <a:close/>
                <a:moveTo>
                  <a:pt x="1145" y="83"/>
                </a:moveTo>
                <a:cubicBezTo>
                  <a:pt x="1145" y="83"/>
                  <a:pt x="1145" y="83"/>
                  <a:pt x="1145" y="83"/>
                </a:cubicBezTo>
                <a:cubicBezTo>
                  <a:pt x="1146" y="83"/>
                  <a:pt x="1146" y="83"/>
                  <a:pt x="1147" y="82"/>
                </a:cubicBezTo>
                <a:cubicBezTo>
                  <a:pt x="1147" y="82"/>
                  <a:pt x="1147" y="82"/>
                  <a:pt x="1147" y="82"/>
                </a:cubicBezTo>
                <a:cubicBezTo>
                  <a:pt x="1147" y="82"/>
                  <a:pt x="1147" y="82"/>
                  <a:pt x="1147" y="82"/>
                </a:cubicBezTo>
                <a:cubicBezTo>
                  <a:pt x="1146" y="82"/>
                  <a:pt x="1146" y="82"/>
                  <a:pt x="1145" y="82"/>
                </a:cubicBezTo>
                <a:cubicBezTo>
                  <a:pt x="1145" y="82"/>
                  <a:pt x="1145" y="82"/>
                  <a:pt x="1144" y="82"/>
                </a:cubicBezTo>
                <a:cubicBezTo>
                  <a:pt x="1144" y="83"/>
                  <a:pt x="1144" y="83"/>
                  <a:pt x="1144" y="83"/>
                </a:cubicBezTo>
                <a:cubicBezTo>
                  <a:pt x="1144" y="83"/>
                  <a:pt x="1144" y="83"/>
                  <a:pt x="1144" y="83"/>
                </a:cubicBezTo>
                <a:cubicBezTo>
                  <a:pt x="1144" y="83"/>
                  <a:pt x="1145" y="83"/>
                  <a:pt x="1145" y="83"/>
                </a:cubicBezTo>
                <a:close/>
                <a:moveTo>
                  <a:pt x="1195" y="27"/>
                </a:moveTo>
                <a:cubicBezTo>
                  <a:pt x="1196" y="27"/>
                  <a:pt x="1197" y="27"/>
                  <a:pt x="1198" y="27"/>
                </a:cubicBezTo>
                <a:cubicBezTo>
                  <a:pt x="1198" y="27"/>
                  <a:pt x="1199" y="27"/>
                  <a:pt x="1199" y="27"/>
                </a:cubicBezTo>
                <a:cubicBezTo>
                  <a:pt x="1200" y="27"/>
                  <a:pt x="1200" y="27"/>
                  <a:pt x="1200" y="27"/>
                </a:cubicBezTo>
                <a:cubicBezTo>
                  <a:pt x="1200" y="27"/>
                  <a:pt x="1200" y="26"/>
                  <a:pt x="1200" y="26"/>
                </a:cubicBezTo>
                <a:cubicBezTo>
                  <a:pt x="1199" y="26"/>
                  <a:pt x="1198" y="26"/>
                  <a:pt x="1198" y="26"/>
                </a:cubicBezTo>
                <a:cubicBezTo>
                  <a:pt x="1197" y="26"/>
                  <a:pt x="1197" y="25"/>
                  <a:pt x="1196" y="25"/>
                </a:cubicBezTo>
                <a:cubicBezTo>
                  <a:pt x="1195" y="26"/>
                  <a:pt x="1195" y="26"/>
                  <a:pt x="1194" y="26"/>
                </a:cubicBezTo>
                <a:cubicBezTo>
                  <a:pt x="1194" y="26"/>
                  <a:pt x="1194" y="26"/>
                  <a:pt x="1194" y="27"/>
                </a:cubicBezTo>
                <a:cubicBezTo>
                  <a:pt x="1194" y="27"/>
                  <a:pt x="1194" y="27"/>
                  <a:pt x="1194" y="27"/>
                </a:cubicBezTo>
                <a:cubicBezTo>
                  <a:pt x="1194" y="27"/>
                  <a:pt x="1195" y="27"/>
                  <a:pt x="1195" y="27"/>
                </a:cubicBezTo>
                <a:close/>
                <a:moveTo>
                  <a:pt x="1142" y="89"/>
                </a:moveTo>
                <a:cubicBezTo>
                  <a:pt x="1141" y="89"/>
                  <a:pt x="1141" y="89"/>
                  <a:pt x="1141" y="88"/>
                </a:cubicBezTo>
                <a:cubicBezTo>
                  <a:pt x="1140" y="89"/>
                  <a:pt x="1140" y="89"/>
                  <a:pt x="1139" y="89"/>
                </a:cubicBezTo>
                <a:cubicBezTo>
                  <a:pt x="1139" y="89"/>
                  <a:pt x="1139" y="89"/>
                  <a:pt x="1139" y="89"/>
                </a:cubicBezTo>
                <a:cubicBezTo>
                  <a:pt x="1139" y="89"/>
                  <a:pt x="1139" y="90"/>
                  <a:pt x="1139" y="90"/>
                </a:cubicBezTo>
                <a:cubicBezTo>
                  <a:pt x="1139" y="90"/>
                  <a:pt x="1138" y="90"/>
                  <a:pt x="1138" y="90"/>
                </a:cubicBezTo>
                <a:cubicBezTo>
                  <a:pt x="1138" y="90"/>
                  <a:pt x="1137" y="91"/>
                  <a:pt x="1137" y="91"/>
                </a:cubicBezTo>
                <a:cubicBezTo>
                  <a:pt x="1137" y="91"/>
                  <a:pt x="1137" y="91"/>
                  <a:pt x="1136" y="90"/>
                </a:cubicBezTo>
                <a:cubicBezTo>
                  <a:pt x="1136" y="90"/>
                  <a:pt x="1136" y="90"/>
                  <a:pt x="1136" y="90"/>
                </a:cubicBezTo>
                <a:cubicBezTo>
                  <a:pt x="1136" y="90"/>
                  <a:pt x="1136" y="89"/>
                  <a:pt x="1135" y="89"/>
                </a:cubicBezTo>
                <a:cubicBezTo>
                  <a:pt x="1135" y="89"/>
                  <a:pt x="1135" y="89"/>
                  <a:pt x="1135" y="89"/>
                </a:cubicBezTo>
                <a:cubicBezTo>
                  <a:pt x="1135" y="90"/>
                  <a:pt x="1135" y="90"/>
                  <a:pt x="1135" y="90"/>
                </a:cubicBezTo>
                <a:cubicBezTo>
                  <a:pt x="1135" y="91"/>
                  <a:pt x="1135" y="91"/>
                  <a:pt x="1135" y="91"/>
                </a:cubicBezTo>
                <a:cubicBezTo>
                  <a:pt x="1135" y="91"/>
                  <a:pt x="1135" y="92"/>
                  <a:pt x="1136" y="92"/>
                </a:cubicBezTo>
                <a:cubicBezTo>
                  <a:pt x="1136" y="92"/>
                  <a:pt x="1136" y="92"/>
                  <a:pt x="1136" y="92"/>
                </a:cubicBezTo>
                <a:cubicBezTo>
                  <a:pt x="1137" y="92"/>
                  <a:pt x="1137" y="92"/>
                  <a:pt x="1137" y="92"/>
                </a:cubicBezTo>
                <a:cubicBezTo>
                  <a:pt x="1137" y="92"/>
                  <a:pt x="1137" y="92"/>
                  <a:pt x="1137" y="92"/>
                </a:cubicBezTo>
                <a:cubicBezTo>
                  <a:pt x="1137" y="93"/>
                  <a:pt x="1136" y="93"/>
                  <a:pt x="1136" y="93"/>
                </a:cubicBezTo>
                <a:cubicBezTo>
                  <a:pt x="1136" y="93"/>
                  <a:pt x="1136" y="93"/>
                  <a:pt x="1136" y="93"/>
                </a:cubicBezTo>
                <a:cubicBezTo>
                  <a:pt x="1137" y="93"/>
                  <a:pt x="1137" y="94"/>
                  <a:pt x="1137" y="94"/>
                </a:cubicBezTo>
                <a:cubicBezTo>
                  <a:pt x="1137" y="94"/>
                  <a:pt x="1138" y="93"/>
                  <a:pt x="1138" y="93"/>
                </a:cubicBezTo>
                <a:cubicBezTo>
                  <a:pt x="1138" y="93"/>
                  <a:pt x="1138" y="93"/>
                  <a:pt x="1138" y="93"/>
                </a:cubicBezTo>
                <a:cubicBezTo>
                  <a:pt x="1138" y="93"/>
                  <a:pt x="1139" y="94"/>
                  <a:pt x="1139" y="94"/>
                </a:cubicBezTo>
                <a:cubicBezTo>
                  <a:pt x="1139" y="94"/>
                  <a:pt x="1140" y="94"/>
                  <a:pt x="1140" y="94"/>
                </a:cubicBezTo>
                <a:cubicBezTo>
                  <a:pt x="1140" y="94"/>
                  <a:pt x="1140" y="94"/>
                  <a:pt x="1141" y="93"/>
                </a:cubicBezTo>
                <a:cubicBezTo>
                  <a:pt x="1141" y="94"/>
                  <a:pt x="1141" y="94"/>
                  <a:pt x="1141" y="94"/>
                </a:cubicBezTo>
                <a:cubicBezTo>
                  <a:pt x="1141" y="94"/>
                  <a:pt x="1141" y="94"/>
                  <a:pt x="1141" y="94"/>
                </a:cubicBezTo>
                <a:cubicBezTo>
                  <a:pt x="1140" y="94"/>
                  <a:pt x="1140" y="94"/>
                  <a:pt x="1140" y="94"/>
                </a:cubicBezTo>
                <a:cubicBezTo>
                  <a:pt x="1139" y="94"/>
                  <a:pt x="1139" y="94"/>
                  <a:pt x="1138" y="94"/>
                </a:cubicBezTo>
                <a:cubicBezTo>
                  <a:pt x="1138" y="94"/>
                  <a:pt x="1138" y="94"/>
                  <a:pt x="1138" y="94"/>
                </a:cubicBezTo>
                <a:cubicBezTo>
                  <a:pt x="1137" y="94"/>
                  <a:pt x="1137" y="94"/>
                  <a:pt x="1137" y="94"/>
                </a:cubicBezTo>
                <a:cubicBezTo>
                  <a:pt x="1137" y="94"/>
                  <a:pt x="1137" y="94"/>
                  <a:pt x="1136" y="95"/>
                </a:cubicBezTo>
                <a:cubicBezTo>
                  <a:pt x="1137" y="95"/>
                  <a:pt x="1137" y="95"/>
                  <a:pt x="1137" y="95"/>
                </a:cubicBezTo>
                <a:cubicBezTo>
                  <a:pt x="1137" y="96"/>
                  <a:pt x="1137" y="96"/>
                  <a:pt x="1138" y="96"/>
                </a:cubicBezTo>
                <a:cubicBezTo>
                  <a:pt x="1138" y="96"/>
                  <a:pt x="1138" y="96"/>
                  <a:pt x="1138" y="96"/>
                </a:cubicBezTo>
                <a:cubicBezTo>
                  <a:pt x="1139" y="96"/>
                  <a:pt x="1139" y="96"/>
                  <a:pt x="1139" y="96"/>
                </a:cubicBezTo>
                <a:cubicBezTo>
                  <a:pt x="1139" y="96"/>
                  <a:pt x="1139" y="96"/>
                  <a:pt x="1140" y="96"/>
                </a:cubicBezTo>
                <a:cubicBezTo>
                  <a:pt x="1139" y="96"/>
                  <a:pt x="1139" y="96"/>
                  <a:pt x="1139" y="96"/>
                </a:cubicBezTo>
                <a:cubicBezTo>
                  <a:pt x="1139" y="96"/>
                  <a:pt x="1138" y="97"/>
                  <a:pt x="1138" y="97"/>
                </a:cubicBezTo>
                <a:cubicBezTo>
                  <a:pt x="1137" y="97"/>
                  <a:pt x="1137" y="97"/>
                  <a:pt x="1137" y="96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7" y="97"/>
                  <a:pt x="1137" y="97"/>
                  <a:pt x="1137" y="97"/>
                </a:cubicBezTo>
                <a:cubicBezTo>
                  <a:pt x="1138" y="97"/>
                  <a:pt x="1138" y="98"/>
                  <a:pt x="1138" y="98"/>
                </a:cubicBezTo>
                <a:cubicBezTo>
                  <a:pt x="1138" y="98"/>
                  <a:pt x="1138" y="98"/>
                  <a:pt x="1138" y="98"/>
                </a:cubicBezTo>
                <a:cubicBezTo>
                  <a:pt x="1138" y="98"/>
                  <a:pt x="1138" y="98"/>
                  <a:pt x="1138" y="98"/>
                </a:cubicBezTo>
                <a:cubicBezTo>
                  <a:pt x="1137" y="98"/>
                  <a:pt x="1137" y="98"/>
                  <a:pt x="1136" y="98"/>
                </a:cubicBezTo>
                <a:cubicBezTo>
                  <a:pt x="1136" y="98"/>
                  <a:pt x="1136" y="98"/>
                  <a:pt x="1136" y="98"/>
                </a:cubicBezTo>
                <a:cubicBezTo>
                  <a:pt x="1137" y="98"/>
                  <a:pt x="1137" y="98"/>
                  <a:pt x="1137" y="99"/>
                </a:cubicBezTo>
                <a:cubicBezTo>
                  <a:pt x="1137" y="99"/>
                  <a:pt x="1138" y="99"/>
                  <a:pt x="1138" y="99"/>
                </a:cubicBezTo>
                <a:cubicBezTo>
                  <a:pt x="1139" y="99"/>
                  <a:pt x="1139" y="99"/>
                  <a:pt x="1140" y="100"/>
                </a:cubicBezTo>
                <a:cubicBezTo>
                  <a:pt x="1140" y="100"/>
                  <a:pt x="1140" y="100"/>
                  <a:pt x="1141" y="100"/>
                </a:cubicBezTo>
                <a:cubicBezTo>
                  <a:pt x="1141" y="100"/>
                  <a:pt x="1141" y="100"/>
                  <a:pt x="1141" y="100"/>
                </a:cubicBezTo>
                <a:cubicBezTo>
                  <a:pt x="1141" y="100"/>
                  <a:pt x="1141" y="100"/>
                  <a:pt x="1141" y="101"/>
                </a:cubicBezTo>
                <a:cubicBezTo>
                  <a:pt x="1141" y="100"/>
                  <a:pt x="1140" y="100"/>
                  <a:pt x="1140" y="100"/>
                </a:cubicBezTo>
                <a:cubicBezTo>
                  <a:pt x="1140" y="100"/>
                  <a:pt x="1139" y="100"/>
                  <a:pt x="1139" y="100"/>
                </a:cubicBezTo>
                <a:cubicBezTo>
                  <a:pt x="1139" y="100"/>
                  <a:pt x="1138" y="99"/>
                  <a:pt x="1138" y="99"/>
                </a:cubicBezTo>
                <a:cubicBezTo>
                  <a:pt x="1138" y="99"/>
                  <a:pt x="1137" y="99"/>
                  <a:pt x="1137" y="99"/>
                </a:cubicBezTo>
                <a:cubicBezTo>
                  <a:pt x="1137" y="99"/>
                  <a:pt x="1136" y="99"/>
                  <a:pt x="1136" y="99"/>
                </a:cubicBezTo>
                <a:cubicBezTo>
                  <a:pt x="1136" y="99"/>
                  <a:pt x="1135" y="99"/>
                  <a:pt x="1135" y="99"/>
                </a:cubicBezTo>
                <a:cubicBezTo>
                  <a:pt x="1135" y="99"/>
                  <a:pt x="1135" y="99"/>
                  <a:pt x="1135" y="100"/>
                </a:cubicBezTo>
                <a:cubicBezTo>
                  <a:pt x="1135" y="100"/>
                  <a:pt x="1135" y="100"/>
                  <a:pt x="1134" y="100"/>
                </a:cubicBezTo>
                <a:cubicBezTo>
                  <a:pt x="1134" y="100"/>
                  <a:pt x="1134" y="100"/>
                  <a:pt x="1134" y="100"/>
                </a:cubicBezTo>
                <a:cubicBezTo>
                  <a:pt x="1135" y="100"/>
                  <a:pt x="1135" y="101"/>
                  <a:pt x="1135" y="101"/>
                </a:cubicBezTo>
                <a:cubicBezTo>
                  <a:pt x="1135" y="101"/>
                  <a:pt x="1135" y="101"/>
                  <a:pt x="1135" y="101"/>
                </a:cubicBezTo>
                <a:cubicBezTo>
                  <a:pt x="1134" y="101"/>
                  <a:pt x="1134" y="101"/>
                  <a:pt x="1134" y="101"/>
                </a:cubicBezTo>
                <a:cubicBezTo>
                  <a:pt x="1134" y="101"/>
                  <a:pt x="1134" y="101"/>
                  <a:pt x="1134" y="101"/>
                </a:cubicBezTo>
                <a:cubicBezTo>
                  <a:pt x="1133" y="101"/>
                  <a:pt x="1133" y="101"/>
                  <a:pt x="1133" y="101"/>
                </a:cubicBezTo>
                <a:cubicBezTo>
                  <a:pt x="1133" y="102"/>
                  <a:pt x="1133" y="102"/>
                  <a:pt x="1132" y="102"/>
                </a:cubicBezTo>
                <a:cubicBezTo>
                  <a:pt x="1132" y="102"/>
                  <a:pt x="1133" y="102"/>
                  <a:pt x="1133" y="102"/>
                </a:cubicBezTo>
                <a:cubicBezTo>
                  <a:pt x="1132" y="102"/>
                  <a:pt x="1132" y="102"/>
                  <a:pt x="1132" y="102"/>
                </a:cubicBezTo>
                <a:cubicBezTo>
                  <a:pt x="1132" y="102"/>
                  <a:pt x="1132" y="103"/>
                  <a:pt x="1131" y="103"/>
                </a:cubicBezTo>
                <a:cubicBezTo>
                  <a:pt x="1131" y="103"/>
                  <a:pt x="1131" y="103"/>
                  <a:pt x="1131" y="103"/>
                </a:cubicBezTo>
                <a:cubicBezTo>
                  <a:pt x="1132" y="103"/>
                  <a:pt x="1132" y="103"/>
                  <a:pt x="1132" y="104"/>
                </a:cubicBezTo>
                <a:cubicBezTo>
                  <a:pt x="1133" y="104"/>
                  <a:pt x="1133" y="104"/>
                  <a:pt x="1133" y="104"/>
                </a:cubicBezTo>
                <a:cubicBezTo>
                  <a:pt x="1134" y="104"/>
                  <a:pt x="1134" y="104"/>
                  <a:pt x="1134" y="104"/>
                </a:cubicBezTo>
                <a:cubicBezTo>
                  <a:pt x="1134" y="104"/>
                  <a:pt x="1134" y="104"/>
                  <a:pt x="1134" y="104"/>
                </a:cubicBezTo>
                <a:cubicBezTo>
                  <a:pt x="1135" y="104"/>
                  <a:pt x="1135" y="103"/>
                  <a:pt x="1135" y="103"/>
                </a:cubicBezTo>
                <a:cubicBezTo>
                  <a:pt x="1136" y="103"/>
                  <a:pt x="1136" y="103"/>
                  <a:pt x="1137" y="103"/>
                </a:cubicBezTo>
                <a:cubicBezTo>
                  <a:pt x="1137" y="103"/>
                  <a:pt x="1138" y="103"/>
                  <a:pt x="1138" y="103"/>
                </a:cubicBezTo>
                <a:cubicBezTo>
                  <a:pt x="1138" y="103"/>
                  <a:pt x="1139" y="103"/>
                  <a:pt x="1139" y="103"/>
                </a:cubicBezTo>
                <a:cubicBezTo>
                  <a:pt x="1139" y="103"/>
                  <a:pt x="1139" y="103"/>
                  <a:pt x="1140" y="103"/>
                </a:cubicBezTo>
                <a:cubicBezTo>
                  <a:pt x="1140" y="103"/>
                  <a:pt x="1140" y="103"/>
                  <a:pt x="1140" y="104"/>
                </a:cubicBezTo>
                <a:cubicBezTo>
                  <a:pt x="1139" y="104"/>
                  <a:pt x="1139" y="104"/>
                  <a:pt x="1139" y="104"/>
                </a:cubicBezTo>
                <a:cubicBezTo>
                  <a:pt x="1139" y="103"/>
                  <a:pt x="1139" y="103"/>
                  <a:pt x="1138" y="103"/>
                </a:cubicBezTo>
                <a:cubicBezTo>
                  <a:pt x="1138" y="103"/>
                  <a:pt x="1138" y="103"/>
                  <a:pt x="1138" y="103"/>
                </a:cubicBezTo>
                <a:cubicBezTo>
                  <a:pt x="1138" y="103"/>
                  <a:pt x="1137" y="103"/>
                  <a:pt x="1137" y="103"/>
                </a:cubicBezTo>
                <a:cubicBezTo>
                  <a:pt x="1137" y="104"/>
                  <a:pt x="1136" y="104"/>
                  <a:pt x="1136" y="104"/>
                </a:cubicBezTo>
                <a:cubicBezTo>
                  <a:pt x="1135" y="104"/>
                  <a:pt x="1135" y="104"/>
                  <a:pt x="1135" y="104"/>
                </a:cubicBezTo>
                <a:cubicBezTo>
                  <a:pt x="1135" y="105"/>
                  <a:pt x="1135" y="105"/>
                  <a:pt x="1135" y="105"/>
                </a:cubicBezTo>
                <a:cubicBezTo>
                  <a:pt x="1135" y="105"/>
                  <a:pt x="1135" y="105"/>
                  <a:pt x="1135" y="106"/>
                </a:cubicBezTo>
                <a:cubicBezTo>
                  <a:pt x="1135" y="106"/>
                  <a:pt x="1135" y="106"/>
                  <a:pt x="1135" y="106"/>
                </a:cubicBezTo>
                <a:cubicBezTo>
                  <a:pt x="1135" y="106"/>
                  <a:pt x="1134" y="106"/>
                  <a:pt x="1134" y="106"/>
                </a:cubicBezTo>
                <a:cubicBezTo>
                  <a:pt x="1135" y="106"/>
                  <a:pt x="1136" y="106"/>
                  <a:pt x="1136" y="106"/>
                </a:cubicBezTo>
                <a:cubicBezTo>
                  <a:pt x="1137" y="106"/>
                  <a:pt x="1137" y="106"/>
                  <a:pt x="1138" y="106"/>
                </a:cubicBezTo>
                <a:cubicBezTo>
                  <a:pt x="1138" y="106"/>
                  <a:pt x="1139" y="106"/>
                  <a:pt x="1139" y="106"/>
                </a:cubicBezTo>
                <a:cubicBezTo>
                  <a:pt x="1140" y="106"/>
                  <a:pt x="1140" y="106"/>
                  <a:pt x="1141" y="106"/>
                </a:cubicBezTo>
                <a:cubicBezTo>
                  <a:pt x="1141" y="106"/>
                  <a:pt x="1141" y="106"/>
                  <a:pt x="1141" y="107"/>
                </a:cubicBezTo>
                <a:cubicBezTo>
                  <a:pt x="1141" y="107"/>
                  <a:pt x="1142" y="107"/>
                  <a:pt x="1142" y="107"/>
                </a:cubicBezTo>
                <a:cubicBezTo>
                  <a:pt x="1143" y="107"/>
                  <a:pt x="1143" y="107"/>
                  <a:pt x="1143" y="107"/>
                </a:cubicBezTo>
                <a:cubicBezTo>
                  <a:pt x="1143" y="107"/>
                  <a:pt x="1143" y="106"/>
                  <a:pt x="1143" y="106"/>
                </a:cubicBezTo>
                <a:cubicBezTo>
                  <a:pt x="1143" y="106"/>
                  <a:pt x="1143" y="106"/>
                  <a:pt x="1143" y="106"/>
                </a:cubicBezTo>
                <a:cubicBezTo>
                  <a:pt x="1143" y="106"/>
                  <a:pt x="1143" y="106"/>
                  <a:pt x="1143" y="106"/>
                </a:cubicBezTo>
                <a:cubicBezTo>
                  <a:pt x="1144" y="106"/>
                  <a:pt x="1144" y="106"/>
                  <a:pt x="1144" y="107"/>
                </a:cubicBezTo>
                <a:cubicBezTo>
                  <a:pt x="1144" y="107"/>
                  <a:pt x="1145" y="107"/>
                  <a:pt x="1145" y="107"/>
                </a:cubicBezTo>
                <a:cubicBezTo>
                  <a:pt x="1145" y="107"/>
                  <a:pt x="1146" y="107"/>
                  <a:pt x="1147" y="107"/>
                </a:cubicBezTo>
                <a:cubicBezTo>
                  <a:pt x="1147" y="107"/>
                  <a:pt x="1147" y="107"/>
                  <a:pt x="1147" y="107"/>
                </a:cubicBezTo>
                <a:cubicBezTo>
                  <a:pt x="1147" y="107"/>
                  <a:pt x="1148" y="107"/>
                  <a:pt x="1148" y="107"/>
                </a:cubicBezTo>
                <a:cubicBezTo>
                  <a:pt x="1148" y="107"/>
                  <a:pt x="1148" y="106"/>
                  <a:pt x="1149" y="106"/>
                </a:cubicBezTo>
                <a:cubicBezTo>
                  <a:pt x="1149" y="106"/>
                  <a:pt x="1149" y="105"/>
                  <a:pt x="1149" y="105"/>
                </a:cubicBezTo>
                <a:cubicBezTo>
                  <a:pt x="1149" y="105"/>
                  <a:pt x="1149" y="105"/>
                  <a:pt x="1149" y="104"/>
                </a:cubicBezTo>
                <a:cubicBezTo>
                  <a:pt x="1149" y="104"/>
                  <a:pt x="1150" y="104"/>
                  <a:pt x="1150" y="104"/>
                </a:cubicBezTo>
                <a:cubicBezTo>
                  <a:pt x="1149" y="104"/>
                  <a:pt x="1149" y="103"/>
                  <a:pt x="1149" y="103"/>
                </a:cubicBezTo>
                <a:cubicBezTo>
                  <a:pt x="1149" y="103"/>
                  <a:pt x="1149" y="103"/>
                  <a:pt x="1148" y="102"/>
                </a:cubicBezTo>
                <a:cubicBezTo>
                  <a:pt x="1148" y="102"/>
                  <a:pt x="1148" y="102"/>
                  <a:pt x="1147" y="102"/>
                </a:cubicBezTo>
                <a:cubicBezTo>
                  <a:pt x="1147" y="102"/>
                  <a:pt x="1147" y="102"/>
                  <a:pt x="1146" y="102"/>
                </a:cubicBezTo>
                <a:cubicBezTo>
                  <a:pt x="1146" y="102"/>
                  <a:pt x="1146" y="102"/>
                  <a:pt x="1146" y="102"/>
                </a:cubicBezTo>
                <a:cubicBezTo>
                  <a:pt x="1146" y="102"/>
                  <a:pt x="1146" y="101"/>
                  <a:pt x="1147" y="101"/>
                </a:cubicBezTo>
                <a:cubicBezTo>
                  <a:pt x="1147" y="101"/>
                  <a:pt x="1147" y="102"/>
                  <a:pt x="1148" y="102"/>
                </a:cubicBezTo>
                <a:cubicBezTo>
                  <a:pt x="1148" y="102"/>
                  <a:pt x="1148" y="102"/>
                  <a:pt x="1148" y="102"/>
                </a:cubicBezTo>
                <a:cubicBezTo>
                  <a:pt x="1149" y="102"/>
                  <a:pt x="1149" y="102"/>
                  <a:pt x="1149" y="102"/>
                </a:cubicBezTo>
                <a:cubicBezTo>
                  <a:pt x="1149" y="102"/>
                  <a:pt x="1149" y="103"/>
                  <a:pt x="1149" y="103"/>
                </a:cubicBezTo>
                <a:cubicBezTo>
                  <a:pt x="1149" y="103"/>
                  <a:pt x="1149" y="103"/>
                  <a:pt x="1150" y="103"/>
                </a:cubicBezTo>
                <a:cubicBezTo>
                  <a:pt x="1150" y="103"/>
                  <a:pt x="1150" y="103"/>
                  <a:pt x="1150" y="103"/>
                </a:cubicBezTo>
                <a:cubicBezTo>
                  <a:pt x="1150" y="102"/>
                  <a:pt x="1150" y="102"/>
                  <a:pt x="1150" y="101"/>
                </a:cubicBezTo>
                <a:cubicBezTo>
                  <a:pt x="1149" y="101"/>
                  <a:pt x="1149" y="101"/>
                  <a:pt x="1149" y="100"/>
                </a:cubicBezTo>
                <a:cubicBezTo>
                  <a:pt x="1148" y="100"/>
                  <a:pt x="1148" y="99"/>
                  <a:pt x="1148" y="99"/>
                </a:cubicBezTo>
                <a:cubicBezTo>
                  <a:pt x="1148" y="99"/>
                  <a:pt x="1148" y="99"/>
                  <a:pt x="1148" y="99"/>
                </a:cubicBezTo>
                <a:cubicBezTo>
                  <a:pt x="1148" y="99"/>
                  <a:pt x="1149" y="99"/>
                  <a:pt x="1149" y="99"/>
                </a:cubicBezTo>
                <a:cubicBezTo>
                  <a:pt x="1149" y="100"/>
                  <a:pt x="1149" y="100"/>
                  <a:pt x="1149" y="100"/>
                </a:cubicBezTo>
                <a:cubicBezTo>
                  <a:pt x="1149" y="100"/>
                  <a:pt x="1150" y="100"/>
                  <a:pt x="1150" y="100"/>
                </a:cubicBezTo>
                <a:cubicBezTo>
                  <a:pt x="1150" y="100"/>
                  <a:pt x="1151" y="101"/>
                  <a:pt x="1151" y="101"/>
                </a:cubicBezTo>
                <a:cubicBezTo>
                  <a:pt x="1151" y="101"/>
                  <a:pt x="1151" y="100"/>
                  <a:pt x="1151" y="100"/>
                </a:cubicBezTo>
                <a:cubicBezTo>
                  <a:pt x="1151" y="100"/>
                  <a:pt x="1151" y="100"/>
                  <a:pt x="1151" y="100"/>
                </a:cubicBezTo>
                <a:cubicBezTo>
                  <a:pt x="1151" y="100"/>
                  <a:pt x="1151" y="100"/>
                  <a:pt x="1151" y="99"/>
                </a:cubicBezTo>
                <a:cubicBezTo>
                  <a:pt x="1151" y="99"/>
                  <a:pt x="1151" y="99"/>
                  <a:pt x="1151" y="99"/>
                </a:cubicBezTo>
                <a:cubicBezTo>
                  <a:pt x="1151" y="99"/>
                  <a:pt x="1151" y="99"/>
                  <a:pt x="1152" y="98"/>
                </a:cubicBezTo>
                <a:cubicBezTo>
                  <a:pt x="1152" y="98"/>
                  <a:pt x="1152" y="98"/>
                  <a:pt x="1152" y="98"/>
                </a:cubicBezTo>
                <a:cubicBezTo>
                  <a:pt x="1151" y="97"/>
                  <a:pt x="1151" y="97"/>
                  <a:pt x="1151" y="97"/>
                </a:cubicBezTo>
                <a:cubicBezTo>
                  <a:pt x="1150" y="97"/>
                  <a:pt x="1150" y="96"/>
                  <a:pt x="1150" y="96"/>
                </a:cubicBezTo>
                <a:cubicBezTo>
                  <a:pt x="1150" y="96"/>
                  <a:pt x="1150" y="96"/>
                  <a:pt x="1151" y="96"/>
                </a:cubicBezTo>
                <a:cubicBezTo>
                  <a:pt x="1151" y="96"/>
                  <a:pt x="1151" y="96"/>
                  <a:pt x="1151" y="96"/>
                </a:cubicBezTo>
                <a:cubicBezTo>
                  <a:pt x="1152" y="96"/>
                  <a:pt x="1152" y="96"/>
                  <a:pt x="1152" y="96"/>
                </a:cubicBezTo>
                <a:cubicBezTo>
                  <a:pt x="1152" y="96"/>
                  <a:pt x="1153" y="96"/>
                  <a:pt x="1153" y="96"/>
                </a:cubicBezTo>
                <a:cubicBezTo>
                  <a:pt x="1153" y="96"/>
                  <a:pt x="1153" y="95"/>
                  <a:pt x="1153" y="95"/>
                </a:cubicBezTo>
                <a:cubicBezTo>
                  <a:pt x="1152" y="95"/>
                  <a:pt x="1152" y="95"/>
                  <a:pt x="1152" y="95"/>
                </a:cubicBezTo>
                <a:cubicBezTo>
                  <a:pt x="1152" y="95"/>
                  <a:pt x="1152" y="95"/>
                  <a:pt x="1152" y="94"/>
                </a:cubicBezTo>
                <a:cubicBezTo>
                  <a:pt x="1152" y="94"/>
                  <a:pt x="1152" y="94"/>
                  <a:pt x="1153" y="94"/>
                </a:cubicBezTo>
                <a:cubicBezTo>
                  <a:pt x="1153" y="94"/>
                  <a:pt x="1153" y="95"/>
                  <a:pt x="1154" y="95"/>
                </a:cubicBezTo>
                <a:cubicBezTo>
                  <a:pt x="1154" y="95"/>
                  <a:pt x="1155" y="95"/>
                  <a:pt x="1155" y="95"/>
                </a:cubicBezTo>
                <a:cubicBezTo>
                  <a:pt x="1155" y="95"/>
                  <a:pt x="1156" y="95"/>
                  <a:pt x="1156" y="95"/>
                </a:cubicBezTo>
                <a:cubicBezTo>
                  <a:pt x="1155" y="95"/>
                  <a:pt x="1155" y="95"/>
                  <a:pt x="1155" y="95"/>
                </a:cubicBezTo>
                <a:cubicBezTo>
                  <a:pt x="1155" y="94"/>
                  <a:pt x="1155" y="94"/>
                  <a:pt x="1155" y="94"/>
                </a:cubicBezTo>
                <a:cubicBezTo>
                  <a:pt x="1155" y="94"/>
                  <a:pt x="1155" y="94"/>
                  <a:pt x="1156" y="94"/>
                </a:cubicBezTo>
                <a:cubicBezTo>
                  <a:pt x="1156" y="94"/>
                  <a:pt x="1156" y="94"/>
                  <a:pt x="1156" y="95"/>
                </a:cubicBezTo>
                <a:cubicBezTo>
                  <a:pt x="1157" y="94"/>
                  <a:pt x="1157" y="94"/>
                  <a:pt x="1157" y="94"/>
                </a:cubicBezTo>
                <a:cubicBezTo>
                  <a:pt x="1157" y="94"/>
                  <a:pt x="1157" y="94"/>
                  <a:pt x="1158" y="93"/>
                </a:cubicBezTo>
                <a:cubicBezTo>
                  <a:pt x="1157" y="93"/>
                  <a:pt x="1157" y="93"/>
                  <a:pt x="1157" y="93"/>
                </a:cubicBezTo>
                <a:cubicBezTo>
                  <a:pt x="1157" y="93"/>
                  <a:pt x="1157" y="93"/>
                  <a:pt x="1157" y="93"/>
                </a:cubicBezTo>
                <a:cubicBezTo>
                  <a:pt x="1158" y="93"/>
                  <a:pt x="1159" y="93"/>
                  <a:pt x="1159" y="93"/>
                </a:cubicBezTo>
                <a:cubicBezTo>
                  <a:pt x="1159" y="92"/>
                  <a:pt x="1159" y="92"/>
                  <a:pt x="1159" y="92"/>
                </a:cubicBezTo>
                <a:cubicBezTo>
                  <a:pt x="1159" y="92"/>
                  <a:pt x="1159" y="92"/>
                  <a:pt x="1158" y="92"/>
                </a:cubicBezTo>
                <a:cubicBezTo>
                  <a:pt x="1158" y="91"/>
                  <a:pt x="1158" y="91"/>
                  <a:pt x="1158" y="91"/>
                </a:cubicBezTo>
                <a:cubicBezTo>
                  <a:pt x="1158" y="91"/>
                  <a:pt x="1158" y="91"/>
                  <a:pt x="1159" y="90"/>
                </a:cubicBezTo>
                <a:cubicBezTo>
                  <a:pt x="1159" y="91"/>
                  <a:pt x="1159" y="91"/>
                  <a:pt x="1159" y="91"/>
                </a:cubicBezTo>
                <a:cubicBezTo>
                  <a:pt x="1159" y="91"/>
                  <a:pt x="1160" y="91"/>
                  <a:pt x="1160" y="91"/>
                </a:cubicBezTo>
                <a:cubicBezTo>
                  <a:pt x="1161" y="90"/>
                  <a:pt x="1161" y="90"/>
                  <a:pt x="1162" y="90"/>
                </a:cubicBezTo>
                <a:cubicBezTo>
                  <a:pt x="1162" y="89"/>
                  <a:pt x="1162" y="89"/>
                  <a:pt x="1162" y="89"/>
                </a:cubicBezTo>
                <a:cubicBezTo>
                  <a:pt x="1163" y="89"/>
                  <a:pt x="1163" y="89"/>
                  <a:pt x="1163" y="89"/>
                </a:cubicBezTo>
                <a:cubicBezTo>
                  <a:pt x="1163" y="88"/>
                  <a:pt x="1163" y="88"/>
                  <a:pt x="1163" y="88"/>
                </a:cubicBezTo>
                <a:cubicBezTo>
                  <a:pt x="1164" y="88"/>
                  <a:pt x="1165" y="87"/>
                  <a:pt x="1165" y="87"/>
                </a:cubicBezTo>
                <a:cubicBezTo>
                  <a:pt x="1166" y="87"/>
                  <a:pt x="1166" y="87"/>
                  <a:pt x="1166" y="86"/>
                </a:cubicBezTo>
                <a:cubicBezTo>
                  <a:pt x="1167" y="86"/>
                  <a:pt x="1167" y="85"/>
                  <a:pt x="1167" y="85"/>
                </a:cubicBezTo>
                <a:cubicBezTo>
                  <a:pt x="1167" y="85"/>
                  <a:pt x="1168" y="85"/>
                  <a:pt x="1168" y="85"/>
                </a:cubicBezTo>
                <a:cubicBezTo>
                  <a:pt x="1169" y="85"/>
                  <a:pt x="1170" y="85"/>
                  <a:pt x="1170" y="84"/>
                </a:cubicBezTo>
                <a:cubicBezTo>
                  <a:pt x="1171" y="84"/>
                  <a:pt x="1172" y="83"/>
                  <a:pt x="1173" y="83"/>
                </a:cubicBezTo>
                <a:cubicBezTo>
                  <a:pt x="1174" y="83"/>
                  <a:pt x="1174" y="82"/>
                  <a:pt x="1175" y="82"/>
                </a:cubicBezTo>
                <a:cubicBezTo>
                  <a:pt x="1175" y="82"/>
                  <a:pt x="1176" y="82"/>
                  <a:pt x="1176" y="82"/>
                </a:cubicBezTo>
                <a:cubicBezTo>
                  <a:pt x="1176" y="82"/>
                  <a:pt x="1177" y="82"/>
                  <a:pt x="1177" y="82"/>
                </a:cubicBezTo>
                <a:cubicBezTo>
                  <a:pt x="1178" y="81"/>
                  <a:pt x="1179" y="81"/>
                  <a:pt x="1179" y="81"/>
                </a:cubicBezTo>
                <a:cubicBezTo>
                  <a:pt x="1180" y="81"/>
                  <a:pt x="1180" y="81"/>
                  <a:pt x="1181" y="81"/>
                </a:cubicBezTo>
                <a:cubicBezTo>
                  <a:pt x="1181" y="81"/>
                  <a:pt x="1182" y="80"/>
                  <a:pt x="1182" y="80"/>
                </a:cubicBezTo>
                <a:cubicBezTo>
                  <a:pt x="1183" y="80"/>
                  <a:pt x="1183" y="80"/>
                  <a:pt x="1184" y="80"/>
                </a:cubicBezTo>
                <a:cubicBezTo>
                  <a:pt x="1184" y="80"/>
                  <a:pt x="1184" y="80"/>
                  <a:pt x="1184" y="80"/>
                </a:cubicBezTo>
                <a:cubicBezTo>
                  <a:pt x="1184" y="80"/>
                  <a:pt x="1185" y="80"/>
                  <a:pt x="1185" y="80"/>
                </a:cubicBezTo>
                <a:cubicBezTo>
                  <a:pt x="1185" y="80"/>
                  <a:pt x="1185" y="79"/>
                  <a:pt x="1185" y="79"/>
                </a:cubicBezTo>
                <a:cubicBezTo>
                  <a:pt x="1185" y="79"/>
                  <a:pt x="1185" y="79"/>
                  <a:pt x="1185" y="79"/>
                </a:cubicBezTo>
                <a:cubicBezTo>
                  <a:pt x="1185" y="79"/>
                  <a:pt x="1185" y="78"/>
                  <a:pt x="1186" y="78"/>
                </a:cubicBezTo>
                <a:cubicBezTo>
                  <a:pt x="1186" y="78"/>
                  <a:pt x="1186" y="78"/>
                  <a:pt x="1185" y="78"/>
                </a:cubicBezTo>
                <a:cubicBezTo>
                  <a:pt x="1186" y="77"/>
                  <a:pt x="1186" y="77"/>
                  <a:pt x="1186" y="77"/>
                </a:cubicBezTo>
                <a:cubicBezTo>
                  <a:pt x="1185" y="76"/>
                  <a:pt x="1185" y="76"/>
                  <a:pt x="1185" y="76"/>
                </a:cubicBezTo>
                <a:cubicBezTo>
                  <a:pt x="1185" y="76"/>
                  <a:pt x="1185" y="76"/>
                  <a:pt x="1184" y="76"/>
                </a:cubicBezTo>
                <a:cubicBezTo>
                  <a:pt x="1184" y="76"/>
                  <a:pt x="1184" y="76"/>
                  <a:pt x="1184" y="75"/>
                </a:cubicBezTo>
                <a:cubicBezTo>
                  <a:pt x="1185" y="75"/>
                  <a:pt x="1185" y="75"/>
                  <a:pt x="1185" y="74"/>
                </a:cubicBezTo>
                <a:cubicBezTo>
                  <a:pt x="1185" y="74"/>
                  <a:pt x="1185" y="74"/>
                  <a:pt x="1185" y="74"/>
                </a:cubicBezTo>
                <a:cubicBezTo>
                  <a:pt x="1184" y="74"/>
                  <a:pt x="1184" y="74"/>
                  <a:pt x="1184" y="74"/>
                </a:cubicBezTo>
                <a:cubicBezTo>
                  <a:pt x="1183" y="74"/>
                  <a:pt x="1183" y="73"/>
                  <a:pt x="1183" y="73"/>
                </a:cubicBezTo>
                <a:cubicBezTo>
                  <a:pt x="1183" y="73"/>
                  <a:pt x="1182" y="73"/>
                  <a:pt x="1182" y="73"/>
                </a:cubicBezTo>
                <a:cubicBezTo>
                  <a:pt x="1182" y="73"/>
                  <a:pt x="1182" y="73"/>
                  <a:pt x="1181" y="72"/>
                </a:cubicBezTo>
                <a:cubicBezTo>
                  <a:pt x="1181" y="72"/>
                  <a:pt x="1181" y="72"/>
                  <a:pt x="1181" y="72"/>
                </a:cubicBezTo>
                <a:cubicBezTo>
                  <a:pt x="1181" y="72"/>
                  <a:pt x="1181" y="72"/>
                  <a:pt x="1181" y="71"/>
                </a:cubicBezTo>
                <a:cubicBezTo>
                  <a:pt x="1181" y="72"/>
                  <a:pt x="1180" y="72"/>
                  <a:pt x="1180" y="72"/>
                </a:cubicBezTo>
                <a:cubicBezTo>
                  <a:pt x="1179" y="72"/>
                  <a:pt x="1179" y="72"/>
                  <a:pt x="1179" y="72"/>
                </a:cubicBezTo>
                <a:cubicBezTo>
                  <a:pt x="1179" y="72"/>
                  <a:pt x="1179" y="72"/>
                  <a:pt x="1179" y="72"/>
                </a:cubicBezTo>
                <a:cubicBezTo>
                  <a:pt x="1178" y="72"/>
                  <a:pt x="1178" y="72"/>
                  <a:pt x="1178" y="72"/>
                </a:cubicBezTo>
                <a:cubicBezTo>
                  <a:pt x="1177" y="72"/>
                  <a:pt x="1177" y="72"/>
                  <a:pt x="1177" y="72"/>
                </a:cubicBezTo>
                <a:cubicBezTo>
                  <a:pt x="1176" y="72"/>
                  <a:pt x="1176" y="72"/>
                  <a:pt x="1175" y="72"/>
                </a:cubicBezTo>
                <a:cubicBezTo>
                  <a:pt x="1175" y="72"/>
                  <a:pt x="1175" y="72"/>
                  <a:pt x="1175" y="73"/>
                </a:cubicBezTo>
                <a:cubicBezTo>
                  <a:pt x="1174" y="73"/>
                  <a:pt x="1174" y="73"/>
                  <a:pt x="1174" y="73"/>
                </a:cubicBezTo>
                <a:cubicBezTo>
                  <a:pt x="1174" y="73"/>
                  <a:pt x="1173" y="73"/>
                  <a:pt x="1173" y="73"/>
                </a:cubicBezTo>
                <a:cubicBezTo>
                  <a:pt x="1173" y="73"/>
                  <a:pt x="1172" y="73"/>
                  <a:pt x="1172" y="73"/>
                </a:cubicBezTo>
                <a:cubicBezTo>
                  <a:pt x="1172" y="73"/>
                  <a:pt x="1172" y="74"/>
                  <a:pt x="1172" y="74"/>
                </a:cubicBezTo>
                <a:cubicBezTo>
                  <a:pt x="1172" y="74"/>
                  <a:pt x="1171" y="74"/>
                  <a:pt x="1171" y="74"/>
                </a:cubicBezTo>
                <a:cubicBezTo>
                  <a:pt x="1171" y="74"/>
                  <a:pt x="1171" y="75"/>
                  <a:pt x="1171" y="75"/>
                </a:cubicBezTo>
                <a:cubicBezTo>
                  <a:pt x="1171" y="75"/>
                  <a:pt x="1171" y="75"/>
                  <a:pt x="1172" y="75"/>
                </a:cubicBezTo>
                <a:cubicBezTo>
                  <a:pt x="1172" y="76"/>
                  <a:pt x="1172" y="76"/>
                  <a:pt x="1172" y="76"/>
                </a:cubicBezTo>
                <a:cubicBezTo>
                  <a:pt x="1171" y="76"/>
                  <a:pt x="1171" y="76"/>
                  <a:pt x="1171" y="76"/>
                </a:cubicBezTo>
                <a:cubicBezTo>
                  <a:pt x="1170" y="76"/>
                  <a:pt x="1170" y="76"/>
                  <a:pt x="1170" y="76"/>
                </a:cubicBezTo>
                <a:cubicBezTo>
                  <a:pt x="1170" y="76"/>
                  <a:pt x="1170" y="76"/>
                  <a:pt x="1170" y="77"/>
                </a:cubicBezTo>
                <a:cubicBezTo>
                  <a:pt x="1170" y="77"/>
                  <a:pt x="1169" y="77"/>
                  <a:pt x="1169" y="77"/>
                </a:cubicBezTo>
                <a:cubicBezTo>
                  <a:pt x="1169" y="77"/>
                  <a:pt x="1169" y="77"/>
                  <a:pt x="1169" y="77"/>
                </a:cubicBezTo>
                <a:cubicBezTo>
                  <a:pt x="1168" y="78"/>
                  <a:pt x="1167" y="78"/>
                  <a:pt x="1166" y="78"/>
                </a:cubicBezTo>
                <a:cubicBezTo>
                  <a:pt x="1166" y="78"/>
                  <a:pt x="1166" y="78"/>
                  <a:pt x="1166" y="78"/>
                </a:cubicBezTo>
                <a:cubicBezTo>
                  <a:pt x="1165" y="78"/>
                  <a:pt x="1165" y="78"/>
                  <a:pt x="1165" y="78"/>
                </a:cubicBezTo>
                <a:cubicBezTo>
                  <a:pt x="1165" y="78"/>
                  <a:pt x="1164" y="78"/>
                  <a:pt x="1164" y="78"/>
                </a:cubicBezTo>
                <a:cubicBezTo>
                  <a:pt x="1164" y="78"/>
                  <a:pt x="1163" y="78"/>
                  <a:pt x="1163" y="78"/>
                </a:cubicBezTo>
                <a:cubicBezTo>
                  <a:pt x="1163" y="79"/>
                  <a:pt x="1162" y="79"/>
                  <a:pt x="1162" y="79"/>
                </a:cubicBezTo>
                <a:cubicBezTo>
                  <a:pt x="1162" y="79"/>
                  <a:pt x="1161" y="79"/>
                  <a:pt x="1161" y="79"/>
                </a:cubicBezTo>
                <a:cubicBezTo>
                  <a:pt x="1161" y="79"/>
                  <a:pt x="1161" y="79"/>
                  <a:pt x="1161" y="79"/>
                </a:cubicBezTo>
                <a:cubicBezTo>
                  <a:pt x="1161" y="79"/>
                  <a:pt x="1160" y="79"/>
                  <a:pt x="1160" y="78"/>
                </a:cubicBezTo>
                <a:cubicBezTo>
                  <a:pt x="1160" y="78"/>
                  <a:pt x="1160" y="78"/>
                  <a:pt x="1160" y="78"/>
                </a:cubicBezTo>
                <a:cubicBezTo>
                  <a:pt x="1160" y="79"/>
                  <a:pt x="1160" y="79"/>
                  <a:pt x="1160" y="79"/>
                </a:cubicBezTo>
                <a:cubicBezTo>
                  <a:pt x="1160" y="79"/>
                  <a:pt x="1160" y="79"/>
                  <a:pt x="1160" y="80"/>
                </a:cubicBezTo>
                <a:cubicBezTo>
                  <a:pt x="1160" y="80"/>
                  <a:pt x="1159" y="80"/>
                  <a:pt x="1159" y="80"/>
                </a:cubicBezTo>
                <a:cubicBezTo>
                  <a:pt x="1159" y="80"/>
                  <a:pt x="1159" y="79"/>
                  <a:pt x="1159" y="79"/>
                </a:cubicBezTo>
                <a:cubicBezTo>
                  <a:pt x="1159" y="79"/>
                  <a:pt x="1159" y="79"/>
                  <a:pt x="1158" y="79"/>
                </a:cubicBezTo>
                <a:cubicBezTo>
                  <a:pt x="1158" y="79"/>
                  <a:pt x="1157" y="79"/>
                  <a:pt x="1157" y="79"/>
                </a:cubicBezTo>
                <a:cubicBezTo>
                  <a:pt x="1156" y="79"/>
                  <a:pt x="1155" y="79"/>
                  <a:pt x="1154" y="79"/>
                </a:cubicBezTo>
                <a:cubicBezTo>
                  <a:pt x="1154" y="79"/>
                  <a:pt x="1154" y="79"/>
                  <a:pt x="1154" y="79"/>
                </a:cubicBezTo>
                <a:cubicBezTo>
                  <a:pt x="1154" y="79"/>
                  <a:pt x="1153" y="79"/>
                  <a:pt x="1153" y="79"/>
                </a:cubicBezTo>
                <a:cubicBezTo>
                  <a:pt x="1153" y="79"/>
                  <a:pt x="1153" y="79"/>
                  <a:pt x="1153" y="79"/>
                </a:cubicBezTo>
                <a:cubicBezTo>
                  <a:pt x="1153" y="80"/>
                  <a:pt x="1153" y="80"/>
                  <a:pt x="1153" y="80"/>
                </a:cubicBezTo>
                <a:cubicBezTo>
                  <a:pt x="1153" y="80"/>
                  <a:pt x="1153" y="80"/>
                  <a:pt x="1154" y="81"/>
                </a:cubicBezTo>
                <a:cubicBezTo>
                  <a:pt x="1154" y="81"/>
                  <a:pt x="1154" y="81"/>
                  <a:pt x="1153" y="81"/>
                </a:cubicBezTo>
                <a:cubicBezTo>
                  <a:pt x="1153" y="81"/>
                  <a:pt x="1153" y="81"/>
                  <a:pt x="1153" y="81"/>
                </a:cubicBezTo>
                <a:cubicBezTo>
                  <a:pt x="1153" y="81"/>
                  <a:pt x="1152" y="81"/>
                  <a:pt x="1152" y="82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0"/>
                  <a:pt x="1152" y="80"/>
                </a:cubicBezTo>
                <a:cubicBezTo>
                  <a:pt x="1152" y="80"/>
                  <a:pt x="1152" y="80"/>
                  <a:pt x="1151" y="80"/>
                </a:cubicBezTo>
                <a:cubicBezTo>
                  <a:pt x="1151" y="80"/>
                  <a:pt x="1151" y="81"/>
                  <a:pt x="1150" y="81"/>
                </a:cubicBezTo>
                <a:cubicBezTo>
                  <a:pt x="1150" y="81"/>
                  <a:pt x="1150" y="81"/>
                  <a:pt x="1149" y="81"/>
                </a:cubicBezTo>
                <a:cubicBezTo>
                  <a:pt x="1149" y="81"/>
                  <a:pt x="1149" y="81"/>
                  <a:pt x="1149" y="82"/>
                </a:cubicBezTo>
                <a:cubicBezTo>
                  <a:pt x="1150" y="82"/>
                  <a:pt x="1150" y="82"/>
                  <a:pt x="1150" y="82"/>
                </a:cubicBezTo>
                <a:cubicBezTo>
                  <a:pt x="1150" y="82"/>
                  <a:pt x="1150" y="82"/>
                  <a:pt x="1150" y="82"/>
                </a:cubicBezTo>
                <a:cubicBezTo>
                  <a:pt x="1149" y="82"/>
                  <a:pt x="1149" y="83"/>
                  <a:pt x="1149" y="83"/>
                </a:cubicBezTo>
                <a:cubicBezTo>
                  <a:pt x="1149" y="83"/>
                  <a:pt x="1148" y="83"/>
                  <a:pt x="1148" y="83"/>
                </a:cubicBezTo>
                <a:cubicBezTo>
                  <a:pt x="1147" y="83"/>
                  <a:pt x="1147" y="83"/>
                  <a:pt x="1147" y="83"/>
                </a:cubicBezTo>
                <a:cubicBezTo>
                  <a:pt x="1147" y="83"/>
                  <a:pt x="1147" y="83"/>
                  <a:pt x="1147" y="83"/>
                </a:cubicBezTo>
                <a:cubicBezTo>
                  <a:pt x="1146" y="83"/>
                  <a:pt x="1146" y="83"/>
                  <a:pt x="1146" y="83"/>
                </a:cubicBezTo>
                <a:cubicBezTo>
                  <a:pt x="1145" y="84"/>
                  <a:pt x="1145" y="84"/>
                  <a:pt x="1145" y="84"/>
                </a:cubicBezTo>
                <a:cubicBezTo>
                  <a:pt x="1145" y="84"/>
                  <a:pt x="1145" y="85"/>
                  <a:pt x="1145" y="85"/>
                </a:cubicBezTo>
                <a:cubicBezTo>
                  <a:pt x="1145" y="85"/>
                  <a:pt x="1145" y="85"/>
                  <a:pt x="1145" y="85"/>
                </a:cubicBezTo>
                <a:cubicBezTo>
                  <a:pt x="1145" y="85"/>
                  <a:pt x="1145" y="85"/>
                  <a:pt x="1146" y="85"/>
                </a:cubicBezTo>
                <a:cubicBezTo>
                  <a:pt x="1145" y="85"/>
                  <a:pt x="1145" y="86"/>
                  <a:pt x="1145" y="86"/>
                </a:cubicBezTo>
                <a:cubicBezTo>
                  <a:pt x="1144" y="86"/>
                  <a:pt x="1143" y="86"/>
                  <a:pt x="1143" y="86"/>
                </a:cubicBezTo>
                <a:cubicBezTo>
                  <a:pt x="1143" y="86"/>
                  <a:pt x="1142" y="86"/>
                  <a:pt x="1142" y="86"/>
                </a:cubicBezTo>
                <a:cubicBezTo>
                  <a:pt x="1142" y="86"/>
                  <a:pt x="1142" y="86"/>
                  <a:pt x="1142" y="87"/>
                </a:cubicBezTo>
                <a:cubicBezTo>
                  <a:pt x="1142" y="87"/>
                  <a:pt x="1142" y="87"/>
                  <a:pt x="1142" y="87"/>
                </a:cubicBezTo>
                <a:cubicBezTo>
                  <a:pt x="1142" y="87"/>
                  <a:pt x="1142" y="87"/>
                  <a:pt x="1142" y="87"/>
                </a:cubicBezTo>
                <a:cubicBezTo>
                  <a:pt x="1143" y="87"/>
                  <a:pt x="1143" y="87"/>
                  <a:pt x="1143" y="87"/>
                </a:cubicBezTo>
                <a:cubicBezTo>
                  <a:pt x="1143" y="87"/>
                  <a:pt x="1144" y="88"/>
                  <a:pt x="1144" y="88"/>
                </a:cubicBezTo>
                <a:cubicBezTo>
                  <a:pt x="1144" y="88"/>
                  <a:pt x="1144" y="88"/>
                  <a:pt x="1143" y="88"/>
                </a:cubicBezTo>
                <a:cubicBezTo>
                  <a:pt x="1143" y="88"/>
                  <a:pt x="1143" y="88"/>
                  <a:pt x="1144" y="89"/>
                </a:cubicBezTo>
                <a:cubicBezTo>
                  <a:pt x="1143" y="89"/>
                  <a:pt x="1143" y="89"/>
                  <a:pt x="1143" y="89"/>
                </a:cubicBezTo>
                <a:cubicBezTo>
                  <a:pt x="1142" y="89"/>
                  <a:pt x="1142" y="89"/>
                  <a:pt x="1142" y="89"/>
                </a:cubicBezTo>
                <a:close/>
                <a:moveTo>
                  <a:pt x="1168" y="139"/>
                </a:moveTo>
                <a:cubicBezTo>
                  <a:pt x="1168" y="139"/>
                  <a:pt x="1168" y="139"/>
                  <a:pt x="1168" y="140"/>
                </a:cubicBezTo>
                <a:cubicBezTo>
                  <a:pt x="1168" y="140"/>
                  <a:pt x="1169" y="140"/>
                  <a:pt x="1169" y="140"/>
                </a:cubicBezTo>
                <a:cubicBezTo>
                  <a:pt x="1170" y="141"/>
                  <a:pt x="1170" y="141"/>
                  <a:pt x="1171" y="141"/>
                </a:cubicBezTo>
                <a:cubicBezTo>
                  <a:pt x="1171" y="141"/>
                  <a:pt x="1171" y="141"/>
                  <a:pt x="1171" y="141"/>
                </a:cubicBezTo>
                <a:cubicBezTo>
                  <a:pt x="1170" y="140"/>
                  <a:pt x="1170" y="140"/>
                  <a:pt x="1169" y="140"/>
                </a:cubicBezTo>
                <a:cubicBezTo>
                  <a:pt x="1169" y="140"/>
                  <a:pt x="1169" y="139"/>
                  <a:pt x="1168" y="139"/>
                </a:cubicBezTo>
                <a:close/>
                <a:moveTo>
                  <a:pt x="1174" y="138"/>
                </a:moveTo>
                <a:cubicBezTo>
                  <a:pt x="1175" y="138"/>
                  <a:pt x="1175" y="138"/>
                  <a:pt x="1175" y="138"/>
                </a:cubicBezTo>
                <a:cubicBezTo>
                  <a:pt x="1175" y="137"/>
                  <a:pt x="1175" y="137"/>
                  <a:pt x="1175" y="136"/>
                </a:cubicBezTo>
                <a:cubicBezTo>
                  <a:pt x="1174" y="136"/>
                  <a:pt x="1173" y="136"/>
                  <a:pt x="1173" y="135"/>
                </a:cubicBezTo>
                <a:cubicBezTo>
                  <a:pt x="1172" y="135"/>
                  <a:pt x="1172" y="135"/>
                  <a:pt x="1172" y="134"/>
                </a:cubicBezTo>
                <a:cubicBezTo>
                  <a:pt x="1171" y="134"/>
                  <a:pt x="1171" y="134"/>
                  <a:pt x="1170" y="134"/>
                </a:cubicBezTo>
                <a:cubicBezTo>
                  <a:pt x="1170" y="134"/>
                  <a:pt x="1170" y="133"/>
                  <a:pt x="1169" y="133"/>
                </a:cubicBezTo>
                <a:cubicBezTo>
                  <a:pt x="1169" y="133"/>
                  <a:pt x="1168" y="133"/>
                  <a:pt x="1168" y="132"/>
                </a:cubicBezTo>
                <a:cubicBezTo>
                  <a:pt x="1168" y="132"/>
                  <a:pt x="1168" y="132"/>
                  <a:pt x="1168" y="132"/>
                </a:cubicBezTo>
                <a:cubicBezTo>
                  <a:pt x="1167" y="132"/>
                  <a:pt x="1167" y="131"/>
                  <a:pt x="1166" y="131"/>
                </a:cubicBezTo>
                <a:cubicBezTo>
                  <a:pt x="1166" y="131"/>
                  <a:pt x="1166" y="131"/>
                  <a:pt x="1166" y="131"/>
                </a:cubicBezTo>
                <a:cubicBezTo>
                  <a:pt x="1165" y="131"/>
                  <a:pt x="1165" y="131"/>
                  <a:pt x="1165" y="131"/>
                </a:cubicBezTo>
                <a:cubicBezTo>
                  <a:pt x="1165" y="131"/>
                  <a:pt x="1165" y="131"/>
                  <a:pt x="1165" y="132"/>
                </a:cubicBezTo>
                <a:cubicBezTo>
                  <a:pt x="1165" y="132"/>
                  <a:pt x="1164" y="132"/>
                  <a:pt x="1164" y="132"/>
                </a:cubicBezTo>
                <a:cubicBezTo>
                  <a:pt x="1164" y="132"/>
                  <a:pt x="1164" y="132"/>
                  <a:pt x="1165" y="133"/>
                </a:cubicBezTo>
                <a:cubicBezTo>
                  <a:pt x="1165" y="133"/>
                  <a:pt x="1165" y="133"/>
                  <a:pt x="1166" y="133"/>
                </a:cubicBezTo>
                <a:cubicBezTo>
                  <a:pt x="1166" y="133"/>
                  <a:pt x="1165" y="133"/>
                  <a:pt x="1165" y="133"/>
                </a:cubicBezTo>
                <a:cubicBezTo>
                  <a:pt x="1165" y="133"/>
                  <a:pt x="1165" y="133"/>
                  <a:pt x="1165" y="133"/>
                </a:cubicBezTo>
                <a:cubicBezTo>
                  <a:pt x="1164" y="133"/>
                  <a:pt x="1164" y="133"/>
                  <a:pt x="1164" y="133"/>
                </a:cubicBezTo>
                <a:cubicBezTo>
                  <a:pt x="1164" y="133"/>
                  <a:pt x="1164" y="133"/>
                  <a:pt x="1163" y="133"/>
                </a:cubicBezTo>
                <a:cubicBezTo>
                  <a:pt x="1164" y="133"/>
                  <a:pt x="1164" y="133"/>
                  <a:pt x="1164" y="133"/>
                </a:cubicBezTo>
                <a:cubicBezTo>
                  <a:pt x="1164" y="134"/>
                  <a:pt x="1165" y="134"/>
                  <a:pt x="1166" y="135"/>
                </a:cubicBezTo>
                <a:cubicBezTo>
                  <a:pt x="1166" y="135"/>
                  <a:pt x="1166" y="135"/>
                  <a:pt x="1167" y="136"/>
                </a:cubicBezTo>
                <a:cubicBezTo>
                  <a:pt x="1167" y="136"/>
                  <a:pt x="1167" y="136"/>
                  <a:pt x="1167" y="136"/>
                </a:cubicBezTo>
                <a:cubicBezTo>
                  <a:pt x="1168" y="136"/>
                  <a:pt x="1168" y="136"/>
                  <a:pt x="1168" y="136"/>
                </a:cubicBezTo>
                <a:cubicBezTo>
                  <a:pt x="1168" y="136"/>
                  <a:pt x="1168" y="136"/>
                  <a:pt x="1168" y="136"/>
                </a:cubicBezTo>
                <a:cubicBezTo>
                  <a:pt x="1168" y="136"/>
                  <a:pt x="1169" y="136"/>
                  <a:pt x="1169" y="136"/>
                </a:cubicBezTo>
                <a:cubicBezTo>
                  <a:pt x="1169" y="136"/>
                  <a:pt x="1170" y="136"/>
                  <a:pt x="1170" y="136"/>
                </a:cubicBezTo>
                <a:cubicBezTo>
                  <a:pt x="1170" y="136"/>
                  <a:pt x="1170" y="136"/>
                  <a:pt x="1170" y="136"/>
                </a:cubicBezTo>
                <a:cubicBezTo>
                  <a:pt x="1170" y="137"/>
                  <a:pt x="1171" y="137"/>
                  <a:pt x="1171" y="137"/>
                </a:cubicBezTo>
                <a:cubicBezTo>
                  <a:pt x="1171" y="137"/>
                  <a:pt x="1170" y="137"/>
                  <a:pt x="1170" y="137"/>
                </a:cubicBezTo>
                <a:cubicBezTo>
                  <a:pt x="1171" y="138"/>
                  <a:pt x="1171" y="138"/>
                  <a:pt x="1171" y="138"/>
                </a:cubicBezTo>
                <a:cubicBezTo>
                  <a:pt x="1171" y="138"/>
                  <a:pt x="1172" y="138"/>
                  <a:pt x="1172" y="138"/>
                </a:cubicBezTo>
                <a:cubicBezTo>
                  <a:pt x="1173" y="138"/>
                  <a:pt x="1173" y="138"/>
                  <a:pt x="1173" y="138"/>
                </a:cubicBezTo>
                <a:cubicBezTo>
                  <a:pt x="1174" y="138"/>
                  <a:pt x="1174" y="138"/>
                  <a:pt x="1174" y="138"/>
                </a:cubicBezTo>
                <a:close/>
                <a:moveTo>
                  <a:pt x="1172" y="143"/>
                </a:moveTo>
                <a:cubicBezTo>
                  <a:pt x="1172" y="143"/>
                  <a:pt x="1173" y="142"/>
                  <a:pt x="1173" y="142"/>
                </a:cubicBezTo>
                <a:cubicBezTo>
                  <a:pt x="1172" y="142"/>
                  <a:pt x="1172" y="142"/>
                  <a:pt x="1172" y="142"/>
                </a:cubicBezTo>
                <a:cubicBezTo>
                  <a:pt x="1172" y="142"/>
                  <a:pt x="1172" y="142"/>
                  <a:pt x="1172" y="143"/>
                </a:cubicBezTo>
                <a:close/>
                <a:moveTo>
                  <a:pt x="1123" y="28"/>
                </a:moveTo>
                <a:cubicBezTo>
                  <a:pt x="1124" y="28"/>
                  <a:pt x="1124" y="28"/>
                  <a:pt x="1125" y="28"/>
                </a:cubicBezTo>
                <a:cubicBezTo>
                  <a:pt x="1125" y="28"/>
                  <a:pt x="1126" y="28"/>
                  <a:pt x="1126" y="28"/>
                </a:cubicBezTo>
                <a:cubicBezTo>
                  <a:pt x="1126" y="27"/>
                  <a:pt x="1127" y="27"/>
                  <a:pt x="1127" y="27"/>
                </a:cubicBezTo>
                <a:cubicBezTo>
                  <a:pt x="1127" y="27"/>
                  <a:pt x="1127" y="27"/>
                  <a:pt x="1128" y="27"/>
                </a:cubicBezTo>
                <a:cubicBezTo>
                  <a:pt x="1128" y="27"/>
                  <a:pt x="1128" y="26"/>
                  <a:pt x="1128" y="26"/>
                </a:cubicBezTo>
                <a:cubicBezTo>
                  <a:pt x="1127" y="26"/>
                  <a:pt x="1127" y="26"/>
                  <a:pt x="1127" y="26"/>
                </a:cubicBezTo>
                <a:cubicBezTo>
                  <a:pt x="1127" y="26"/>
                  <a:pt x="1126" y="25"/>
                  <a:pt x="1126" y="25"/>
                </a:cubicBezTo>
                <a:cubicBezTo>
                  <a:pt x="1126" y="25"/>
                  <a:pt x="1125" y="25"/>
                  <a:pt x="1125" y="25"/>
                </a:cubicBezTo>
                <a:cubicBezTo>
                  <a:pt x="1125" y="25"/>
                  <a:pt x="1124" y="25"/>
                  <a:pt x="1123" y="25"/>
                </a:cubicBezTo>
                <a:cubicBezTo>
                  <a:pt x="1123" y="25"/>
                  <a:pt x="1122" y="26"/>
                  <a:pt x="1122" y="26"/>
                </a:cubicBezTo>
                <a:cubicBezTo>
                  <a:pt x="1122" y="26"/>
                  <a:pt x="1121" y="26"/>
                  <a:pt x="1121" y="26"/>
                </a:cubicBezTo>
                <a:cubicBezTo>
                  <a:pt x="1121" y="26"/>
                  <a:pt x="1121" y="26"/>
                  <a:pt x="1121" y="27"/>
                </a:cubicBezTo>
                <a:cubicBezTo>
                  <a:pt x="1122" y="27"/>
                  <a:pt x="1123" y="27"/>
                  <a:pt x="1123" y="28"/>
                </a:cubicBezTo>
                <a:close/>
                <a:moveTo>
                  <a:pt x="1229" y="107"/>
                </a:moveTo>
                <a:cubicBezTo>
                  <a:pt x="1229" y="107"/>
                  <a:pt x="1230" y="107"/>
                  <a:pt x="1230" y="107"/>
                </a:cubicBezTo>
                <a:cubicBezTo>
                  <a:pt x="1230" y="107"/>
                  <a:pt x="1230" y="107"/>
                  <a:pt x="1230" y="106"/>
                </a:cubicBezTo>
                <a:cubicBezTo>
                  <a:pt x="1230" y="106"/>
                  <a:pt x="1230" y="106"/>
                  <a:pt x="1230" y="106"/>
                </a:cubicBezTo>
                <a:cubicBezTo>
                  <a:pt x="1230" y="106"/>
                  <a:pt x="1231" y="106"/>
                  <a:pt x="1231" y="106"/>
                </a:cubicBezTo>
                <a:cubicBezTo>
                  <a:pt x="1231" y="106"/>
                  <a:pt x="1231" y="106"/>
                  <a:pt x="1231" y="106"/>
                </a:cubicBezTo>
                <a:cubicBezTo>
                  <a:pt x="1230" y="106"/>
                  <a:pt x="1230" y="106"/>
                  <a:pt x="1230" y="106"/>
                </a:cubicBezTo>
                <a:cubicBezTo>
                  <a:pt x="1229" y="106"/>
                  <a:pt x="1229" y="106"/>
                  <a:pt x="1228" y="106"/>
                </a:cubicBezTo>
                <a:cubicBezTo>
                  <a:pt x="1228" y="106"/>
                  <a:pt x="1227" y="107"/>
                  <a:pt x="1227" y="107"/>
                </a:cubicBezTo>
                <a:cubicBezTo>
                  <a:pt x="1227" y="107"/>
                  <a:pt x="1227" y="107"/>
                  <a:pt x="1227" y="107"/>
                </a:cubicBezTo>
                <a:cubicBezTo>
                  <a:pt x="1228" y="107"/>
                  <a:pt x="1228" y="107"/>
                  <a:pt x="1228" y="107"/>
                </a:cubicBezTo>
                <a:cubicBezTo>
                  <a:pt x="1229" y="107"/>
                  <a:pt x="1229" y="107"/>
                  <a:pt x="1229" y="107"/>
                </a:cubicBezTo>
                <a:close/>
                <a:moveTo>
                  <a:pt x="1235" y="110"/>
                </a:moveTo>
                <a:cubicBezTo>
                  <a:pt x="1235" y="110"/>
                  <a:pt x="1235" y="110"/>
                  <a:pt x="1236" y="110"/>
                </a:cubicBezTo>
                <a:cubicBezTo>
                  <a:pt x="1236" y="110"/>
                  <a:pt x="1236" y="110"/>
                  <a:pt x="1236" y="110"/>
                </a:cubicBezTo>
                <a:cubicBezTo>
                  <a:pt x="1235" y="110"/>
                  <a:pt x="1235" y="110"/>
                  <a:pt x="1234" y="109"/>
                </a:cubicBezTo>
                <a:cubicBezTo>
                  <a:pt x="1234" y="109"/>
                  <a:pt x="1233" y="109"/>
                  <a:pt x="1233" y="109"/>
                </a:cubicBezTo>
                <a:cubicBezTo>
                  <a:pt x="1233" y="109"/>
                  <a:pt x="1232" y="109"/>
                  <a:pt x="1232" y="109"/>
                </a:cubicBezTo>
                <a:cubicBezTo>
                  <a:pt x="1233" y="109"/>
                  <a:pt x="1233" y="110"/>
                  <a:pt x="1233" y="110"/>
                </a:cubicBezTo>
                <a:cubicBezTo>
                  <a:pt x="1234" y="110"/>
                  <a:pt x="1234" y="110"/>
                  <a:pt x="1235" y="110"/>
                </a:cubicBezTo>
                <a:close/>
                <a:moveTo>
                  <a:pt x="1206" y="109"/>
                </a:moveTo>
                <a:cubicBezTo>
                  <a:pt x="1206" y="109"/>
                  <a:pt x="1206" y="110"/>
                  <a:pt x="1206" y="110"/>
                </a:cubicBezTo>
                <a:cubicBezTo>
                  <a:pt x="1206" y="110"/>
                  <a:pt x="1206" y="110"/>
                  <a:pt x="1206" y="111"/>
                </a:cubicBezTo>
                <a:cubicBezTo>
                  <a:pt x="1207" y="111"/>
                  <a:pt x="1207" y="111"/>
                  <a:pt x="1207" y="111"/>
                </a:cubicBezTo>
                <a:cubicBezTo>
                  <a:pt x="1207" y="110"/>
                  <a:pt x="1207" y="110"/>
                  <a:pt x="1207" y="110"/>
                </a:cubicBezTo>
                <a:cubicBezTo>
                  <a:pt x="1207" y="110"/>
                  <a:pt x="1207" y="110"/>
                  <a:pt x="1207" y="110"/>
                </a:cubicBezTo>
                <a:cubicBezTo>
                  <a:pt x="1207" y="110"/>
                  <a:pt x="1207" y="110"/>
                  <a:pt x="1208" y="110"/>
                </a:cubicBezTo>
                <a:cubicBezTo>
                  <a:pt x="1208" y="110"/>
                  <a:pt x="1208" y="110"/>
                  <a:pt x="1208" y="111"/>
                </a:cubicBezTo>
                <a:cubicBezTo>
                  <a:pt x="1208" y="111"/>
                  <a:pt x="1208" y="110"/>
                  <a:pt x="1209" y="110"/>
                </a:cubicBezTo>
                <a:cubicBezTo>
                  <a:pt x="1209" y="111"/>
                  <a:pt x="1209" y="111"/>
                  <a:pt x="1209" y="111"/>
                </a:cubicBezTo>
                <a:cubicBezTo>
                  <a:pt x="1209" y="111"/>
                  <a:pt x="1210" y="111"/>
                  <a:pt x="1210" y="111"/>
                </a:cubicBezTo>
                <a:cubicBezTo>
                  <a:pt x="1210" y="110"/>
                  <a:pt x="1210" y="110"/>
                  <a:pt x="1210" y="110"/>
                </a:cubicBezTo>
                <a:cubicBezTo>
                  <a:pt x="1211" y="110"/>
                  <a:pt x="1211" y="110"/>
                  <a:pt x="1212" y="110"/>
                </a:cubicBezTo>
                <a:cubicBezTo>
                  <a:pt x="1212" y="110"/>
                  <a:pt x="1212" y="110"/>
                  <a:pt x="1213" y="110"/>
                </a:cubicBezTo>
                <a:cubicBezTo>
                  <a:pt x="1213" y="109"/>
                  <a:pt x="1213" y="109"/>
                  <a:pt x="1213" y="109"/>
                </a:cubicBezTo>
                <a:cubicBezTo>
                  <a:pt x="1213" y="109"/>
                  <a:pt x="1213" y="109"/>
                  <a:pt x="1213" y="108"/>
                </a:cubicBezTo>
                <a:cubicBezTo>
                  <a:pt x="1212" y="108"/>
                  <a:pt x="1212" y="108"/>
                  <a:pt x="1211" y="108"/>
                </a:cubicBezTo>
                <a:cubicBezTo>
                  <a:pt x="1211" y="107"/>
                  <a:pt x="1211" y="107"/>
                  <a:pt x="1211" y="107"/>
                </a:cubicBezTo>
                <a:cubicBezTo>
                  <a:pt x="1211" y="107"/>
                  <a:pt x="1210" y="106"/>
                  <a:pt x="1210" y="106"/>
                </a:cubicBezTo>
                <a:cubicBezTo>
                  <a:pt x="1210" y="106"/>
                  <a:pt x="1210" y="106"/>
                  <a:pt x="1209" y="106"/>
                </a:cubicBezTo>
                <a:cubicBezTo>
                  <a:pt x="1209" y="106"/>
                  <a:pt x="1209" y="106"/>
                  <a:pt x="1208" y="106"/>
                </a:cubicBezTo>
                <a:cubicBezTo>
                  <a:pt x="1208" y="106"/>
                  <a:pt x="1208" y="106"/>
                  <a:pt x="1207" y="106"/>
                </a:cubicBezTo>
                <a:cubicBezTo>
                  <a:pt x="1207" y="106"/>
                  <a:pt x="1207" y="106"/>
                  <a:pt x="1206" y="106"/>
                </a:cubicBezTo>
                <a:cubicBezTo>
                  <a:pt x="1206" y="106"/>
                  <a:pt x="1206" y="107"/>
                  <a:pt x="1205" y="107"/>
                </a:cubicBezTo>
                <a:cubicBezTo>
                  <a:pt x="1205" y="107"/>
                  <a:pt x="1205" y="107"/>
                  <a:pt x="1205" y="107"/>
                </a:cubicBezTo>
                <a:cubicBezTo>
                  <a:pt x="1205" y="108"/>
                  <a:pt x="1206" y="108"/>
                  <a:pt x="1206" y="108"/>
                </a:cubicBezTo>
                <a:cubicBezTo>
                  <a:pt x="1206" y="108"/>
                  <a:pt x="1206" y="109"/>
                  <a:pt x="1206" y="109"/>
                </a:cubicBezTo>
                <a:close/>
                <a:moveTo>
                  <a:pt x="1166" y="139"/>
                </a:moveTo>
                <a:cubicBezTo>
                  <a:pt x="1167" y="139"/>
                  <a:pt x="1167" y="139"/>
                  <a:pt x="1167" y="139"/>
                </a:cubicBezTo>
                <a:cubicBezTo>
                  <a:pt x="1167" y="139"/>
                  <a:pt x="1167" y="139"/>
                  <a:pt x="1167" y="138"/>
                </a:cubicBezTo>
                <a:cubicBezTo>
                  <a:pt x="1167" y="138"/>
                  <a:pt x="1167" y="138"/>
                  <a:pt x="1167" y="138"/>
                </a:cubicBezTo>
                <a:cubicBezTo>
                  <a:pt x="1167" y="138"/>
                  <a:pt x="1166" y="139"/>
                  <a:pt x="1166" y="139"/>
                </a:cubicBezTo>
                <a:close/>
                <a:moveTo>
                  <a:pt x="1227" y="112"/>
                </a:moveTo>
                <a:cubicBezTo>
                  <a:pt x="1227" y="113"/>
                  <a:pt x="1227" y="113"/>
                  <a:pt x="1227" y="113"/>
                </a:cubicBezTo>
                <a:cubicBezTo>
                  <a:pt x="1228" y="113"/>
                  <a:pt x="1228" y="113"/>
                  <a:pt x="1228" y="113"/>
                </a:cubicBezTo>
                <a:cubicBezTo>
                  <a:pt x="1228" y="113"/>
                  <a:pt x="1228" y="113"/>
                  <a:pt x="1228" y="112"/>
                </a:cubicBezTo>
                <a:cubicBezTo>
                  <a:pt x="1228" y="112"/>
                  <a:pt x="1228" y="112"/>
                  <a:pt x="1228" y="112"/>
                </a:cubicBezTo>
                <a:cubicBezTo>
                  <a:pt x="1228" y="112"/>
                  <a:pt x="1228" y="111"/>
                  <a:pt x="1228" y="111"/>
                </a:cubicBezTo>
                <a:cubicBezTo>
                  <a:pt x="1228" y="111"/>
                  <a:pt x="1228" y="111"/>
                  <a:pt x="1228" y="111"/>
                </a:cubicBezTo>
                <a:cubicBezTo>
                  <a:pt x="1228" y="111"/>
                  <a:pt x="1228" y="111"/>
                  <a:pt x="1228" y="111"/>
                </a:cubicBezTo>
                <a:cubicBezTo>
                  <a:pt x="1228" y="110"/>
                  <a:pt x="1227" y="110"/>
                  <a:pt x="1227" y="110"/>
                </a:cubicBezTo>
                <a:cubicBezTo>
                  <a:pt x="1227" y="110"/>
                  <a:pt x="1226" y="110"/>
                  <a:pt x="1226" y="110"/>
                </a:cubicBezTo>
                <a:cubicBezTo>
                  <a:pt x="1226" y="111"/>
                  <a:pt x="1226" y="111"/>
                  <a:pt x="1226" y="112"/>
                </a:cubicBezTo>
                <a:cubicBezTo>
                  <a:pt x="1226" y="112"/>
                  <a:pt x="1226" y="112"/>
                  <a:pt x="1226" y="112"/>
                </a:cubicBezTo>
                <a:cubicBezTo>
                  <a:pt x="1226" y="112"/>
                  <a:pt x="1227" y="112"/>
                  <a:pt x="1227" y="112"/>
                </a:cubicBezTo>
                <a:close/>
                <a:moveTo>
                  <a:pt x="1237" y="21"/>
                </a:moveTo>
                <a:cubicBezTo>
                  <a:pt x="1237" y="21"/>
                  <a:pt x="1238" y="21"/>
                  <a:pt x="1238" y="21"/>
                </a:cubicBezTo>
                <a:cubicBezTo>
                  <a:pt x="1239" y="21"/>
                  <a:pt x="1239" y="21"/>
                  <a:pt x="1239" y="20"/>
                </a:cubicBezTo>
                <a:cubicBezTo>
                  <a:pt x="1239" y="20"/>
                  <a:pt x="1239" y="20"/>
                  <a:pt x="1240" y="20"/>
                </a:cubicBezTo>
                <a:cubicBezTo>
                  <a:pt x="1240" y="20"/>
                  <a:pt x="1240" y="20"/>
                  <a:pt x="1240" y="20"/>
                </a:cubicBezTo>
                <a:cubicBezTo>
                  <a:pt x="1240" y="19"/>
                  <a:pt x="1239" y="19"/>
                  <a:pt x="1239" y="19"/>
                </a:cubicBezTo>
                <a:cubicBezTo>
                  <a:pt x="1238" y="19"/>
                  <a:pt x="1237" y="19"/>
                  <a:pt x="1237" y="19"/>
                </a:cubicBezTo>
                <a:cubicBezTo>
                  <a:pt x="1237" y="19"/>
                  <a:pt x="1236" y="19"/>
                  <a:pt x="1236" y="20"/>
                </a:cubicBezTo>
                <a:cubicBezTo>
                  <a:pt x="1236" y="20"/>
                  <a:pt x="1235" y="20"/>
                  <a:pt x="1235" y="20"/>
                </a:cubicBezTo>
                <a:cubicBezTo>
                  <a:pt x="1235" y="20"/>
                  <a:pt x="1235" y="20"/>
                  <a:pt x="1235" y="21"/>
                </a:cubicBezTo>
                <a:cubicBezTo>
                  <a:pt x="1236" y="21"/>
                  <a:pt x="1236" y="21"/>
                  <a:pt x="1237" y="21"/>
                </a:cubicBezTo>
                <a:close/>
                <a:moveTo>
                  <a:pt x="1248" y="31"/>
                </a:moveTo>
                <a:cubicBezTo>
                  <a:pt x="1248" y="31"/>
                  <a:pt x="1248" y="31"/>
                  <a:pt x="1248" y="31"/>
                </a:cubicBezTo>
                <a:cubicBezTo>
                  <a:pt x="1248" y="31"/>
                  <a:pt x="1248" y="31"/>
                  <a:pt x="1248" y="32"/>
                </a:cubicBezTo>
                <a:cubicBezTo>
                  <a:pt x="1248" y="32"/>
                  <a:pt x="1249" y="32"/>
                  <a:pt x="1249" y="32"/>
                </a:cubicBezTo>
                <a:cubicBezTo>
                  <a:pt x="1249" y="31"/>
                  <a:pt x="1249" y="31"/>
                  <a:pt x="1250" y="31"/>
                </a:cubicBezTo>
                <a:cubicBezTo>
                  <a:pt x="1250" y="31"/>
                  <a:pt x="1251" y="31"/>
                  <a:pt x="1251" y="31"/>
                </a:cubicBezTo>
                <a:cubicBezTo>
                  <a:pt x="1252" y="31"/>
                  <a:pt x="1252" y="31"/>
                  <a:pt x="1252" y="31"/>
                </a:cubicBezTo>
                <a:cubicBezTo>
                  <a:pt x="1252" y="31"/>
                  <a:pt x="1252" y="32"/>
                  <a:pt x="1252" y="32"/>
                </a:cubicBezTo>
                <a:cubicBezTo>
                  <a:pt x="1253" y="32"/>
                  <a:pt x="1253" y="33"/>
                  <a:pt x="1254" y="33"/>
                </a:cubicBezTo>
                <a:cubicBezTo>
                  <a:pt x="1254" y="33"/>
                  <a:pt x="1254" y="33"/>
                  <a:pt x="1255" y="33"/>
                </a:cubicBezTo>
                <a:cubicBezTo>
                  <a:pt x="1255" y="33"/>
                  <a:pt x="1255" y="33"/>
                  <a:pt x="1255" y="33"/>
                </a:cubicBezTo>
                <a:cubicBezTo>
                  <a:pt x="1256" y="33"/>
                  <a:pt x="1256" y="33"/>
                  <a:pt x="1256" y="33"/>
                </a:cubicBezTo>
                <a:cubicBezTo>
                  <a:pt x="1257" y="33"/>
                  <a:pt x="1257" y="34"/>
                  <a:pt x="1258" y="34"/>
                </a:cubicBezTo>
                <a:cubicBezTo>
                  <a:pt x="1258" y="34"/>
                  <a:pt x="1259" y="34"/>
                  <a:pt x="1259" y="34"/>
                </a:cubicBezTo>
                <a:cubicBezTo>
                  <a:pt x="1260" y="34"/>
                  <a:pt x="1260" y="34"/>
                  <a:pt x="1261" y="34"/>
                </a:cubicBezTo>
                <a:cubicBezTo>
                  <a:pt x="1262" y="34"/>
                  <a:pt x="1262" y="34"/>
                  <a:pt x="1263" y="34"/>
                </a:cubicBezTo>
                <a:cubicBezTo>
                  <a:pt x="1263" y="34"/>
                  <a:pt x="1264" y="34"/>
                  <a:pt x="1264" y="33"/>
                </a:cubicBezTo>
                <a:cubicBezTo>
                  <a:pt x="1264" y="33"/>
                  <a:pt x="1264" y="33"/>
                  <a:pt x="1264" y="33"/>
                </a:cubicBezTo>
                <a:cubicBezTo>
                  <a:pt x="1265" y="33"/>
                  <a:pt x="1265" y="32"/>
                  <a:pt x="1266" y="32"/>
                </a:cubicBezTo>
                <a:cubicBezTo>
                  <a:pt x="1267" y="32"/>
                  <a:pt x="1268" y="32"/>
                  <a:pt x="1269" y="31"/>
                </a:cubicBezTo>
                <a:cubicBezTo>
                  <a:pt x="1269" y="31"/>
                  <a:pt x="1270" y="31"/>
                  <a:pt x="1270" y="31"/>
                </a:cubicBezTo>
                <a:cubicBezTo>
                  <a:pt x="1271" y="31"/>
                  <a:pt x="1271" y="31"/>
                  <a:pt x="1271" y="31"/>
                </a:cubicBezTo>
                <a:cubicBezTo>
                  <a:pt x="1271" y="30"/>
                  <a:pt x="1271" y="30"/>
                  <a:pt x="1271" y="30"/>
                </a:cubicBezTo>
                <a:cubicBezTo>
                  <a:pt x="1270" y="29"/>
                  <a:pt x="1270" y="29"/>
                  <a:pt x="1269" y="29"/>
                </a:cubicBezTo>
                <a:cubicBezTo>
                  <a:pt x="1268" y="28"/>
                  <a:pt x="1268" y="28"/>
                  <a:pt x="1267" y="27"/>
                </a:cubicBezTo>
                <a:cubicBezTo>
                  <a:pt x="1267" y="27"/>
                  <a:pt x="1267" y="27"/>
                  <a:pt x="1266" y="26"/>
                </a:cubicBezTo>
                <a:cubicBezTo>
                  <a:pt x="1266" y="26"/>
                  <a:pt x="1267" y="26"/>
                  <a:pt x="1267" y="25"/>
                </a:cubicBezTo>
                <a:cubicBezTo>
                  <a:pt x="1267" y="25"/>
                  <a:pt x="1267" y="25"/>
                  <a:pt x="1267" y="25"/>
                </a:cubicBezTo>
                <a:cubicBezTo>
                  <a:pt x="1267" y="24"/>
                  <a:pt x="1267" y="24"/>
                  <a:pt x="1268" y="24"/>
                </a:cubicBezTo>
                <a:cubicBezTo>
                  <a:pt x="1267" y="24"/>
                  <a:pt x="1267" y="24"/>
                  <a:pt x="1267" y="24"/>
                </a:cubicBezTo>
                <a:cubicBezTo>
                  <a:pt x="1266" y="24"/>
                  <a:pt x="1265" y="23"/>
                  <a:pt x="1264" y="23"/>
                </a:cubicBezTo>
                <a:cubicBezTo>
                  <a:pt x="1263" y="23"/>
                  <a:pt x="1262" y="23"/>
                  <a:pt x="1262" y="23"/>
                </a:cubicBezTo>
                <a:cubicBezTo>
                  <a:pt x="1261" y="22"/>
                  <a:pt x="1261" y="22"/>
                  <a:pt x="1260" y="22"/>
                </a:cubicBezTo>
                <a:cubicBezTo>
                  <a:pt x="1259" y="21"/>
                  <a:pt x="1259" y="20"/>
                  <a:pt x="1258" y="19"/>
                </a:cubicBezTo>
                <a:cubicBezTo>
                  <a:pt x="1257" y="19"/>
                  <a:pt x="1257" y="19"/>
                  <a:pt x="1256" y="18"/>
                </a:cubicBezTo>
                <a:cubicBezTo>
                  <a:pt x="1256" y="18"/>
                  <a:pt x="1255" y="18"/>
                  <a:pt x="1254" y="17"/>
                </a:cubicBezTo>
                <a:cubicBezTo>
                  <a:pt x="1254" y="17"/>
                  <a:pt x="1254" y="17"/>
                  <a:pt x="1253" y="17"/>
                </a:cubicBezTo>
                <a:cubicBezTo>
                  <a:pt x="1253" y="17"/>
                  <a:pt x="1253" y="17"/>
                  <a:pt x="1253" y="18"/>
                </a:cubicBezTo>
                <a:cubicBezTo>
                  <a:pt x="1253" y="18"/>
                  <a:pt x="1253" y="18"/>
                  <a:pt x="1253" y="18"/>
                </a:cubicBezTo>
                <a:cubicBezTo>
                  <a:pt x="1253" y="18"/>
                  <a:pt x="1253" y="18"/>
                  <a:pt x="1253" y="19"/>
                </a:cubicBezTo>
                <a:cubicBezTo>
                  <a:pt x="1253" y="19"/>
                  <a:pt x="1253" y="19"/>
                  <a:pt x="1253" y="20"/>
                </a:cubicBezTo>
                <a:cubicBezTo>
                  <a:pt x="1252" y="20"/>
                  <a:pt x="1252" y="20"/>
                  <a:pt x="1251" y="20"/>
                </a:cubicBezTo>
                <a:cubicBezTo>
                  <a:pt x="1251" y="21"/>
                  <a:pt x="1250" y="21"/>
                  <a:pt x="1250" y="21"/>
                </a:cubicBezTo>
                <a:cubicBezTo>
                  <a:pt x="1250" y="22"/>
                  <a:pt x="1249" y="22"/>
                  <a:pt x="1249" y="22"/>
                </a:cubicBezTo>
                <a:cubicBezTo>
                  <a:pt x="1249" y="22"/>
                  <a:pt x="1248" y="23"/>
                  <a:pt x="1248" y="23"/>
                </a:cubicBezTo>
                <a:cubicBezTo>
                  <a:pt x="1248" y="24"/>
                  <a:pt x="1248" y="25"/>
                  <a:pt x="1248" y="26"/>
                </a:cubicBezTo>
                <a:cubicBezTo>
                  <a:pt x="1248" y="26"/>
                  <a:pt x="1249" y="26"/>
                  <a:pt x="1249" y="27"/>
                </a:cubicBezTo>
                <a:cubicBezTo>
                  <a:pt x="1249" y="27"/>
                  <a:pt x="1249" y="27"/>
                  <a:pt x="1250" y="27"/>
                </a:cubicBezTo>
                <a:cubicBezTo>
                  <a:pt x="1250" y="27"/>
                  <a:pt x="1250" y="28"/>
                  <a:pt x="1250" y="28"/>
                </a:cubicBezTo>
                <a:cubicBezTo>
                  <a:pt x="1250" y="29"/>
                  <a:pt x="1249" y="29"/>
                  <a:pt x="1249" y="30"/>
                </a:cubicBezTo>
                <a:cubicBezTo>
                  <a:pt x="1249" y="30"/>
                  <a:pt x="1249" y="30"/>
                  <a:pt x="1248" y="31"/>
                </a:cubicBezTo>
                <a:close/>
                <a:moveTo>
                  <a:pt x="1129" y="27"/>
                </a:moveTo>
                <a:cubicBezTo>
                  <a:pt x="1129" y="28"/>
                  <a:pt x="1129" y="28"/>
                  <a:pt x="1129" y="28"/>
                </a:cubicBezTo>
                <a:cubicBezTo>
                  <a:pt x="1128" y="28"/>
                  <a:pt x="1128" y="28"/>
                  <a:pt x="1128" y="28"/>
                </a:cubicBezTo>
                <a:cubicBezTo>
                  <a:pt x="1127" y="28"/>
                  <a:pt x="1127" y="28"/>
                  <a:pt x="1127" y="28"/>
                </a:cubicBezTo>
                <a:cubicBezTo>
                  <a:pt x="1127" y="28"/>
                  <a:pt x="1127" y="28"/>
                  <a:pt x="1126" y="28"/>
                </a:cubicBezTo>
                <a:cubicBezTo>
                  <a:pt x="1126" y="28"/>
                  <a:pt x="1125" y="29"/>
                  <a:pt x="1125" y="29"/>
                </a:cubicBezTo>
                <a:cubicBezTo>
                  <a:pt x="1124" y="29"/>
                  <a:pt x="1124" y="29"/>
                  <a:pt x="1123" y="29"/>
                </a:cubicBezTo>
                <a:cubicBezTo>
                  <a:pt x="1123" y="29"/>
                  <a:pt x="1123" y="29"/>
                  <a:pt x="1123" y="28"/>
                </a:cubicBezTo>
                <a:cubicBezTo>
                  <a:pt x="1122" y="28"/>
                  <a:pt x="1122" y="29"/>
                  <a:pt x="1122" y="29"/>
                </a:cubicBezTo>
                <a:cubicBezTo>
                  <a:pt x="1122" y="29"/>
                  <a:pt x="1122" y="29"/>
                  <a:pt x="1122" y="29"/>
                </a:cubicBezTo>
                <a:cubicBezTo>
                  <a:pt x="1122" y="29"/>
                  <a:pt x="1122" y="30"/>
                  <a:pt x="1122" y="30"/>
                </a:cubicBezTo>
                <a:cubicBezTo>
                  <a:pt x="1122" y="31"/>
                  <a:pt x="1122" y="31"/>
                  <a:pt x="1122" y="32"/>
                </a:cubicBezTo>
                <a:cubicBezTo>
                  <a:pt x="1122" y="32"/>
                  <a:pt x="1122" y="33"/>
                  <a:pt x="1123" y="33"/>
                </a:cubicBezTo>
                <a:cubicBezTo>
                  <a:pt x="1123" y="34"/>
                  <a:pt x="1124" y="34"/>
                  <a:pt x="1124" y="35"/>
                </a:cubicBezTo>
                <a:cubicBezTo>
                  <a:pt x="1124" y="35"/>
                  <a:pt x="1125" y="35"/>
                  <a:pt x="1125" y="35"/>
                </a:cubicBezTo>
                <a:cubicBezTo>
                  <a:pt x="1126" y="35"/>
                  <a:pt x="1126" y="35"/>
                  <a:pt x="1127" y="34"/>
                </a:cubicBezTo>
                <a:cubicBezTo>
                  <a:pt x="1128" y="34"/>
                  <a:pt x="1128" y="34"/>
                  <a:pt x="1129" y="34"/>
                </a:cubicBezTo>
                <a:cubicBezTo>
                  <a:pt x="1129" y="34"/>
                  <a:pt x="1129" y="34"/>
                  <a:pt x="1130" y="34"/>
                </a:cubicBezTo>
                <a:cubicBezTo>
                  <a:pt x="1130" y="34"/>
                  <a:pt x="1131" y="34"/>
                  <a:pt x="1132" y="34"/>
                </a:cubicBezTo>
                <a:cubicBezTo>
                  <a:pt x="1132" y="34"/>
                  <a:pt x="1132" y="34"/>
                  <a:pt x="1132" y="34"/>
                </a:cubicBezTo>
                <a:cubicBezTo>
                  <a:pt x="1131" y="33"/>
                  <a:pt x="1131" y="33"/>
                  <a:pt x="1131" y="33"/>
                </a:cubicBezTo>
                <a:cubicBezTo>
                  <a:pt x="1131" y="33"/>
                  <a:pt x="1130" y="32"/>
                  <a:pt x="1130" y="32"/>
                </a:cubicBezTo>
                <a:cubicBezTo>
                  <a:pt x="1130" y="32"/>
                  <a:pt x="1129" y="32"/>
                  <a:pt x="1129" y="32"/>
                </a:cubicBezTo>
                <a:cubicBezTo>
                  <a:pt x="1129" y="31"/>
                  <a:pt x="1128" y="31"/>
                  <a:pt x="1128" y="31"/>
                </a:cubicBezTo>
                <a:cubicBezTo>
                  <a:pt x="1128" y="31"/>
                  <a:pt x="1128" y="30"/>
                  <a:pt x="1128" y="30"/>
                </a:cubicBezTo>
                <a:cubicBezTo>
                  <a:pt x="1129" y="30"/>
                  <a:pt x="1129" y="30"/>
                  <a:pt x="1129" y="30"/>
                </a:cubicBezTo>
                <a:cubicBezTo>
                  <a:pt x="1130" y="30"/>
                  <a:pt x="1130" y="30"/>
                  <a:pt x="1131" y="30"/>
                </a:cubicBezTo>
                <a:cubicBezTo>
                  <a:pt x="1131" y="30"/>
                  <a:pt x="1132" y="30"/>
                  <a:pt x="1132" y="30"/>
                </a:cubicBezTo>
                <a:cubicBezTo>
                  <a:pt x="1132" y="30"/>
                  <a:pt x="1132" y="29"/>
                  <a:pt x="1132" y="29"/>
                </a:cubicBezTo>
                <a:cubicBezTo>
                  <a:pt x="1132" y="29"/>
                  <a:pt x="1131" y="29"/>
                  <a:pt x="1131" y="28"/>
                </a:cubicBezTo>
                <a:cubicBezTo>
                  <a:pt x="1131" y="28"/>
                  <a:pt x="1130" y="28"/>
                  <a:pt x="1130" y="28"/>
                </a:cubicBezTo>
                <a:cubicBezTo>
                  <a:pt x="1130" y="27"/>
                  <a:pt x="1129" y="27"/>
                  <a:pt x="1129" y="27"/>
                </a:cubicBezTo>
                <a:cubicBezTo>
                  <a:pt x="1129" y="27"/>
                  <a:pt x="1129" y="27"/>
                  <a:pt x="1129" y="27"/>
                </a:cubicBezTo>
                <a:close/>
                <a:moveTo>
                  <a:pt x="1131" y="25"/>
                </a:moveTo>
                <a:cubicBezTo>
                  <a:pt x="1131" y="26"/>
                  <a:pt x="1131" y="26"/>
                  <a:pt x="1131" y="26"/>
                </a:cubicBezTo>
                <a:cubicBezTo>
                  <a:pt x="1131" y="26"/>
                  <a:pt x="1131" y="26"/>
                  <a:pt x="1131" y="26"/>
                </a:cubicBezTo>
                <a:cubicBezTo>
                  <a:pt x="1131" y="27"/>
                  <a:pt x="1132" y="27"/>
                  <a:pt x="1132" y="27"/>
                </a:cubicBezTo>
                <a:cubicBezTo>
                  <a:pt x="1132" y="27"/>
                  <a:pt x="1133" y="27"/>
                  <a:pt x="1133" y="27"/>
                </a:cubicBezTo>
                <a:cubicBezTo>
                  <a:pt x="1133" y="27"/>
                  <a:pt x="1134" y="28"/>
                  <a:pt x="1134" y="28"/>
                </a:cubicBezTo>
                <a:cubicBezTo>
                  <a:pt x="1134" y="28"/>
                  <a:pt x="1134" y="28"/>
                  <a:pt x="1134" y="28"/>
                </a:cubicBezTo>
                <a:cubicBezTo>
                  <a:pt x="1134" y="28"/>
                  <a:pt x="1135" y="29"/>
                  <a:pt x="1135" y="29"/>
                </a:cubicBezTo>
                <a:cubicBezTo>
                  <a:pt x="1135" y="29"/>
                  <a:pt x="1136" y="28"/>
                  <a:pt x="1136" y="28"/>
                </a:cubicBezTo>
                <a:cubicBezTo>
                  <a:pt x="1136" y="28"/>
                  <a:pt x="1136" y="28"/>
                  <a:pt x="1136" y="27"/>
                </a:cubicBezTo>
                <a:cubicBezTo>
                  <a:pt x="1136" y="27"/>
                  <a:pt x="1136" y="27"/>
                  <a:pt x="1136" y="27"/>
                </a:cubicBezTo>
                <a:cubicBezTo>
                  <a:pt x="1136" y="26"/>
                  <a:pt x="1136" y="26"/>
                  <a:pt x="1136" y="26"/>
                </a:cubicBezTo>
                <a:cubicBezTo>
                  <a:pt x="1137" y="26"/>
                  <a:pt x="1138" y="26"/>
                  <a:pt x="1138" y="26"/>
                </a:cubicBezTo>
                <a:cubicBezTo>
                  <a:pt x="1139" y="26"/>
                  <a:pt x="1140" y="25"/>
                  <a:pt x="1140" y="25"/>
                </a:cubicBezTo>
                <a:cubicBezTo>
                  <a:pt x="1140" y="25"/>
                  <a:pt x="1140" y="25"/>
                  <a:pt x="1140" y="25"/>
                </a:cubicBezTo>
                <a:cubicBezTo>
                  <a:pt x="1140" y="25"/>
                  <a:pt x="1140" y="25"/>
                  <a:pt x="1140" y="25"/>
                </a:cubicBezTo>
                <a:cubicBezTo>
                  <a:pt x="1139" y="24"/>
                  <a:pt x="1139" y="24"/>
                  <a:pt x="1138" y="24"/>
                </a:cubicBezTo>
                <a:cubicBezTo>
                  <a:pt x="1138" y="24"/>
                  <a:pt x="1138" y="24"/>
                  <a:pt x="1137" y="23"/>
                </a:cubicBezTo>
                <a:cubicBezTo>
                  <a:pt x="1137" y="23"/>
                  <a:pt x="1137" y="23"/>
                  <a:pt x="1137" y="23"/>
                </a:cubicBezTo>
                <a:cubicBezTo>
                  <a:pt x="1137" y="23"/>
                  <a:pt x="1137" y="22"/>
                  <a:pt x="1137" y="22"/>
                </a:cubicBezTo>
                <a:cubicBezTo>
                  <a:pt x="1137" y="22"/>
                  <a:pt x="1137" y="21"/>
                  <a:pt x="1137" y="21"/>
                </a:cubicBezTo>
                <a:cubicBezTo>
                  <a:pt x="1136" y="21"/>
                  <a:pt x="1136" y="21"/>
                  <a:pt x="1136" y="21"/>
                </a:cubicBezTo>
                <a:cubicBezTo>
                  <a:pt x="1135" y="21"/>
                  <a:pt x="1135" y="21"/>
                  <a:pt x="1135" y="20"/>
                </a:cubicBezTo>
                <a:cubicBezTo>
                  <a:pt x="1134" y="20"/>
                  <a:pt x="1134" y="20"/>
                  <a:pt x="1134" y="20"/>
                </a:cubicBezTo>
                <a:cubicBezTo>
                  <a:pt x="1134" y="21"/>
                  <a:pt x="1134" y="21"/>
                  <a:pt x="1133" y="21"/>
                </a:cubicBezTo>
                <a:cubicBezTo>
                  <a:pt x="1133" y="21"/>
                  <a:pt x="1133" y="21"/>
                  <a:pt x="1133" y="21"/>
                </a:cubicBezTo>
                <a:cubicBezTo>
                  <a:pt x="1133" y="22"/>
                  <a:pt x="1133" y="22"/>
                  <a:pt x="1132" y="22"/>
                </a:cubicBezTo>
                <a:cubicBezTo>
                  <a:pt x="1132" y="22"/>
                  <a:pt x="1131" y="22"/>
                  <a:pt x="1131" y="22"/>
                </a:cubicBezTo>
                <a:cubicBezTo>
                  <a:pt x="1131" y="23"/>
                  <a:pt x="1131" y="23"/>
                  <a:pt x="1131" y="23"/>
                </a:cubicBezTo>
                <a:cubicBezTo>
                  <a:pt x="1131" y="24"/>
                  <a:pt x="1131" y="24"/>
                  <a:pt x="1131" y="24"/>
                </a:cubicBezTo>
                <a:cubicBezTo>
                  <a:pt x="1131" y="25"/>
                  <a:pt x="1131" y="25"/>
                  <a:pt x="1131" y="25"/>
                </a:cubicBezTo>
                <a:close/>
                <a:moveTo>
                  <a:pt x="1156" y="143"/>
                </a:moveTo>
                <a:cubicBezTo>
                  <a:pt x="1157" y="144"/>
                  <a:pt x="1157" y="144"/>
                  <a:pt x="1157" y="144"/>
                </a:cubicBezTo>
                <a:cubicBezTo>
                  <a:pt x="1157" y="144"/>
                  <a:pt x="1157" y="144"/>
                  <a:pt x="1158" y="144"/>
                </a:cubicBezTo>
                <a:cubicBezTo>
                  <a:pt x="1158" y="144"/>
                  <a:pt x="1158" y="144"/>
                  <a:pt x="1158" y="144"/>
                </a:cubicBezTo>
                <a:cubicBezTo>
                  <a:pt x="1158" y="144"/>
                  <a:pt x="1157" y="143"/>
                  <a:pt x="1157" y="143"/>
                </a:cubicBezTo>
                <a:cubicBezTo>
                  <a:pt x="1157" y="143"/>
                  <a:pt x="1157" y="143"/>
                  <a:pt x="1156" y="143"/>
                </a:cubicBezTo>
                <a:close/>
                <a:moveTo>
                  <a:pt x="1127" y="18"/>
                </a:moveTo>
                <a:cubicBezTo>
                  <a:pt x="1127" y="18"/>
                  <a:pt x="1127" y="18"/>
                  <a:pt x="1128" y="18"/>
                </a:cubicBezTo>
                <a:cubicBezTo>
                  <a:pt x="1128" y="18"/>
                  <a:pt x="1128" y="18"/>
                  <a:pt x="1128" y="18"/>
                </a:cubicBezTo>
                <a:cubicBezTo>
                  <a:pt x="1129" y="18"/>
                  <a:pt x="1129" y="18"/>
                  <a:pt x="1130" y="18"/>
                </a:cubicBezTo>
                <a:cubicBezTo>
                  <a:pt x="1130" y="18"/>
                  <a:pt x="1129" y="17"/>
                  <a:pt x="1129" y="17"/>
                </a:cubicBezTo>
                <a:cubicBezTo>
                  <a:pt x="1129" y="17"/>
                  <a:pt x="1129" y="17"/>
                  <a:pt x="1128" y="17"/>
                </a:cubicBezTo>
                <a:cubicBezTo>
                  <a:pt x="1128" y="17"/>
                  <a:pt x="1128" y="17"/>
                  <a:pt x="1128" y="17"/>
                </a:cubicBezTo>
                <a:cubicBezTo>
                  <a:pt x="1128" y="17"/>
                  <a:pt x="1127" y="17"/>
                  <a:pt x="1127" y="17"/>
                </a:cubicBezTo>
                <a:cubicBezTo>
                  <a:pt x="1127" y="17"/>
                  <a:pt x="1126" y="17"/>
                  <a:pt x="1126" y="17"/>
                </a:cubicBezTo>
                <a:cubicBezTo>
                  <a:pt x="1126" y="17"/>
                  <a:pt x="1126" y="17"/>
                  <a:pt x="1125" y="17"/>
                </a:cubicBezTo>
                <a:cubicBezTo>
                  <a:pt x="1125" y="17"/>
                  <a:pt x="1125" y="17"/>
                  <a:pt x="1125" y="17"/>
                </a:cubicBezTo>
                <a:cubicBezTo>
                  <a:pt x="1125" y="17"/>
                  <a:pt x="1125" y="17"/>
                  <a:pt x="1125" y="18"/>
                </a:cubicBezTo>
                <a:cubicBezTo>
                  <a:pt x="1126" y="18"/>
                  <a:pt x="1126" y="18"/>
                  <a:pt x="1127" y="18"/>
                </a:cubicBezTo>
                <a:close/>
                <a:moveTo>
                  <a:pt x="1125" y="41"/>
                </a:moveTo>
                <a:cubicBezTo>
                  <a:pt x="1125" y="41"/>
                  <a:pt x="1126" y="41"/>
                  <a:pt x="1126" y="41"/>
                </a:cubicBezTo>
                <a:cubicBezTo>
                  <a:pt x="1127" y="41"/>
                  <a:pt x="1127" y="41"/>
                  <a:pt x="1128" y="40"/>
                </a:cubicBezTo>
                <a:cubicBezTo>
                  <a:pt x="1127" y="40"/>
                  <a:pt x="1127" y="40"/>
                  <a:pt x="1127" y="39"/>
                </a:cubicBezTo>
                <a:cubicBezTo>
                  <a:pt x="1127" y="39"/>
                  <a:pt x="1127" y="39"/>
                  <a:pt x="1126" y="39"/>
                </a:cubicBezTo>
                <a:cubicBezTo>
                  <a:pt x="1126" y="39"/>
                  <a:pt x="1125" y="39"/>
                  <a:pt x="1125" y="39"/>
                </a:cubicBezTo>
                <a:cubicBezTo>
                  <a:pt x="1124" y="39"/>
                  <a:pt x="1123" y="39"/>
                  <a:pt x="1123" y="39"/>
                </a:cubicBezTo>
                <a:cubicBezTo>
                  <a:pt x="1123" y="39"/>
                  <a:pt x="1123" y="40"/>
                  <a:pt x="1123" y="40"/>
                </a:cubicBezTo>
                <a:cubicBezTo>
                  <a:pt x="1123" y="40"/>
                  <a:pt x="1124" y="40"/>
                  <a:pt x="1124" y="40"/>
                </a:cubicBezTo>
                <a:cubicBezTo>
                  <a:pt x="1124" y="41"/>
                  <a:pt x="1125" y="41"/>
                  <a:pt x="1125" y="41"/>
                </a:cubicBezTo>
                <a:close/>
                <a:moveTo>
                  <a:pt x="1129" y="141"/>
                </a:moveTo>
                <a:cubicBezTo>
                  <a:pt x="1129" y="141"/>
                  <a:pt x="1129" y="141"/>
                  <a:pt x="1129" y="140"/>
                </a:cubicBezTo>
                <a:cubicBezTo>
                  <a:pt x="1128" y="140"/>
                  <a:pt x="1128" y="140"/>
                  <a:pt x="1128" y="139"/>
                </a:cubicBezTo>
                <a:cubicBezTo>
                  <a:pt x="1126" y="139"/>
                  <a:pt x="1125" y="138"/>
                  <a:pt x="1123" y="138"/>
                </a:cubicBezTo>
                <a:cubicBezTo>
                  <a:pt x="1123" y="138"/>
                  <a:pt x="1122" y="138"/>
                  <a:pt x="1122" y="137"/>
                </a:cubicBezTo>
                <a:cubicBezTo>
                  <a:pt x="1121" y="138"/>
                  <a:pt x="1121" y="138"/>
                  <a:pt x="1120" y="138"/>
                </a:cubicBezTo>
                <a:cubicBezTo>
                  <a:pt x="1120" y="138"/>
                  <a:pt x="1120" y="139"/>
                  <a:pt x="1119" y="139"/>
                </a:cubicBezTo>
                <a:cubicBezTo>
                  <a:pt x="1119" y="140"/>
                  <a:pt x="1119" y="141"/>
                  <a:pt x="1119" y="141"/>
                </a:cubicBezTo>
                <a:cubicBezTo>
                  <a:pt x="1119" y="141"/>
                  <a:pt x="1120" y="142"/>
                  <a:pt x="1120" y="142"/>
                </a:cubicBezTo>
                <a:cubicBezTo>
                  <a:pt x="1120" y="142"/>
                  <a:pt x="1120" y="143"/>
                  <a:pt x="1120" y="143"/>
                </a:cubicBezTo>
                <a:cubicBezTo>
                  <a:pt x="1120" y="143"/>
                  <a:pt x="1120" y="143"/>
                  <a:pt x="1121" y="143"/>
                </a:cubicBezTo>
                <a:cubicBezTo>
                  <a:pt x="1121" y="143"/>
                  <a:pt x="1121" y="143"/>
                  <a:pt x="1121" y="143"/>
                </a:cubicBezTo>
                <a:cubicBezTo>
                  <a:pt x="1121" y="143"/>
                  <a:pt x="1121" y="144"/>
                  <a:pt x="1121" y="144"/>
                </a:cubicBezTo>
                <a:cubicBezTo>
                  <a:pt x="1121" y="144"/>
                  <a:pt x="1122" y="144"/>
                  <a:pt x="1122" y="144"/>
                </a:cubicBezTo>
                <a:cubicBezTo>
                  <a:pt x="1122" y="144"/>
                  <a:pt x="1122" y="143"/>
                  <a:pt x="1123" y="143"/>
                </a:cubicBezTo>
                <a:cubicBezTo>
                  <a:pt x="1123" y="143"/>
                  <a:pt x="1124" y="143"/>
                  <a:pt x="1124" y="143"/>
                </a:cubicBezTo>
                <a:cubicBezTo>
                  <a:pt x="1125" y="143"/>
                  <a:pt x="1125" y="143"/>
                  <a:pt x="1126" y="143"/>
                </a:cubicBezTo>
                <a:cubicBezTo>
                  <a:pt x="1126" y="142"/>
                  <a:pt x="1126" y="142"/>
                  <a:pt x="1127" y="142"/>
                </a:cubicBezTo>
                <a:cubicBezTo>
                  <a:pt x="1127" y="142"/>
                  <a:pt x="1127" y="141"/>
                  <a:pt x="1127" y="141"/>
                </a:cubicBezTo>
                <a:cubicBezTo>
                  <a:pt x="1127" y="141"/>
                  <a:pt x="1127" y="140"/>
                  <a:pt x="1128" y="140"/>
                </a:cubicBezTo>
                <a:cubicBezTo>
                  <a:pt x="1128" y="141"/>
                  <a:pt x="1128" y="141"/>
                  <a:pt x="1128" y="141"/>
                </a:cubicBezTo>
                <a:cubicBezTo>
                  <a:pt x="1128" y="141"/>
                  <a:pt x="1128" y="142"/>
                  <a:pt x="1128" y="142"/>
                </a:cubicBezTo>
                <a:cubicBezTo>
                  <a:pt x="1128" y="142"/>
                  <a:pt x="1128" y="141"/>
                  <a:pt x="1129" y="141"/>
                </a:cubicBezTo>
                <a:close/>
                <a:moveTo>
                  <a:pt x="1122" y="41"/>
                </a:moveTo>
                <a:cubicBezTo>
                  <a:pt x="1122" y="41"/>
                  <a:pt x="1123" y="42"/>
                  <a:pt x="1123" y="42"/>
                </a:cubicBezTo>
                <a:cubicBezTo>
                  <a:pt x="1123" y="42"/>
                  <a:pt x="1124" y="42"/>
                  <a:pt x="1124" y="42"/>
                </a:cubicBezTo>
                <a:cubicBezTo>
                  <a:pt x="1124" y="42"/>
                  <a:pt x="1124" y="42"/>
                  <a:pt x="1124" y="42"/>
                </a:cubicBezTo>
                <a:cubicBezTo>
                  <a:pt x="1124" y="41"/>
                  <a:pt x="1124" y="41"/>
                  <a:pt x="1123" y="41"/>
                </a:cubicBezTo>
                <a:cubicBezTo>
                  <a:pt x="1123" y="41"/>
                  <a:pt x="1123" y="41"/>
                  <a:pt x="1122" y="41"/>
                </a:cubicBezTo>
                <a:cubicBezTo>
                  <a:pt x="1122" y="41"/>
                  <a:pt x="1122" y="41"/>
                  <a:pt x="1122" y="41"/>
                </a:cubicBezTo>
                <a:close/>
                <a:moveTo>
                  <a:pt x="1150" y="147"/>
                </a:moveTo>
                <a:cubicBezTo>
                  <a:pt x="1150" y="147"/>
                  <a:pt x="1150" y="147"/>
                  <a:pt x="1150" y="147"/>
                </a:cubicBezTo>
                <a:cubicBezTo>
                  <a:pt x="1150" y="147"/>
                  <a:pt x="1150" y="147"/>
                  <a:pt x="1150" y="147"/>
                </a:cubicBezTo>
                <a:cubicBezTo>
                  <a:pt x="1151" y="147"/>
                  <a:pt x="1151" y="147"/>
                  <a:pt x="1151" y="147"/>
                </a:cubicBezTo>
                <a:cubicBezTo>
                  <a:pt x="1151" y="147"/>
                  <a:pt x="1151" y="147"/>
                  <a:pt x="1151" y="146"/>
                </a:cubicBezTo>
                <a:cubicBezTo>
                  <a:pt x="1151" y="146"/>
                  <a:pt x="1151" y="146"/>
                  <a:pt x="1150" y="146"/>
                </a:cubicBezTo>
                <a:cubicBezTo>
                  <a:pt x="1150" y="147"/>
                  <a:pt x="1150" y="147"/>
                  <a:pt x="1150" y="147"/>
                </a:cubicBezTo>
                <a:close/>
                <a:moveTo>
                  <a:pt x="1153" y="143"/>
                </a:moveTo>
                <a:cubicBezTo>
                  <a:pt x="1153" y="143"/>
                  <a:pt x="1153" y="143"/>
                  <a:pt x="1154" y="143"/>
                </a:cubicBezTo>
                <a:cubicBezTo>
                  <a:pt x="1154" y="143"/>
                  <a:pt x="1154" y="143"/>
                  <a:pt x="1154" y="144"/>
                </a:cubicBezTo>
                <a:cubicBezTo>
                  <a:pt x="1155" y="144"/>
                  <a:pt x="1155" y="144"/>
                  <a:pt x="1155" y="144"/>
                </a:cubicBezTo>
                <a:cubicBezTo>
                  <a:pt x="1155" y="144"/>
                  <a:pt x="1155" y="143"/>
                  <a:pt x="1155" y="143"/>
                </a:cubicBezTo>
                <a:cubicBezTo>
                  <a:pt x="1154" y="143"/>
                  <a:pt x="1154" y="143"/>
                  <a:pt x="1154" y="143"/>
                </a:cubicBezTo>
                <a:cubicBezTo>
                  <a:pt x="1154" y="143"/>
                  <a:pt x="1153" y="143"/>
                  <a:pt x="1153" y="143"/>
                </a:cubicBezTo>
                <a:close/>
                <a:moveTo>
                  <a:pt x="1133" y="145"/>
                </a:moveTo>
                <a:cubicBezTo>
                  <a:pt x="1133" y="145"/>
                  <a:pt x="1133" y="146"/>
                  <a:pt x="1133" y="146"/>
                </a:cubicBezTo>
                <a:cubicBezTo>
                  <a:pt x="1133" y="146"/>
                  <a:pt x="1133" y="146"/>
                  <a:pt x="1134" y="146"/>
                </a:cubicBezTo>
                <a:cubicBezTo>
                  <a:pt x="1134" y="146"/>
                  <a:pt x="1134" y="146"/>
                  <a:pt x="1134" y="146"/>
                </a:cubicBezTo>
                <a:cubicBezTo>
                  <a:pt x="1134" y="146"/>
                  <a:pt x="1135" y="146"/>
                  <a:pt x="1135" y="146"/>
                </a:cubicBezTo>
                <a:cubicBezTo>
                  <a:pt x="1135" y="145"/>
                  <a:pt x="1136" y="145"/>
                  <a:pt x="1136" y="145"/>
                </a:cubicBezTo>
                <a:cubicBezTo>
                  <a:pt x="1135" y="145"/>
                  <a:pt x="1135" y="145"/>
                  <a:pt x="1134" y="145"/>
                </a:cubicBezTo>
                <a:cubicBezTo>
                  <a:pt x="1134" y="145"/>
                  <a:pt x="1134" y="145"/>
                  <a:pt x="1133" y="145"/>
                </a:cubicBezTo>
                <a:close/>
                <a:moveTo>
                  <a:pt x="1152" y="143"/>
                </a:moveTo>
                <a:cubicBezTo>
                  <a:pt x="1152" y="143"/>
                  <a:pt x="1152" y="143"/>
                  <a:pt x="1153" y="143"/>
                </a:cubicBezTo>
                <a:cubicBezTo>
                  <a:pt x="1152" y="143"/>
                  <a:pt x="1152" y="143"/>
                  <a:pt x="1152" y="143"/>
                </a:cubicBezTo>
                <a:cubicBezTo>
                  <a:pt x="1152" y="143"/>
                  <a:pt x="1151" y="143"/>
                  <a:pt x="1151" y="143"/>
                </a:cubicBezTo>
                <a:cubicBezTo>
                  <a:pt x="1151" y="143"/>
                  <a:pt x="1151" y="143"/>
                  <a:pt x="1151" y="143"/>
                </a:cubicBezTo>
                <a:cubicBezTo>
                  <a:pt x="1152" y="143"/>
                  <a:pt x="1152" y="143"/>
                  <a:pt x="1152" y="143"/>
                </a:cubicBezTo>
                <a:close/>
                <a:moveTo>
                  <a:pt x="1157" y="130"/>
                </a:moveTo>
                <a:cubicBezTo>
                  <a:pt x="1157" y="130"/>
                  <a:pt x="1157" y="130"/>
                  <a:pt x="1158" y="130"/>
                </a:cubicBezTo>
                <a:cubicBezTo>
                  <a:pt x="1158" y="130"/>
                  <a:pt x="1158" y="130"/>
                  <a:pt x="1158" y="130"/>
                </a:cubicBezTo>
                <a:cubicBezTo>
                  <a:pt x="1159" y="129"/>
                  <a:pt x="1159" y="129"/>
                  <a:pt x="1159" y="129"/>
                </a:cubicBezTo>
                <a:cubicBezTo>
                  <a:pt x="1159" y="129"/>
                  <a:pt x="1159" y="129"/>
                  <a:pt x="1159" y="129"/>
                </a:cubicBezTo>
                <a:cubicBezTo>
                  <a:pt x="1158" y="129"/>
                  <a:pt x="1158" y="128"/>
                  <a:pt x="1158" y="128"/>
                </a:cubicBezTo>
                <a:cubicBezTo>
                  <a:pt x="1157" y="128"/>
                  <a:pt x="1157" y="128"/>
                  <a:pt x="1157" y="128"/>
                </a:cubicBezTo>
                <a:cubicBezTo>
                  <a:pt x="1157" y="128"/>
                  <a:pt x="1156" y="128"/>
                  <a:pt x="1156" y="128"/>
                </a:cubicBezTo>
                <a:cubicBezTo>
                  <a:pt x="1156" y="128"/>
                  <a:pt x="1155" y="127"/>
                  <a:pt x="1155" y="127"/>
                </a:cubicBezTo>
                <a:cubicBezTo>
                  <a:pt x="1155" y="127"/>
                  <a:pt x="1154" y="127"/>
                  <a:pt x="1154" y="127"/>
                </a:cubicBezTo>
                <a:cubicBezTo>
                  <a:pt x="1153" y="126"/>
                  <a:pt x="1153" y="126"/>
                  <a:pt x="1152" y="126"/>
                </a:cubicBezTo>
                <a:cubicBezTo>
                  <a:pt x="1152" y="125"/>
                  <a:pt x="1152" y="125"/>
                  <a:pt x="1152" y="125"/>
                </a:cubicBezTo>
                <a:cubicBezTo>
                  <a:pt x="1151" y="125"/>
                  <a:pt x="1151" y="125"/>
                  <a:pt x="1150" y="125"/>
                </a:cubicBezTo>
                <a:cubicBezTo>
                  <a:pt x="1150" y="124"/>
                  <a:pt x="1149" y="123"/>
                  <a:pt x="1149" y="123"/>
                </a:cubicBezTo>
                <a:cubicBezTo>
                  <a:pt x="1148" y="122"/>
                  <a:pt x="1148" y="122"/>
                  <a:pt x="1147" y="121"/>
                </a:cubicBezTo>
                <a:cubicBezTo>
                  <a:pt x="1147" y="121"/>
                  <a:pt x="1147" y="120"/>
                  <a:pt x="1147" y="119"/>
                </a:cubicBezTo>
                <a:cubicBezTo>
                  <a:pt x="1146" y="119"/>
                  <a:pt x="1146" y="119"/>
                  <a:pt x="1146" y="118"/>
                </a:cubicBezTo>
                <a:cubicBezTo>
                  <a:pt x="1146" y="118"/>
                  <a:pt x="1146" y="117"/>
                  <a:pt x="1146" y="116"/>
                </a:cubicBezTo>
                <a:cubicBezTo>
                  <a:pt x="1145" y="116"/>
                  <a:pt x="1145" y="116"/>
                  <a:pt x="1145" y="115"/>
                </a:cubicBezTo>
                <a:cubicBezTo>
                  <a:pt x="1145" y="115"/>
                  <a:pt x="1145" y="114"/>
                  <a:pt x="1145" y="113"/>
                </a:cubicBezTo>
                <a:cubicBezTo>
                  <a:pt x="1145" y="113"/>
                  <a:pt x="1145" y="113"/>
                  <a:pt x="1144" y="113"/>
                </a:cubicBezTo>
                <a:cubicBezTo>
                  <a:pt x="1145" y="112"/>
                  <a:pt x="1145" y="112"/>
                  <a:pt x="1145" y="112"/>
                </a:cubicBezTo>
                <a:cubicBezTo>
                  <a:pt x="1145" y="112"/>
                  <a:pt x="1145" y="112"/>
                  <a:pt x="1145" y="112"/>
                </a:cubicBezTo>
                <a:cubicBezTo>
                  <a:pt x="1145" y="112"/>
                  <a:pt x="1144" y="111"/>
                  <a:pt x="1144" y="111"/>
                </a:cubicBezTo>
                <a:cubicBezTo>
                  <a:pt x="1144" y="111"/>
                  <a:pt x="1143" y="112"/>
                  <a:pt x="1143" y="112"/>
                </a:cubicBezTo>
                <a:cubicBezTo>
                  <a:pt x="1143" y="111"/>
                  <a:pt x="1143" y="111"/>
                  <a:pt x="1142" y="111"/>
                </a:cubicBezTo>
                <a:cubicBezTo>
                  <a:pt x="1142" y="111"/>
                  <a:pt x="1143" y="111"/>
                  <a:pt x="1143" y="111"/>
                </a:cubicBezTo>
                <a:cubicBezTo>
                  <a:pt x="1143" y="111"/>
                  <a:pt x="1144" y="111"/>
                  <a:pt x="1144" y="111"/>
                </a:cubicBezTo>
                <a:cubicBezTo>
                  <a:pt x="1145" y="111"/>
                  <a:pt x="1145" y="111"/>
                  <a:pt x="1146" y="111"/>
                </a:cubicBezTo>
                <a:cubicBezTo>
                  <a:pt x="1146" y="110"/>
                  <a:pt x="1146" y="110"/>
                  <a:pt x="1146" y="109"/>
                </a:cubicBezTo>
                <a:cubicBezTo>
                  <a:pt x="1146" y="109"/>
                  <a:pt x="1146" y="109"/>
                  <a:pt x="1146" y="109"/>
                </a:cubicBezTo>
                <a:cubicBezTo>
                  <a:pt x="1146" y="109"/>
                  <a:pt x="1145" y="109"/>
                  <a:pt x="1145" y="109"/>
                </a:cubicBezTo>
                <a:cubicBezTo>
                  <a:pt x="1144" y="109"/>
                  <a:pt x="1144" y="109"/>
                  <a:pt x="1144" y="109"/>
                </a:cubicBezTo>
                <a:cubicBezTo>
                  <a:pt x="1144" y="109"/>
                  <a:pt x="1144" y="109"/>
                  <a:pt x="1144" y="109"/>
                </a:cubicBezTo>
                <a:cubicBezTo>
                  <a:pt x="1145" y="109"/>
                  <a:pt x="1145" y="108"/>
                  <a:pt x="1146" y="108"/>
                </a:cubicBezTo>
                <a:cubicBezTo>
                  <a:pt x="1146" y="108"/>
                  <a:pt x="1146" y="108"/>
                  <a:pt x="1146" y="108"/>
                </a:cubicBezTo>
                <a:cubicBezTo>
                  <a:pt x="1146" y="108"/>
                  <a:pt x="1146" y="108"/>
                  <a:pt x="1146" y="108"/>
                </a:cubicBezTo>
                <a:cubicBezTo>
                  <a:pt x="1145" y="108"/>
                  <a:pt x="1144" y="107"/>
                  <a:pt x="1144" y="107"/>
                </a:cubicBezTo>
                <a:cubicBezTo>
                  <a:pt x="1143" y="107"/>
                  <a:pt x="1142" y="107"/>
                  <a:pt x="1141" y="107"/>
                </a:cubicBezTo>
                <a:cubicBezTo>
                  <a:pt x="1140" y="107"/>
                  <a:pt x="1140" y="106"/>
                  <a:pt x="1140" y="106"/>
                </a:cubicBezTo>
                <a:cubicBezTo>
                  <a:pt x="1139" y="106"/>
                  <a:pt x="1139" y="106"/>
                  <a:pt x="1139" y="106"/>
                </a:cubicBezTo>
                <a:cubicBezTo>
                  <a:pt x="1138" y="106"/>
                  <a:pt x="1137" y="107"/>
                  <a:pt x="1136" y="107"/>
                </a:cubicBezTo>
                <a:cubicBezTo>
                  <a:pt x="1136" y="107"/>
                  <a:pt x="1135" y="107"/>
                  <a:pt x="1134" y="107"/>
                </a:cubicBezTo>
                <a:cubicBezTo>
                  <a:pt x="1134" y="107"/>
                  <a:pt x="1134" y="107"/>
                  <a:pt x="1134" y="107"/>
                </a:cubicBezTo>
                <a:cubicBezTo>
                  <a:pt x="1133" y="107"/>
                  <a:pt x="1133" y="107"/>
                  <a:pt x="1132" y="108"/>
                </a:cubicBezTo>
                <a:cubicBezTo>
                  <a:pt x="1132" y="108"/>
                  <a:pt x="1132" y="108"/>
                  <a:pt x="1132" y="108"/>
                </a:cubicBezTo>
                <a:cubicBezTo>
                  <a:pt x="1132" y="108"/>
                  <a:pt x="1132" y="109"/>
                  <a:pt x="1131" y="109"/>
                </a:cubicBezTo>
                <a:cubicBezTo>
                  <a:pt x="1132" y="109"/>
                  <a:pt x="1132" y="109"/>
                  <a:pt x="1132" y="110"/>
                </a:cubicBezTo>
                <a:cubicBezTo>
                  <a:pt x="1132" y="110"/>
                  <a:pt x="1132" y="110"/>
                  <a:pt x="1133" y="110"/>
                </a:cubicBezTo>
                <a:cubicBezTo>
                  <a:pt x="1133" y="110"/>
                  <a:pt x="1133" y="110"/>
                  <a:pt x="1133" y="110"/>
                </a:cubicBezTo>
                <a:cubicBezTo>
                  <a:pt x="1133" y="110"/>
                  <a:pt x="1133" y="110"/>
                  <a:pt x="1133" y="110"/>
                </a:cubicBezTo>
                <a:cubicBezTo>
                  <a:pt x="1132" y="110"/>
                  <a:pt x="1132" y="110"/>
                  <a:pt x="1132" y="110"/>
                </a:cubicBezTo>
                <a:cubicBezTo>
                  <a:pt x="1131" y="110"/>
                  <a:pt x="1131" y="110"/>
                  <a:pt x="1130" y="110"/>
                </a:cubicBezTo>
                <a:cubicBezTo>
                  <a:pt x="1130" y="111"/>
                  <a:pt x="1130" y="111"/>
                  <a:pt x="1129" y="111"/>
                </a:cubicBezTo>
                <a:cubicBezTo>
                  <a:pt x="1129" y="112"/>
                  <a:pt x="1129" y="112"/>
                  <a:pt x="1129" y="112"/>
                </a:cubicBezTo>
                <a:cubicBezTo>
                  <a:pt x="1129" y="112"/>
                  <a:pt x="1130" y="112"/>
                  <a:pt x="1130" y="113"/>
                </a:cubicBezTo>
                <a:cubicBezTo>
                  <a:pt x="1130" y="113"/>
                  <a:pt x="1130" y="113"/>
                  <a:pt x="1131" y="113"/>
                </a:cubicBezTo>
                <a:cubicBezTo>
                  <a:pt x="1131" y="112"/>
                  <a:pt x="1132" y="112"/>
                  <a:pt x="1132" y="112"/>
                </a:cubicBezTo>
                <a:cubicBezTo>
                  <a:pt x="1132" y="112"/>
                  <a:pt x="1132" y="112"/>
                  <a:pt x="1132" y="112"/>
                </a:cubicBezTo>
                <a:cubicBezTo>
                  <a:pt x="1132" y="113"/>
                  <a:pt x="1132" y="113"/>
                  <a:pt x="1131" y="113"/>
                </a:cubicBezTo>
                <a:cubicBezTo>
                  <a:pt x="1131" y="113"/>
                  <a:pt x="1131" y="113"/>
                  <a:pt x="1131" y="114"/>
                </a:cubicBezTo>
                <a:cubicBezTo>
                  <a:pt x="1131" y="114"/>
                  <a:pt x="1131" y="114"/>
                  <a:pt x="1132" y="114"/>
                </a:cubicBezTo>
                <a:cubicBezTo>
                  <a:pt x="1132" y="113"/>
                  <a:pt x="1132" y="113"/>
                  <a:pt x="1133" y="113"/>
                </a:cubicBezTo>
                <a:cubicBezTo>
                  <a:pt x="1133" y="113"/>
                  <a:pt x="1133" y="113"/>
                  <a:pt x="1133" y="113"/>
                </a:cubicBezTo>
                <a:cubicBezTo>
                  <a:pt x="1133" y="113"/>
                  <a:pt x="1133" y="113"/>
                  <a:pt x="1134" y="113"/>
                </a:cubicBezTo>
                <a:cubicBezTo>
                  <a:pt x="1133" y="114"/>
                  <a:pt x="1133" y="114"/>
                  <a:pt x="1133" y="114"/>
                </a:cubicBezTo>
                <a:cubicBezTo>
                  <a:pt x="1132" y="114"/>
                  <a:pt x="1132" y="114"/>
                  <a:pt x="1132" y="114"/>
                </a:cubicBezTo>
                <a:cubicBezTo>
                  <a:pt x="1133" y="115"/>
                  <a:pt x="1133" y="115"/>
                  <a:pt x="1133" y="115"/>
                </a:cubicBezTo>
                <a:cubicBezTo>
                  <a:pt x="1133" y="115"/>
                  <a:pt x="1134" y="115"/>
                  <a:pt x="1134" y="115"/>
                </a:cubicBezTo>
                <a:cubicBezTo>
                  <a:pt x="1134" y="115"/>
                  <a:pt x="1134" y="115"/>
                  <a:pt x="1134" y="115"/>
                </a:cubicBezTo>
                <a:cubicBezTo>
                  <a:pt x="1133" y="115"/>
                  <a:pt x="1133" y="115"/>
                  <a:pt x="1133" y="115"/>
                </a:cubicBezTo>
                <a:cubicBezTo>
                  <a:pt x="1132" y="115"/>
                  <a:pt x="1132" y="115"/>
                  <a:pt x="1132" y="116"/>
                </a:cubicBezTo>
                <a:cubicBezTo>
                  <a:pt x="1132" y="116"/>
                  <a:pt x="1132" y="116"/>
                  <a:pt x="1132" y="116"/>
                </a:cubicBezTo>
                <a:cubicBezTo>
                  <a:pt x="1132" y="116"/>
                  <a:pt x="1132" y="117"/>
                  <a:pt x="1132" y="117"/>
                </a:cubicBezTo>
                <a:cubicBezTo>
                  <a:pt x="1132" y="117"/>
                  <a:pt x="1132" y="117"/>
                  <a:pt x="1132" y="117"/>
                </a:cubicBezTo>
                <a:cubicBezTo>
                  <a:pt x="1132" y="117"/>
                  <a:pt x="1132" y="117"/>
                  <a:pt x="1131" y="117"/>
                </a:cubicBezTo>
                <a:cubicBezTo>
                  <a:pt x="1131" y="117"/>
                  <a:pt x="1131" y="117"/>
                  <a:pt x="1130" y="117"/>
                </a:cubicBezTo>
                <a:cubicBezTo>
                  <a:pt x="1130" y="117"/>
                  <a:pt x="1130" y="117"/>
                  <a:pt x="1129" y="117"/>
                </a:cubicBezTo>
                <a:cubicBezTo>
                  <a:pt x="1129" y="117"/>
                  <a:pt x="1129" y="117"/>
                  <a:pt x="1129" y="117"/>
                </a:cubicBezTo>
                <a:cubicBezTo>
                  <a:pt x="1128" y="117"/>
                  <a:pt x="1128" y="117"/>
                  <a:pt x="1128" y="117"/>
                </a:cubicBezTo>
                <a:cubicBezTo>
                  <a:pt x="1128" y="118"/>
                  <a:pt x="1128" y="118"/>
                  <a:pt x="1128" y="118"/>
                </a:cubicBezTo>
                <a:cubicBezTo>
                  <a:pt x="1128" y="118"/>
                  <a:pt x="1128" y="119"/>
                  <a:pt x="1128" y="119"/>
                </a:cubicBezTo>
                <a:cubicBezTo>
                  <a:pt x="1128" y="119"/>
                  <a:pt x="1128" y="120"/>
                  <a:pt x="1127" y="120"/>
                </a:cubicBezTo>
                <a:cubicBezTo>
                  <a:pt x="1128" y="120"/>
                  <a:pt x="1128" y="120"/>
                  <a:pt x="1128" y="121"/>
                </a:cubicBezTo>
                <a:cubicBezTo>
                  <a:pt x="1128" y="121"/>
                  <a:pt x="1129" y="121"/>
                  <a:pt x="1129" y="121"/>
                </a:cubicBezTo>
                <a:cubicBezTo>
                  <a:pt x="1129" y="122"/>
                  <a:pt x="1129" y="122"/>
                  <a:pt x="1129" y="122"/>
                </a:cubicBezTo>
                <a:cubicBezTo>
                  <a:pt x="1130" y="122"/>
                  <a:pt x="1130" y="123"/>
                  <a:pt x="1131" y="123"/>
                </a:cubicBezTo>
                <a:cubicBezTo>
                  <a:pt x="1131" y="123"/>
                  <a:pt x="1131" y="123"/>
                  <a:pt x="1132" y="123"/>
                </a:cubicBezTo>
                <a:cubicBezTo>
                  <a:pt x="1132" y="123"/>
                  <a:pt x="1132" y="123"/>
                  <a:pt x="1132" y="123"/>
                </a:cubicBezTo>
                <a:cubicBezTo>
                  <a:pt x="1133" y="123"/>
                  <a:pt x="1133" y="123"/>
                  <a:pt x="1133" y="123"/>
                </a:cubicBezTo>
                <a:cubicBezTo>
                  <a:pt x="1134" y="123"/>
                  <a:pt x="1134" y="122"/>
                  <a:pt x="1134" y="122"/>
                </a:cubicBezTo>
                <a:cubicBezTo>
                  <a:pt x="1134" y="122"/>
                  <a:pt x="1134" y="121"/>
                  <a:pt x="1134" y="121"/>
                </a:cubicBezTo>
                <a:cubicBezTo>
                  <a:pt x="1134" y="121"/>
                  <a:pt x="1134" y="121"/>
                  <a:pt x="1134" y="120"/>
                </a:cubicBezTo>
                <a:cubicBezTo>
                  <a:pt x="1135" y="120"/>
                  <a:pt x="1135" y="120"/>
                  <a:pt x="1135" y="120"/>
                </a:cubicBezTo>
                <a:cubicBezTo>
                  <a:pt x="1135" y="120"/>
                  <a:pt x="1135" y="120"/>
                  <a:pt x="1135" y="121"/>
                </a:cubicBezTo>
                <a:cubicBezTo>
                  <a:pt x="1135" y="121"/>
                  <a:pt x="1134" y="121"/>
                  <a:pt x="1134" y="121"/>
                </a:cubicBezTo>
                <a:cubicBezTo>
                  <a:pt x="1135" y="121"/>
                  <a:pt x="1135" y="122"/>
                  <a:pt x="1135" y="122"/>
                </a:cubicBezTo>
                <a:cubicBezTo>
                  <a:pt x="1135" y="122"/>
                  <a:pt x="1135" y="122"/>
                  <a:pt x="1135" y="123"/>
                </a:cubicBezTo>
                <a:cubicBezTo>
                  <a:pt x="1135" y="123"/>
                  <a:pt x="1136" y="123"/>
                  <a:pt x="1136" y="123"/>
                </a:cubicBezTo>
                <a:cubicBezTo>
                  <a:pt x="1136" y="123"/>
                  <a:pt x="1136" y="123"/>
                  <a:pt x="1137" y="123"/>
                </a:cubicBezTo>
                <a:cubicBezTo>
                  <a:pt x="1137" y="122"/>
                  <a:pt x="1137" y="122"/>
                  <a:pt x="1137" y="122"/>
                </a:cubicBezTo>
                <a:cubicBezTo>
                  <a:pt x="1137" y="122"/>
                  <a:pt x="1137" y="122"/>
                  <a:pt x="1138" y="121"/>
                </a:cubicBezTo>
                <a:cubicBezTo>
                  <a:pt x="1138" y="122"/>
                  <a:pt x="1138" y="122"/>
                  <a:pt x="1138" y="122"/>
                </a:cubicBezTo>
                <a:cubicBezTo>
                  <a:pt x="1138" y="122"/>
                  <a:pt x="1138" y="122"/>
                  <a:pt x="1138" y="122"/>
                </a:cubicBezTo>
                <a:cubicBezTo>
                  <a:pt x="1138" y="122"/>
                  <a:pt x="1138" y="123"/>
                  <a:pt x="1138" y="123"/>
                </a:cubicBezTo>
                <a:cubicBezTo>
                  <a:pt x="1138" y="123"/>
                  <a:pt x="1138" y="124"/>
                  <a:pt x="1139" y="124"/>
                </a:cubicBezTo>
                <a:cubicBezTo>
                  <a:pt x="1139" y="124"/>
                  <a:pt x="1139" y="124"/>
                  <a:pt x="1140" y="125"/>
                </a:cubicBezTo>
                <a:cubicBezTo>
                  <a:pt x="1140" y="125"/>
                  <a:pt x="1141" y="125"/>
                  <a:pt x="1141" y="125"/>
                </a:cubicBezTo>
                <a:cubicBezTo>
                  <a:pt x="1141" y="125"/>
                  <a:pt x="1141" y="125"/>
                  <a:pt x="1142" y="124"/>
                </a:cubicBezTo>
                <a:cubicBezTo>
                  <a:pt x="1142" y="125"/>
                  <a:pt x="1142" y="125"/>
                  <a:pt x="1142" y="125"/>
                </a:cubicBezTo>
                <a:cubicBezTo>
                  <a:pt x="1142" y="125"/>
                  <a:pt x="1142" y="125"/>
                  <a:pt x="1142" y="125"/>
                </a:cubicBezTo>
                <a:cubicBezTo>
                  <a:pt x="1142" y="125"/>
                  <a:pt x="1141" y="125"/>
                  <a:pt x="1141" y="125"/>
                </a:cubicBezTo>
                <a:cubicBezTo>
                  <a:pt x="1141" y="125"/>
                  <a:pt x="1141" y="125"/>
                  <a:pt x="1141" y="125"/>
                </a:cubicBezTo>
                <a:cubicBezTo>
                  <a:pt x="1141" y="125"/>
                  <a:pt x="1140" y="125"/>
                  <a:pt x="1140" y="126"/>
                </a:cubicBezTo>
                <a:cubicBezTo>
                  <a:pt x="1140" y="126"/>
                  <a:pt x="1140" y="126"/>
                  <a:pt x="1140" y="126"/>
                </a:cubicBezTo>
                <a:cubicBezTo>
                  <a:pt x="1140" y="126"/>
                  <a:pt x="1140" y="126"/>
                  <a:pt x="1141" y="127"/>
                </a:cubicBezTo>
                <a:cubicBezTo>
                  <a:pt x="1141" y="127"/>
                  <a:pt x="1141" y="127"/>
                  <a:pt x="1141" y="127"/>
                </a:cubicBezTo>
                <a:cubicBezTo>
                  <a:pt x="1141" y="127"/>
                  <a:pt x="1140" y="127"/>
                  <a:pt x="1140" y="127"/>
                </a:cubicBezTo>
                <a:cubicBezTo>
                  <a:pt x="1140" y="127"/>
                  <a:pt x="1140" y="127"/>
                  <a:pt x="1139" y="127"/>
                </a:cubicBezTo>
                <a:cubicBezTo>
                  <a:pt x="1139" y="127"/>
                  <a:pt x="1139" y="127"/>
                  <a:pt x="1139" y="127"/>
                </a:cubicBezTo>
                <a:cubicBezTo>
                  <a:pt x="1140" y="128"/>
                  <a:pt x="1140" y="128"/>
                  <a:pt x="1140" y="128"/>
                </a:cubicBezTo>
                <a:cubicBezTo>
                  <a:pt x="1141" y="128"/>
                  <a:pt x="1141" y="128"/>
                  <a:pt x="1142" y="128"/>
                </a:cubicBezTo>
                <a:cubicBezTo>
                  <a:pt x="1142" y="128"/>
                  <a:pt x="1142" y="128"/>
                  <a:pt x="1143" y="129"/>
                </a:cubicBezTo>
                <a:cubicBezTo>
                  <a:pt x="1143" y="129"/>
                  <a:pt x="1144" y="129"/>
                  <a:pt x="1144" y="129"/>
                </a:cubicBezTo>
                <a:cubicBezTo>
                  <a:pt x="1145" y="129"/>
                  <a:pt x="1145" y="129"/>
                  <a:pt x="1146" y="129"/>
                </a:cubicBezTo>
                <a:cubicBezTo>
                  <a:pt x="1145" y="129"/>
                  <a:pt x="1145" y="129"/>
                  <a:pt x="1145" y="128"/>
                </a:cubicBezTo>
                <a:cubicBezTo>
                  <a:pt x="1146" y="128"/>
                  <a:pt x="1146" y="129"/>
                  <a:pt x="1146" y="129"/>
                </a:cubicBezTo>
                <a:cubicBezTo>
                  <a:pt x="1146" y="129"/>
                  <a:pt x="1146" y="129"/>
                  <a:pt x="1146" y="129"/>
                </a:cubicBezTo>
                <a:cubicBezTo>
                  <a:pt x="1147" y="129"/>
                  <a:pt x="1147" y="130"/>
                  <a:pt x="1147" y="130"/>
                </a:cubicBezTo>
                <a:cubicBezTo>
                  <a:pt x="1147" y="130"/>
                  <a:pt x="1147" y="131"/>
                  <a:pt x="1148" y="131"/>
                </a:cubicBezTo>
                <a:cubicBezTo>
                  <a:pt x="1148" y="131"/>
                  <a:pt x="1148" y="131"/>
                  <a:pt x="1148" y="131"/>
                </a:cubicBezTo>
                <a:cubicBezTo>
                  <a:pt x="1149" y="131"/>
                  <a:pt x="1149" y="130"/>
                  <a:pt x="1149" y="130"/>
                </a:cubicBezTo>
                <a:cubicBezTo>
                  <a:pt x="1149" y="130"/>
                  <a:pt x="1149" y="130"/>
                  <a:pt x="1149" y="129"/>
                </a:cubicBezTo>
                <a:cubicBezTo>
                  <a:pt x="1149" y="129"/>
                  <a:pt x="1148" y="129"/>
                  <a:pt x="1148" y="129"/>
                </a:cubicBezTo>
                <a:cubicBezTo>
                  <a:pt x="1148" y="129"/>
                  <a:pt x="1147" y="129"/>
                  <a:pt x="1147" y="129"/>
                </a:cubicBezTo>
                <a:cubicBezTo>
                  <a:pt x="1147" y="129"/>
                  <a:pt x="1148" y="129"/>
                  <a:pt x="1148" y="128"/>
                </a:cubicBezTo>
                <a:cubicBezTo>
                  <a:pt x="1148" y="129"/>
                  <a:pt x="1148" y="129"/>
                  <a:pt x="1149" y="129"/>
                </a:cubicBezTo>
                <a:cubicBezTo>
                  <a:pt x="1149" y="129"/>
                  <a:pt x="1149" y="129"/>
                  <a:pt x="1150" y="129"/>
                </a:cubicBezTo>
                <a:cubicBezTo>
                  <a:pt x="1150" y="129"/>
                  <a:pt x="1150" y="130"/>
                  <a:pt x="1150" y="130"/>
                </a:cubicBezTo>
                <a:cubicBezTo>
                  <a:pt x="1150" y="130"/>
                  <a:pt x="1150" y="130"/>
                  <a:pt x="1151" y="131"/>
                </a:cubicBezTo>
                <a:cubicBezTo>
                  <a:pt x="1151" y="131"/>
                  <a:pt x="1151" y="131"/>
                  <a:pt x="1151" y="131"/>
                </a:cubicBezTo>
                <a:cubicBezTo>
                  <a:pt x="1151" y="130"/>
                  <a:pt x="1151" y="130"/>
                  <a:pt x="1151" y="130"/>
                </a:cubicBezTo>
                <a:cubicBezTo>
                  <a:pt x="1151" y="130"/>
                  <a:pt x="1152" y="130"/>
                  <a:pt x="1152" y="130"/>
                </a:cubicBezTo>
                <a:cubicBezTo>
                  <a:pt x="1152" y="130"/>
                  <a:pt x="1152" y="130"/>
                  <a:pt x="1152" y="131"/>
                </a:cubicBezTo>
                <a:cubicBezTo>
                  <a:pt x="1153" y="131"/>
                  <a:pt x="1153" y="131"/>
                  <a:pt x="1154" y="131"/>
                </a:cubicBezTo>
                <a:cubicBezTo>
                  <a:pt x="1154" y="131"/>
                  <a:pt x="1154" y="131"/>
                  <a:pt x="1154" y="131"/>
                </a:cubicBezTo>
                <a:cubicBezTo>
                  <a:pt x="1155" y="131"/>
                  <a:pt x="1155" y="131"/>
                  <a:pt x="1155" y="131"/>
                </a:cubicBezTo>
                <a:cubicBezTo>
                  <a:pt x="1154" y="131"/>
                  <a:pt x="1154" y="130"/>
                  <a:pt x="1154" y="130"/>
                </a:cubicBezTo>
                <a:cubicBezTo>
                  <a:pt x="1154" y="130"/>
                  <a:pt x="1154" y="130"/>
                  <a:pt x="1154" y="130"/>
                </a:cubicBezTo>
                <a:cubicBezTo>
                  <a:pt x="1154" y="130"/>
                  <a:pt x="1154" y="130"/>
                  <a:pt x="1154" y="130"/>
                </a:cubicBezTo>
                <a:cubicBezTo>
                  <a:pt x="1155" y="130"/>
                  <a:pt x="1155" y="130"/>
                  <a:pt x="1155" y="130"/>
                </a:cubicBezTo>
                <a:cubicBezTo>
                  <a:pt x="1155" y="130"/>
                  <a:pt x="1156" y="131"/>
                  <a:pt x="1156" y="131"/>
                </a:cubicBezTo>
                <a:cubicBezTo>
                  <a:pt x="1156" y="131"/>
                  <a:pt x="1156" y="131"/>
                  <a:pt x="1156" y="131"/>
                </a:cubicBezTo>
                <a:cubicBezTo>
                  <a:pt x="1156" y="131"/>
                  <a:pt x="1156" y="131"/>
                  <a:pt x="1156" y="131"/>
                </a:cubicBezTo>
                <a:cubicBezTo>
                  <a:pt x="1157" y="132"/>
                  <a:pt x="1157" y="132"/>
                  <a:pt x="1157" y="132"/>
                </a:cubicBezTo>
                <a:cubicBezTo>
                  <a:pt x="1157" y="132"/>
                  <a:pt x="1157" y="132"/>
                  <a:pt x="1158" y="132"/>
                </a:cubicBezTo>
                <a:cubicBezTo>
                  <a:pt x="1158" y="132"/>
                  <a:pt x="1158" y="131"/>
                  <a:pt x="1158" y="131"/>
                </a:cubicBezTo>
                <a:cubicBezTo>
                  <a:pt x="1158" y="131"/>
                  <a:pt x="1158" y="131"/>
                  <a:pt x="1157" y="131"/>
                </a:cubicBezTo>
                <a:cubicBezTo>
                  <a:pt x="1157" y="130"/>
                  <a:pt x="1157" y="130"/>
                  <a:pt x="1157" y="130"/>
                </a:cubicBezTo>
                <a:cubicBezTo>
                  <a:pt x="1157" y="130"/>
                  <a:pt x="1156" y="130"/>
                  <a:pt x="1156" y="130"/>
                </a:cubicBezTo>
                <a:cubicBezTo>
                  <a:pt x="1156" y="130"/>
                  <a:pt x="1156" y="130"/>
                  <a:pt x="1156" y="130"/>
                </a:cubicBezTo>
                <a:cubicBezTo>
                  <a:pt x="1157" y="130"/>
                  <a:pt x="1157" y="130"/>
                  <a:pt x="1157" y="130"/>
                </a:cubicBezTo>
                <a:close/>
                <a:moveTo>
                  <a:pt x="1162" y="145"/>
                </a:moveTo>
                <a:cubicBezTo>
                  <a:pt x="1162" y="145"/>
                  <a:pt x="1162" y="145"/>
                  <a:pt x="1162" y="145"/>
                </a:cubicBezTo>
                <a:cubicBezTo>
                  <a:pt x="1163" y="145"/>
                  <a:pt x="1163" y="145"/>
                  <a:pt x="1163" y="145"/>
                </a:cubicBezTo>
                <a:cubicBezTo>
                  <a:pt x="1164" y="145"/>
                  <a:pt x="1164" y="145"/>
                  <a:pt x="1165" y="145"/>
                </a:cubicBezTo>
                <a:cubicBezTo>
                  <a:pt x="1165" y="145"/>
                  <a:pt x="1165" y="144"/>
                  <a:pt x="1165" y="144"/>
                </a:cubicBezTo>
                <a:cubicBezTo>
                  <a:pt x="1165" y="144"/>
                  <a:pt x="1165" y="144"/>
                  <a:pt x="1164" y="144"/>
                </a:cubicBezTo>
                <a:cubicBezTo>
                  <a:pt x="1164" y="144"/>
                  <a:pt x="1163" y="144"/>
                  <a:pt x="1163" y="144"/>
                </a:cubicBezTo>
                <a:cubicBezTo>
                  <a:pt x="1162" y="144"/>
                  <a:pt x="1162" y="145"/>
                  <a:pt x="1162" y="145"/>
                </a:cubicBezTo>
                <a:close/>
                <a:moveTo>
                  <a:pt x="1249" y="114"/>
                </a:moveTo>
                <a:cubicBezTo>
                  <a:pt x="1249" y="114"/>
                  <a:pt x="1249" y="114"/>
                  <a:pt x="1250" y="115"/>
                </a:cubicBezTo>
                <a:cubicBezTo>
                  <a:pt x="1250" y="114"/>
                  <a:pt x="1250" y="114"/>
                  <a:pt x="1251" y="114"/>
                </a:cubicBezTo>
                <a:cubicBezTo>
                  <a:pt x="1251" y="114"/>
                  <a:pt x="1251" y="114"/>
                  <a:pt x="1251" y="114"/>
                </a:cubicBezTo>
                <a:cubicBezTo>
                  <a:pt x="1250" y="114"/>
                  <a:pt x="1250" y="113"/>
                  <a:pt x="1250" y="113"/>
                </a:cubicBezTo>
                <a:cubicBezTo>
                  <a:pt x="1250" y="112"/>
                  <a:pt x="1250" y="112"/>
                  <a:pt x="1250" y="112"/>
                </a:cubicBezTo>
                <a:cubicBezTo>
                  <a:pt x="1249" y="111"/>
                  <a:pt x="1249" y="111"/>
                  <a:pt x="1249" y="111"/>
                </a:cubicBezTo>
                <a:cubicBezTo>
                  <a:pt x="1248" y="111"/>
                  <a:pt x="1248" y="110"/>
                  <a:pt x="1248" y="110"/>
                </a:cubicBezTo>
                <a:cubicBezTo>
                  <a:pt x="1248" y="110"/>
                  <a:pt x="1247" y="110"/>
                  <a:pt x="1247" y="111"/>
                </a:cubicBezTo>
                <a:cubicBezTo>
                  <a:pt x="1247" y="111"/>
                  <a:pt x="1247" y="111"/>
                  <a:pt x="1246" y="112"/>
                </a:cubicBezTo>
                <a:cubicBezTo>
                  <a:pt x="1246" y="112"/>
                  <a:pt x="1246" y="112"/>
                  <a:pt x="1246" y="113"/>
                </a:cubicBezTo>
                <a:cubicBezTo>
                  <a:pt x="1246" y="113"/>
                  <a:pt x="1246" y="113"/>
                  <a:pt x="1246" y="113"/>
                </a:cubicBezTo>
                <a:cubicBezTo>
                  <a:pt x="1246" y="113"/>
                  <a:pt x="1247" y="113"/>
                  <a:pt x="1247" y="113"/>
                </a:cubicBezTo>
                <a:cubicBezTo>
                  <a:pt x="1247" y="114"/>
                  <a:pt x="1247" y="114"/>
                  <a:pt x="1247" y="114"/>
                </a:cubicBezTo>
                <a:cubicBezTo>
                  <a:pt x="1248" y="114"/>
                  <a:pt x="1248" y="114"/>
                  <a:pt x="1249" y="114"/>
                </a:cubicBezTo>
                <a:close/>
                <a:moveTo>
                  <a:pt x="1115" y="34"/>
                </a:moveTo>
                <a:cubicBezTo>
                  <a:pt x="1115" y="34"/>
                  <a:pt x="1115" y="34"/>
                  <a:pt x="1115" y="34"/>
                </a:cubicBezTo>
                <a:cubicBezTo>
                  <a:pt x="1115" y="34"/>
                  <a:pt x="1115" y="34"/>
                  <a:pt x="1115" y="34"/>
                </a:cubicBezTo>
                <a:cubicBezTo>
                  <a:pt x="1115" y="35"/>
                  <a:pt x="1116" y="36"/>
                  <a:pt x="1116" y="36"/>
                </a:cubicBezTo>
                <a:cubicBezTo>
                  <a:pt x="1116" y="36"/>
                  <a:pt x="1116" y="37"/>
                  <a:pt x="1116" y="37"/>
                </a:cubicBezTo>
                <a:cubicBezTo>
                  <a:pt x="1116" y="38"/>
                  <a:pt x="1116" y="38"/>
                  <a:pt x="1117" y="38"/>
                </a:cubicBezTo>
                <a:cubicBezTo>
                  <a:pt x="1117" y="39"/>
                  <a:pt x="1117" y="39"/>
                  <a:pt x="1118" y="39"/>
                </a:cubicBezTo>
                <a:cubicBezTo>
                  <a:pt x="1118" y="39"/>
                  <a:pt x="1119" y="39"/>
                  <a:pt x="1119" y="39"/>
                </a:cubicBezTo>
                <a:cubicBezTo>
                  <a:pt x="1119" y="39"/>
                  <a:pt x="1119" y="39"/>
                  <a:pt x="1119" y="39"/>
                </a:cubicBezTo>
                <a:cubicBezTo>
                  <a:pt x="1119" y="38"/>
                  <a:pt x="1118" y="38"/>
                  <a:pt x="1118" y="38"/>
                </a:cubicBezTo>
                <a:cubicBezTo>
                  <a:pt x="1118" y="38"/>
                  <a:pt x="1118" y="38"/>
                  <a:pt x="1118" y="38"/>
                </a:cubicBezTo>
                <a:cubicBezTo>
                  <a:pt x="1119" y="38"/>
                  <a:pt x="1119" y="38"/>
                  <a:pt x="1119" y="37"/>
                </a:cubicBezTo>
                <a:cubicBezTo>
                  <a:pt x="1119" y="37"/>
                  <a:pt x="1119" y="37"/>
                  <a:pt x="1120" y="37"/>
                </a:cubicBezTo>
                <a:cubicBezTo>
                  <a:pt x="1120" y="37"/>
                  <a:pt x="1120" y="36"/>
                  <a:pt x="1120" y="36"/>
                </a:cubicBezTo>
                <a:cubicBezTo>
                  <a:pt x="1120" y="36"/>
                  <a:pt x="1121" y="36"/>
                  <a:pt x="1122" y="36"/>
                </a:cubicBezTo>
                <a:cubicBezTo>
                  <a:pt x="1122" y="36"/>
                  <a:pt x="1122" y="36"/>
                  <a:pt x="1122" y="36"/>
                </a:cubicBezTo>
                <a:cubicBezTo>
                  <a:pt x="1122" y="36"/>
                  <a:pt x="1123" y="36"/>
                  <a:pt x="1123" y="36"/>
                </a:cubicBezTo>
                <a:cubicBezTo>
                  <a:pt x="1122" y="36"/>
                  <a:pt x="1122" y="35"/>
                  <a:pt x="1122" y="35"/>
                </a:cubicBezTo>
                <a:cubicBezTo>
                  <a:pt x="1121" y="35"/>
                  <a:pt x="1121" y="35"/>
                  <a:pt x="1121" y="35"/>
                </a:cubicBezTo>
                <a:cubicBezTo>
                  <a:pt x="1120" y="35"/>
                  <a:pt x="1119" y="35"/>
                  <a:pt x="1118" y="34"/>
                </a:cubicBezTo>
                <a:cubicBezTo>
                  <a:pt x="1118" y="34"/>
                  <a:pt x="1118" y="34"/>
                  <a:pt x="1117" y="34"/>
                </a:cubicBezTo>
                <a:cubicBezTo>
                  <a:pt x="1117" y="34"/>
                  <a:pt x="1117" y="34"/>
                  <a:pt x="1116" y="34"/>
                </a:cubicBezTo>
                <a:cubicBezTo>
                  <a:pt x="1116" y="34"/>
                  <a:pt x="1116" y="34"/>
                  <a:pt x="1115" y="34"/>
                </a:cubicBezTo>
                <a:close/>
                <a:moveTo>
                  <a:pt x="1524" y="427"/>
                </a:moveTo>
                <a:cubicBezTo>
                  <a:pt x="1524" y="427"/>
                  <a:pt x="1524" y="427"/>
                  <a:pt x="1524" y="427"/>
                </a:cubicBezTo>
                <a:cubicBezTo>
                  <a:pt x="1524" y="427"/>
                  <a:pt x="1523" y="426"/>
                  <a:pt x="1523" y="426"/>
                </a:cubicBezTo>
                <a:cubicBezTo>
                  <a:pt x="1523" y="426"/>
                  <a:pt x="1523" y="426"/>
                  <a:pt x="1522" y="426"/>
                </a:cubicBezTo>
                <a:cubicBezTo>
                  <a:pt x="1522" y="426"/>
                  <a:pt x="1522" y="426"/>
                  <a:pt x="1522" y="426"/>
                </a:cubicBezTo>
                <a:cubicBezTo>
                  <a:pt x="1522" y="426"/>
                  <a:pt x="1522" y="426"/>
                  <a:pt x="1522" y="426"/>
                </a:cubicBezTo>
                <a:cubicBezTo>
                  <a:pt x="1522" y="426"/>
                  <a:pt x="1523" y="427"/>
                  <a:pt x="1523" y="427"/>
                </a:cubicBezTo>
                <a:cubicBezTo>
                  <a:pt x="1523" y="427"/>
                  <a:pt x="1523" y="427"/>
                  <a:pt x="1524" y="427"/>
                </a:cubicBezTo>
                <a:close/>
                <a:moveTo>
                  <a:pt x="1508" y="456"/>
                </a:moveTo>
                <a:cubicBezTo>
                  <a:pt x="1508" y="456"/>
                  <a:pt x="1508" y="456"/>
                  <a:pt x="1508" y="456"/>
                </a:cubicBezTo>
                <a:cubicBezTo>
                  <a:pt x="1508" y="457"/>
                  <a:pt x="1508" y="457"/>
                  <a:pt x="1508" y="457"/>
                </a:cubicBezTo>
                <a:cubicBezTo>
                  <a:pt x="1508" y="457"/>
                  <a:pt x="1508" y="457"/>
                  <a:pt x="1508" y="457"/>
                </a:cubicBezTo>
                <a:cubicBezTo>
                  <a:pt x="1508" y="458"/>
                  <a:pt x="1508" y="458"/>
                  <a:pt x="1508" y="458"/>
                </a:cubicBezTo>
                <a:cubicBezTo>
                  <a:pt x="1509" y="458"/>
                  <a:pt x="1509" y="458"/>
                  <a:pt x="1510" y="459"/>
                </a:cubicBezTo>
                <a:cubicBezTo>
                  <a:pt x="1510" y="459"/>
                  <a:pt x="1510" y="459"/>
                  <a:pt x="1510" y="460"/>
                </a:cubicBezTo>
                <a:cubicBezTo>
                  <a:pt x="1510" y="460"/>
                  <a:pt x="1510" y="460"/>
                  <a:pt x="1510" y="461"/>
                </a:cubicBezTo>
                <a:cubicBezTo>
                  <a:pt x="1510" y="461"/>
                  <a:pt x="1510" y="461"/>
                  <a:pt x="1510" y="461"/>
                </a:cubicBezTo>
                <a:cubicBezTo>
                  <a:pt x="1510" y="461"/>
                  <a:pt x="1510" y="461"/>
                  <a:pt x="1510" y="461"/>
                </a:cubicBezTo>
                <a:cubicBezTo>
                  <a:pt x="1511" y="461"/>
                  <a:pt x="1511" y="461"/>
                  <a:pt x="1511" y="462"/>
                </a:cubicBezTo>
                <a:cubicBezTo>
                  <a:pt x="1511" y="461"/>
                  <a:pt x="1511" y="461"/>
                  <a:pt x="1511" y="461"/>
                </a:cubicBezTo>
                <a:cubicBezTo>
                  <a:pt x="1511" y="461"/>
                  <a:pt x="1511" y="460"/>
                  <a:pt x="1512" y="460"/>
                </a:cubicBezTo>
                <a:cubicBezTo>
                  <a:pt x="1512" y="460"/>
                  <a:pt x="1512" y="459"/>
                  <a:pt x="1511" y="459"/>
                </a:cubicBezTo>
                <a:cubicBezTo>
                  <a:pt x="1512" y="459"/>
                  <a:pt x="1512" y="459"/>
                  <a:pt x="1513" y="458"/>
                </a:cubicBezTo>
                <a:cubicBezTo>
                  <a:pt x="1513" y="458"/>
                  <a:pt x="1514" y="458"/>
                  <a:pt x="1514" y="458"/>
                </a:cubicBezTo>
                <a:cubicBezTo>
                  <a:pt x="1514" y="457"/>
                  <a:pt x="1515" y="457"/>
                  <a:pt x="1515" y="457"/>
                </a:cubicBezTo>
                <a:cubicBezTo>
                  <a:pt x="1515" y="457"/>
                  <a:pt x="1515" y="457"/>
                  <a:pt x="1515" y="457"/>
                </a:cubicBezTo>
                <a:cubicBezTo>
                  <a:pt x="1515" y="456"/>
                  <a:pt x="1515" y="456"/>
                  <a:pt x="1515" y="456"/>
                </a:cubicBezTo>
                <a:cubicBezTo>
                  <a:pt x="1515" y="456"/>
                  <a:pt x="1515" y="455"/>
                  <a:pt x="1515" y="455"/>
                </a:cubicBezTo>
                <a:cubicBezTo>
                  <a:pt x="1516" y="455"/>
                  <a:pt x="1516" y="454"/>
                  <a:pt x="1516" y="454"/>
                </a:cubicBezTo>
                <a:cubicBezTo>
                  <a:pt x="1516" y="454"/>
                  <a:pt x="1516" y="453"/>
                  <a:pt x="1516" y="453"/>
                </a:cubicBezTo>
                <a:cubicBezTo>
                  <a:pt x="1516" y="453"/>
                  <a:pt x="1517" y="453"/>
                  <a:pt x="1517" y="453"/>
                </a:cubicBezTo>
                <a:cubicBezTo>
                  <a:pt x="1517" y="452"/>
                  <a:pt x="1518" y="451"/>
                  <a:pt x="1518" y="451"/>
                </a:cubicBezTo>
                <a:cubicBezTo>
                  <a:pt x="1518" y="451"/>
                  <a:pt x="1518" y="450"/>
                  <a:pt x="1519" y="450"/>
                </a:cubicBezTo>
                <a:cubicBezTo>
                  <a:pt x="1519" y="450"/>
                  <a:pt x="1519" y="450"/>
                  <a:pt x="1519" y="450"/>
                </a:cubicBezTo>
                <a:cubicBezTo>
                  <a:pt x="1519" y="450"/>
                  <a:pt x="1519" y="450"/>
                  <a:pt x="1519" y="449"/>
                </a:cubicBezTo>
                <a:cubicBezTo>
                  <a:pt x="1519" y="449"/>
                  <a:pt x="1518" y="449"/>
                  <a:pt x="1518" y="449"/>
                </a:cubicBezTo>
                <a:cubicBezTo>
                  <a:pt x="1518" y="449"/>
                  <a:pt x="1518" y="449"/>
                  <a:pt x="1518" y="449"/>
                </a:cubicBezTo>
                <a:cubicBezTo>
                  <a:pt x="1518" y="448"/>
                  <a:pt x="1518" y="448"/>
                  <a:pt x="1518" y="448"/>
                </a:cubicBezTo>
                <a:cubicBezTo>
                  <a:pt x="1517" y="447"/>
                  <a:pt x="1517" y="447"/>
                  <a:pt x="1517" y="447"/>
                </a:cubicBezTo>
                <a:cubicBezTo>
                  <a:pt x="1516" y="447"/>
                  <a:pt x="1516" y="447"/>
                  <a:pt x="1516" y="447"/>
                </a:cubicBezTo>
                <a:cubicBezTo>
                  <a:pt x="1516" y="447"/>
                  <a:pt x="1516" y="447"/>
                  <a:pt x="1516" y="447"/>
                </a:cubicBezTo>
                <a:cubicBezTo>
                  <a:pt x="1516" y="447"/>
                  <a:pt x="1515" y="447"/>
                  <a:pt x="1515" y="447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3" y="448"/>
                  <a:pt x="1513" y="448"/>
                  <a:pt x="1512" y="449"/>
                </a:cubicBezTo>
                <a:cubicBezTo>
                  <a:pt x="1512" y="449"/>
                  <a:pt x="1512" y="449"/>
                  <a:pt x="1512" y="449"/>
                </a:cubicBezTo>
                <a:cubicBezTo>
                  <a:pt x="1512" y="449"/>
                  <a:pt x="1512" y="449"/>
                  <a:pt x="1512" y="450"/>
                </a:cubicBezTo>
                <a:cubicBezTo>
                  <a:pt x="1512" y="450"/>
                  <a:pt x="1512" y="450"/>
                  <a:pt x="1511" y="450"/>
                </a:cubicBezTo>
                <a:cubicBezTo>
                  <a:pt x="1511" y="450"/>
                  <a:pt x="1510" y="450"/>
                  <a:pt x="1510" y="451"/>
                </a:cubicBezTo>
                <a:cubicBezTo>
                  <a:pt x="1509" y="451"/>
                  <a:pt x="1509" y="451"/>
                  <a:pt x="1509" y="452"/>
                </a:cubicBezTo>
                <a:cubicBezTo>
                  <a:pt x="1509" y="452"/>
                  <a:pt x="1508" y="452"/>
                  <a:pt x="1508" y="452"/>
                </a:cubicBezTo>
                <a:cubicBezTo>
                  <a:pt x="1508" y="452"/>
                  <a:pt x="1508" y="452"/>
                  <a:pt x="1509" y="452"/>
                </a:cubicBezTo>
                <a:cubicBezTo>
                  <a:pt x="1508" y="453"/>
                  <a:pt x="1508" y="453"/>
                  <a:pt x="1508" y="454"/>
                </a:cubicBezTo>
                <a:cubicBezTo>
                  <a:pt x="1508" y="454"/>
                  <a:pt x="1508" y="455"/>
                  <a:pt x="1508" y="455"/>
                </a:cubicBezTo>
                <a:cubicBezTo>
                  <a:pt x="1508" y="455"/>
                  <a:pt x="1508" y="455"/>
                  <a:pt x="1508" y="456"/>
                </a:cubicBezTo>
                <a:cubicBezTo>
                  <a:pt x="1508" y="456"/>
                  <a:pt x="1508" y="456"/>
                  <a:pt x="1508" y="456"/>
                </a:cubicBezTo>
                <a:cubicBezTo>
                  <a:pt x="1508" y="456"/>
                  <a:pt x="1508" y="456"/>
                  <a:pt x="1508" y="456"/>
                </a:cubicBezTo>
                <a:close/>
                <a:moveTo>
                  <a:pt x="1449" y="456"/>
                </a:moveTo>
                <a:cubicBezTo>
                  <a:pt x="1449" y="456"/>
                  <a:pt x="1449" y="456"/>
                  <a:pt x="1449" y="456"/>
                </a:cubicBezTo>
                <a:cubicBezTo>
                  <a:pt x="1449" y="456"/>
                  <a:pt x="1449" y="457"/>
                  <a:pt x="1450" y="457"/>
                </a:cubicBezTo>
                <a:cubicBezTo>
                  <a:pt x="1450" y="457"/>
                  <a:pt x="1450" y="457"/>
                  <a:pt x="1451" y="457"/>
                </a:cubicBezTo>
                <a:cubicBezTo>
                  <a:pt x="1451" y="458"/>
                  <a:pt x="1451" y="458"/>
                  <a:pt x="1451" y="458"/>
                </a:cubicBezTo>
                <a:cubicBezTo>
                  <a:pt x="1451" y="458"/>
                  <a:pt x="1452" y="458"/>
                  <a:pt x="1452" y="458"/>
                </a:cubicBezTo>
                <a:cubicBezTo>
                  <a:pt x="1452" y="458"/>
                  <a:pt x="1452" y="459"/>
                  <a:pt x="1453" y="459"/>
                </a:cubicBezTo>
                <a:cubicBezTo>
                  <a:pt x="1453" y="459"/>
                  <a:pt x="1453" y="459"/>
                  <a:pt x="1453" y="459"/>
                </a:cubicBezTo>
                <a:cubicBezTo>
                  <a:pt x="1453" y="459"/>
                  <a:pt x="1454" y="458"/>
                  <a:pt x="1454" y="458"/>
                </a:cubicBezTo>
                <a:cubicBezTo>
                  <a:pt x="1454" y="458"/>
                  <a:pt x="1454" y="458"/>
                  <a:pt x="1455" y="458"/>
                </a:cubicBezTo>
                <a:cubicBezTo>
                  <a:pt x="1455" y="459"/>
                  <a:pt x="1455" y="459"/>
                  <a:pt x="1455" y="459"/>
                </a:cubicBezTo>
                <a:cubicBezTo>
                  <a:pt x="1456" y="459"/>
                  <a:pt x="1456" y="459"/>
                  <a:pt x="1456" y="458"/>
                </a:cubicBezTo>
                <a:cubicBezTo>
                  <a:pt x="1456" y="458"/>
                  <a:pt x="1456" y="458"/>
                  <a:pt x="1456" y="458"/>
                </a:cubicBezTo>
                <a:cubicBezTo>
                  <a:pt x="1457" y="458"/>
                  <a:pt x="1457" y="458"/>
                  <a:pt x="1457" y="458"/>
                </a:cubicBezTo>
                <a:cubicBezTo>
                  <a:pt x="1458" y="458"/>
                  <a:pt x="1458" y="458"/>
                  <a:pt x="1458" y="458"/>
                </a:cubicBezTo>
                <a:cubicBezTo>
                  <a:pt x="1458" y="458"/>
                  <a:pt x="1458" y="457"/>
                  <a:pt x="1458" y="457"/>
                </a:cubicBezTo>
                <a:cubicBezTo>
                  <a:pt x="1458" y="457"/>
                  <a:pt x="1459" y="457"/>
                  <a:pt x="1459" y="456"/>
                </a:cubicBezTo>
                <a:cubicBezTo>
                  <a:pt x="1459" y="456"/>
                  <a:pt x="1459" y="456"/>
                  <a:pt x="1460" y="456"/>
                </a:cubicBezTo>
                <a:cubicBezTo>
                  <a:pt x="1460" y="456"/>
                  <a:pt x="1460" y="456"/>
                  <a:pt x="1460" y="456"/>
                </a:cubicBezTo>
                <a:cubicBezTo>
                  <a:pt x="1460" y="455"/>
                  <a:pt x="1461" y="455"/>
                  <a:pt x="1461" y="455"/>
                </a:cubicBezTo>
                <a:cubicBezTo>
                  <a:pt x="1461" y="455"/>
                  <a:pt x="1461" y="454"/>
                  <a:pt x="1461" y="454"/>
                </a:cubicBezTo>
                <a:cubicBezTo>
                  <a:pt x="1461" y="454"/>
                  <a:pt x="1460" y="453"/>
                  <a:pt x="1460" y="453"/>
                </a:cubicBezTo>
                <a:cubicBezTo>
                  <a:pt x="1460" y="453"/>
                  <a:pt x="1459" y="453"/>
                  <a:pt x="1459" y="453"/>
                </a:cubicBezTo>
                <a:cubicBezTo>
                  <a:pt x="1459" y="453"/>
                  <a:pt x="1459" y="453"/>
                  <a:pt x="1458" y="453"/>
                </a:cubicBezTo>
                <a:cubicBezTo>
                  <a:pt x="1458" y="453"/>
                  <a:pt x="1458" y="452"/>
                  <a:pt x="1458" y="452"/>
                </a:cubicBezTo>
                <a:cubicBezTo>
                  <a:pt x="1458" y="452"/>
                  <a:pt x="1457" y="452"/>
                  <a:pt x="1457" y="452"/>
                </a:cubicBezTo>
                <a:cubicBezTo>
                  <a:pt x="1457" y="452"/>
                  <a:pt x="1456" y="452"/>
                  <a:pt x="1456" y="452"/>
                </a:cubicBezTo>
                <a:cubicBezTo>
                  <a:pt x="1456" y="452"/>
                  <a:pt x="1456" y="452"/>
                  <a:pt x="1456" y="452"/>
                </a:cubicBezTo>
                <a:cubicBezTo>
                  <a:pt x="1455" y="452"/>
                  <a:pt x="1455" y="452"/>
                  <a:pt x="1455" y="452"/>
                </a:cubicBezTo>
                <a:cubicBezTo>
                  <a:pt x="1454" y="452"/>
                  <a:pt x="1454" y="452"/>
                  <a:pt x="1454" y="452"/>
                </a:cubicBezTo>
                <a:cubicBezTo>
                  <a:pt x="1453" y="452"/>
                  <a:pt x="1453" y="452"/>
                  <a:pt x="1453" y="452"/>
                </a:cubicBezTo>
                <a:cubicBezTo>
                  <a:pt x="1452" y="452"/>
                  <a:pt x="1452" y="452"/>
                  <a:pt x="1452" y="452"/>
                </a:cubicBezTo>
                <a:cubicBezTo>
                  <a:pt x="1452" y="452"/>
                  <a:pt x="1451" y="452"/>
                  <a:pt x="1451" y="452"/>
                </a:cubicBezTo>
                <a:cubicBezTo>
                  <a:pt x="1450" y="453"/>
                  <a:pt x="1449" y="453"/>
                  <a:pt x="1449" y="453"/>
                </a:cubicBezTo>
                <a:cubicBezTo>
                  <a:pt x="1449" y="453"/>
                  <a:pt x="1449" y="453"/>
                  <a:pt x="1449" y="454"/>
                </a:cubicBezTo>
                <a:cubicBezTo>
                  <a:pt x="1449" y="454"/>
                  <a:pt x="1449" y="455"/>
                  <a:pt x="1449" y="455"/>
                </a:cubicBezTo>
                <a:cubicBezTo>
                  <a:pt x="1449" y="455"/>
                  <a:pt x="1449" y="456"/>
                  <a:pt x="1449" y="456"/>
                </a:cubicBezTo>
                <a:close/>
                <a:moveTo>
                  <a:pt x="1519" y="417"/>
                </a:moveTo>
                <a:cubicBezTo>
                  <a:pt x="1519" y="417"/>
                  <a:pt x="1519" y="417"/>
                  <a:pt x="1519" y="417"/>
                </a:cubicBezTo>
                <a:cubicBezTo>
                  <a:pt x="1519" y="417"/>
                  <a:pt x="1519" y="418"/>
                  <a:pt x="1519" y="418"/>
                </a:cubicBezTo>
                <a:cubicBezTo>
                  <a:pt x="1520" y="418"/>
                  <a:pt x="1520" y="418"/>
                  <a:pt x="1520" y="418"/>
                </a:cubicBezTo>
                <a:cubicBezTo>
                  <a:pt x="1521" y="418"/>
                  <a:pt x="1521" y="419"/>
                  <a:pt x="1521" y="419"/>
                </a:cubicBezTo>
                <a:cubicBezTo>
                  <a:pt x="1521" y="419"/>
                  <a:pt x="1521" y="418"/>
                  <a:pt x="1522" y="418"/>
                </a:cubicBezTo>
                <a:cubicBezTo>
                  <a:pt x="1521" y="418"/>
                  <a:pt x="1521" y="418"/>
                  <a:pt x="1521" y="418"/>
                </a:cubicBezTo>
                <a:cubicBezTo>
                  <a:pt x="1521" y="418"/>
                  <a:pt x="1520" y="418"/>
                  <a:pt x="1520" y="417"/>
                </a:cubicBezTo>
                <a:cubicBezTo>
                  <a:pt x="1520" y="417"/>
                  <a:pt x="1520" y="417"/>
                  <a:pt x="1519" y="417"/>
                </a:cubicBezTo>
                <a:close/>
                <a:moveTo>
                  <a:pt x="1461" y="449"/>
                </a:moveTo>
                <a:cubicBezTo>
                  <a:pt x="1461" y="449"/>
                  <a:pt x="1460" y="449"/>
                  <a:pt x="1460" y="449"/>
                </a:cubicBezTo>
                <a:cubicBezTo>
                  <a:pt x="1460" y="449"/>
                  <a:pt x="1459" y="449"/>
                  <a:pt x="1459" y="449"/>
                </a:cubicBezTo>
                <a:cubicBezTo>
                  <a:pt x="1459" y="449"/>
                  <a:pt x="1459" y="449"/>
                  <a:pt x="1459" y="449"/>
                </a:cubicBezTo>
                <a:cubicBezTo>
                  <a:pt x="1459" y="449"/>
                  <a:pt x="1460" y="449"/>
                  <a:pt x="1460" y="449"/>
                </a:cubicBezTo>
                <a:cubicBezTo>
                  <a:pt x="1460" y="449"/>
                  <a:pt x="1461" y="450"/>
                  <a:pt x="1461" y="450"/>
                </a:cubicBezTo>
                <a:cubicBezTo>
                  <a:pt x="1461" y="450"/>
                  <a:pt x="1461" y="450"/>
                  <a:pt x="1461" y="449"/>
                </a:cubicBezTo>
                <a:close/>
                <a:moveTo>
                  <a:pt x="1507" y="443"/>
                </a:moveTo>
                <a:cubicBezTo>
                  <a:pt x="1507" y="443"/>
                  <a:pt x="1507" y="444"/>
                  <a:pt x="1507" y="444"/>
                </a:cubicBezTo>
                <a:cubicBezTo>
                  <a:pt x="1507" y="444"/>
                  <a:pt x="1507" y="444"/>
                  <a:pt x="1507" y="444"/>
                </a:cubicBezTo>
                <a:cubicBezTo>
                  <a:pt x="1508" y="444"/>
                  <a:pt x="1508" y="444"/>
                  <a:pt x="1508" y="443"/>
                </a:cubicBezTo>
                <a:cubicBezTo>
                  <a:pt x="1508" y="443"/>
                  <a:pt x="1507" y="443"/>
                  <a:pt x="1507" y="443"/>
                </a:cubicBezTo>
                <a:cubicBezTo>
                  <a:pt x="1507" y="443"/>
                  <a:pt x="1507" y="443"/>
                  <a:pt x="1507" y="443"/>
                </a:cubicBezTo>
                <a:close/>
                <a:moveTo>
                  <a:pt x="1493" y="449"/>
                </a:moveTo>
                <a:cubicBezTo>
                  <a:pt x="1493" y="449"/>
                  <a:pt x="1493" y="449"/>
                  <a:pt x="1493" y="449"/>
                </a:cubicBezTo>
                <a:cubicBezTo>
                  <a:pt x="1493" y="449"/>
                  <a:pt x="1494" y="449"/>
                  <a:pt x="1494" y="449"/>
                </a:cubicBezTo>
                <a:cubicBezTo>
                  <a:pt x="1494" y="449"/>
                  <a:pt x="1494" y="449"/>
                  <a:pt x="1494" y="449"/>
                </a:cubicBezTo>
                <a:cubicBezTo>
                  <a:pt x="1494" y="449"/>
                  <a:pt x="1494" y="449"/>
                  <a:pt x="1494" y="449"/>
                </a:cubicBezTo>
                <a:cubicBezTo>
                  <a:pt x="1494" y="449"/>
                  <a:pt x="1493" y="449"/>
                  <a:pt x="1493" y="449"/>
                </a:cubicBezTo>
                <a:close/>
                <a:moveTo>
                  <a:pt x="942" y="62"/>
                </a:moveTo>
                <a:cubicBezTo>
                  <a:pt x="942" y="62"/>
                  <a:pt x="943" y="62"/>
                  <a:pt x="943" y="63"/>
                </a:cubicBezTo>
                <a:cubicBezTo>
                  <a:pt x="943" y="63"/>
                  <a:pt x="943" y="63"/>
                  <a:pt x="943" y="63"/>
                </a:cubicBezTo>
                <a:cubicBezTo>
                  <a:pt x="943" y="63"/>
                  <a:pt x="943" y="63"/>
                  <a:pt x="944" y="63"/>
                </a:cubicBezTo>
                <a:cubicBezTo>
                  <a:pt x="944" y="62"/>
                  <a:pt x="944" y="62"/>
                  <a:pt x="944" y="62"/>
                </a:cubicBezTo>
                <a:cubicBezTo>
                  <a:pt x="944" y="62"/>
                  <a:pt x="944" y="62"/>
                  <a:pt x="943" y="61"/>
                </a:cubicBezTo>
                <a:cubicBezTo>
                  <a:pt x="943" y="61"/>
                  <a:pt x="943" y="61"/>
                  <a:pt x="943" y="61"/>
                </a:cubicBezTo>
                <a:cubicBezTo>
                  <a:pt x="942" y="60"/>
                  <a:pt x="942" y="60"/>
                  <a:pt x="942" y="60"/>
                </a:cubicBezTo>
                <a:cubicBezTo>
                  <a:pt x="942" y="60"/>
                  <a:pt x="942" y="60"/>
                  <a:pt x="942" y="60"/>
                </a:cubicBezTo>
                <a:cubicBezTo>
                  <a:pt x="942" y="60"/>
                  <a:pt x="942" y="60"/>
                  <a:pt x="941" y="60"/>
                </a:cubicBezTo>
                <a:cubicBezTo>
                  <a:pt x="941" y="60"/>
                  <a:pt x="941" y="60"/>
                  <a:pt x="941" y="60"/>
                </a:cubicBezTo>
                <a:cubicBezTo>
                  <a:pt x="941" y="59"/>
                  <a:pt x="941" y="59"/>
                  <a:pt x="940" y="59"/>
                </a:cubicBezTo>
                <a:cubicBezTo>
                  <a:pt x="940" y="59"/>
                  <a:pt x="940" y="59"/>
                  <a:pt x="939" y="58"/>
                </a:cubicBezTo>
                <a:cubicBezTo>
                  <a:pt x="939" y="58"/>
                  <a:pt x="940" y="58"/>
                  <a:pt x="940" y="58"/>
                </a:cubicBezTo>
                <a:cubicBezTo>
                  <a:pt x="940" y="57"/>
                  <a:pt x="940" y="57"/>
                  <a:pt x="940" y="57"/>
                </a:cubicBezTo>
                <a:cubicBezTo>
                  <a:pt x="939" y="57"/>
                  <a:pt x="939" y="56"/>
                  <a:pt x="938" y="56"/>
                </a:cubicBezTo>
                <a:cubicBezTo>
                  <a:pt x="938" y="56"/>
                  <a:pt x="938" y="56"/>
                  <a:pt x="938" y="56"/>
                </a:cubicBezTo>
                <a:cubicBezTo>
                  <a:pt x="938" y="56"/>
                  <a:pt x="937" y="56"/>
                  <a:pt x="937" y="56"/>
                </a:cubicBezTo>
                <a:cubicBezTo>
                  <a:pt x="937" y="57"/>
                  <a:pt x="937" y="57"/>
                  <a:pt x="937" y="57"/>
                </a:cubicBezTo>
                <a:cubicBezTo>
                  <a:pt x="938" y="57"/>
                  <a:pt x="938" y="58"/>
                  <a:pt x="938" y="58"/>
                </a:cubicBezTo>
                <a:cubicBezTo>
                  <a:pt x="938" y="58"/>
                  <a:pt x="938" y="58"/>
                  <a:pt x="939" y="58"/>
                </a:cubicBezTo>
                <a:cubicBezTo>
                  <a:pt x="939" y="59"/>
                  <a:pt x="939" y="59"/>
                  <a:pt x="939" y="60"/>
                </a:cubicBezTo>
                <a:cubicBezTo>
                  <a:pt x="939" y="60"/>
                  <a:pt x="939" y="60"/>
                  <a:pt x="939" y="60"/>
                </a:cubicBezTo>
                <a:cubicBezTo>
                  <a:pt x="940" y="60"/>
                  <a:pt x="940" y="60"/>
                  <a:pt x="940" y="60"/>
                </a:cubicBezTo>
                <a:cubicBezTo>
                  <a:pt x="941" y="60"/>
                  <a:pt x="941" y="61"/>
                  <a:pt x="941" y="61"/>
                </a:cubicBezTo>
                <a:cubicBezTo>
                  <a:pt x="941" y="61"/>
                  <a:pt x="942" y="61"/>
                  <a:pt x="942" y="62"/>
                </a:cubicBezTo>
                <a:cubicBezTo>
                  <a:pt x="942" y="62"/>
                  <a:pt x="942" y="62"/>
                  <a:pt x="942" y="62"/>
                </a:cubicBezTo>
                <a:close/>
                <a:moveTo>
                  <a:pt x="966" y="41"/>
                </a:moveTo>
                <a:cubicBezTo>
                  <a:pt x="967" y="41"/>
                  <a:pt x="967" y="41"/>
                  <a:pt x="967" y="41"/>
                </a:cubicBezTo>
                <a:cubicBezTo>
                  <a:pt x="967" y="41"/>
                  <a:pt x="967" y="41"/>
                  <a:pt x="967" y="41"/>
                </a:cubicBezTo>
                <a:cubicBezTo>
                  <a:pt x="967" y="40"/>
                  <a:pt x="967" y="40"/>
                  <a:pt x="967" y="40"/>
                </a:cubicBezTo>
                <a:cubicBezTo>
                  <a:pt x="967" y="40"/>
                  <a:pt x="967" y="40"/>
                  <a:pt x="967" y="40"/>
                </a:cubicBezTo>
                <a:cubicBezTo>
                  <a:pt x="967" y="40"/>
                  <a:pt x="966" y="39"/>
                  <a:pt x="966" y="39"/>
                </a:cubicBezTo>
                <a:cubicBezTo>
                  <a:pt x="966" y="40"/>
                  <a:pt x="966" y="40"/>
                  <a:pt x="965" y="40"/>
                </a:cubicBezTo>
                <a:cubicBezTo>
                  <a:pt x="965" y="40"/>
                  <a:pt x="965" y="40"/>
                  <a:pt x="965" y="40"/>
                </a:cubicBezTo>
                <a:cubicBezTo>
                  <a:pt x="965" y="40"/>
                  <a:pt x="965" y="40"/>
                  <a:pt x="965" y="41"/>
                </a:cubicBezTo>
                <a:cubicBezTo>
                  <a:pt x="966" y="41"/>
                  <a:pt x="966" y="41"/>
                  <a:pt x="966" y="41"/>
                </a:cubicBezTo>
                <a:close/>
                <a:moveTo>
                  <a:pt x="1001" y="57"/>
                </a:moveTo>
                <a:cubicBezTo>
                  <a:pt x="1001" y="57"/>
                  <a:pt x="1001" y="57"/>
                  <a:pt x="1001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8"/>
                  <a:pt x="1003" y="58"/>
                </a:cubicBezTo>
                <a:cubicBezTo>
                  <a:pt x="1003" y="57"/>
                  <a:pt x="1003" y="57"/>
                  <a:pt x="1003" y="57"/>
                </a:cubicBezTo>
                <a:cubicBezTo>
                  <a:pt x="1003" y="57"/>
                  <a:pt x="1002" y="57"/>
                  <a:pt x="1002" y="57"/>
                </a:cubicBezTo>
                <a:cubicBezTo>
                  <a:pt x="1002" y="56"/>
                  <a:pt x="1002" y="56"/>
                  <a:pt x="1002" y="56"/>
                </a:cubicBezTo>
                <a:cubicBezTo>
                  <a:pt x="1002" y="56"/>
                  <a:pt x="1002" y="56"/>
                  <a:pt x="1002" y="56"/>
                </a:cubicBezTo>
                <a:cubicBezTo>
                  <a:pt x="1001" y="56"/>
                  <a:pt x="1001" y="56"/>
                  <a:pt x="1001" y="56"/>
                </a:cubicBezTo>
                <a:cubicBezTo>
                  <a:pt x="1001" y="56"/>
                  <a:pt x="1001" y="56"/>
                  <a:pt x="1001" y="56"/>
                </a:cubicBezTo>
                <a:cubicBezTo>
                  <a:pt x="1001" y="56"/>
                  <a:pt x="1001" y="57"/>
                  <a:pt x="1001" y="57"/>
                </a:cubicBezTo>
                <a:close/>
                <a:moveTo>
                  <a:pt x="965" y="42"/>
                </a:moveTo>
                <a:cubicBezTo>
                  <a:pt x="966" y="42"/>
                  <a:pt x="966" y="43"/>
                  <a:pt x="966" y="43"/>
                </a:cubicBezTo>
                <a:cubicBezTo>
                  <a:pt x="966" y="43"/>
                  <a:pt x="966" y="43"/>
                  <a:pt x="966" y="43"/>
                </a:cubicBezTo>
                <a:cubicBezTo>
                  <a:pt x="966" y="43"/>
                  <a:pt x="966" y="43"/>
                  <a:pt x="966" y="43"/>
                </a:cubicBezTo>
                <a:cubicBezTo>
                  <a:pt x="966" y="43"/>
                  <a:pt x="967" y="43"/>
                  <a:pt x="967" y="43"/>
                </a:cubicBezTo>
                <a:cubicBezTo>
                  <a:pt x="967" y="43"/>
                  <a:pt x="967" y="44"/>
                  <a:pt x="967" y="44"/>
                </a:cubicBezTo>
                <a:cubicBezTo>
                  <a:pt x="967" y="44"/>
                  <a:pt x="966" y="44"/>
                  <a:pt x="966" y="44"/>
                </a:cubicBezTo>
                <a:cubicBezTo>
                  <a:pt x="966" y="44"/>
                  <a:pt x="966" y="45"/>
                  <a:pt x="966" y="45"/>
                </a:cubicBezTo>
                <a:cubicBezTo>
                  <a:pt x="966" y="45"/>
                  <a:pt x="966" y="45"/>
                  <a:pt x="967" y="46"/>
                </a:cubicBezTo>
                <a:cubicBezTo>
                  <a:pt x="967" y="46"/>
                  <a:pt x="967" y="46"/>
                  <a:pt x="968" y="46"/>
                </a:cubicBezTo>
                <a:cubicBezTo>
                  <a:pt x="968" y="46"/>
                  <a:pt x="968" y="46"/>
                  <a:pt x="969" y="47"/>
                </a:cubicBezTo>
                <a:cubicBezTo>
                  <a:pt x="969" y="47"/>
                  <a:pt x="970" y="47"/>
                  <a:pt x="970" y="47"/>
                </a:cubicBezTo>
                <a:cubicBezTo>
                  <a:pt x="971" y="47"/>
                  <a:pt x="971" y="46"/>
                  <a:pt x="971" y="46"/>
                </a:cubicBezTo>
                <a:cubicBezTo>
                  <a:pt x="971" y="46"/>
                  <a:pt x="972" y="47"/>
                  <a:pt x="972" y="47"/>
                </a:cubicBezTo>
                <a:cubicBezTo>
                  <a:pt x="972" y="47"/>
                  <a:pt x="972" y="47"/>
                  <a:pt x="972" y="47"/>
                </a:cubicBezTo>
                <a:cubicBezTo>
                  <a:pt x="973" y="46"/>
                  <a:pt x="973" y="46"/>
                  <a:pt x="974" y="46"/>
                </a:cubicBezTo>
                <a:cubicBezTo>
                  <a:pt x="974" y="46"/>
                  <a:pt x="974" y="46"/>
                  <a:pt x="975" y="46"/>
                </a:cubicBezTo>
                <a:cubicBezTo>
                  <a:pt x="975" y="46"/>
                  <a:pt x="976" y="46"/>
                  <a:pt x="977" y="46"/>
                </a:cubicBezTo>
                <a:cubicBezTo>
                  <a:pt x="977" y="46"/>
                  <a:pt x="978" y="46"/>
                  <a:pt x="978" y="46"/>
                </a:cubicBezTo>
                <a:cubicBezTo>
                  <a:pt x="979" y="46"/>
                  <a:pt x="979" y="46"/>
                  <a:pt x="979" y="46"/>
                </a:cubicBezTo>
                <a:cubicBezTo>
                  <a:pt x="980" y="46"/>
                  <a:pt x="980" y="46"/>
                  <a:pt x="980" y="45"/>
                </a:cubicBezTo>
                <a:cubicBezTo>
                  <a:pt x="980" y="46"/>
                  <a:pt x="980" y="46"/>
                  <a:pt x="980" y="46"/>
                </a:cubicBezTo>
                <a:cubicBezTo>
                  <a:pt x="980" y="46"/>
                  <a:pt x="980" y="46"/>
                  <a:pt x="981" y="46"/>
                </a:cubicBezTo>
                <a:cubicBezTo>
                  <a:pt x="980" y="46"/>
                  <a:pt x="980" y="46"/>
                  <a:pt x="980" y="46"/>
                </a:cubicBezTo>
                <a:cubicBezTo>
                  <a:pt x="980" y="46"/>
                  <a:pt x="980" y="47"/>
                  <a:pt x="980" y="47"/>
                </a:cubicBezTo>
                <a:cubicBezTo>
                  <a:pt x="979" y="47"/>
                  <a:pt x="979" y="47"/>
                  <a:pt x="979" y="47"/>
                </a:cubicBezTo>
                <a:cubicBezTo>
                  <a:pt x="979" y="47"/>
                  <a:pt x="978" y="47"/>
                  <a:pt x="978" y="47"/>
                </a:cubicBezTo>
                <a:cubicBezTo>
                  <a:pt x="977" y="47"/>
                  <a:pt x="977" y="47"/>
                  <a:pt x="976" y="47"/>
                </a:cubicBezTo>
                <a:cubicBezTo>
                  <a:pt x="976" y="47"/>
                  <a:pt x="976" y="47"/>
                  <a:pt x="975" y="47"/>
                </a:cubicBezTo>
                <a:cubicBezTo>
                  <a:pt x="975" y="47"/>
                  <a:pt x="975" y="47"/>
                  <a:pt x="975" y="47"/>
                </a:cubicBezTo>
                <a:cubicBezTo>
                  <a:pt x="975" y="47"/>
                  <a:pt x="975" y="47"/>
                  <a:pt x="975" y="47"/>
                </a:cubicBezTo>
                <a:cubicBezTo>
                  <a:pt x="976" y="47"/>
                  <a:pt x="977" y="47"/>
                  <a:pt x="977" y="47"/>
                </a:cubicBezTo>
                <a:cubicBezTo>
                  <a:pt x="977" y="47"/>
                  <a:pt x="978" y="48"/>
                  <a:pt x="978" y="48"/>
                </a:cubicBezTo>
                <a:cubicBezTo>
                  <a:pt x="978" y="48"/>
                  <a:pt x="978" y="48"/>
                  <a:pt x="978" y="48"/>
                </a:cubicBezTo>
                <a:cubicBezTo>
                  <a:pt x="978" y="48"/>
                  <a:pt x="977" y="48"/>
                  <a:pt x="977" y="48"/>
                </a:cubicBezTo>
                <a:cubicBezTo>
                  <a:pt x="977" y="48"/>
                  <a:pt x="976" y="48"/>
                  <a:pt x="976" y="48"/>
                </a:cubicBezTo>
                <a:cubicBezTo>
                  <a:pt x="976" y="48"/>
                  <a:pt x="976" y="48"/>
                  <a:pt x="976" y="48"/>
                </a:cubicBezTo>
                <a:cubicBezTo>
                  <a:pt x="975" y="48"/>
                  <a:pt x="975" y="48"/>
                  <a:pt x="975" y="48"/>
                </a:cubicBezTo>
                <a:cubicBezTo>
                  <a:pt x="975" y="48"/>
                  <a:pt x="974" y="48"/>
                  <a:pt x="974" y="47"/>
                </a:cubicBezTo>
                <a:cubicBezTo>
                  <a:pt x="973" y="47"/>
                  <a:pt x="973" y="47"/>
                  <a:pt x="973" y="47"/>
                </a:cubicBezTo>
                <a:cubicBezTo>
                  <a:pt x="972" y="47"/>
                  <a:pt x="972" y="47"/>
                  <a:pt x="971" y="48"/>
                </a:cubicBezTo>
                <a:cubicBezTo>
                  <a:pt x="971" y="48"/>
                  <a:pt x="971" y="48"/>
                  <a:pt x="971" y="48"/>
                </a:cubicBezTo>
                <a:cubicBezTo>
                  <a:pt x="972" y="48"/>
                  <a:pt x="972" y="48"/>
                  <a:pt x="972" y="48"/>
                </a:cubicBezTo>
                <a:cubicBezTo>
                  <a:pt x="973" y="49"/>
                  <a:pt x="973" y="49"/>
                  <a:pt x="974" y="49"/>
                </a:cubicBezTo>
                <a:cubicBezTo>
                  <a:pt x="974" y="49"/>
                  <a:pt x="975" y="49"/>
                  <a:pt x="975" y="49"/>
                </a:cubicBezTo>
                <a:cubicBezTo>
                  <a:pt x="975" y="49"/>
                  <a:pt x="976" y="49"/>
                  <a:pt x="976" y="49"/>
                </a:cubicBezTo>
                <a:cubicBezTo>
                  <a:pt x="976" y="49"/>
                  <a:pt x="976" y="49"/>
                  <a:pt x="977" y="49"/>
                </a:cubicBezTo>
                <a:cubicBezTo>
                  <a:pt x="977" y="50"/>
                  <a:pt x="977" y="50"/>
                  <a:pt x="977" y="50"/>
                </a:cubicBezTo>
                <a:cubicBezTo>
                  <a:pt x="977" y="50"/>
                  <a:pt x="977" y="50"/>
                  <a:pt x="977" y="51"/>
                </a:cubicBezTo>
                <a:cubicBezTo>
                  <a:pt x="977" y="51"/>
                  <a:pt x="978" y="51"/>
                  <a:pt x="978" y="51"/>
                </a:cubicBezTo>
                <a:cubicBezTo>
                  <a:pt x="978" y="51"/>
                  <a:pt x="979" y="51"/>
                  <a:pt x="979" y="51"/>
                </a:cubicBezTo>
                <a:cubicBezTo>
                  <a:pt x="980" y="51"/>
                  <a:pt x="980" y="51"/>
                  <a:pt x="981" y="51"/>
                </a:cubicBezTo>
                <a:cubicBezTo>
                  <a:pt x="981" y="50"/>
                  <a:pt x="982" y="50"/>
                  <a:pt x="982" y="50"/>
                </a:cubicBezTo>
                <a:cubicBezTo>
                  <a:pt x="983" y="50"/>
                  <a:pt x="983" y="50"/>
                  <a:pt x="984" y="50"/>
                </a:cubicBezTo>
                <a:cubicBezTo>
                  <a:pt x="984" y="50"/>
                  <a:pt x="985" y="50"/>
                  <a:pt x="985" y="50"/>
                </a:cubicBezTo>
                <a:cubicBezTo>
                  <a:pt x="985" y="50"/>
                  <a:pt x="985" y="50"/>
                  <a:pt x="985" y="50"/>
                </a:cubicBezTo>
                <a:cubicBezTo>
                  <a:pt x="985" y="51"/>
                  <a:pt x="985" y="51"/>
                  <a:pt x="985" y="51"/>
                </a:cubicBezTo>
                <a:cubicBezTo>
                  <a:pt x="985" y="51"/>
                  <a:pt x="985" y="51"/>
                  <a:pt x="985" y="52"/>
                </a:cubicBezTo>
                <a:cubicBezTo>
                  <a:pt x="986" y="52"/>
                  <a:pt x="986" y="52"/>
                  <a:pt x="986" y="52"/>
                </a:cubicBezTo>
                <a:cubicBezTo>
                  <a:pt x="987" y="52"/>
                  <a:pt x="987" y="52"/>
                  <a:pt x="988" y="52"/>
                </a:cubicBezTo>
                <a:cubicBezTo>
                  <a:pt x="988" y="52"/>
                  <a:pt x="989" y="52"/>
                  <a:pt x="990" y="52"/>
                </a:cubicBezTo>
                <a:cubicBezTo>
                  <a:pt x="990" y="52"/>
                  <a:pt x="990" y="52"/>
                  <a:pt x="990" y="52"/>
                </a:cubicBezTo>
                <a:cubicBezTo>
                  <a:pt x="990" y="52"/>
                  <a:pt x="990" y="52"/>
                  <a:pt x="990" y="51"/>
                </a:cubicBezTo>
                <a:cubicBezTo>
                  <a:pt x="990" y="51"/>
                  <a:pt x="990" y="51"/>
                  <a:pt x="990" y="51"/>
                </a:cubicBezTo>
                <a:cubicBezTo>
                  <a:pt x="990" y="51"/>
                  <a:pt x="990" y="51"/>
                  <a:pt x="990" y="51"/>
                </a:cubicBezTo>
                <a:cubicBezTo>
                  <a:pt x="991" y="50"/>
                  <a:pt x="991" y="50"/>
                  <a:pt x="991" y="50"/>
                </a:cubicBezTo>
                <a:cubicBezTo>
                  <a:pt x="992" y="50"/>
                  <a:pt x="992" y="50"/>
                  <a:pt x="992" y="50"/>
                </a:cubicBezTo>
                <a:cubicBezTo>
                  <a:pt x="992" y="50"/>
                  <a:pt x="993" y="50"/>
                  <a:pt x="993" y="50"/>
                </a:cubicBezTo>
                <a:cubicBezTo>
                  <a:pt x="993" y="50"/>
                  <a:pt x="994" y="51"/>
                  <a:pt x="994" y="51"/>
                </a:cubicBezTo>
                <a:cubicBezTo>
                  <a:pt x="994" y="51"/>
                  <a:pt x="995" y="51"/>
                  <a:pt x="995" y="51"/>
                </a:cubicBezTo>
                <a:cubicBezTo>
                  <a:pt x="995" y="51"/>
                  <a:pt x="996" y="50"/>
                  <a:pt x="996" y="50"/>
                </a:cubicBezTo>
                <a:cubicBezTo>
                  <a:pt x="996" y="50"/>
                  <a:pt x="997" y="50"/>
                  <a:pt x="997" y="50"/>
                </a:cubicBezTo>
                <a:cubicBezTo>
                  <a:pt x="997" y="50"/>
                  <a:pt x="997" y="49"/>
                  <a:pt x="996" y="49"/>
                </a:cubicBezTo>
                <a:cubicBezTo>
                  <a:pt x="996" y="49"/>
                  <a:pt x="996" y="48"/>
                  <a:pt x="996" y="48"/>
                </a:cubicBezTo>
                <a:cubicBezTo>
                  <a:pt x="996" y="48"/>
                  <a:pt x="997" y="48"/>
                  <a:pt x="997" y="48"/>
                </a:cubicBezTo>
                <a:cubicBezTo>
                  <a:pt x="997" y="48"/>
                  <a:pt x="997" y="48"/>
                  <a:pt x="998" y="47"/>
                </a:cubicBezTo>
                <a:cubicBezTo>
                  <a:pt x="998" y="47"/>
                  <a:pt x="998" y="47"/>
                  <a:pt x="999" y="46"/>
                </a:cubicBezTo>
                <a:cubicBezTo>
                  <a:pt x="999" y="46"/>
                  <a:pt x="999" y="46"/>
                  <a:pt x="999" y="46"/>
                </a:cubicBezTo>
                <a:cubicBezTo>
                  <a:pt x="1000" y="45"/>
                  <a:pt x="1000" y="45"/>
                  <a:pt x="1001" y="45"/>
                </a:cubicBezTo>
                <a:cubicBezTo>
                  <a:pt x="1001" y="45"/>
                  <a:pt x="1001" y="44"/>
                  <a:pt x="1001" y="44"/>
                </a:cubicBezTo>
                <a:cubicBezTo>
                  <a:pt x="1001" y="44"/>
                  <a:pt x="1001" y="44"/>
                  <a:pt x="1001" y="44"/>
                </a:cubicBezTo>
                <a:cubicBezTo>
                  <a:pt x="1001" y="43"/>
                  <a:pt x="1001" y="43"/>
                  <a:pt x="1001" y="43"/>
                </a:cubicBezTo>
                <a:cubicBezTo>
                  <a:pt x="1001" y="43"/>
                  <a:pt x="1001" y="43"/>
                  <a:pt x="1001" y="43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0" y="42"/>
                  <a:pt x="1000" y="41"/>
                  <a:pt x="999" y="41"/>
                </a:cubicBezTo>
                <a:cubicBezTo>
                  <a:pt x="999" y="41"/>
                  <a:pt x="998" y="41"/>
                  <a:pt x="998" y="41"/>
                </a:cubicBezTo>
                <a:cubicBezTo>
                  <a:pt x="998" y="41"/>
                  <a:pt x="998" y="41"/>
                  <a:pt x="997" y="41"/>
                </a:cubicBezTo>
                <a:cubicBezTo>
                  <a:pt x="997" y="41"/>
                  <a:pt x="996" y="41"/>
                  <a:pt x="995" y="41"/>
                </a:cubicBezTo>
                <a:cubicBezTo>
                  <a:pt x="995" y="41"/>
                  <a:pt x="995" y="41"/>
                  <a:pt x="994" y="41"/>
                </a:cubicBezTo>
                <a:cubicBezTo>
                  <a:pt x="994" y="41"/>
                  <a:pt x="994" y="41"/>
                  <a:pt x="993" y="40"/>
                </a:cubicBezTo>
                <a:cubicBezTo>
                  <a:pt x="993" y="40"/>
                  <a:pt x="993" y="40"/>
                  <a:pt x="992" y="40"/>
                </a:cubicBezTo>
                <a:cubicBezTo>
                  <a:pt x="992" y="40"/>
                  <a:pt x="992" y="40"/>
                  <a:pt x="991" y="40"/>
                </a:cubicBezTo>
                <a:cubicBezTo>
                  <a:pt x="991" y="40"/>
                  <a:pt x="991" y="40"/>
                  <a:pt x="991" y="40"/>
                </a:cubicBezTo>
                <a:cubicBezTo>
                  <a:pt x="991" y="40"/>
                  <a:pt x="991" y="40"/>
                  <a:pt x="991" y="40"/>
                </a:cubicBezTo>
                <a:cubicBezTo>
                  <a:pt x="990" y="40"/>
                  <a:pt x="990" y="40"/>
                  <a:pt x="990" y="40"/>
                </a:cubicBezTo>
                <a:cubicBezTo>
                  <a:pt x="990" y="40"/>
                  <a:pt x="990" y="40"/>
                  <a:pt x="990" y="40"/>
                </a:cubicBezTo>
                <a:cubicBezTo>
                  <a:pt x="990" y="39"/>
                  <a:pt x="990" y="39"/>
                  <a:pt x="990" y="39"/>
                </a:cubicBezTo>
                <a:cubicBezTo>
                  <a:pt x="990" y="39"/>
                  <a:pt x="990" y="39"/>
                  <a:pt x="990" y="39"/>
                </a:cubicBezTo>
                <a:cubicBezTo>
                  <a:pt x="989" y="39"/>
                  <a:pt x="989" y="39"/>
                  <a:pt x="989" y="39"/>
                </a:cubicBezTo>
                <a:cubicBezTo>
                  <a:pt x="989" y="39"/>
                  <a:pt x="989" y="39"/>
                  <a:pt x="989" y="40"/>
                </a:cubicBezTo>
                <a:cubicBezTo>
                  <a:pt x="988" y="40"/>
                  <a:pt x="988" y="40"/>
                  <a:pt x="988" y="40"/>
                </a:cubicBezTo>
                <a:cubicBezTo>
                  <a:pt x="988" y="39"/>
                  <a:pt x="988" y="39"/>
                  <a:pt x="988" y="39"/>
                </a:cubicBezTo>
                <a:cubicBezTo>
                  <a:pt x="988" y="39"/>
                  <a:pt x="988" y="39"/>
                  <a:pt x="988" y="39"/>
                </a:cubicBezTo>
                <a:cubicBezTo>
                  <a:pt x="987" y="39"/>
                  <a:pt x="987" y="39"/>
                  <a:pt x="987" y="39"/>
                </a:cubicBezTo>
                <a:cubicBezTo>
                  <a:pt x="987" y="39"/>
                  <a:pt x="987" y="39"/>
                  <a:pt x="987" y="39"/>
                </a:cubicBezTo>
                <a:cubicBezTo>
                  <a:pt x="987" y="40"/>
                  <a:pt x="987" y="40"/>
                  <a:pt x="987" y="40"/>
                </a:cubicBezTo>
                <a:cubicBezTo>
                  <a:pt x="987" y="40"/>
                  <a:pt x="987" y="40"/>
                  <a:pt x="986" y="40"/>
                </a:cubicBezTo>
                <a:cubicBezTo>
                  <a:pt x="986" y="40"/>
                  <a:pt x="986" y="41"/>
                  <a:pt x="986" y="41"/>
                </a:cubicBezTo>
                <a:cubicBezTo>
                  <a:pt x="986" y="41"/>
                  <a:pt x="986" y="41"/>
                  <a:pt x="986" y="41"/>
                </a:cubicBezTo>
                <a:cubicBezTo>
                  <a:pt x="986" y="41"/>
                  <a:pt x="986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4" y="41"/>
                  <a:pt x="984" y="41"/>
                </a:cubicBezTo>
                <a:cubicBezTo>
                  <a:pt x="984" y="41"/>
                  <a:pt x="984" y="41"/>
                  <a:pt x="984" y="41"/>
                </a:cubicBezTo>
                <a:cubicBezTo>
                  <a:pt x="984" y="41"/>
                  <a:pt x="984" y="41"/>
                  <a:pt x="984" y="41"/>
                </a:cubicBezTo>
                <a:cubicBezTo>
                  <a:pt x="984" y="40"/>
                  <a:pt x="984" y="40"/>
                  <a:pt x="984" y="40"/>
                </a:cubicBezTo>
                <a:cubicBezTo>
                  <a:pt x="984" y="39"/>
                  <a:pt x="984" y="39"/>
                  <a:pt x="984" y="39"/>
                </a:cubicBezTo>
                <a:cubicBezTo>
                  <a:pt x="984" y="38"/>
                  <a:pt x="984" y="38"/>
                  <a:pt x="984" y="38"/>
                </a:cubicBezTo>
                <a:cubicBezTo>
                  <a:pt x="984" y="38"/>
                  <a:pt x="983" y="38"/>
                  <a:pt x="983" y="38"/>
                </a:cubicBezTo>
                <a:cubicBezTo>
                  <a:pt x="983" y="37"/>
                  <a:pt x="982" y="37"/>
                  <a:pt x="982" y="37"/>
                </a:cubicBezTo>
                <a:cubicBezTo>
                  <a:pt x="982" y="37"/>
                  <a:pt x="982" y="37"/>
                  <a:pt x="982" y="37"/>
                </a:cubicBezTo>
                <a:cubicBezTo>
                  <a:pt x="982" y="37"/>
                  <a:pt x="982" y="37"/>
                  <a:pt x="982" y="38"/>
                </a:cubicBezTo>
                <a:cubicBezTo>
                  <a:pt x="982" y="38"/>
                  <a:pt x="982" y="38"/>
                  <a:pt x="982" y="38"/>
                </a:cubicBezTo>
                <a:cubicBezTo>
                  <a:pt x="982" y="38"/>
                  <a:pt x="982" y="38"/>
                  <a:pt x="983" y="39"/>
                </a:cubicBezTo>
                <a:cubicBezTo>
                  <a:pt x="982" y="38"/>
                  <a:pt x="982" y="38"/>
                  <a:pt x="982" y="38"/>
                </a:cubicBezTo>
                <a:cubicBezTo>
                  <a:pt x="982" y="38"/>
                  <a:pt x="981" y="38"/>
                  <a:pt x="981" y="38"/>
                </a:cubicBezTo>
                <a:cubicBezTo>
                  <a:pt x="981" y="38"/>
                  <a:pt x="981" y="38"/>
                  <a:pt x="981" y="38"/>
                </a:cubicBezTo>
                <a:cubicBezTo>
                  <a:pt x="981" y="38"/>
                  <a:pt x="981" y="39"/>
                  <a:pt x="981" y="39"/>
                </a:cubicBezTo>
                <a:cubicBezTo>
                  <a:pt x="981" y="39"/>
                  <a:pt x="981" y="39"/>
                  <a:pt x="982" y="40"/>
                </a:cubicBezTo>
                <a:cubicBezTo>
                  <a:pt x="982" y="40"/>
                  <a:pt x="982" y="40"/>
                  <a:pt x="982" y="40"/>
                </a:cubicBezTo>
                <a:cubicBezTo>
                  <a:pt x="982" y="40"/>
                  <a:pt x="982" y="41"/>
                  <a:pt x="981" y="41"/>
                </a:cubicBezTo>
                <a:cubicBezTo>
                  <a:pt x="981" y="41"/>
                  <a:pt x="981" y="41"/>
                  <a:pt x="981" y="42"/>
                </a:cubicBezTo>
                <a:cubicBezTo>
                  <a:pt x="982" y="42"/>
                  <a:pt x="982" y="42"/>
                  <a:pt x="982" y="43"/>
                </a:cubicBezTo>
                <a:cubicBezTo>
                  <a:pt x="982" y="43"/>
                  <a:pt x="982" y="43"/>
                  <a:pt x="982" y="43"/>
                </a:cubicBezTo>
                <a:cubicBezTo>
                  <a:pt x="982" y="43"/>
                  <a:pt x="981" y="43"/>
                  <a:pt x="981" y="43"/>
                </a:cubicBezTo>
                <a:cubicBezTo>
                  <a:pt x="981" y="43"/>
                  <a:pt x="981" y="43"/>
                  <a:pt x="981" y="43"/>
                </a:cubicBezTo>
                <a:cubicBezTo>
                  <a:pt x="980" y="42"/>
                  <a:pt x="980" y="42"/>
                  <a:pt x="980" y="42"/>
                </a:cubicBezTo>
                <a:cubicBezTo>
                  <a:pt x="979" y="42"/>
                  <a:pt x="979" y="42"/>
                  <a:pt x="979" y="42"/>
                </a:cubicBezTo>
                <a:cubicBezTo>
                  <a:pt x="979" y="42"/>
                  <a:pt x="979" y="41"/>
                  <a:pt x="979" y="41"/>
                </a:cubicBezTo>
                <a:cubicBezTo>
                  <a:pt x="979" y="41"/>
                  <a:pt x="979" y="41"/>
                  <a:pt x="979" y="41"/>
                </a:cubicBezTo>
                <a:cubicBezTo>
                  <a:pt x="979" y="41"/>
                  <a:pt x="979" y="40"/>
                  <a:pt x="979" y="40"/>
                </a:cubicBezTo>
                <a:cubicBezTo>
                  <a:pt x="979" y="40"/>
                  <a:pt x="979" y="40"/>
                  <a:pt x="978" y="40"/>
                </a:cubicBezTo>
                <a:cubicBezTo>
                  <a:pt x="978" y="40"/>
                  <a:pt x="978" y="40"/>
                  <a:pt x="977" y="40"/>
                </a:cubicBezTo>
                <a:cubicBezTo>
                  <a:pt x="977" y="40"/>
                  <a:pt x="977" y="40"/>
                  <a:pt x="977" y="40"/>
                </a:cubicBezTo>
                <a:cubicBezTo>
                  <a:pt x="977" y="40"/>
                  <a:pt x="977" y="41"/>
                  <a:pt x="976" y="41"/>
                </a:cubicBezTo>
                <a:cubicBezTo>
                  <a:pt x="976" y="41"/>
                  <a:pt x="976" y="41"/>
                  <a:pt x="975" y="41"/>
                </a:cubicBezTo>
                <a:cubicBezTo>
                  <a:pt x="975" y="41"/>
                  <a:pt x="975" y="41"/>
                  <a:pt x="975" y="41"/>
                </a:cubicBezTo>
                <a:cubicBezTo>
                  <a:pt x="975" y="41"/>
                  <a:pt x="975" y="41"/>
                  <a:pt x="975" y="40"/>
                </a:cubicBezTo>
                <a:cubicBezTo>
                  <a:pt x="975" y="40"/>
                  <a:pt x="975" y="40"/>
                  <a:pt x="975" y="40"/>
                </a:cubicBezTo>
                <a:cubicBezTo>
                  <a:pt x="974" y="40"/>
                  <a:pt x="974" y="40"/>
                  <a:pt x="974" y="40"/>
                </a:cubicBezTo>
                <a:cubicBezTo>
                  <a:pt x="974" y="40"/>
                  <a:pt x="973" y="40"/>
                  <a:pt x="973" y="40"/>
                </a:cubicBezTo>
                <a:cubicBezTo>
                  <a:pt x="973" y="39"/>
                  <a:pt x="973" y="39"/>
                  <a:pt x="973" y="39"/>
                </a:cubicBezTo>
                <a:cubicBezTo>
                  <a:pt x="973" y="39"/>
                  <a:pt x="972" y="39"/>
                  <a:pt x="972" y="39"/>
                </a:cubicBezTo>
                <a:cubicBezTo>
                  <a:pt x="972" y="39"/>
                  <a:pt x="972" y="39"/>
                  <a:pt x="971" y="39"/>
                </a:cubicBezTo>
                <a:cubicBezTo>
                  <a:pt x="971" y="39"/>
                  <a:pt x="971" y="39"/>
                  <a:pt x="971" y="38"/>
                </a:cubicBezTo>
                <a:cubicBezTo>
                  <a:pt x="971" y="38"/>
                  <a:pt x="971" y="38"/>
                  <a:pt x="971" y="38"/>
                </a:cubicBezTo>
                <a:cubicBezTo>
                  <a:pt x="971" y="38"/>
                  <a:pt x="971" y="37"/>
                  <a:pt x="971" y="37"/>
                </a:cubicBezTo>
                <a:cubicBezTo>
                  <a:pt x="970" y="37"/>
                  <a:pt x="970" y="37"/>
                  <a:pt x="970" y="37"/>
                </a:cubicBezTo>
                <a:cubicBezTo>
                  <a:pt x="970" y="37"/>
                  <a:pt x="970" y="37"/>
                  <a:pt x="970" y="37"/>
                </a:cubicBezTo>
                <a:cubicBezTo>
                  <a:pt x="969" y="38"/>
                  <a:pt x="969" y="38"/>
                  <a:pt x="969" y="38"/>
                </a:cubicBezTo>
                <a:cubicBezTo>
                  <a:pt x="969" y="39"/>
                  <a:pt x="969" y="39"/>
                  <a:pt x="970" y="39"/>
                </a:cubicBezTo>
                <a:cubicBezTo>
                  <a:pt x="970" y="40"/>
                  <a:pt x="970" y="40"/>
                  <a:pt x="970" y="40"/>
                </a:cubicBezTo>
                <a:cubicBezTo>
                  <a:pt x="970" y="40"/>
                  <a:pt x="970" y="41"/>
                  <a:pt x="971" y="41"/>
                </a:cubicBezTo>
                <a:cubicBezTo>
                  <a:pt x="970" y="41"/>
                  <a:pt x="970" y="41"/>
                  <a:pt x="970" y="41"/>
                </a:cubicBezTo>
                <a:cubicBezTo>
                  <a:pt x="970" y="41"/>
                  <a:pt x="970" y="41"/>
                  <a:pt x="969" y="41"/>
                </a:cubicBezTo>
                <a:cubicBezTo>
                  <a:pt x="969" y="40"/>
                  <a:pt x="969" y="40"/>
                  <a:pt x="969" y="40"/>
                </a:cubicBezTo>
                <a:cubicBezTo>
                  <a:pt x="969" y="40"/>
                  <a:pt x="969" y="40"/>
                  <a:pt x="969" y="40"/>
                </a:cubicBezTo>
                <a:cubicBezTo>
                  <a:pt x="969" y="40"/>
                  <a:pt x="969" y="40"/>
                  <a:pt x="968" y="40"/>
                </a:cubicBezTo>
                <a:cubicBezTo>
                  <a:pt x="969" y="41"/>
                  <a:pt x="969" y="41"/>
                  <a:pt x="969" y="41"/>
                </a:cubicBezTo>
                <a:cubicBezTo>
                  <a:pt x="969" y="41"/>
                  <a:pt x="969" y="42"/>
                  <a:pt x="969" y="42"/>
                </a:cubicBezTo>
                <a:cubicBezTo>
                  <a:pt x="969" y="42"/>
                  <a:pt x="969" y="42"/>
                  <a:pt x="969" y="42"/>
                </a:cubicBezTo>
                <a:cubicBezTo>
                  <a:pt x="969" y="42"/>
                  <a:pt x="969" y="43"/>
                  <a:pt x="969" y="43"/>
                </a:cubicBezTo>
                <a:cubicBezTo>
                  <a:pt x="969" y="43"/>
                  <a:pt x="969" y="43"/>
                  <a:pt x="969" y="43"/>
                </a:cubicBezTo>
                <a:cubicBezTo>
                  <a:pt x="968" y="42"/>
                  <a:pt x="968" y="42"/>
                  <a:pt x="968" y="42"/>
                </a:cubicBezTo>
                <a:cubicBezTo>
                  <a:pt x="968" y="42"/>
                  <a:pt x="968" y="42"/>
                  <a:pt x="968" y="41"/>
                </a:cubicBezTo>
                <a:cubicBezTo>
                  <a:pt x="967" y="42"/>
                  <a:pt x="966" y="42"/>
                  <a:pt x="965" y="42"/>
                </a:cubicBezTo>
                <a:cubicBezTo>
                  <a:pt x="965" y="41"/>
                  <a:pt x="965" y="41"/>
                  <a:pt x="965" y="41"/>
                </a:cubicBezTo>
                <a:cubicBezTo>
                  <a:pt x="964" y="41"/>
                  <a:pt x="964" y="41"/>
                  <a:pt x="964" y="42"/>
                </a:cubicBezTo>
                <a:cubicBezTo>
                  <a:pt x="964" y="42"/>
                  <a:pt x="964" y="42"/>
                  <a:pt x="965" y="42"/>
                </a:cubicBezTo>
                <a:cubicBezTo>
                  <a:pt x="965" y="42"/>
                  <a:pt x="965" y="42"/>
                  <a:pt x="965" y="42"/>
                </a:cubicBezTo>
                <a:close/>
                <a:moveTo>
                  <a:pt x="985" y="59"/>
                </a:moveTo>
                <a:cubicBezTo>
                  <a:pt x="985" y="59"/>
                  <a:pt x="986" y="59"/>
                  <a:pt x="986" y="59"/>
                </a:cubicBezTo>
                <a:cubicBezTo>
                  <a:pt x="986" y="59"/>
                  <a:pt x="985" y="58"/>
                  <a:pt x="985" y="58"/>
                </a:cubicBezTo>
                <a:cubicBezTo>
                  <a:pt x="985" y="58"/>
                  <a:pt x="985" y="58"/>
                  <a:pt x="984" y="58"/>
                </a:cubicBezTo>
                <a:cubicBezTo>
                  <a:pt x="984" y="58"/>
                  <a:pt x="984" y="58"/>
                  <a:pt x="984" y="58"/>
                </a:cubicBezTo>
                <a:cubicBezTo>
                  <a:pt x="984" y="58"/>
                  <a:pt x="984" y="58"/>
                  <a:pt x="983" y="57"/>
                </a:cubicBezTo>
                <a:cubicBezTo>
                  <a:pt x="983" y="58"/>
                  <a:pt x="983" y="58"/>
                  <a:pt x="983" y="58"/>
                </a:cubicBezTo>
                <a:cubicBezTo>
                  <a:pt x="982" y="58"/>
                  <a:pt x="982" y="58"/>
                  <a:pt x="981" y="58"/>
                </a:cubicBezTo>
                <a:cubicBezTo>
                  <a:pt x="981" y="58"/>
                  <a:pt x="981" y="58"/>
                  <a:pt x="981" y="58"/>
                </a:cubicBezTo>
                <a:cubicBezTo>
                  <a:pt x="981" y="58"/>
                  <a:pt x="981" y="58"/>
                  <a:pt x="980" y="58"/>
                </a:cubicBezTo>
                <a:cubicBezTo>
                  <a:pt x="980" y="58"/>
                  <a:pt x="980" y="58"/>
                  <a:pt x="980" y="58"/>
                </a:cubicBezTo>
                <a:cubicBezTo>
                  <a:pt x="980" y="58"/>
                  <a:pt x="979" y="58"/>
                  <a:pt x="979" y="58"/>
                </a:cubicBezTo>
                <a:cubicBezTo>
                  <a:pt x="979" y="59"/>
                  <a:pt x="979" y="59"/>
                  <a:pt x="979" y="59"/>
                </a:cubicBezTo>
                <a:cubicBezTo>
                  <a:pt x="979" y="59"/>
                  <a:pt x="978" y="59"/>
                  <a:pt x="978" y="59"/>
                </a:cubicBezTo>
                <a:cubicBezTo>
                  <a:pt x="978" y="59"/>
                  <a:pt x="978" y="59"/>
                  <a:pt x="977" y="59"/>
                </a:cubicBezTo>
                <a:cubicBezTo>
                  <a:pt x="977" y="59"/>
                  <a:pt x="977" y="59"/>
                  <a:pt x="976" y="59"/>
                </a:cubicBezTo>
                <a:cubicBezTo>
                  <a:pt x="977" y="60"/>
                  <a:pt x="977" y="60"/>
                  <a:pt x="977" y="60"/>
                </a:cubicBezTo>
                <a:cubicBezTo>
                  <a:pt x="978" y="60"/>
                  <a:pt x="978" y="60"/>
                  <a:pt x="979" y="60"/>
                </a:cubicBezTo>
                <a:cubicBezTo>
                  <a:pt x="979" y="60"/>
                  <a:pt x="979" y="60"/>
                  <a:pt x="979" y="60"/>
                </a:cubicBezTo>
                <a:cubicBezTo>
                  <a:pt x="979" y="61"/>
                  <a:pt x="979" y="61"/>
                  <a:pt x="980" y="61"/>
                </a:cubicBezTo>
                <a:cubicBezTo>
                  <a:pt x="980" y="61"/>
                  <a:pt x="979" y="61"/>
                  <a:pt x="979" y="61"/>
                </a:cubicBezTo>
                <a:cubicBezTo>
                  <a:pt x="980" y="61"/>
                  <a:pt x="980" y="61"/>
                  <a:pt x="980" y="61"/>
                </a:cubicBezTo>
                <a:cubicBezTo>
                  <a:pt x="980" y="62"/>
                  <a:pt x="980" y="62"/>
                  <a:pt x="979" y="62"/>
                </a:cubicBezTo>
                <a:cubicBezTo>
                  <a:pt x="980" y="62"/>
                  <a:pt x="980" y="62"/>
                  <a:pt x="980" y="62"/>
                </a:cubicBezTo>
                <a:cubicBezTo>
                  <a:pt x="980" y="62"/>
                  <a:pt x="981" y="62"/>
                  <a:pt x="981" y="62"/>
                </a:cubicBezTo>
                <a:cubicBezTo>
                  <a:pt x="981" y="62"/>
                  <a:pt x="981" y="62"/>
                  <a:pt x="981" y="62"/>
                </a:cubicBezTo>
                <a:cubicBezTo>
                  <a:pt x="982" y="62"/>
                  <a:pt x="982" y="61"/>
                  <a:pt x="983" y="61"/>
                </a:cubicBezTo>
                <a:cubicBezTo>
                  <a:pt x="983" y="61"/>
                  <a:pt x="983" y="61"/>
                  <a:pt x="984" y="61"/>
                </a:cubicBezTo>
                <a:cubicBezTo>
                  <a:pt x="984" y="61"/>
                  <a:pt x="984" y="61"/>
                  <a:pt x="985" y="61"/>
                </a:cubicBezTo>
                <a:cubicBezTo>
                  <a:pt x="984" y="61"/>
                  <a:pt x="984" y="61"/>
                  <a:pt x="984" y="61"/>
                </a:cubicBezTo>
                <a:cubicBezTo>
                  <a:pt x="984" y="60"/>
                  <a:pt x="984" y="60"/>
                  <a:pt x="985" y="60"/>
                </a:cubicBezTo>
                <a:cubicBezTo>
                  <a:pt x="985" y="60"/>
                  <a:pt x="985" y="59"/>
                  <a:pt x="985" y="59"/>
                </a:cubicBezTo>
                <a:close/>
                <a:moveTo>
                  <a:pt x="993" y="68"/>
                </a:moveTo>
                <a:cubicBezTo>
                  <a:pt x="993" y="68"/>
                  <a:pt x="993" y="68"/>
                  <a:pt x="993" y="67"/>
                </a:cubicBezTo>
                <a:cubicBezTo>
                  <a:pt x="994" y="67"/>
                  <a:pt x="994" y="67"/>
                  <a:pt x="994" y="66"/>
                </a:cubicBezTo>
                <a:cubicBezTo>
                  <a:pt x="995" y="66"/>
                  <a:pt x="995" y="66"/>
                  <a:pt x="996" y="66"/>
                </a:cubicBezTo>
                <a:cubicBezTo>
                  <a:pt x="996" y="66"/>
                  <a:pt x="996" y="66"/>
                  <a:pt x="996" y="66"/>
                </a:cubicBezTo>
                <a:cubicBezTo>
                  <a:pt x="996" y="66"/>
                  <a:pt x="995" y="66"/>
                  <a:pt x="995" y="66"/>
                </a:cubicBezTo>
                <a:cubicBezTo>
                  <a:pt x="995" y="65"/>
                  <a:pt x="995" y="65"/>
                  <a:pt x="995" y="65"/>
                </a:cubicBezTo>
                <a:cubicBezTo>
                  <a:pt x="994" y="65"/>
                  <a:pt x="994" y="65"/>
                  <a:pt x="994" y="65"/>
                </a:cubicBezTo>
                <a:cubicBezTo>
                  <a:pt x="993" y="65"/>
                  <a:pt x="993" y="65"/>
                  <a:pt x="992" y="65"/>
                </a:cubicBezTo>
                <a:cubicBezTo>
                  <a:pt x="992" y="65"/>
                  <a:pt x="992" y="66"/>
                  <a:pt x="991" y="66"/>
                </a:cubicBezTo>
                <a:cubicBezTo>
                  <a:pt x="991" y="65"/>
                  <a:pt x="990" y="65"/>
                  <a:pt x="990" y="65"/>
                </a:cubicBezTo>
                <a:cubicBezTo>
                  <a:pt x="990" y="65"/>
                  <a:pt x="989" y="64"/>
                  <a:pt x="989" y="64"/>
                </a:cubicBezTo>
                <a:cubicBezTo>
                  <a:pt x="989" y="64"/>
                  <a:pt x="988" y="64"/>
                  <a:pt x="988" y="63"/>
                </a:cubicBezTo>
                <a:cubicBezTo>
                  <a:pt x="988" y="63"/>
                  <a:pt x="989" y="63"/>
                  <a:pt x="989" y="63"/>
                </a:cubicBezTo>
                <a:cubicBezTo>
                  <a:pt x="989" y="63"/>
                  <a:pt x="989" y="63"/>
                  <a:pt x="990" y="63"/>
                </a:cubicBezTo>
                <a:cubicBezTo>
                  <a:pt x="990" y="63"/>
                  <a:pt x="990" y="63"/>
                  <a:pt x="990" y="62"/>
                </a:cubicBezTo>
                <a:cubicBezTo>
                  <a:pt x="989" y="62"/>
                  <a:pt x="989" y="62"/>
                  <a:pt x="989" y="61"/>
                </a:cubicBezTo>
                <a:cubicBezTo>
                  <a:pt x="989" y="61"/>
                  <a:pt x="989" y="61"/>
                  <a:pt x="988" y="61"/>
                </a:cubicBezTo>
                <a:cubicBezTo>
                  <a:pt x="988" y="61"/>
                  <a:pt x="987" y="61"/>
                  <a:pt x="987" y="61"/>
                </a:cubicBezTo>
                <a:cubicBezTo>
                  <a:pt x="986" y="62"/>
                  <a:pt x="986" y="62"/>
                  <a:pt x="985" y="62"/>
                </a:cubicBezTo>
                <a:cubicBezTo>
                  <a:pt x="985" y="62"/>
                  <a:pt x="984" y="62"/>
                  <a:pt x="984" y="62"/>
                </a:cubicBezTo>
                <a:cubicBezTo>
                  <a:pt x="983" y="62"/>
                  <a:pt x="982" y="62"/>
                  <a:pt x="981" y="62"/>
                </a:cubicBezTo>
                <a:cubicBezTo>
                  <a:pt x="981" y="63"/>
                  <a:pt x="981" y="63"/>
                  <a:pt x="980" y="63"/>
                </a:cubicBezTo>
                <a:cubicBezTo>
                  <a:pt x="980" y="63"/>
                  <a:pt x="980" y="63"/>
                  <a:pt x="980" y="64"/>
                </a:cubicBezTo>
                <a:cubicBezTo>
                  <a:pt x="980" y="64"/>
                  <a:pt x="980" y="64"/>
                  <a:pt x="981" y="64"/>
                </a:cubicBezTo>
                <a:cubicBezTo>
                  <a:pt x="981" y="64"/>
                  <a:pt x="981" y="65"/>
                  <a:pt x="982" y="65"/>
                </a:cubicBezTo>
                <a:cubicBezTo>
                  <a:pt x="982" y="65"/>
                  <a:pt x="982" y="65"/>
                  <a:pt x="983" y="65"/>
                </a:cubicBezTo>
                <a:cubicBezTo>
                  <a:pt x="983" y="65"/>
                  <a:pt x="983" y="65"/>
                  <a:pt x="983" y="65"/>
                </a:cubicBezTo>
                <a:cubicBezTo>
                  <a:pt x="983" y="65"/>
                  <a:pt x="983" y="65"/>
                  <a:pt x="983" y="66"/>
                </a:cubicBezTo>
                <a:cubicBezTo>
                  <a:pt x="983" y="66"/>
                  <a:pt x="983" y="66"/>
                  <a:pt x="983" y="66"/>
                </a:cubicBezTo>
                <a:cubicBezTo>
                  <a:pt x="982" y="67"/>
                  <a:pt x="982" y="67"/>
                  <a:pt x="982" y="67"/>
                </a:cubicBezTo>
                <a:cubicBezTo>
                  <a:pt x="982" y="68"/>
                  <a:pt x="982" y="68"/>
                  <a:pt x="981" y="68"/>
                </a:cubicBezTo>
                <a:cubicBezTo>
                  <a:pt x="981" y="68"/>
                  <a:pt x="981" y="69"/>
                  <a:pt x="981" y="69"/>
                </a:cubicBezTo>
                <a:cubicBezTo>
                  <a:pt x="981" y="69"/>
                  <a:pt x="981" y="69"/>
                  <a:pt x="981" y="69"/>
                </a:cubicBezTo>
                <a:cubicBezTo>
                  <a:pt x="981" y="70"/>
                  <a:pt x="980" y="70"/>
                  <a:pt x="980" y="70"/>
                </a:cubicBezTo>
                <a:cubicBezTo>
                  <a:pt x="980" y="70"/>
                  <a:pt x="980" y="70"/>
                  <a:pt x="980" y="70"/>
                </a:cubicBezTo>
                <a:cubicBezTo>
                  <a:pt x="981" y="70"/>
                  <a:pt x="981" y="70"/>
                  <a:pt x="981" y="70"/>
                </a:cubicBezTo>
                <a:cubicBezTo>
                  <a:pt x="981" y="70"/>
                  <a:pt x="982" y="70"/>
                  <a:pt x="982" y="70"/>
                </a:cubicBezTo>
                <a:cubicBezTo>
                  <a:pt x="982" y="70"/>
                  <a:pt x="983" y="70"/>
                  <a:pt x="983" y="70"/>
                </a:cubicBezTo>
                <a:cubicBezTo>
                  <a:pt x="983" y="70"/>
                  <a:pt x="984" y="70"/>
                  <a:pt x="984" y="69"/>
                </a:cubicBezTo>
                <a:cubicBezTo>
                  <a:pt x="985" y="69"/>
                  <a:pt x="985" y="69"/>
                  <a:pt x="985" y="69"/>
                </a:cubicBezTo>
                <a:cubicBezTo>
                  <a:pt x="985" y="69"/>
                  <a:pt x="986" y="69"/>
                  <a:pt x="986" y="69"/>
                </a:cubicBezTo>
                <a:cubicBezTo>
                  <a:pt x="986" y="69"/>
                  <a:pt x="986" y="68"/>
                  <a:pt x="987" y="68"/>
                </a:cubicBezTo>
                <a:cubicBezTo>
                  <a:pt x="987" y="68"/>
                  <a:pt x="987" y="68"/>
                  <a:pt x="987" y="68"/>
                </a:cubicBezTo>
                <a:cubicBezTo>
                  <a:pt x="988" y="68"/>
                  <a:pt x="988" y="68"/>
                  <a:pt x="988" y="68"/>
                </a:cubicBezTo>
                <a:cubicBezTo>
                  <a:pt x="988" y="68"/>
                  <a:pt x="988" y="68"/>
                  <a:pt x="989" y="68"/>
                </a:cubicBezTo>
                <a:cubicBezTo>
                  <a:pt x="989" y="68"/>
                  <a:pt x="989" y="68"/>
                  <a:pt x="989" y="69"/>
                </a:cubicBezTo>
                <a:cubicBezTo>
                  <a:pt x="988" y="69"/>
                  <a:pt x="988" y="69"/>
                  <a:pt x="988" y="70"/>
                </a:cubicBezTo>
                <a:cubicBezTo>
                  <a:pt x="988" y="70"/>
                  <a:pt x="988" y="70"/>
                  <a:pt x="988" y="71"/>
                </a:cubicBezTo>
                <a:cubicBezTo>
                  <a:pt x="988" y="71"/>
                  <a:pt x="988" y="71"/>
                  <a:pt x="988" y="71"/>
                </a:cubicBezTo>
                <a:cubicBezTo>
                  <a:pt x="988" y="71"/>
                  <a:pt x="988" y="71"/>
                  <a:pt x="988" y="72"/>
                </a:cubicBezTo>
                <a:cubicBezTo>
                  <a:pt x="988" y="72"/>
                  <a:pt x="988" y="72"/>
                  <a:pt x="989" y="72"/>
                </a:cubicBezTo>
                <a:cubicBezTo>
                  <a:pt x="989" y="72"/>
                  <a:pt x="989" y="71"/>
                  <a:pt x="990" y="71"/>
                </a:cubicBezTo>
                <a:cubicBezTo>
                  <a:pt x="990" y="71"/>
                  <a:pt x="990" y="71"/>
                  <a:pt x="990" y="71"/>
                </a:cubicBezTo>
                <a:cubicBezTo>
                  <a:pt x="990" y="71"/>
                  <a:pt x="990" y="70"/>
                  <a:pt x="990" y="70"/>
                </a:cubicBezTo>
                <a:cubicBezTo>
                  <a:pt x="991" y="70"/>
                  <a:pt x="991" y="70"/>
                  <a:pt x="991" y="70"/>
                </a:cubicBezTo>
                <a:cubicBezTo>
                  <a:pt x="992" y="70"/>
                  <a:pt x="992" y="70"/>
                  <a:pt x="992" y="70"/>
                </a:cubicBezTo>
                <a:cubicBezTo>
                  <a:pt x="993" y="69"/>
                  <a:pt x="993" y="69"/>
                  <a:pt x="993" y="68"/>
                </a:cubicBezTo>
                <a:close/>
                <a:moveTo>
                  <a:pt x="974" y="36"/>
                </a:moveTo>
                <a:cubicBezTo>
                  <a:pt x="975" y="36"/>
                  <a:pt x="975" y="36"/>
                  <a:pt x="975" y="36"/>
                </a:cubicBezTo>
                <a:cubicBezTo>
                  <a:pt x="975" y="36"/>
                  <a:pt x="975" y="36"/>
                  <a:pt x="976" y="36"/>
                </a:cubicBezTo>
                <a:cubicBezTo>
                  <a:pt x="976" y="35"/>
                  <a:pt x="976" y="35"/>
                  <a:pt x="976" y="35"/>
                </a:cubicBezTo>
                <a:cubicBezTo>
                  <a:pt x="976" y="35"/>
                  <a:pt x="976" y="35"/>
                  <a:pt x="976" y="35"/>
                </a:cubicBezTo>
                <a:cubicBezTo>
                  <a:pt x="975" y="35"/>
                  <a:pt x="975" y="35"/>
                  <a:pt x="974" y="35"/>
                </a:cubicBezTo>
                <a:cubicBezTo>
                  <a:pt x="974" y="35"/>
                  <a:pt x="974" y="35"/>
                  <a:pt x="973" y="34"/>
                </a:cubicBezTo>
                <a:cubicBezTo>
                  <a:pt x="973" y="34"/>
                  <a:pt x="972" y="34"/>
                  <a:pt x="972" y="34"/>
                </a:cubicBezTo>
                <a:cubicBezTo>
                  <a:pt x="972" y="34"/>
                  <a:pt x="972" y="34"/>
                  <a:pt x="972" y="34"/>
                </a:cubicBezTo>
                <a:cubicBezTo>
                  <a:pt x="972" y="35"/>
                  <a:pt x="972" y="35"/>
                  <a:pt x="972" y="35"/>
                </a:cubicBezTo>
                <a:cubicBezTo>
                  <a:pt x="973" y="35"/>
                  <a:pt x="974" y="35"/>
                  <a:pt x="974" y="36"/>
                </a:cubicBezTo>
                <a:close/>
                <a:moveTo>
                  <a:pt x="979" y="97"/>
                </a:moveTo>
                <a:cubicBezTo>
                  <a:pt x="979" y="97"/>
                  <a:pt x="979" y="97"/>
                  <a:pt x="978" y="96"/>
                </a:cubicBezTo>
                <a:cubicBezTo>
                  <a:pt x="978" y="96"/>
                  <a:pt x="978" y="96"/>
                  <a:pt x="977" y="96"/>
                </a:cubicBezTo>
                <a:cubicBezTo>
                  <a:pt x="977" y="97"/>
                  <a:pt x="977" y="97"/>
                  <a:pt x="977" y="97"/>
                </a:cubicBezTo>
                <a:cubicBezTo>
                  <a:pt x="977" y="97"/>
                  <a:pt x="977" y="97"/>
                  <a:pt x="977" y="97"/>
                </a:cubicBezTo>
                <a:cubicBezTo>
                  <a:pt x="977" y="98"/>
                  <a:pt x="978" y="98"/>
                  <a:pt x="978" y="98"/>
                </a:cubicBezTo>
                <a:cubicBezTo>
                  <a:pt x="978" y="98"/>
                  <a:pt x="978" y="98"/>
                  <a:pt x="978" y="98"/>
                </a:cubicBezTo>
                <a:cubicBezTo>
                  <a:pt x="978" y="98"/>
                  <a:pt x="978" y="98"/>
                  <a:pt x="978" y="98"/>
                </a:cubicBezTo>
                <a:cubicBezTo>
                  <a:pt x="979" y="98"/>
                  <a:pt x="979" y="98"/>
                  <a:pt x="979" y="98"/>
                </a:cubicBezTo>
                <a:cubicBezTo>
                  <a:pt x="979" y="98"/>
                  <a:pt x="979" y="97"/>
                  <a:pt x="979" y="97"/>
                </a:cubicBezTo>
                <a:close/>
                <a:moveTo>
                  <a:pt x="975" y="53"/>
                </a:moveTo>
                <a:cubicBezTo>
                  <a:pt x="975" y="53"/>
                  <a:pt x="974" y="53"/>
                  <a:pt x="974" y="53"/>
                </a:cubicBezTo>
                <a:cubicBezTo>
                  <a:pt x="974" y="53"/>
                  <a:pt x="974" y="53"/>
                  <a:pt x="974" y="53"/>
                </a:cubicBezTo>
                <a:cubicBezTo>
                  <a:pt x="974" y="53"/>
                  <a:pt x="975" y="53"/>
                  <a:pt x="975" y="54"/>
                </a:cubicBezTo>
                <a:cubicBezTo>
                  <a:pt x="975" y="54"/>
                  <a:pt x="975" y="54"/>
                  <a:pt x="975" y="54"/>
                </a:cubicBezTo>
                <a:cubicBezTo>
                  <a:pt x="976" y="54"/>
                  <a:pt x="976" y="54"/>
                  <a:pt x="976" y="54"/>
                </a:cubicBezTo>
                <a:cubicBezTo>
                  <a:pt x="977" y="54"/>
                  <a:pt x="977" y="54"/>
                  <a:pt x="978" y="54"/>
                </a:cubicBezTo>
                <a:cubicBezTo>
                  <a:pt x="978" y="54"/>
                  <a:pt x="978" y="54"/>
                  <a:pt x="978" y="53"/>
                </a:cubicBezTo>
                <a:cubicBezTo>
                  <a:pt x="977" y="53"/>
                  <a:pt x="977" y="53"/>
                  <a:pt x="977" y="53"/>
                </a:cubicBezTo>
                <a:cubicBezTo>
                  <a:pt x="976" y="53"/>
                  <a:pt x="975" y="53"/>
                  <a:pt x="975" y="53"/>
                </a:cubicBezTo>
                <a:close/>
                <a:moveTo>
                  <a:pt x="1003" y="42"/>
                </a:moveTo>
                <a:cubicBezTo>
                  <a:pt x="1003" y="42"/>
                  <a:pt x="1003" y="41"/>
                  <a:pt x="1003" y="41"/>
                </a:cubicBezTo>
                <a:cubicBezTo>
                  <a:pt x="1003" y="41"/>
                  <a:pt x="1003" y="41"/>
                  <a:pt x="1003" y="41"/>
                </a:cubicBezTo>
                <a:cubicBezTo>
                  <a:pt x="1003" y="41"/>
                  <a:pt x="1003" y="41"/>
                  <a:pt x="1002" y="40"/>
                </a:cubicBezTo>
                <a:cubicBezTo>
                  <a:pt x="1002" y="40"/>
                  <a:pt x="1002" y="41"/>
                  <a:pt x="1002" y="41"/>
                </a:cubicBezTo>
                <a:cubicBezTo>
                  <a:pt x="1002" y="41"/>
                  <a:pt x="1002" y="41"/>
                  <a:pt x="1002" y="41"/>
                </a:cubicBezTo>
                <a:cubicBezTo>
                  <a:pt x="1002" y="41"/>
                  <a:pt x="1002" y="41"/>
                  <a:pt x="1002" y="42"/>
                </a:cubicBezTo>
                <a:cubicBezTo>
                  <a:pt x="1003" y="42"/>
                  <a:pt x="1003" y="42"/>
                  <a:pt x="1003" y="42"/>
                </a:cubicBezTo>
                <a:close/>
                <a:moveTo>
                  <a:pt x="937" y="51"/>
                </a:moveTo>
                <a:cubicBezTo>
                  <a:pt x="937" y="51"/>
                  <a:pt x="937" y="52"/>
                  <a:pt x="937" y="52"/>
                </a:cubicBezTo>
                <a:cubicBezTo>
                  <a:pt x="938" y="52"/>
                  <a:pt x="938" y="53"/>
                  <a:pt x="938" y="53"/>
                </a:cubicBezTo>
                <a:cubicBezTo>
                  <a:pt x="938" y="53"/>
                  <a:pt x="938" y="53"/>
                  <a:pt x="939" y="54"/>
                </a:cubicBezTo>
                <a:cubicBezTo>
                  <a:pt x="939" y="53"/>
                  <a:pt x="939" y="53"/>
                  <a:pt x="939" y="53"/>
                </a:cubicBezTo>
                <a:cubicBezTo>
                  <a:pt x="939" y="53"/>
                  <a:pt x="940" y="53"/>
                  <a:pt x="940" y="53"/>
                </a:cubicBezTo>
                <a:cubicBezTo>
                  <a:pt x="940" y="53"/>
                  <a:pt x="940" y="52"/>
                  <a:pt x="940" y="52"/>
                </a:cubicBezTo>
                <a:cubicBezTo>
                  <a:pt x="940" y="52"/>
                  <a:pt x="940" y="52"/>
                  <a:pt x="940" y="51"/>
                </a:cubicBezTo>
                <a:cubicBezTo>
                  <a:pt x="940" y="51"/>
                  <a:pt x="940" y="51"/>
                  <a:pt x="940" y="51"/>
                </a:cubicBezTo>
                <a:cubicBezTo>
                  <a:pt x="941" y="51"/>
                  <a:pt x="941" y="52"/>
                  <a:pt x="941" y="52"/>
                </a:cubicBezTo>
                <a:cubicBezTo>
                  <a:pt x="941" y="52"/>
                  <a:pt x="942" y="52"/>
                  <a:pt x="942" y="51"/>
                </a:cubicBezTo>
                <a:cubicBezTo>
                  <a:pt x="942" y="52"/>
                  <a:pt x="942" y="52"/>
                  <a:pt x="942" y="52"/>
                </a:cubicBezTo>
                <a:cubicBezTo>
                  <a:pt x="942" y="52"/>
                  <a:pt x="942" y="52"/>
                  <a:pt x="942" y="52"/>
                </a:cubicBezTo>
                <a:cubicBezTo>
                  <a:pt x="941" y="53"/>
                  <a:pt x="941" y="53"/>
                  <a:pt x="941" y="53"/>
                </a:cubicBezTo>
                <a:cubicBezTo>
                  <a:pt x="941" y="53"/>
                  <a:pt x="941" y="53"/>
                  <a:pt x="941" y="53"/>
                </a:cubicBezTo>
                <a:cubicBezTo>
                  <a:pt x="941" y="54"/>
                  <a:pt x="941" y="54"/>
                  <a:pt x="941" y="54"/>
                </a:cubicBezTo>
                <a:cubicBezTo>
                  <a:pt x="941" y="54"/>
                  <a:pt x="942" y="54"/>
                  <a:pt x="942" y="54"/>
                </a:cubicBezTo>
                <a:cubicBezTo>
                  <a:pt x="942" y="54"/>
                  <a:pt x="942" y="55"/>
                  <a:pt x="942" y="55"/>
                </a:cubicBezTo>
                <a:cubicBezTo>
                  <a:pt x="942" y="55"/>
                  <a:pt x="942" y="55"/>
                  <a:pt x="943" y="55"/>
                </a:cubicBezTo>
                <a:cubicBezTo>
                  <a:pt x="943" y="55"/>
                  <a:pt x="943" y="55"/>
                  <a:pt x="943" y="55"/>
                </a:cubicBezTo>
                <a:cubicBezTo>
                  <a:pt x="943" y="55"/>
                  <a:pt x="943" y="55"/>
                  <a:pt x="944" y="55"/>
                </a:cubicBezTo>
                <a:cubicBezTo>
                  <a:pt x="944" y="55"/>
                  <a:pt x="944" y="55"/>
                  <a:pt x="944" y="56"/>
                </a:cubicBezTo>
                <a:cubicBezTo>
                  <a:pt x="943" y="56"/>
                  <a:pt x="943" y="56"/>
                  <a:pt x="943" y="56"/>
                </a:cubicBezTo>
                <a:cubicBezTo>
                  <a:pt x="942" y="56"/>
                  <a:pt x="942" y="56"/>
                  <a:pt x="942" y="56"/>
                </a:cubicBezTo>
                <a:cubicBezTo>
                  <a:pt x="942" y="56"/>
                  <a:pt x="942" y="56"/>
                  <a:pt x="942" y="56"/>
                </a:cubicBezTo>
                <a:cubicBezTo>
                  <a:pt x="942" y="56"/>
                  <a:pt x="942" y="55"/>
                  <a:pt x="942" y="55"/>
                </a:cubicBezTo>
                <a:cubicBezTo>
                  <a:pt x="941" y="55"/>
                  <a:pt x="941" y="55"/>
                  <a:pt x="940" y="55"/>
                </a:cubicBezTo>
                <a:cubicBezTo>
                  <a:pt x="940" y="55"/>
                  <a:pt x="940" y="55"/>
                  <a:pt x="940" y="55"/>
                </a:cubicBezTo>
                <a:cubicBezTo>
                  <a:pt x="940" y="55"/>
                  <a:pt x="940" y="55"/>
                  <a:pt x="940" y="55"/>
                </a:cubicBezTo>
                <a:cubicBezTo>
                  <a:pt x="940" y="55"/>
                  <a:pt x="940" y="56"/>
                  <a:pt x="940" y="56"/>
                </a:cubicBezTo>
                <a:cubicBezTo>
                  <a:pt x="941" y="56"/>
                  <a:pt x="941" y="56"/>
                  <a:pt x="941" y="56"/>
                </a:cubicBezTo>
                <a:cubicBezTo>
                  <a:pt x="942" y="56"/>
                  <a:pt x="942" y="56"/>
                  <a:pt x="942" y="57"/>
                </a:cubicBezTo>
                <a:cubicBezTo>
                  <a:pt x="942" y="57"/>
                  <a:pt x="942" y="57"/>
                  <a:pt x="942" y="57"/>
                </a:cubicBezTo>
                <a:cubicBezTo>
                  <a:pt x="942" y="57"/>
                  <a:pt x="942" y="57"/>
                  <a:pt x="941" y="57"/>
                </a:cubicBezTo>
                <a:cubicBezTo>
                  <a:pt x="942" y="57"/>
                  <a:pt x="942" y="57"/>
                  <a:pt x="942" y="58"/>
                </a:cubicBezTo>
                <a:cubicBezTo>
                  <a:pt x="942" y="58"/>
                  <a:pt x="943" y="58"/>
                  <a:pt x="943" y="58"/>
                </a:cubicBezTo>
                <a:cubicBezTo>
                  <a:pt x="943" y="58"/>
                  <a:pt x="944" y="58"/>
                  <a:pt x="944" y="58"/>
                </a:cubicBezTo>
                <a:cubicBezTo>
                  <a:pt x="944" y="58"/>
                  <a:pt x="944" y="58"/>
                  <a:pt x="944" y="59"/>
                </a:cubicBezTo>
                <a:cubicBezTo>
                  <a:pt x="944" y="59"/>
                  <a:pt x="945" y="59"/>
                  <a:pt x="945" y="59"/>
                </a:cubicBezTo>
                <a:cubicBezTo>
                  <a:pt x="945" y="59"/>
                  <a:pt x="945" y="59"/>
                  <a:pt x="946" y="59"/>
                </a:cubicBezTo>
                <a:cubicBezTo>
                  <a:pt x="946" y="59"/>
                  <a:pt x="946" y="59"/>
                  <a:pt x="946" y="59"/>
                </a:cubicBezTo>
                <a:cubicBezTo>
                  <a:pt x="947" y="59"/>
                  <a:pt x="947" y="59"/>
                  <a:pt x="947" y="59"/>
                </a:cubicBezTo>
                <a:cubicBezTo>
                  <a:pt x="946" y="59"/>
                  <a:pt x="946" y="59"/>
                  <a:pt x="946" y="59"/>
                </a:cubicBezTo>
                <a:cubicBezTo>
                  <a:pt x="946" y="59"/>
                  <a:pt x="945" y="59"/>
                  <a:pt x="945" y="59"/>
                </a:cubicBezTo>
                <a:cubicBezTo>
                  <a:pt x="945" y="60"/>
                  <a:pt x="945" y="60"/>
                  <a:pt x="945" y="60"/>
                </a:cubicBezTo>
                <a:cubicBezTo>
                  <a:pt x="945" y="60"/>
                  <a:pt x="945" y="60"/>
                  <a:pt x="945" y="61"/>
                </a:cubicBezTo>
                <a:cubicBezTo>
                  <a:pt x="946" y="61"/>
                  <a:pt x="946" y="61"/>
                  <a:pt x="946" y="61"/>
                </a:cubicBezTo>
                <a:cubicBezTo>
                  <a:pt x="946" y="61"/>
                  <a:pt x="946" y="61"/>
                  <a:pt x="947" y="61"/>
                </a:cubicBezTo>
                <a:cubicBezTo>
                  <a:pt x="947" y="61"/>
                  <a:pt x="948" y="61"/>
                  <a:pt x="948" y="62"/>
                </a:cubicBezTo>
                <a:cubicBezTo>
                  <a:pt x="948" y="62"/>
                  <a:pt x="948" y="62"/>
                  <a:pt x="949" y="62"/>
                </a:cubicBezTo>
                <a:cubicBezTo>
                  <a:pt x="948" y="62"/>
                  <a:pt x="948" y="62"/>
                  <a:pt x="948" y="63"/>
                </a:cubicBezTo>
                <a:cubicBezTo>
                  <a:pt x="948" y="63"/>
                  <a:pt x="948" y="63"/>
                  <a:pt x="948" y="63"/>
                </a:cubicBezTo>
                <a:cubicBezTo>
                  <a:pt x="948" y="63"/>
                  <a:pt x="949" y="63"/>
                  <a:pt x="949" y="63"/>
                </a:cubicBezTo>
                <a:cubicBezTo>
                  <a:pt x="950" y="63"/>
                  <a:pt x="951" y="63"/>
                  <a:pt x="951" y="63"/>
                </a:cubicBezTo>
                <a:cubicBezTo>
                  <a:pt x="952" y="63"/>
                  <a:pt x="952" y="63"/>
                  <a:pt x="952" y="62"/>
                </a:cubicBezTo>
                <a:cubicBezTo>
                  <a:pt x="952" y="62"/>
                  <a:pt x="952" y="62"/>
                  <a:pt x="952" y="62"/>
                </a:cubicBezTo>
                <a:cubicBezTo>
                  <a:pt x="952" y="62"/>
                  <a:pt x="953" y="61"/>
                  <a:pt x="953" y="61"/>
                </a:cubicBezTo>
                <a:cubicBezTo>
                  <a:pt x="953" y="61"/>
                  <a:pt x="953" y="61"/>
                  <a:pt x="954" y="61"/>
                </a:cubicBezTo>
                <a:cubicBezTo>
                  <a:pt x="954" y="61"/>
                  <a:pt x="954" y="61"/>
                  <a:pt x="954" y="61"/>
                </a:cubicBezTo>
                <a:cubicBezTo>
                  <a:pt x="954" y="61"/>
                  <a:pt x="954" y="61"/>
                  <a:pt x="954" y="61"/>
                </a:cubicBezTo>
                <a:cubicBezTo>
                  <a:pt x="954" y="60"/>
                  <a:pt x="954" y="60"/>
                  <a:pt x="954" y="60"/>
                </a:cubicBezTo>
                <a:cubicBezTo>
                  <a:pt x="954" y="60"/>
                  <a:pt x="953" y="59"/>
                  <a:pt x="953" y="59"/>
                </a:cubicBezTo>
                <a:cubicBezTo>
                  <a:pt x="953" y="59"/>
                  <a:pt x="953" y="59"/>
                  <a:pt x="953" y="58"/>
                </a:cubicBezTo>
                <a:cubicBezTo>
                  <a:pt x="953" y="58"/>
                  <a:pt x="953" y="58"/>
                  <a:pt x="953" y="58"/>
                </a:cubicBezTo>
                <a:cubicBezTo>
                  <a:pt x="953" y="58"/>
                  <a:pt x="953" y="58"/>
                  <a:pt x="953" y="57"/>
                </a:cubicBezTo>
                <a:cubicBezTo>
                  <a:pt x="953" y="57"/>
                  <a:pt x="953" y="57"/>
                  <a:pt x="954" y="57"/>
                </a:cubicBezTo>
                <a:cubicBezTo>
                  <a:pt x="954" y="57"/>
                  <a:pt x="954" y="57"/>
                  <a:pt x="954" y="57"/>
                </a:cubicBezTo>
                <a:cubicBezTo>
                  <a:pt x="954" y="58"/>
                  <a:pt x="955" y="58"/>
                  <a:pt x="955" y="58"/>
                </a:cubicBezTo>
                <a:cubicBezTo>
                  <a:pt x="955" y="58"/>
                  <a:pt x="955" y="58"/>
                  <a:pt x="955" y="58"/>
                </a:cubicBezTo>
                <a:cubicBezTo>
                  <a:pt x="955" y="58"/>
                  <a:pt x="955" y="59"/>
                  <a:pt x="955" y="59"/>
                </a:cubicBezTo>
                <a:cubicBezTo>
                  <a:pt x="955" y="58"/>
                  <a:pt x="955" y="58"/>
                  <a:pt x="955" y="58"/>
                </a:cubicBezTo>
                <a:cubicBezTo>
                  <a:pt x="956" y="58"/>
                  <a:pt x="956" y="58"/>
                  <a:pt x="956" y="58"/>
                </a:cubicBezTo>
                <a:cubicBezTo>
                  <a:pt x="956" y="57"/>
                  <a:pt x="955" y="57"/>
                  <a:pt x="955" y="57"/>
                </a:cubicBezTo>
                <a:cubicBezTo>
                  <a:pt x="956" y="56"/>
                  <a:pt x="956" y="56"/>
                  <a:pt x="956" y="56"/>
                </a:cubicBezTo>
                <a:cubicBezTo>
                  <a:pt x="956" y="56"/>
                  <a:pt x="956" y="56"/>
                  <a:pt x="956" y="56"/>
                </a:cubicBezTo>
                <a:cubicBezTo>
                  <a:pt x="956" y="56"/>
                  <a:pt x="956" y="56"/>
                  <a:pt x="957" y="56"/>
                </a:cubicBezTo>
                <a:cubicBezTo>
                  <a:pt x="957" y="57"/>
                  <a:pt x="957" y="57"/>
                  <a:pt x="957" y="57"/>
                </a:cubicBezTo>
                <a:cubicBezTo>
                  <a:pt x="957" y="58"/>
                  <a:pt x="957" y="58"/>
                  <a:pt x="957" y="58"/>
                </a:cubicBezTo>
                <a:cubicBezTo>
                  <a:pt x="957" y="58"/>
                  <a:pt x="957" y="58"/>
                  <a:pt x="957" y="58"/>
                </a:cubicBezTo>
                <a:cubicBezTo>
                  <a:pt x="957" y="58"/>
                  <a:pt x="957" y="59"/>
                  <a:pt x="956" y="59"/>
                </a:cubicBezTo>
                <a:cubicBezTo>
                  <a:pt x="956" y="59"/>
                  <a:pt x="956" y="59"/>
                  <a:pt x="956" y="59"/>
                </a:cubicBezTo>
                <a:cubicBezTo>
                  <a:pt x="956" y="59"/>
                  <a:pt x="956" y="60"/>
                  <a:pt x="957" y="60"/>
                </a:cubicBezTo>
                <a:cubicBezTo>
                  <a:pt x="957" y="60"/>
                  <a:pt x="957" y="60"/>
                  <a:pt x="957" y="60"/>
                </a:cubicBezTo>
                <a:cubicBezTo>
                  <a:pt x="957" y="60"/>
                  <a:pt x="958" y="60"/>
                  <a:pt x="958" y="60"/>
                </a:cubicBezTo>
                <a:cubicBezTo>
                  <a:pt x="959" y="60"/>
                  <a:pt x="959" y="59"/>
                  <a:pt x="960" y="59"/>
                </a:cubicBezTo>
                <a:cubicBezTo>
                  <a:pt x="960" y="59"/>
                  <a:pt x="960" y="59"/>
                  <a:pt x="960" y="58"/>
                </a:cubicBezTo>
                <a:cubicBezTo>
                  <a:pt x="960" y="58"/>
                  <a:pt x="960" y="58"/>
                  <a:pt x="960" y="57"/>
                </a:cubicBezTo>
                <a:cubicBezTo>
                  <a:pt x="960" y="57"/>
                  <a:pt x="960" y="57"/>
                  <a:pt x="960" y="57"/>
                </a:cubicBezTo>
                <a:cubicBezTo>
                  <a:pt x="961" y="57"/>
                  <a:pt x="961" y="57"/>
                  <a:pt x="961" y="57"/>
                </a:cubicBezTo>
                <a:cubicBezTo>
                  <a:pt x="961" y="57"/>
                  <a:pt x="961" y="57"/>
                  <a:pt x="962" y="58"/>
                </a:cubicBezTo>
                <a:cubicBezTo>
                  <a:pt x="962" y="58"/>
                  <a:pt x="961" y="58"/>
                  <a:pt x="961" y="59"/>
                </a:cubicBezTo>
                <a:cubicBezTo>
                  <a:pt x="961" y="59"/>
                  <a:pt x="961" y="59"/>
                  <a:pt x="961" y="59"/>
                </a:cubicBezTo>
                <a:cubicBezTo>
                  <a:pt x="961" y="59"/>
                  <a:pt x="961" y="60"/>
                  <a:pt x="961" y="60"/>
                </a:cubicBezTo>
                <a:cubicBezTo>
                  <a:pt x="961" y="60"/>
                  <a:pt x="961" y="60"/>
                  <a:pt x="962" y="60"/>
                </a:cubicBezTo>
                <a:cubicBezTo>
                  <a:pt x="962" y="60"/>
                  <a:pt x="962" y="60"/>
                  <a:pt x="963" y="60"/>
                </a:cubicBezTo>
                <a:cubicBezTo>
                  <a:pt x="963" y="60"/>
                  <a:pt x="963" y="60"/>
                  <a:pt x="964" y="59"/>
                </a:cubicBezTo>
                <a:cubicBezTo>
                  <a:pt x="964" y="59"/>
                  <a:pt x="964" y="59"/>
                  <a:pt x="964" y="59"/>
                </a:cubicBezTo>
                <a:cubicBezTo>
                  <a:pt x="964" y="60"/>
                  <a:pt x="964" y="60"/>
                  <a:pt x="964" y="60"/>
                </a:cubicBezTo>
                <a:cubicBezTo>
                  <a:pt x="964" y="60"/>
                  <a:pt x="964" y="60"/>
                  <a:pt x="964" y="60"/>
                </a:cubicBezTo>
                <a:cubicBezTo>
                  <a:pt x="963" y="60"/>
                  <a:pt x="963" y="60"/>
                  <a:pt x="962" y="60"/>
                </a:cubicBezTo>
                <a:cubicBezTo>
                  <a:pt x="962" y="61"/>
                  <a:pt x="962" y="61"/>
                  <a:pt x="962" y="61"/>
                </a:cubicBezTo>
                <a:cubicBezTo>
                  <a:pt x="961" y="61"/>
                  <a:pt x="960" y="61"/>
                  <a:pt x="960" y="61"/>
                </a:cubicBezTo>
                <a:cubicBezTo>
                  <a:pt x="959" y="61"/>
                  <a:pt x="959" y="61"/>
                  <a:pt x="958" y="61"/>
                </a:cubicBezTo>
                <a:cubicBezTo>
                  <a:pt x="958" y="61"/>
                  <a:pt x="958" y="61"/>
                  <a:pt x="958" y="62"/>
                </a:cubicBezTo>
                <a:cubicBezTo>
                  <a:pt x="958" y="62"/>
                  <a:pt x="958" y="62"/>
                  <a:pt x="958" y="62"/>
                </a:cubicBezTo>
                <a:cubicBezTo>
                  <a:pt x="957" y="62"/>
                  <a:pt x="957" y="62"/>
                  <a:pt x="957" y="62"/>
                </a:cubicBezTo>
                <a:cubicBezTo>
                  <a:pt x="956" y="63"/>
                  <a:pt x="956" y="63"/>
                  <a:pt x="956" y="63"/>
                </a:cubicBezTo>
                <a:cubicBezTo>
                  <a:pt x="955" y="63"/>
                  <a:pt x="955" y="63"/>
                  <a:pt x="955" y="64"/>
                </a:cubicBezTo>
                <a:cubicBezTo>
                  <a:pt x="955" y="64"/>
                  <a:pt x="955" y="64"/>
                  <a:pt x="954" y="63"/>
                </a:cubicBezTo>
                <a:cubicBezTo>
                  <a:pt x="954" y="64"/>
                  <a:pt x="954" y="64"/>
                  <a:pt x="953" y="64"/>
                </a:cubicBezTo>
                <a:cubicBezTo>
                  <a:pt x="953" y="64"/>
                  <a:pt x="953" y="64"/>
                  <a:pt x="953" y="64"/>
                </a:cubicBezTo>
                <a:cubicBezTo>
                  <a:pt x="953" y="64"/>
                  <a:pt x="953" y="65"/>
                  <a:pt x="953" y="65"/>
                </a:cubicBezTo>
                <a:cubicBezTo>
                  <a:pt x="953" y="64"/>
                  <a:pt x="953" y="64"/>
                  <a:pt x="953" y="64"/>
                </a:cubicBezTo>
                <a:cubicBezTo>
                  <a:pt x="952" y="64"/>
                  <a:pt x="952" y="64"/>
                  <a:pt x="952" y="64"/>
                </a:cubicBezTo>
                <a:cubicBezTo>
                  <a:pt x="952" y="64"/>
                  <a:pt x="952" y="64"/>
                  <a:pt x="951" y="64"/>
                </a:cubicBezTo>
                <a:cubicBezTo>
                  <a:pt x="951" y="64"/>
                  <a:pt x="951" y="64"/>
                  <a:pt x="951" y="64"/>
                </a:cubicBezTo>
                <a:cubicBezTo>
                  <a:pt x="951" y="64"/>
                  <a:pt x="951" y="64"/>
                  <a:pt x="951" y="65"/>
                </a:cubicBezTo>
                <a:cubicBezTo>
                  <a:pt x="951" y="65"/>
                  <a:pt x="950" y="65"/>
                  <a:pt x="950" y="65"/>
                </a:cubicBezTo>
                <a:cubicBezTo>
                  <a:pt x="951" y="65"/>
                  <a:pt x="951" y="66"/>
                  <a:pt x="951" y="66"/>
                </a:cubicBezTo>
                <a:cubicBezTo>
                  <a:pt x="951" y="66"/>
                  <a:pt x="951" y="67"/>
                  <a:pt x="951" y="67"/>
                </a:cubicBezTo>
                <a:cubicBezTo>
                  <a:pt x="951" y="67"/>
                  <a:pt x="951" y="67"/>
                  <a:pt x="951" y="67"/>
                </a:cubicBezTo>
                <a:cubicBezTo>
                  <a:pt x="951" y="67"/>
                  <a:pt x="952" y="67"/>
                  <a:pt x="952" y="67"/>
                </a:cubicBezTo>
                <a:cubicBezTo>
                  <a:pt x="952" y="67"/>
                  <a:pt x="953" y="67"/>
                  <a:pt x="953" y="67"/>
                </a:cubicBezTo>
                <a:cubicBezTo>
                  <a:pt x="953" y="67"/>
                  <a:pt x="954" y="67"/>
                  <a:pt x="954" y="67"/>
                </a:cubicBezTo>
                <a:cubicBezTo>
                  <a:pt x="954" y="67"/>
                  <a:pt x="955" y="67"/>
                  <a:pt x="955" y="67"/>
                </a:cubicBezTo>
                <a:cubicBezTo>
                  <a:pt x="955" y="67"/>
                  <a:pt x="955" y="67"/>
                  <a:pt x="955" y="67"/>
                </a:cubicBezTo>
                <a:cubicBezTo>
                  <a:pt x="956" y="67"/>
                  <a:pt x="956" y="67"/>
                  <a:pt x="956" y="67"/>
                </a:cubicBezTo>
                <a:cubicBezTo>
                  <a:pt x="957" y="66"/>
                  <a:pt x="957" y="66"/>
                  <a:pt x="957" y="66"/>
                </a:cubicBezTo>
                <a:cubicBezTo>
                  <a:pt x="957" y="66"/>
                  <a:pt x="957" y="66"/>
                  <a:pt x="958" y="66"/>
                </a:cubicBezTo>
                <a:cubicBezTo>
                  <a:pt x="958" y="66"/>
                  <a:pt x="958" y="66"/>
                  <a:pt x="958" y="66"/>
                </a:cubicBezTo>
                <a:cubicBezTo>
                  <a:pt x="958" y="66"/>
                  <a:pt x="959" y="66"/>
                  <a:pt x="959" y="66"/>
                </a:cubicBezTo>
                <a:cubicBezTo>
                  <a:pt x="959" y="66"/>
                  <a:pt x="959" y="66"/>
                  <a:pt x="959" y="66"/>
                </a:cubicBezTo>
                <a:cubicBezTo>
                  <a:pt x="959" y="66"/>
                  <a:pt x="960" y="66"/>
                  <a:pt x="960" y="66"/>
                </a:cubicBezTo>
                <a:cubicBezTo>
                  <a:pt x="961" y="66"/>
                  <a:pt x="961" y="66"/>
                  <a:pt x="962" y="66"/>
                </a:cubicBezTo>
                <a:cubicBezTo>
                  <a:pt x="962" y="66"/>
                  <a:pt x="963" y="66"/>
                  <a:pt x="963" y="65"/>
                </a:cubicBezTo>
                <a:cubicBezTo>
                  <a:pt x="963" y="65"/>
                  <a:pt x="963" y="65"/>
                  <a:pt x="964" y="65"/>
                </a:cubicBezTo>
                <a:cubicBezTo>
                  <a:pt x="964" y="65"/>
                  <a:pt x="964" y="65"/>
                  <a:pt x="964" y="65"/>
                </a:cubicBezTo>
                <a:cubicBezTo>
                  <a:pt x="964" y="65"/>
                  <a:pt x="964" y="65"/>
                  <a:pt x="964" y="66"/>
                </a:cubicBezTo>
                <a:cubicBezTo>
                  <a:pt x="964" y="66"/>
                  <a:pt x="964" y="66"/>
                  <a:pt x="964" y="66"/>
                </a:cubicBezTo>
                <a:cubicBezTo>
                  <a:pt x="964" y="66"/>
                  <a:pt x="964" y="66"/>
                  <a:pt x="964" y="66"/>
                </a:cubicBezTo>
                <a:cubicBezTo>
                  <a:pt x="963" y="66"/>
                  <a:pt x="963" y="66"/>
                  <a:pt x="963" y="66"/>
                </a:cubicBezTo>
                <a:cubicBezTo>
                  <a:pt x="963" y="66"/>
                  <a:pt x="963" y="66"/>
                  <a:pt x="963" y="66"/>
                </a:cubicBezTo>
                <a:cubicBezTo>
                  <a:pt x="963" y="66"/>
                  <a:pt x="962" y="66"/>
                  <a:pt x="962" y="66"/>
                </a:cubicBezTo>
                <a:cubicBezTo>
                  <a:pt x="961" y="66"/>
                  <a:pt x="961" y="66"/>
                  <a:pt x="960" y="66"/>
                </a:cubicBezTo>
                <a:cubicBezTo>
                  <a:pt x="960" y="67"/>
                  <a:pt x="960" y="67"/>
                  <a:pt x="959" y="67"/>
                </a:cubicBezTo>
                <a:cubicBezTo>
                  <a:pt x="959" y="67"/>
                  <a:pt x="958" y="67"/>
                  <a:pt x="957" y="67"/>
                </a:cubicBezTo>
                <a:cubicBezTo>
                  <a:pt x="957" y="67"/>
                  <a:pt x="957" y="67"/>
                  <a:pt x="957" y="67"/>
                </a:cubicBezTo>
                <a:cubicBezTo>
                  <a:pt x="956" y="67"/>
                  <a:pt x="956" y="67"/>
                  <a:pt x="956" y="67"/>
                </a:cubicBezTo>
                <a:cubicBezTo>
                  <a:pt x="956" y="68"/>
                  <a:pt x="956" y="68"/>
                  <a:pt x="956" y="68"/>
                </a:cubicBezTo>
                <a:cubicBezTo>
                  <a:pt x="956" y="68"/>
                  <a:pt x="956" y="68"/>
                  <a:pt x="957" y="68"/>
                </a:cubicBezTo>
                <a:cubicBezTo>
                  <a:pt x="957" y="68"/>
                  <a:pt x="958" y="68"/>
                  <a:pt x="958" y="68"/>
                </a:cubicBezTo>
                <a:cubicBezTo>
                  <a:pt x="959" y="68"/>
                  <a:pt x="959" y="68"/>
                  <a:pt x="959" y="68"/>
                </a:cubicBezTo>
                <a:cubicBezTo>
                  <a:pt x="960" y="68"/>
                  <a:pt x="960" y="68"/>
                  <a:pt x="960" y="69"/>
                </a:cubicBezTo>
                <a:cubicBezTo>
                  <a:pt x="960" y="69"/>
                  <a:pt x="960" y="69"/>
                  <a:pt x="960" y="69"/>
                </a:cubicBezTo>
                <a:cubicBezTo>
                  <a:pt x="960" y="69"/>
                  <a:pt x="959" y="69"/>
                  <a:pt x="958" y="69"/>
                </a:cubicBezTo>
                <a:cubicBezTo>
                  <a:pt x="958" y="69"/>
                  <a:pt x="958" y="69"/>
                  <a:pt x="957" y="69"/>
                </a:cubicBezTo>
                <a:cubicBezTo>
                  <a:pt x="957" y="69"/>
                  <a:pt x="957" y="69"/>
                  <a:pt x="957" y="69"/>
                </a:cubicBezTo>
                <a:cubicBezTo>
                  <a:pt x="957" y="69"/>
                  <a:pt x="956" y="69"/>
                  <a:pt x="956" y="69"/>
                </a:cubicBezTo>
                <a:cubicBezTo>
                  <a:pt x="956" y="69"/>
                  <a:pt x="956" y="69"/>
                  <a:pt x="955" y="69"/>
                </a:cubicBezTo>
                <a:cubicBezTo>
                  <a:pt x="955" y="69"/>
                  <a:pt x="955" y="69"/>
                  <a:pt x="955" y="69"/>
                </a:cubicBezTo>
                <a:cubicBezTo>
                  <a:pt x="955" y="69"/>
                  <a:pt x="955" y="69"/>
                  <a:pt x="955" y="69"/>
                </a:cubicBezTo>
                <a:cubicBezTo>
                  <a:pt x="954" y="69"/>
                  <a:pt x="954" y="68"/>
                  <a:pt x="954" y="68"/>
                </a:cubicBezTo>
                <a:cubicBezTo>
                  <a:pt x="954" y="68"/>
                  <a:pt x="954" y="68"/>
                  <a:pt x="953" y="68"/>
                </a:cubicBezTo>
                <a:cubicBezTo>
                  <a:pt x="953" y="68"/>
                  <a:pt x="952" y="69"/>
                  <a:pt x="952" y="69"/>
                </a:cubicBezTo>
                <a:cubicBezTo>
                  <a:pt x="952" y="69"/>
                  <a:pt x="952" y="69"/>
                  <a:pt x="952" y="69"/>
                </a:cubicBezTo>
                <a:cubicBezTo>
                  <a:pt x="952" y="69"/>
                  <a:pt x="952" y="69"/>
                  <a:pt x="953" y="69"/>
                </a:cubicBezTo>
                <a:cubicBezTo>
                  <a:pt x="953" y="70"/>
                  <a:pt x="953" y="70"/>
                  <a:pt x="953" y="70"/>
                </a:cubicBezTo>
                <a:cubicBezTo>
                  <a:pt x="953" y="70"/>
                  <a:pt x="952" y="70"/>
                  <a:pt x="952" y="70"/>
                </a:cubicBezTo>
                <a:cubicBezTo>
                  <a:pt x="952" y="70"/>
                  <a:pt x="953" y="70"/>
                  <a:pt x="953" y="70"/>
                </a:cubicBezTo>
                <a:cubicBezTo>
                  <a:pt x="953" y="70"/>
                  <a:pt x="953" y="71"/>
                  <a:pt x="953" y="71"/>
                </a:cubicBezTo>
                <a:cubicBezTo>
                  <a:pt x="953" y="71"/>
                  <a:pt x="953" y="71"/>
                  <a:pt x="953" y="71"/>
                </a:cubicBezTo>
                <a:cubicBezTo>
                  <a:pt x="953" y="71"/>
                  <a:pt x="953" y="71"/>
                  <a:pt x="954" y="71"/>
                </a:cubicBezTo>
                <a:cubicBezTo>
                  <a:pt x="954" y="71"/>
                  <a:pt x="954" y="72"/>
                  <a:pt x="954" y="72"/>
                </a:cubicBezTo>
                <a:cubicBezTo>
                  <a:pt x="954" y="72"/>
                  <a:pt x="954" y="72"/>
                  <a:pt x="954" y="72"/>
                </a:cubicBezTo>
                <a:cubicBezTo>
                  <a:pt x="954" y="72"/>
                  <a:pt x="954" y="72"/>
                  <a:pt x="954" y="72"/>
                </a:cubicBezTo>
                <a:cubicBezTo>
                  <a:pt x="954" y="72"/>
                  <a:pt x="955" y="72"/>
                  <a:pt x="955" y="72"/>
                </a:cubicBezTo>
                <a:cubicBezTo>
                  <a:pt x="955" y="72"/>
                  <a:pt x="955" y="73"/>
                  <a:pt x="955" y="73"/>
                </a:cubicBezTo>
                <a:cubicBezTo>
                  <a:pt x="955" y="73"/>
                  <a:pt x="955" y="73"/>
                  <a:pt x="956" y="73"/>
                </a:cubicBezTo>
                <a:cubicBezTo>
                  <a:pt x="956" y="73"/>
                  <a:pt x="956" y="73"/>
                  <a:pt x="956" y="73"/>
                </a:cubicBezTo>
                <a:cubicBezTo>
                  <a:pt x="956" y="73"/>
                  <a:pt x="956" y="73"/>
                  <a:pt x="957" y="73"/>
                </a:cubicBezTo>
                <a:cubicBezTo>
                  <a:pt x="957" y="73"/>
                  <a:pt x="957" y="73"/>
                  <a:pt x="957" y="74"/>
                </a:cubicBezTo>
                <a:cubicBezTo>
                  <a:pt x="957" y="74"/>
                  <a:pt x="958" y="74"/>
                  <a:pt x="958" y="74"/>
                </a:cubicBezTo>
                <a:cubicBezTo>
                  <a:pt x="958" y="74"/>
                  <a:pt x="958" y="74"/>
                  <a:pt x="958" y="74"/>
                </a:cubicBezTo>
                <a:cubicBezTo>
                  <a:pt x="958" y="75"/>
                  <a:pt x="959" y="75"/>
                  <a:pt x="959" y="75"/>
                </a:cubicBezTo>
                <a:cubicBezTo>
                  <a:pt x="959" y="75"/>
                  <a:pt x="960" y="75"/>
                  <a:pt x="960" y="75"/>
                </a:cubicBezTo>
                <a:cubicBezTo>
                  <a:pt x="960" y="75"/>
                  <a:pt x="961" y="74"/>
                  <a:pt x="961" y="74"/>
                </a:cubicBezTo>
                <a:cubicBezTo>
                  <a:pt x="961" y="74"/>
                  <a:pt x="961" y="74"/>
                  <a:pt x="961" y="74"/>
                </a:cubicBezTo>
                <a:cubicBezTo>
                  <a:pt x="961" y="74"/>
                  <a:pt x="961" y="74"/>
                  <a:pt x="962" y="74"/>
                </a:cubicBezTo>
                <a:cubicBezTo>
                  <a:pt x="962" y="74"/>
                  <a:pt x="962" y="74"/>
                  <a:pt x="962" y="74"/>
                </a:cubicBezTo>
                <a:cubicBezTo>
                  <a:pt x="962" y="74"/>
                  <a:pt x="962" y="75"/>
                  <a:pt x="963" y="75"/>
                </a:cubicBezTo>
                <a:cubicBezTo>
                  <a:pt x="963" y="75"/>
                  <a:pt x="963" y="75"/>
                  <a:pt x="962" y="75"/>
                </a:cubicBezTo>
                <a:cubicBezTo>
                  <a:pt x="962" y="75"/>
                  <a:pt x="962" y="75"/>
                  <a:pt x="962" y="75"/>
                </a:cubicBezTo>
                <a:cubicBezTo>
                  <a:pt x="962" y="75"/>
                  <a:pt x="962" y="75"/>
                  <a:pt x="962" y="75"/>
                </a:cubicBezTo>
                <a:cubicBezTo>
                  <a:pt x="961" y="75"/>
                  <a:pt x="961" y="76"/>
                  <a:pt x="960" y="76"/>
                </a:cubicBezTo>
                <a:cubicBezTo>
                  <a:pt x="960" y="76"/>
                  <a:pt x="960" y="76"/>
                  <a:pt x="960" y="76"/>
                </a:cubicBezTo>
                <a:cubicBezTo>
                  <a:pt x="961" y="77"/>
                  <a:pt x="962" y="77"/>
                  <a:pt x="962" y="77"/>
                </a:cubicBezTo>
                <a:cubicBezTo>
                  <a:pt x="963" y="77"/>
                  <a:pt x="963" y="77"/>
                  <a:pt x="963" y="78"/>
                </a:cubicBezTo>
                <a:cubicBezTo>
                  <a:pt x="963" y="78"/>
                  <a:pt x="963" y="78"/>
                  <a:pt x="963" y="78"/>
                </a:cubicBezTo>
                <a:cubicBezTo>
                  <a:pt x="963" y="78"/>
                  <a:pt x="963" y="79"/>
                  <a:pt x="963" y="79"/>
                </a:cubicBezTo>
                <a:cubicBezTo>
                  <a:pt x="963" y="79"/>
                  <a:pt x="963" y="79"/>
                  <a:pt x="963" y="79"/>
                </a:cubicBezTo>
                <a:cubicBezTo>
                  <a:pt x="964" y="79"/>
                  <a:pt x="964" y="79"/>
                  <a:pt x="964" y="79"/>
                </a:cubicBezTo>
                <a:cubicBezTo>
                  <a:pt x="964" y="79"/>
                  <a:pt x="964" y="79"/>
                  <a:pt x="964" y="79"/>
                </a:cubicBezTo>
                <a:cubicBezTo>
                  <a:pt x="964" y="79"/>
                  <a:pt x="964" y="79"/>
                  <a:pt x="965" y="79"/>
                </a:cubicBezTo>
                <a:cubicBezTo>
                  <a:pt x="965" y="79"/>
                  <a:pt x="965" y="79"/>
                  <a:pt x="965" y="79"/>
                </a:cubicBezTo>
                <a:cubicBezTo>
                  <a:pt x="966" y="79"/>
                  <a:pt x="966" y="79"/>
                  <a:pt x="966" y="79"/>
                </a:cubicBezTo>
                <a:cubicBezTo>
                  <a:pt x="966" y="79"/>
                  <a:pt x="967" y="79"/>
                  <a:pt x="967" y="79"/>
                </a:cubicBezTo>
                <a:cubicBezTo>
                  <a:pt x="967" y="78"/>
                  <a:pt x="967" y="78"/>
                  <a:pt x="967" y="78"/>
                </a:cubicBezTo>
                <a:cubicBezTo>
                  <a:pt x="967" y="78"/>
                  <a:pt x="967" y="78"/>
                  <a:pt x="967" y="78"/>
                </a:cubicBezTo>
                <a:cubicBezTo>
                  <a:pt x="967" y="78"/>
                  <a:pt x="967" y="77"/>
                  <a:pt x="967" y="77"/>
                </a:cubicBezTo>
                <a:cubicBezTo>
                  <a:pt x="967" y="77"/>
                  <a:pt x="967" y="77"/>
                  <a:pt x="967" y="76"/>
                </a:cubicBezTo>
                <a:cubicBezTo>
                  <a:pt x="967" y="76"/>
                  <a:pt x="967" y="76"/>
                  <a:pt x="967" y="75"/>
                </a:cubicBezTo>
                <a:cubicBezTo>
                  <a:pt x="967" y="75"/>
                  <a:pt x="967" y="75"/>
                  <a:pt x="967" y="75"/>
                </a:cubicBezTo>
                <a:cubicBezTo>
                  <a:pt x="967" y="75"/>
                  <a:pt x="968" y="75"/>
                  <a:pt x="968" y="74"/>
                </a:cubicBezTo>
                <a:cubicBezTo>
                  <a:pt x="968" y="74"/>
                  <a:pt x="968" y="73"/>
                  <a:pt x="968" y="72"/>
                </a:cubicBezTo>
                <a:cubicBezTo>
                  <a:pt x="968" y="72"/>
                  <a:pt x="968" y="72"/>
                  <a:pt x="968" y="71"/>
                </a:cubicBezTo>
                <a:cubicBezTo>
                  <a:pt x="968" y="71"/>
                  <a:pt x="968" y="71"/>
                  <a:pt x="968" y="71"/>
                </a:cubicBezTo>
                <a:cubicBezTo>
                  <a:pt x="968" y="71"/>
                  <a:pt x="969" y="71"/>
                  <a:pt x="969" y="70"/>
                </a:cubicBezTo>
                <a:cubicBezTo>
                  <a:pt x="969" y="70"/>
                  <a:pt x="969" y="70"/>
                  <a:pt x="969" y="70"/>
                </a:cubicBezTo>
                <a:cubicBezTo>
                  <a:pt x="969" y="70"/>
                  <a:pt x="968" y="70"/>
                  <a:pt x="968" y="70"/>
                </a:cubicBezTo>
                <a:cubicBezTo>
                  <a:pt x="968" y="70"/>
                  <a:pt x="969" y="69"/>
                  <a:pt x="969" y="69"/>
                </a:cubicBezTo>
                <a:cubicBezTo>
                  <a:pt x="969" y="69"/>
                  <a:pt x="970" y="69"/>
                  <a:pt x="970" y="69"/>
                </a:cubicBezTo>
                <a:cubicBezTo>
                  <a:pt x="970" y="69"/>
                  <a:pt x="971" y="69"/>
                  <a:pt x="971" y="69"/>
                </a:cubicBezTo>
                <a:cubicBezTo>
                  <a:pt x="971" y="69"/>
                  <a:pt x="971" y="69"/>
                  <a:pt x="971" y="69"/>
                </a:cubicBezTo>
                <a:cubicBezTo>
                  <a:pt x="971" y="68"/>
                  <a:pt x="971" y="68"/>
                  <a:pt x="971" y="68"/>
                </a:cubicBezTo>
                <a:cubicBezTo>
                  <a:pt x="971" y="67"/>
                  <a:pt x="971" y="67"/>
                  <a:pt x="971" y="67"/>
                </a:cubicBezTo>
                <a:cubicBezTo>
                  <a:pt x="971" y="67"/>
                  <a:pt x="971" y="66"/>
                  <a:pt x="971" y="66"/>
                </a:cubicBezTo>
                <a:cubicBezTo>
                  <a:pt x="971" y="66"/>
                  <a:pt x="971" y="65"/>
                  <a:pt x="970" y="65"/>
                </a:cubicBezTo>
                <a:cubicBezTo>
                  <a:pt x="970" y="65"/>
                  <a:pt x="970" y="65"/>
                  <a:pt x="970" y="64"/>
                </a:cubicBezTo>
                <a:cubicBezTo>
                  <a:pt x="971" y="64"/>
                  <a:pt x="971" y="64"/>
                  <a:pt x="971" y="64"/>
                </a:cubicBezTo>
                <a:cubicBezTo>
                  <a:pt x="971" y="64"/>
                  <a:pt x="972" y="64"/>
                  <a:pt x="972" y="65"/>
                </a:cubicBezTo>
                <a:cubicBezTo>
                  <a:pt x="972" y="64"/>
                  <a:pt x="972" y="64"/>
                  <a:pt x="973" y="64"/>
                </a:cubicBezTo>
                <a:cubicBezTo>
                  <a:pt x="973" y="64"/>
                  <a:pt x="972" y="64"/>
                  <a:pt x="972" y="64"/>
                </a:cubicBezTo>
                <a:cubicBezTo>
                  <a:pt x="972" y="63"/>
                  <a:pt x="972" y="63"/>
                  <a:pt x="972" y="63"/>
                </a:cubicBezTo>
                <a:cubicBezTo>
                  <a:pt x="972" y="63"/>
                  <a:pt x="972" y="62"/>
                  <a:pt x="972" y="62"/>
                </a:cubicBezTo>
                <a:cubicBezTo>
                  <a:pt x="972" y="62"/>
                  <a:pt x="972" y="61"/>
                  <a:pt x="972" y="61"/>
                </a:cubicBezTo>
                <a:cubicBezTo>
                  <a:pt x="972" y="61"/>
                  <a:pt x="972" y="60"/>
                  <a:pt x="972" y="60"/>
                </a:cubicBezTo>
                <a:cubicBezTo>
                  <a:pt x="972" y="60"/>
                  <a:pt x="972" y="60"/>
                  <a:pt x="972" y="60"/>
                </a:cubicBezTo>
                <a:cubicBezTo>
                  <a:pt x="973" y="59"/>
                  <a:pt x="973" y="59"/>
                  <a:pt x="974" y="59"/>
                </a:cubicBezTo>
                <a:cubicBezTo>
                  <a:pt x="974" y="59"/>
                  <a:pt x="974" y="59"/>
                  <a:pt x="974" y="59"/>
                </a:cubicBezTo>
                <a:cubicBezTo>
                  <a:pt x="974" y="58"/>
                  <a:pt x="974" y="58"/>
                  <a:pt x="973" y="58"/>
                </a:cubicBezTo>
                <a:cubicBezTo>
                  <a:pt x="973" y="58"/>
                  <a:pt x="974" y="58"/>
                  <a:pt x="974" y="58"/>
                </a:cubicBezTo>
                <a:cubicBezTo>
                  <a:pt x="974" y="58"/>
                  <a:pt x="974" y="58"/>
                  <a:pt x="975" y="58"/>
                </a:cubicBezTo>
                <a:cubicBezTo>
                  <a:pt x="975" y="58"/>
                  <a:pt x="976" y="57"/>
                  <a:pt x="976" y="57"/>
                </a:cubicBezTo>
                <a:cubicBezTo>
                  <a:pt x="977" y="57"/>
                  <a:pt x="977" y="57"/>
                  <a:pt x="977" y="57"/>
                </a:cubicBezTo>
                <a:cubicBezTo>
                  <a:pt x="978" y="57"/>
                  <a:pt x="978" y="57"/>
                  <a:pt x="978" y="57"/>
                </a:cubicBezTo>
                <a:cubicBezTo>
                  <a:pt x="979" y="57"/>
                  <a:pt x="979" y="57"/>
                  <a:pt x="979" y="58"/>
                </a:cubicBezTo>
                <a:cubicBezTo>
                  <a:pt x="979" y="58"/>
                  <a:pt x="979" y="57"/>
                  <a:pt x="980" y="57"/>
                </a:cubicBezTo>
                <a:cubicBezTo>
                  <a:pt x="980" y="57"/>
                  <a:pt x="980" y="57"/>
                  <a:pt x="980" y="57"/>
                </a:cubicBezTo>
                <a:cubicBezTo>
                  <a:pt x="980" y="57"/>
                  <a:pt x="980" y="57"/>
                  <a:pt x="980" y="57"/>
                </a:cubicBezTo>
                <a:cubicBezTo>
                  <a:pt x="980" y="56"/>
                  <a:pt x="980" y="56"/>
                  <a:pt x="980" y="56"/>
                </a:cubicBezTo>
                <a:cubicBezTo>
                  <a:pt x="980" y="56"/>
                  <a:pt x="980" y="56"/>
                  <a:pt x="979" y="56"/>
                </a:cubicBezTo>
                <a:cubicBezTo>
                  <a:pt x="978" y="55"/>
                  <a:pt x="978" y="55"/>
                  <a:pt x="977" y="55"/>
                </a:cubicBezTo>
                <a:cubicBezTo>
                  <a:pt x="976" y="55"/>
                  <a:pt x="976" y="55"/>
                  <a:pt x="975" y="55"/>
                </a:cubicBezTo>
                <a:cubicBezTo>
                  <a:pt x="975" y="54"/>
                  <a:pt x="974" y="54"/>
                  <a:pt x="974" y="54"/>
                </a:cubicBezTo>
                <a:cubicBezTo>
                  <a:pt x="974" y="54"/>
                  <a:pt x="973" y="53"/>
                  <a:pt x="973" y="53"/>
                </a:cubicBezTo>
                <a:cubicBezTo>
                  <a:pt x="973" y="53"/>
                  <a:pt x="972" y="53"/>
                  <a:pt x="972" y="52"/>
                </a:cubicBezTo>
                <a:cubicBezTo>
                  <a:pt x="972" y="52"/>
                  <a:pt x="971" y="52"/>
                  <a:pt x="971" y="52"/>
                </a:cubicBezTo>
                <a:cubicBezTo>
                  <a:pt x="971" y="52"/>
                  <a:pt x="970" y="52"/>
                  <a:pt x="970" y="52"/>
                </a:cubicBezTo>
                <a:cubicBezTo>
                  <a:pt x="970" y="52"/>
                  <a:pt x="969" y="52"/>
                  <a:pt x="969" y="51"/>
                </a:cubicBezTo>
                <a:cubicBezTo>
                  <a:pt x="969" y="51"/>
                  <a:pt x="969" y="51"/>
                  <a:pt x="969" y="51"/>
                </a:cubicBezTo>
                <a:cubicBezTo>
                  <a:pt x="969" y="50"/>
                  <a:pt x="969" y="50"/>
                  <a:pt x="968" y="49"/>
                </a:cubicBezTo>
                <a:cubicBezTo>
                  <a:pt x="968" y="49"/>
                  <a:pt x="968" y="48"/>
                  <a:pt x="967" y="48"/>
                </a:cubicBezTo>
                <a:cubicBezTo>
                  <a:pt x="967" y="48"/>
                  <a:pt x="966" y="47"/>
                  <a:pt x="966" y="47"/>
                </a:cubicBezTo>
                <a:cubicBezTo>
                  <a:pt x="966" y="47"/>
                  <a:pt x="965" y="47"/>
                  <a:pt x="965" y="47"/>
                </a:cubicBezTo>
                <a:cubicBezTo>
                  <a:pt x="965" y="48"/>
                  <a:pt x="965" y="48"/>
                  <a:pt x="965" y="48"/>
                </a:cubicBezTo>
                <a:cubicBezTo>
                  <a:pt x="965" y="49"/>
                  <a:pt x="965" y="49"/>
                  <a:pt x="965" y="49"/>
                </a:cubicBezTo>
                <a:cubicBezTo>
                  <a:pt x="965" y="50"/>
                  <a:pt x="965" y="50"/>
                  <a:pt x="965" y="50"/>
                </a:cubicBezTo>
                <a:cubicBezTo>
                  <a:pt x="965" y="51"/>
                  <a:pt x="965" y="51"/>
                  <a:pt x="964" y="51"/>
                </a:cubicBezTo>
                <a:cubicBezTo>
                  <a:pt x="964" y="51"/>
                  <a:pt x="964" y="51"/>
                  <a:pt x="964" y="51"/>
                </a:cubicBezTo>
                <a:cubicBezTo>
                  <a:pt x="964" y="51"/>
                  <a:pt x="964" y="50"/>
                  <a:pt x="964" y="50"/>
                </a:cubicBezTo>
                <a:cubicBezTo>
                  <a:pt x="964" y="50"/>
                  <a:pt x="964" y="50"/>
                  <a:pt x="964" y="49"/>
                </a:cubicBezTo>
                <a:cubicBezTo>
                  <a:pt x="964" y="49"/>
                  <a:pt x="964" y="48"/>
                  <a:pt x="964" y="48"/>
                </a:cubicBezTo>
                <a:cubicBezTo>
                  <a:pt x="964" y="48"/>
                  <a:pt x="964" y="48"/>
                  <a:pt x="964" y="47"/>
                </a:cubicBezTo>
                <a:cubicBezTo>
                  <a:pt x="964" y="47"/>
                  <a:pt x="964" y="47"/>
                  <a:pt x="964" y="47"/>
                </a:cubicBezTo>
                <a:cubicBezTo>
                  <a:pt x="964" y="46"/>
                  <a:pt x="964" y="46"/>
                  <a:pt x="964" y="46"/>
                </a:cubicBezTo>
                <a:cubicBezTo>
                  <a:pt x="964" y="45"/>
                  <a:pt x="963" y="45"/>
                  <a:pt x="963" y="45"/>
                </a:cubicBezTo>
                <a:cubicBezTo>
                  <a:pt x="962" y="45"/>
                  <a:pt x="962" y="44"/>
                  <a:pt x="962" y="44"/>
                </a:cubicBezTo>
                <a:cubicBezTo>
                  <a:pt x="962" y="44"/>
                  <a:pt x="961" y="45"/>
                  <a:pt x="961" y="45"/>
                </a:cubicBezTo>
                <a:cubicBezTo>
                  <a:pt x="961" y="45"/>
                  <a:pt x="961" y="45"/>
                  <a:pt x="960" y="45"/>
                </a:cubicBezTo>
                <a:cubicBezTo>
                  <a:pt x="960" y="45"/>
                  <a:pt x="960" y="45"/>
                  <a:pt x="960" y="45"/>
                </a:cubicBezTo>
                <a:cubicBezTo>
                  <a:pt x="960" y="45"/>
                  <a:pt x="960" y="44"/>
                  <a:pt x="960" y="44"/>
                </a:cubicBezTo>
                <a:cubicBezTo>
                  <a:pt x="959" y="44"/>
                  <a:pt x="959" y="43"/>
                  <a:pt x="958" y="43"/>
                </a:cubicBezTo>
                <a:cubicBezTo>
                  <a:pt x="958" y="43"/>
                  <a:pt x="958" y="43"/>
                  <a:pt x="958" y="43"/>
                </a:cubicBezTo>
                <a:cubicBezTo>
                  <a:pt x="958" y="43"/>
                  <a:pt x="958" y="43"/>
                  <a:pt x="957" y="43"/>
                </a:cubicBezTo>
                <a:cubicBezTo>
                  <a:pt x="957" y="43"/>
                  <a:pt x="957" y="44"/>
                  <a:pt x="957" y="44"/>
                </a:cubicBezTo>
                <a:cubicBezTo>
                  <a:pt x="957" y="44"/>
                  <a:pt x="957" y="45"/>
                  <a:pt x="957" y="45"/>
                </a:cubicBezTo>
                <a:cubicBezTo>
                  <a:pt x="957" y="45"/>
                  <a:pt x="956" y="45"/>
                  <a:pt x="956" y="46"/>
                </a:cubicBezTo>
                <a:cubicBezTo>
                  <a:pt x="956" y="46"/>
                  <a:pt x="956" y="46"/>
                  <a:pt x="956" y="46"/>
                </a:cubicBezTo>
                <a:cubicBezTo>
                  <a:pt x="956" y="47"/>
                  <a:pt x="956" y="47"/>
                  <a:pt x="956" y="47"/>
                </a:cubicBezTo>
                <a:cubicBezTo>
                  <a:pt x="956" y="47"/>
                  <a:pt x="956" y="47"/>
                  <a:pt x="956" y="47"/>
                </a:cubicBezTo>
                <a:cubicBezTo>
                  <a:pt x="957" y="48"/>
                  <a:pt x="957" y="48"/>
                  <a:pt x="957" y="48"/>
                </a:cubicBezTo>
                <a:cubicBezTo>
                  <a:pt x="957" y="49"/>
                  <a:pt x="957" y="49"/>
                  <a:pt x="957" y="50"/>
                </a:cubicBezTo>
                <a:cubicBezTo>
                  <a:pt x="957" y="50"/>
                  <a:pt x="957" y="51"/>
                  <a:pt x="957" y="51"/>
                </a:cubicBezTo>
                <a:cubicBezTo>
                  <a:pt x="957" y="51"/>
                  <a:pt x="957" y="52"/>
                  <a:pt x="957" y="52"/>
                </a:cubicBezTo>
                <a:cubicBezTo>
                  <a:pt x="958" y="52"/>
                  <a:pt x="958" y="53"/>
                  <a:pt x="958" y="53"/>
                </a:cubicBezTo>
                <a:cubicBezTo>
                  <a:pt x="958" y="53"/>
                  <a:pt x="958" y="53"/>
                  <a:pt x="958" y="54"/>
                </a:cubicBezTo>
                <a:cubicBezTo>
                  <a:pt x="959" y="54"/>
                  <a:pt x="959" y="54"/>
                  <a:pt x="960" y="54"/>
                </a:cubicBezTo>
                <a:cubicBezTo>
                  <a:pt x="960" y="55"/>
                  <a:pt x="959" y="55"/>
                  <a:pt x="959" y="55"/>
                </a:cubicBezTo>
                <a:cubicBezTo>
                  <a:pt x="959" y="55"/>
                  <a:pt x="959" y="55"/>
                  <a:pt x="959" y="55"/>
                </a:cubicBezTo>
                <a:cubicBezTo>
                  <a:pt x="958" y="55"/>
                  <a:pt x="958" y="55"/>
                  <a:pt x="958" y="55"/>
                </a:cubicBezTo>
                <a:cubicBezTo>
                  <a:pt x="958" y="54"/>
                  <a:pt x="957" y="54"/>
                  <a:pt x="957" y="54"/>
                </a:cubicBezTo>
                <a:cubicBezTo>
                  <a:pt x="957" y="53"/>
                  <a:pt x="957" y="53"/>
                  <a:pt x="956" y="53"/>
                </a:cubicBezTo>
                <a:cubicBezTo>
                  <a:pt x="956" y="53"/>
                  <a:pt x="956" y="53"/>
                  <a:pt x="956" y="53"/>
                </a:cubicBezTo>
                <a:cubicBezTo>
                  <a:pt x="956" y="53"/>
                  <a:pt x="955" y="53"/>
                  <a:pt x="955" y="53"/>
                </a:cubicBezTo>
                <a:cubicBezTo>
                  <a:pt x="955" y="53"/>
                  <a:pt x="955" y="53"/>
                  <a:pt x="955" y="53"/>
                </a:cubicBezTo>
                <a:cubicBezTo>
                  <a:pt x="955" y="53"/>
                  <a:pt x="954" y="53"/>
                  <a:pt x="954" y="53"/>
                </a:cubicBezTo>
                <a:cubicBezTo>
                  <a:pt x="955" y="53"/>
                  <a:pt x="955" y="52"/>
                  <a:pt x="955" y="52"/>
                </a:cubicBezTo>
                <a:cubicBezTo>
                  <a:pt x="955" y="52"/>
                  <a:pt x="956" y="52"/>
                  <a:pt x="956" y="52"/>
                </a:cubicBezTo>
                <a:cubicBezTo>
                  <a:pt x="956" y="52"/>
                  <a:pt x="956" y="51"/>
                  <a:pt x="956" y="51"/>
                </a:cubicBezTo>
                <a:cubicBezTo>
                  <a:pt x="955" y="51"/>
                  <a:pt x="955" y="50"/>
                  <a:pt x="955" y="50"/>
                </a:cubicBezTo>
                <a:cubicBezTo>
                  <a:pt x="955" y="49"/>
                  <a:pt x="955" y="49"/>
                  <a:pt x="955" y="48"/>
                </a:cubicBezTo>
                <a:cubicBezTo>
                  <a:pt x="955" y="48"/>
                  <a:pt x="955" y="48"/>
                  <a:pt x="955" y="48"/>
                </a:cubicBezTo>
                <a:cubicBezTo>
                  <a:pt x="954" y="48"/>
                  <a:pt x="954" y="47"/>
                  <a:pt x="953" y="47"/>
                </a:cubicBezTo>
                <a:cubicBezTo>
                  <a:pt x="953" y="47"/>
                  <a:pt x="952" y="47"/>
                  <a:pt x="952" y="46"/>
                </a:cubicBezTo>
                <a:cubicBezTo>
                  <a:pt x="952" y="46"/>
                  <a:pt x="952" y="46"/>
                  <a:pt x="952" y="46"/>
                </a:cubicBezTo>
                <a:cubicBezTo>
                  <a:pt x="951" y="46"/>
                  <a:pt x="951" y="47"/>
                  <a:pt x="951" y="47"/>
                </a:cubicBezTo>
                <a:cubicBezTo>
                  <a:pt x="951" y="47"/>
                  <a:pt x="951" y="47"/>
                  <a:pt x="951" y="47"/>
                </a:cubicBezTo>
                <a:cubicBezTo>
                  <a:pt x="950" y="48"/>
                  <a:pt x="950" y="48"/>
                  <a:pt x="950" y="49"/>
                </a:cubicBezTo>
                <a:cubicBezTo>
                  <a:pt x="949" y="49"/>
                  <a:pt x="949" y="49"/>
                  <a:pt x="949" y="49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50" y="50"/>
                  <a:pt x="950" y="51"/>
                  <a:pt x="950" y="51"/>
                </a:cubicBezTo>
                <a:cubicBezTo>
                  <a:pt x="950" y="51"/>
                  <a:pt x="950" y="52"/>
                  <a:pt x="950" y="52"/>
                </a:cubicBezTo>
                <a:cubicBezTo>
                  <a:pt x="950" y="52"/>
                  <a:pt x="950" y="52"/>
                  <a:pt x="950" y="52"/>
                </a:cubicBezTo>
                <a:cubicBezTo>
                  <a:pt x="950" y="52"/>
                  <a:pt x="949" y="52"/>
                  <a:pt x="949" y="51"/>
                </a:cubicBezTo>
                <a:cubicBezTo>
                  <a:pt x="949" y="51"/>
                  <a:pt x="949" y="51"/>
                  <a:pt x="949" y="51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48" y="50"/>
                  <a:pt x="948" y="50"/>
                  <a:pt x="948" y="49"/>
                </a:cubicBezTo>
                <a:cubicBezTo>
                  <a:pt x="948" y="49"/>
                  <a:pt x="948" y="49"/>
                  <a:pt x="948" y="49"/>
                </a:cubicBezTo>
                <a:cubicBezTo>
                  <a:pt x="948" y="50"/>
                  <a:pt x="947" y="50"/>
                  <a:pt x="947" y="50"/>
                </a:cubicBezTo>
                <a:cubicBezTo>
                  <a:pt x="947" y="50"/>
                  <a:pt x="947" y="50"/>
                  <a:pt x="947" y="50"/>
                </a:cubicBezTo>
                <a:cubicBezTo>
                  <a:pt x="947" y="49"/>
                  <a:pt x="947" y="49"/>
                  <a:pt x="947" y="49"/>
                </a:cubicBezTo>
                <a:cubicBezTo>
                  <a:pt x="947" y="49"/>
                  <a:pt x="948" y="49"/>
                  <a:pt x="948" y="49"/>
                </a:cubicBezTo>
                <a:cubicBezTo>
                  <a:pt x="948" y="49"/>
                  <a:pt x="948" y="48"/>
                  <a:pt x="948" y="48"/>
                </a:cubicBezTo>
                <a:cubicBezTo>
                  <a:pt x="948" y="48"/>
                  <a:pt x="948" y="48"/>
                  <a:pt x="947" y="48"/>
                </a:cubicBezTo>
                <a:cubicBezTo>
                  <a:pt x="947" y="48"/>
                  <a:pt x="946" y="48"/>
                  <a:pt x="946" y="49"/>
                </a:cubicBezTo>
                <a:cubicBezTo>
                  <a:pt x="946" y="49"/>
                  <a:pt x="945" y="49"/>
                  <a:pt x="945" y="49"/>
                </a:cubicBezTo>
                <a:cubicBezTo>
                  <a:pt x="945" y="49"/>
                  <a:pt x="945" y="49"/>
                  <a:pt x="944" y="49"/>
                </a:cubicBezTo>
                <a:cubicBezTo>
                  <a:pt x="944" y="48"/>
                  <a:pt x="945" y="48"/>
                  <a:pt x="945" y="48"/>
                </a:cubicBezTo>
                <a:cubicBezTo>
                  <a:pt x="945" y="48"/>
                  <a:pt x="945" y="48"/>
                  <a:pt x="945" y="48"/>
                </a:cubicBezTo>
                <a:cubicBezTo>
                  <a:pt x="945" y="48"/>
                  <a:pt x="945" y="48"/>
                  <a:pt x="945" y="48"/>
                </a:cubicBezTo>
                <a:cubicBezTo>
                  <a:pt x="946" y="48"/>
                  <a:pt x="946" y="47"/>
                  <a:pt x="947" y="47"/>
                </a:cubicBezTo>
                <a:cubicBezTo>
                  <a:pt x="947" y="47"/>
                  <a:pt x="947" y="47"/>
                  <a:pt x="947" y="47"/>
                </a:cubicBezTo>
                <a:cubicBezTo>
                  <a:pt x="947" y="47"/>
                  <a:pt x="947" y="47"/>
                  <a:pt x="947" y="47"/>
                </a:cubicBezTo>
                <a:cubicBezTo>
                  <a:pt x="948" y="47"/>
                  <a:pt x="948" y="47"/>
                  <a:pt x="948" y="47"/>
                </a:cubicBezTo>
                <a:cubicBezTo>
                  <a:pt x="948" y="47"/>
                  <a:pt x="949" y="47"/>
                  <a:pt x="949" y="47"/>
                </a:cubicBezTo>
                <a:cubicBezTo>
                  <a:pt x="949" y="47"/>
                  <a:pt x="949" y="47"/>
                  <a:pt x="949" y="46"/>
                </a:cubicBezTo>
                <a:cubicBezTo>
                  <a:pt x="949" y="46"/>
                  <a:pt x="949" y="46"/>
                  <a:pt x="948" y="46"/>
                </a:cubicBezTo>
                <a:cubicBezTo>
                  <a:pt x="948" y="45"/>
                  <a:pt x="948" y="45"/>
                  <a:pt x="948" y="45"/>
                </a:cubicBezTo>
                <a:cubicBezTo>
                  <a:pt x="947" y="45"/>
                  <a:pt x="947" y="45"/>
                  <a:pt x="946" y="45"/>
                </a:cubicBezTo>
                <a:cubicBezTo>
                  <a:pt x="946" y="46"/>
                  <a:pt x="945" y="46"/>
                  <a:pt x="944" y="47"/>
                </a:cubicBezTo>
                <a:cubicBezTo>
                  <a:pt x="944" y="47"/>
                  <a:pt x="943" y="47"/>
                  <a:pt x="943" y="47"/>
                </a:cubicBezTo>
                <a:cubicBezTo>
                  <a:pt x="943" y="47"/>
                  <a:pt x="943" y="47"/>
                  <a:pt x="943" y="47"/>
                </a:cubicBezTo>
                <a:cubicBezTo>
                  <a:pt x="943" y="46"/>
                  <a:pt x="943" y="46"/>
                  <a:pt x="942" y="46"/>
                </a:cubicBezTo>
                <a:cubicBezTo>
                  <a:pt x="942" y="46"/>
                  <a:pt x="942" y="46"/>
                  <a:pt x="942" y="46"/>
                </a:cubicBezTo>
                <a:cubicBezTo>
                  <a:pt x="942" y="46"/>
                  <a:pt x="941" y="46"/>
                  <a:pt x="941" y="46"/>
                </a:cubicBezTo>
                <a:cubicBezTo>
                  <a:pt x="941" y="46"/>
                  <a:pt x="941" y="46"/>
                  <a:pt x="941" y="47"/>
                </a:cubicBezTo>
                <a:cubicBezTo>
                  <a:pt x="942" y="47"/>
                  <a:pt x="942" y="47"/>
                  <a:pt x="943" y="48"/>
                </a:cubicBezTo>
                <a:cubicBezTo>
                  <a:pt x="942" y="48"/>
                  <a:pt x="942" y="48"/>
                  <a:pt x="942" y="48"/>
                </a:cubicBezTo>
                <a:cubicBezTo>
                  <a:pt x="942" y="48"/>
                  <a:pt x="942" y="48"/>
                  <a:pt x="941" y="48"/>
                </a:cubicBezTo>
                <a:cubicBezTo>
                  <a:pt x="941" y="48"/>
                  <a:pt x="941" y="47"/>
                  <a:pt x="941" y="47"/>
                </a:cubicBezTo>
                <a:cubicBezTo>
                  <a:pt x="941" y="47"/>
                  <a:pt x="940" y="47"/>
                  <a:pt x="940" y="46"/>
                </a:cubicBezTo>
                <a:cubicBezTo>
                  <a:pt x="940" y="46"/>
                  <a:pt x="940" y="46"/>
                  <a:pt x="939" y="46"/>
                </a:cubicBezTo>
                <a:cubicBezTo>
                  <a:pt x="939" y="46"/>
                  <a:pt x="939" y="47"/>
                  <a:pt x="938" y="47"/>
                </a:cubicBezTo>
                <a:cubicBezTo>
                  <a:pt x="938" y="47"/>
                  <a:pt x="938" y="47"/>
                  <a:pt x="938" y="48"/>
                </a:cubicBezTo>
                <a:cubicBezTo>
                  <a:pt x="938" y="48"/>
                  <a:pt x="939" y="48"/>
                  <a:pt x="939" y="48"/>
                </a:cubicBezTo>
                <a:cubicBezTo>
                  <a:pt x="939" y="48"/>
                  <a:pt x="939" y="49"/>
                  <a:pt x="939" y="49"/>
                </a:cubicBezTo>
                <a:cubicBezTo>
                  <a:pt x="939" y="49"/>
                  <a:pt x="938" y="49"/>
                  <a:pt x="938" y="49"/>
                </a:cubicBezTo>
                <a:cubicBezTo>
                  <a:pt x="938" y="49"/>
                  <a:pt x="938" y="49"/>
                  <a:pt x="937" y="49"/>
                </a:cubicBezTo>
                <a:cubicBezTo>
                  <a:pt x="937" y="49"/>
                  <a:pt x="937" y="49"/>
                  <a:pt x="937" y="49"/>
                </a:cubicBezTo>
                <a:cubicBezTo>
                  <a:pt x="937" y="50"/>
                  <a:pt x="937" y="50"/>
                  <a:pt x="937" y="50"/>
                </a:cubicBezTo>
                <a:cubicBezTo>
                  <a:pt x="937" y="50"/>
                  <a:pt x="937" y="51"/>
                  <a:pt x="937" y="51"/>
                </a:cubicBezTo>
                <a:close/>
                <a:moveTo>
                  <a:pt x="1018" y="41"/>
                </a:moveTo>
                <a:cubicBezTo>
                  <a:pt x="1018" y="41"/>
                  <a:pt x="1019" y="41"/>
                  <a:pt x="1019" y="41"/>
                </a:cubicBezTo>
                <a:cubicBezTo>
                  <a:pt x="1020" y="41"/>
                  <a:pt x="1020" y="41"/>
                  <a:pt x="1021" y="40"/>
                </a:cubicBezTo>
                <a:cubicBezTo>
                  <a:pt x="1021" y="40"/>
                  <a:pt x="1022" y="40"/>
                  <a:pt x="1022" y="40"/>
                </a:cubicBezTo>
                <a:cubicBezTo>
                  <a:pt x="1022" y="40"/>
                  <a:pt x="1023" y="40"/>
                  <a:pt x="1024" y="39"/>
                </a:cubicBezTo>
                <a:cubicBezTo>
                  <a:pt x="1024" y="39"/>
                  <a:pt x="1024" y="39"/>
                  <a:pt x="1024" y="39"/>
                </a:cubicBezTo>
                <a:cubicBezTo>
                  <a:pt x="1024" y="39"/>
                  <a:pt x="1024" y="39"/>
                  <a:pt x="1023" y="39"/>
                </a:cubicBezTo>
                <a:cubicBezTo>
                  <a:pt x="1023" y="39"/>
                  <a:pt x="1023" y="39"/>
                  <a:pt x="1022" y="39"/>
                </a:cubicBezTo>
                <a:cubicBezTo>
                  <a:pt x="1022" y="39"/>
                  <a:pt x="1022" y="39"/>
                  <a:pt x="1021" y="39"/>
                </a:cubicBezTo>
                <a:cubicBezTo>
                  <a:pt x="1021" y="39"/>
                  <a:pt x="1020" y="40"/>
                  <a:pt x="1020" y="40"/>
                </a:cubicBezTo>
                <a:cubicBezTo>
                  <a:pt x="1020" y="40"/>
                  <a:pt x="1019" y="40"/>
                  <a:pt x="1019" y="40"/>
                </a:cubicBezTo>
                <a:cubicBezTo>
                  <a:pt x="1019" y="40"/>
                  <a:pt x="1018" y="40"/>
                  <a:pt x="1018" y="40"/>
                </a:cubicBezTo>
                <a:cubicBezTo>
                  <a:pt x="1018" y="40"/>
                  <a:pt x="1017" y="41"/>
                  <a:pt x="1017" y="41"/>
                </a:cubicBezTo>
                <a:cubicBezTo>
                  <a:pt x="1017" y="41"/>
                  <a:pt x="1017" y="41"/>
                  <a:pt x="1017" y="41"/>
                </a:cubicBezTo>
                <a:cubicBezTo>
                  <a:pt x="1018" y="41"/>
                  <a:pt x="1018" y="41"/>
                  <a:pt x="1018" y="41"/>
                </a:cubicBezTo>
                <a:close/>
                <a:moveTo>
                  <a:pt x="1008" y="55"/>
                </a:moveTo>
                <a:cubicBezTo>
                  <a:pt x="1008" y="55"/>
                  <a:pt x="1008" y="55"/>
                  <a:pt x="1008" y="55"/>
                </a:cubicBezTo>
                <a:cubicBezTo>
                  <a:pt x="1009" y="55"/>
                  <a:pt x="1009" y="55"/>
                  <a:pt x="1009" y="55"/>
                </a:cubicBezTo>
                <a:cubicBezTo>
                  <a:pt x="1009" y="55"/>
                  <a:pt x="1010" y="55"/>
                  <a:pt x="1010" y="55"/>
                </a:cubicBezTo>
                <a:cubicBezTo>
                  <a:pt x="1010" y="55"/>
                  <a:pt x="1011" y="55"/>
                  <a:pt x="1011" y="55"/>
                </a:cubicBezTo>
                <a:cubicBezTo>
                  <a:pt x="1012" y="55"/>
                  <a:pt x="1012" y="55"/>
                  <a:pt x="1012" y="55"/>
                </a:cubicBezTo>
                <a:cubicBezTo>
                  <a:pt x="1012" y="55"/>
                  <a:pt x="1012" y="55"/>
                  <a:pt x="1013" y="55"/>
                </a:cubicBezTo>
                <a:cubicBezTo>
                  <a:pt x="1012" y="55"/>
                  <a:pt x="1012" y="55"/>
                  <a:pt x="1012" y="55"/>
                </a:cubicBezTo>
                <a:cubicBezTo>
                  <a:pt x="1011" y="54"/>
                  <a:pt x="1011" y="54"/>
                  <a:pt x="1010" y="54"/>
                </a:cubicBezTo>
                <a:cubicBezTo>
                  <a:pt x="1010" y="54"/>
                  <a:pt x="1010" y="54"/>
                  <a:pt x="1010" y="54"/>
                </a:cubicBezTo>
                <a:cubicBezTo>
                  <a:pt x="1010" y="54"/>
                  <a:pt x="1009" y="54"/>
                  <a:pt x="1009" y="54"/>
                </a:cubicBezTo>
                <a:cubicBezTo>
                  <a:pt x="1009" y="54"/>
                  <a:pt x="1009" y="54"/>
                  <a:pt x="1008" y="54"/>
                </a:cubicBezTo>
                <a:cubicBezTo>
                  <a:pt x="1008" y="54"/>
                  <a:pt x="1008" y="55"/>
                  <a:pt x="1007" y="55"/>
                </a:cubicBezTo>
                <a:cubicBezTo>
                  <a:pt x="1007" y="55"/>
                  <a:pt x="1007" y="55"/>
                  <a:pt x="1006" y="56"/>
                </a:cubicBezTo>
                <a:cubicBezTo>
                  <a:pt x="1006" y="56"/>
                  <a:pt x="1007" y="56"/>
                  <a:pt x="1007" y="56"/>
                </a:cubicBezTo>
                <a:cubicBezTo>
                  <a:pt x="1007" y="56"/>
                  <a:pt x="1007" y="55"/>
                  <a:pt x="1008" y="55"/>
                </a:cubicBezTo>
                <a:close/>
                <a:moveTo>
                  <a:pt x="1638" y="393"/>
                </a:moveTo>
                <a:cubicBezTo>
                  <a:pt x="1639" y="393"/>
                  <a:pt x="1639" y="393"/>
                  <a:pt x="1639" y="393"/>
                </a:cubicBezTo>
                <a:cubicBezTo>
                  <a:pt x="1640" y="393"/>
                  <a:pt x="1640" y="393"/>
                  <a:pt x="1640" y="393"/>
                </a:cubicBezTo>
                <a:cubicBezTo>
                  <a:pt x="1640" y="393"/>
                  <a:pt x="1640" y="393"/>
                  <a:pt x="1640" y="393"/>
                </a:cubicBezTo>
                <a:cubicBezTo>
                  <a:pt x="1641" y="393"/>
                  <a:pt x="1641" y="393"/>
                  <a:pt x="1641" y="393"/>
                </a:cubicBezTo>
                <a:cubicBezTo>
                  <a:pt x="1641" y="393"/>
                  <a:pt x="1641" y="393"/>
                  <a:pt x="1641" y="393"/>
                </a:cubicBezTo>
                <a:cubicBezTo>
                  <a:pt x="1642" y="393"/>
                  <a:pt x="1642" y="393"/>
                  <a:pt x="1642" y="393"/>
                </a:cubicBezTo>
                <a:cubicBezTo>
                  <a:pt x="1642" y="393"/>
                  <a:pt x="1642" y="393"/>
                  <a:pt x="1642" y="393"/>
                </a:cubicBezTo>
                <a:cubicBezTo>
                  <a:pt x="1643" y="393"/>
                  <a:pt x="1643" y="393"/>
                  <a:pt x="1643" y="393"/>
                </a:cubicBezTo>
                <a:cubicBezTo>
                  <a:pt x="1644" y="393"/>
                  <a:pt x="1644" y="393"/>
                  <a:pt x="1644" y="393"/>
                </a:cubicBezTo>
                <a:cubicBezTo>
                  <a:pt x="1644" y="392"/>
                  <a:pt x="1644" y="392"/>
                  <a:pt x="1645" y="392"/>
                </a:cubicBezTo>
                <a:cubicBezTo>
                  <a:pt x="1645" y="392"/>
                  <a:pt x="1645" y="392"/>
                  <a:pt x="1645" y="392"/>
                </a:cubicBezTo>
                <a:cubicBezTo>
                  <a:pt x="1645" y="392"/>
                  <a:pt x="1645" y="392"/>
                  <a:pt x="1646" y="392"/>
                </a:cubicBezTo>
                <a:cubicBezTo>
                  <a:pt x="1645" y="392"/>
                  <a:pt x="1645" y="392"/>
                  <a:pt x="1645" y="391"/>
                </a:cubicBezTo>
                <a:cubicBezTo>
                  <a:pt x="1645" y="392"/>
                  <a:pt x="1644" y="392"/>
                  <a:pt x="1644" y="392"/>
                </a:cubicBezTo>
                <a:cubicBezTo>
                  <a:pt x="1644" y="392"/>
                  <a:pt x="1644" y="392"/>
                  <a:pt x="1643" y="392"/>
                </a:cubicBezTo>
                <a:cubicBezTo>
                  <a:pt x="1643" y="392"/>
                  <a:pt x="1643" y="392"/>
                  <a:pt x="1643" y="392"/>
                </a:cubicBezTo>
                <a:cubicBezTo>
                  <a:pt x="1643" y="392"/>
                  <a:pt x="1643" y="391"/>
                  <a:pt x="1643" y="391"/>
                </a:cubicBezTo>
                <a:cubicBezTo>
                  <a:pt x="1643" y="391"/>
                  <a:pt x="1643" y="391"/>
                  <a:pt x="1643" y="391"/>
                </a:cubicBezTo>
                <a:cubicBezTo>
                  <a:pt x="1643" y="390"/>
                  <a:pt x="1643" y="390"/>
                  <a:pt x="1642" y="390"/>
                </a:cubicBezTo>
                <a:cubicBezTo>
                  <a:pt x="1642" y="389"/>
                  <a:pt x="1642" y="389"/>
                  <a:pt x="1641" y="389"/>
                </a:cubicBezTo>
                <a:cubicBezTo>
                  <a:pt x="1641" y="389"/>
                  <a:pt x="1641" y="388"/>
                  <a:pt x="1641" y="388"/>
                </a:cubicBezTo>
                <a:cubicBezTo>
                  <a:pt x="1641" y="388"/>
                  <a:pt x="1641" y="388"/>
                  <a:pt x="1642" y="387"/>
                </a:cubicBezTo>
                <a:cubicBezTo>
                  <a:pt x="1642" y="387"/>
                  <a:pt x="1642" y="387"/>
                  <a:pt x="1643" y="387"/>
                </a:cubicBezTo>
                <a:cubicBezTo>
                  <a:pt x="1643" y="386"/>
                  <a:pt x="1643" y="386"/>
                  <a:pt x="1643" y="386"/>
                </a:cubicBezTo>
                <a:cubicBezTo>
                  <a:pt x="1643" y="386"/>
                  <a:pt x="1643" y="386"/>
                  <a:pt x="1643" y="386"/>
                </a:cubicBezTo>
                <a:cubicBezTo>
                  <a:pt x="1643" y="386"/>
                  <a:pt x="1642" y="386"/>
                  <a:pt x="1642" y="386"/>
                </a:cubicBezTo>
                <a:cubicBezTo>
                  <a:pt x="1642" y="386"/>
                  <a:pt x="1642" y="386"/>
                  <a:pt x="1642" y="386"/>
                </a:cubicBezTo>
                <a:cubicBezTo>
                  <a:pt x="1642" y="386"/>
                  <a:pt x="1641" y="386"/>
                  <a:pt x="1641" y="387"/>
                </a:cubicBezTo>
                <a:cubicBezTo>
                  <a:pt x="1640" y="387"/>
                  <a:pt x="1639" y="387"/>
                  <a:pt x="1639" y="387"/>
                </a:cubicBezTo>
                <a:cubicBezTo>
                  <a:pt x="1638" y="386"/>
                  <a:pt x="1638" y="386"/>
                  <a:pt x="1637" y="386"/>
                </a:cubicBezTo>
                <a:cubicBezTo>
                  <a:pt x="1637" y="386"/>
                  <a:pt x="1637" y="386"/>
                  <a:pt x="1637" y="386"/>
                </a:cubicBezTo>
                <a:cubicBezTo>
                  <a:pt x="1637" y="386"/>
                  <a:pt x="1637" y="386"/>
                  <a:pt x="1636" y="386"/>
                </a:cubicBezTo>
                <a:cubicBezTo>
                  <a:pt x="1636" y="385"/>
                  <a:pt x="1636" y="385"/>
                  <a:pt x="1636" y="385"/>
                </a:cubicBezTo>
                <a:cubicBezTo>
                  <a:pt x="1635" y="384"/>
                  <a:pt x="1635" y="384"/>
                  <a:pt x="1634" y="384"/>
                </a:cubicBezTo>
                <a:cubicBezTo>
                  <a:pt x="1634" y="384"/>
                  <a:pt x="1633" y="383"/>
                  <a:pt x="1633" y="383"/>
                </a:cubicBezTo>
                <a:cubicBezTo>
                  <a:pt x="1633" y="383"/>
                  <a:pt x="1633" y="382"/>
                  <a:pt x="1632" y="382"/>
                </a:cubicBezTo>
                <a:cubicBezTo>
                  <a:pt x="1632" y="382"/>
                  <a:pt x="1632" y="382"/>
                  <a:pt x="1631" y="381"/>
                </a:cubicBezTo>
                <a:cubicBezTo>
                  <a:pt x="1631" y="381"/>
                  <a:pt x="1631" y="381"/>
                  <a:pt x="1631" y="381"/>
                </a:cubicBezTo>
                <a:cubicBezTo>
                  <a:pt x="1631" y="380"/>
                  <a:pt x="1631" y="380"/>
                  <a:pt x="1630" y="380"/>
                </a:cubicBezTo>
                <a:cubicBezTo>
                  <a:pt x="1630" y="379"/>
                  <a:pt x="1629" y="378"/>
                  <a:pt x="1629" y="377"/>
                </a:cubicBezTo>
                <a:cubicBezTo>
                  <a:pt x="1628" y="377"/>
                  <a:pt x="1628" y="376"/>
                  <a:pt x="1628" y="376"/>
                </a:cubicBezTo>
                <a:cubicBezTo>
                  <a:pt x="1628" y="376"/>
                  <a:pt x="1627" y="375"/>
                  <a:pt x="1627" y="375"/>
                </a:cubicBezTo>
                <a:cubicBezTo>
                  <a:pt x="1626" y="375"/>
                  <a:pt x="1626" y="374"/>
                  <a:pt x="1626" y="374"/>
                </a:cubicBezTo>
                <a:cubicBezTo>
                  <a:pt x="1626" y="373"/>
                  <a:pt x="1626" y="373"/>
                  <a:pt x="1625" y="373"/>
                </a:cubicBezTo>
                <a:cubicBezTo>
                  <a:pt x="1625" y="373"/>
                  <a:pt x="1625" y="373"/>
                  <a:pt x="1624" y="372"/>
                </a:cubicBezTo>
                <a:cubicBezTo>
                  <a:pt x="1624" y="373"/>
                  <a:pt x="1624" y="373"/>
                  <a:pt x="1624" y="373"/>
                </a:cubicBezTo>
                <a:cubicBezTo>
                  <a:pt x="1624" y="373"/>
                  <a:pt x="1624" y="373"/>
                  <a:pt x="1624" y="373"/>
                </a:cubicBezTo>
                <a:cubicBezTo>
                  <a:pt x="1623" y="373"/>
                  <a:pt x="1623" y="373"/>
                  <a:pt x="1623" y="373"/>
                </a:cubicBezTo>
                <a:cubicBezTo>
                  <a:pt x="1623" y="373"/>
                  <a:pt x="1623" y="373"/>
                  <a:pt x="1623" y="373"/>
                </a:cubicBezTo>
                <a:cubicBezTo>
                  <a:pt x="1623" y="373"/>
                  <a:pt x="1623" y="373"/>
                  <a:pt x="1623" y="374"/>
                </a:cubicBezTo>
                <a:cubicBezTo>
                  <a:pt x="1623" y="374"/>
                  <a:pt x="1623" y="374"/>
                  <a:pt x="1623" y="375"/>
                </a:cubicBezTo>
                <a:cubicBezTo>
                  <a:pt x="1623" y="375"/>
                  <a:pt x="1624" y="376"/>
                  <a:pt x="1624" y="377"/>
                </a:cubicBezTo>
                <a:cubicBezTo>
                  <a:pt x="1624" y="377"/>
                  <a:pt x="1624" y="378"/>
                  <a:pt x="1624" y="378"/>
                </a:cubicBezTo>
                <a:cubicBezTo>
                  <a:pt x="1624" y="378"/>
                  <a:pt x="1624" y="379"/>
                  <a:pt x="1624" y="379"/>
                </a:cubicBezTo>
                <a:cubicBezTo>
                  <a:pt x="1623" y="379"/>
                  <a:pt x="1623" y="380"/>
                  <a:pt x="1623" y="380"/>
                </a:cubicBezTo>
                <a:cubicBezTo>
                  <a:pt x="1623" y="380"/>
                  <a:pt x="1623" y="381"/>
                  <a:pt x="1623" y="381"/>
                </a:cubicBezTo>
                <a:cubicBezTo>
                  <a:pt x="1623" y="381"/>
                  <a:pt x="1623" y="382"/>
                  <a:pt x="1623" y="382"/>
                </a:cubicBezTo>
                <a:cubicBezTo>
                  <a:pt x="1623" y="382"/>
                  <a:pt x="1623" y="382"/>
                  <a:pt x="1623" y="382"/>
                </a:cubicBezTo>
                <a:cubicBezTo>
                  <a:pt x="1623" y="382"/>
                  <a:pt x="1623" y="382"/>
                  <a:pt x="1623" y="382"/>
                </a:cubicBezTo>
                <a:cubicBezTo>
                  <a:pt x="1622" y="382"/>
                  <a:pt x="1622" y="382"/>
                  <a:pt x="1622" y="382"/>
                </a:cubicBezTo>
                <a:cubicBezTo>
                  <a:pt x="1622" y="382"/>
                  <a:pt x="1622" y="383"/>
                  <a:pt x="1622" y="383"/>
                </a:cubicBezTo>
                <a:cubicBezTo>
                  <a:pt x="1622" y="383"/>
                  <a:pt x="1622" y="383"/>
                  <a:pt x="1622" y="384"/>
                </a:cubicBezTo>
                <a:cubicBezTo>
                  <a:pt x="1622" y="384"/>
                  <a:pt x="1622" y="384"/>
                  <a:pt x="1622" y="384"/>
                </a:cubicBezTo>
                <a:cubicBezTo>
                  <a:pt x="1622" y="384"/>
                  <a:pt x="1622" y="384"/>
                  <a:pt x="1622" y="385"/>
                </a:cubicBezTo>
                <a:cubicBezTo>
                  <a:pt x="1623" y="385"/>
                  <a:pt x="1623" y="385"/>
                  <a:pt x="1623" y="385"/>
                </a:cubicBezTo>
                <a:cubicBezTo>
                  <a:pt x="1622" y="385"/>
                  <a:pt x="1622" y="385"/>
                  <a:pt x="1622" y="385"/>
                </a:cubicBezTo>
                <a:cubicBezTo>
                  <a:pt x="1622" y="385"/>
                  <a:pt x="1622" y="386"/>
                  <a:pt x="1622" y="386"/>
                </a:cubicBezTo>
                <a:cubicBezTo>
                  <a:pt x="1622" y="386"/>
                  <a:pt x="1621" y="386"/>
                  <a:pt x="1621" y="386"/>
                </a:cubicBezTo>
                <a:cubicBezTo>
                  <a:pt x="1621" y="386"/>
                  <a:pt x="1620" y="385"/>
                  <a:pt x="1620" y="385"/>
                </a:cubicBezTo>
                <a:cubicBezTo>
                  <a:pt x="1619" y="385"/>
                  <a:pt x="1619" y="384"/>
                  <a:pt x="1618" y="384"/>
                </a:cubicBezTo>
                <a:cubicBezTo>
                  <a:pt x="1618" y="384"/>
                  <a:pt x="1618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8" y="385"/>
                  <a:pt x="1618" y="385"/>
                  <a:pt x="1618" y="385"/>
                </a:cubicBezTo>
                <a:cubicBezTo>
                  <a:pt x="1618" y="385"/>
                  <a:pt x="1618" y="386"/>
                  <a:pt x="1618" y="386"/>
                </a:cubicBezTo>
                <a:cubicBezTo>
                  <a:pt x="1618" y="386"/>
                  <a:pt x="1618" y="386"/>
                  <a:pt x="1618" y="386"/>
                </a:cubicBezTo>
                <a:cubicBezTo>
                  <a:pt x="1617" y="386"/>
                  <a:pt x="1617" y="386"/>
                  <a:pt x="1617" y="386"/>
                </a:cubicBezTo>
                <a:cubicBezTo>
                  <a:pt x="1617" y="386"/>
                  <a:pt x="1616" y="386"/>
                  <a:pt x="1616" y="386"/>
                </a:cubicBezTo>
                <a:cubicBezTo>
                  <a:pt x="1616" y="386"/>
                  <a:pt x="1616" y="386"/>
                  <a:pt x="1616" y="386"/>
                </a:cubicBezTo>
                <a:cubicBezTo>
                  <a:pt x="1616" y="386"/>
                  <a:pt x="1615" y="386"/>
                  <a:pt x="1615" y="386"/>
                </a:cubicBezTo>
                <a:cubicBezTo>
                  <a:pt x="1615" y="387"/>
                  <a:pt x="1615" y="387"/>
                  <a:pt x="1615" y="387"/>
                </a:cubicBezTo>
                <a:cubicBezTo>
                  <a:pt x="1615" y="387"/>
                  <a:pt x="1615" y="387"/>
                  <a:pt x="1615" y="388"/>
                </a:cubicBezTo>
                <a:cubicBezTo>
                  <a:pt x="1614" y="388"/>
                  <a:pt x="1614" y="388"/>
                  <a:pt x="1614" y="389"/>
                </a:cubicBezTo>
                <a:cubicBezTo>
                  <a:pt x="1614" y="389"/>
                  <a:pt x="1614" y="389"/>
                  <a:pt x="1614" y="389"/>
                </a:cubicBezTo>
                <a:cubicBezTo>
                  <a:pt x="1614" y="389"/>
                  <a:pt x="1614" y="389"/>
                  <a:pt x="1615" y="389"/>
                </a:cubicBezTo>
                <a:cubicBezTo>
                  <a:pt x="1615" y="390"/>
                  <a:pt x="1615" y="390"/>
                  <a:pt x="1615" y="390"/>
                </a:cubicBezTo>
                <a:cubicBezTo>
                  <a:pt x="1616" y="390"/>
                  <a:pt x="1616" y="391"/>
                  <a:pt x="1616" y="391"/>
                </a:cubicBezTo>
                <a:cubicBezTo>
                  <a:pt x="1616" y="391"/>
                  <a:pt x="1616" y="392"/>
                  <a:pt x="1616" y="392"/>
                </a:cubicBezTo>
                <a:cubicBezTo>
                  <a:pt x="1616" y="393"/>
                  <a:pt x="1616" y="393"/>
                  <a:pt x="1616" y="394"/>
                </a:cubicBezTo>
                <a:cubicBezTo>
                  <a:pt x="1616" y="394"/>
                  <a:pt x="1616" y="394"/>
                  <a:pt x="1615" y="394"/>
                </a:cubicBezTo>
                <a:cubicBezTo>
                  <a:pt x="1615" y="394"/>
                  <a:pt x="1616" y="394"/>
                  <a:pt x="1616" y="394"/>
                </a:cubicBezTo>
                <a:cubicBezTo>
                  <a:pt x="1616" y="395"/>
                  <a:pt x="1616" y="395"/>
                  <a:pt x="1616" y="395"/>
                </a:cubicBezTo>
                <a:cubicBezTo>
                  <a:pt x="1617" y="395"/>
                  <a:pt x="1617" y="395"/>
                  <a:pt x="1618" y="395"/>
                </a:cubicBezTo>
                <a:cubicBezTo>
                  <a:pt x="1618" y="394"/>
                  <a:pt x="1618" y="394"/>
                  <a:pt x="1619" y="394"/>
                </a:cubicBezTo>
                <a:cubicBezTo>
                  <a:pt x="1619" y="394"/>
                  <a:pt x="1619" y="394"/>
                  <a:pt x="1619" y="394"/>
                </a:cubicBezTo>
                <a:cubicBezTo>
                  <a:pt x="1619" y="394"/>
                  <a:pt x="1619" y="394"/>
                  <a:pt x="1619" y="394"/>
                </a:cubicBezTo>
                <a:cubicBezTo>
                  <a:pt x="1620" y="394"/>
                  <a:pt x="1620" y="394"/>
                  <a:pt x="1621" y="394"/>
                </a:cubicBezTo>
                <a:cubicBezTo>
                  <a:pt x="1621" y="394"/>
                  <a:pt x="1621" y="395"/>
                  <a:pt x="1621" y="395"/>
                </a:cubicBezTo>
                <a:cubicBezTo>
                  <a:pt x="1621" y="395"/>
                  <a:pt x="1621" y="395"/>
                  <a:pt x="1622" y="394"/>
                </a:cubicBezTo>
                <a:cubicBezTo>
                  <a:pt x="1622" y="394"/>
                  <a:pt x="1622" y="394"/>
                  <a:pt x="1623" y="394"/>
                </a:cubicBezTo>
                <a:cubicBezTo>
                  <a:pt x="1623" y="394"/>
                  <a:pt x="1622" y="394"/>
                  <a:pt x="1622" y="394"/>
                </a:cubicBezTo>
                <a:cubicBezTo>
                  <a:pt x="1622" y="393"/>
                  <a:pt x="1622" y="393"/>
                  <a:pt x="1621" y="393"/>
                </a:cubicBezTo>
                <a:cubicBezTo>
                  <a:pt x="1621" y="393"/>
                  <a:pt x="1621" y="393"/>
                  <a:pt x="1620" y="392"/>
                </a:cubicBezTo>
                <a:cubicBezTo>
                  <a:pt x="1620" y="392"/>
                  <a:pt x="1620" y="391"/>
                  <a:pt x="1619" y="391"/>
                </a:cubicBezTo>
                <a:cubicBezTo>
                  <a:pt x="1619" y="391"/>
                  <a:pt x="1619" y="391"/>
                  <a:pt x="1618" y="391"/>
                </a:cubicBezTo>
                <a:cubicBezTo>
                  <a:pt x="1618" y="390"/>
                  <a:pt x="1618" y="390"/>
                  <a:pt x="1617" y="390"/>
                </a:cubicBezTo>
                <a:cubicBezTo>
                  <a:pt x="1617" y="390"/>
                  <a:pt x="1617" y="389"/>
                  <a:pt x="1617" y="389"/>
                </a:cubicBezTo>
                <a:cubicBezTo>
                  <a:pt x="1617" y="389"/>
                  <a:pt x="1617" y="389"/>
                  <a:pt x="1617" y="389"/>
                </a:cubicBezTo>
                <a:cubicBezTo>
                  <a:pt x="1618" y="388"/>
                  <a:pt x="1618" y="388"/>
                  <a:pt x="1618" y="388"/>
                </a:cubicBezTo>
                <a:cubicBezTo>
                  <a:pt x="1618" y="388"/>
                  <a:pt x="1619" y="389"/>
                  <a:pt x="1619" y="389"/>
                </a:cubicBezTo>
                <a:cubicBezTo>
                  <a:pt x="1619" y="389"/>
                  <a:pt x="1620" y="389"/>
                  <a:pt x="1620" y="390"/>
                </a:cubicBezTo>
                <a:cubicBezTo>
                  <a:pt x="1620" y="390"/>
                  <a:pt x="1620" y="390"/>
                  <a:pt x="1620" y="390"/>
                </a:cubicBezTo>
                <a:cubicBezTo>
                  <a:pt x="1621" y="390"/>
                  <a:pt x="1622" y="390"/>
                  <a:pt x="1622" y="389"/>
                </a:cubicBezTo>
                <a:cubicBezTo>
                  <a:pt x="1623" y="389"/>
                  <a:pt x="1623" y="389"/>
                  <a:pt x="1624" y="389"/>
                </a:cubicBezTo>
                <a:cubicBezTo>
                  <a:pt x="1624" y="390"/>
                  <a:pt x="1624" y="390"/>
                  <a:pt x="1624" y="390"/>
                </a:cubicBezTo>
                <a:cubicBezTo>
                  <a:pt x="1625" y="390"/>
                  <a:pt x="1625" y="390"/>
                  <a:pt x="1625" y="390"/>
                </a:cubicBezTo>
                <a:cubicBezTo>
                  <a:pt x="1625" y="390"/>
                  <a:pt x="1625" y="391"/>
                  <a:pt x="1626" y="391"/>
                </a:cubicBezTo>
                <a:cubicBezTo>
                  <a:pt x="1626" y="391"/>
                  <a:pt x="1626" y="391"/>
                  <a:pt x="1627" y="391"/>
                </a:cubicBezTo>
                <a:cubicBezTo>
                  <a:pt x="1627" y="391"/>
                  <a:pt x="1627" y="392"/>
                  <a:pt x="1627" y="392"/>
                </a:cubicBezTo>
                <a:cubicBezTo>
                  <a:pt x="1627" y="392"/>
                  <a:pt x="1628" y="393"/>
                  <a:pt x="1628" y="393"/>
                </a:cubicBezTo>
                <a:cubicBezTo>
                  <a:pt x="1629" y="394"/>
                  <a:pt x="1629" y="394"/>
                  <a:pt x="1629" y="394"/>
                </a:cubicBezTo>
                <a:cubicBezTo>
                  <a:pt x="1630" y="395"/>
                  <a:pt x="1630" y="395"/>
                  <a:pt x="1631" y="395"/>
                </a:cubicBezTo>
                <a:cubicBezTo>
                  <a:pt x="1631" y="396"/>
                  <a:pt x="1631" y="396"/>
                  <a:pt x="1631" y="396"/>
                </a:cubicBezTo>
                <a:cubicBezTo>
                  <a:pt x="1631" y="396"/>
                  <a:pt x="1632" y="396"/>
                  <a:pt x="1632" y="397"/>
                </a:cubicBezTo>
                <a:cubicBezTo>
                  <a:pt x="1632" y="396"/>
                  <a:pt x="1632" y="396"/>
                  <a:pt x="1632" y="396"/>
                </a:cubicBezTo>
                <a:cubicBezTo>
                  <a:pt x="1632" y="396"/>
                  <a:pt x="1632" y="396"/>
                  <a:pt x="1633" y="396"/>
                </a:cubicBezTo>
                <a:cubicBezTo>
                  <a:pt x="1633" y="395"/>
                  <a:pt x="1633" y="395"/>
                  <a:pt x="1633" y="395"/>
                </a:cubicBezTo>
                <a:cubicBezTo>
                  <a:pt x="1633" y="394"/>
                  <a:pt x="1633" y="394"/>
                  <a:pt x="1633" y="394"/>
                </a:cubicBezTo>
                <a:cubicBezTo>
                  <a:pt x="1634" y="393"/>
                  <a:pt x="1634" y="393"/>
                  <a:pt x="1634" y="393"/>
                </a:cubicBezTo>
                <a:cubicBezTo>
                  <a:pt x="1635" y="392"/>
                  <a:pt x="1636" y="392"/>
                  <a:pt x="1636" y="392"/>
                </a:cubicBezTo>
                <a:cubicBezTo>
                  <a:pt x="1637" y="392"/>
                  <a:pt x="1637" y="392"/>
                  <a:pt x="1637" y="392"/>
                </a:cubicBezTo>
                <a:cubicBezTo>
                  <a:pt x="1638" y="392"/>
                  <a:pt x="1638" y="392"/>
                  <a:pt x="1638" y="393"/>
                </a:cubicBezTo>
                <a:close/>
                <a:moveTo>
                  <a:pt x="1612" y="389"/>
                </a:moveTo>
                <a:cubicBezTo>
                  <a:pt x="1612" y="389"/>
                  <a:pt x="1612" y="389"/>
                  <a:pt x="1613" y="389"/>
                </a:cubicBezTo>
                <a:cubicBezTo>
                  <a:pt x="1613" y="388"/>
                  <a:pt x="1613" y="388"/>
                  <a:pt x="1613" y="388"/>
                </a:cubicBezTo>
                <a:cubicBezTo>
                  <a:pt x="1613" y="388"/>
                  <a:pt x="1613" y="388"/>
                  <a:pt x="1612" y="388"/>
                </a:cubicBezTo>
                <a:cubicBezTo>
                  <a:pt x="1612" y="388"/>
                  <a:pt x="1612" y="388"/>
                  <a:pt x="1611" y="388"/>
                </a:cubicBezTo>
                <a:cubicBezTo>
                  <a:pt x="1611" y="388"/>
                  <a:pt x="1611" y="389"/>
                  <a:pt x="1611" y="389"/>
                </a:cubicBezTo>
                <a:cubicBezTo>
                  <a:pt x="1611" y="389"/>
                  <a:pt x="1611" y="389"/>
                  <a:pt x="1612" y="389"/>
                </a:cubicBezTo>
                <a:cubicBezTo>
                  <a:pt x="1612" y="389"/>
                  <a:pt x="1612" y="389"/>
                  <a:pt x="1612" y="389"/>
                </a:cubicBezTo>
                <a:close/>
                <a:moveTo>
                  <a:pt x="1608" y="411"/>
                </a:moveTo>
                <a:cubicBezTo>
                  <a:pt x="1608" y="411"/>
                  <a:pt x="1608" y="411"/>
                  <a:pt x="1608" y="411"/>
                </a:cubicBezTo>
                <a:cubicBezTo>
                  <a:pt x="1607" y="411"/>
                  <a:pt x="1607" y="411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8" y="413"/>
                </a:cubicBezTo>
                <a:cubicBezTo>
                  <a:pt x="1608" y="413"/>
                  <a:pt x="1608" y="413"/>
                  <a:pt x="1608" y="413"/>
                </a:cubicBezTo>
                <a:cubicBezTo>
                  <a:pt x="1608" y="412"/>
                  <a:pt x="1608" y="412"/>
                  <a:pt x="1608" y="412"/>
                </a:cubicBezTo>
                <a:cubicBezTo>
                  <a:pt x="1608" y="412"/>
                  <a:pt x="1608" y="412"/>
                  <a:pt x="1608" y="412"/>
                </a:cubicBezTo>
                <a:cubicBezTo>
                  <a:pt x="1608" y="412"/>
                  <a:pt x="1608" y="411"/>
                  <a:pt x="1608" y="411"/>
                </a:cubicBezTo>
                <a:cubicBezTo>
                  <a:pt x="1608" y="411"/>
                  <a:pt x="1608" y="411"/>
                  <a:pt x="1608" y="411"/>
                </a:cubicBezTo>
                <a:close/>
                <a:moveTo>
                  <a:pt x="1589" y="425"/>
                </a:moveTo>
                <a:cubicBezTo>
                  <a:pt x="1589" y="425"/>
                  <a:pt x="1589" y="425"/>
                  <a:pt x="1589" y="425"/>
                </a:cubicBezTo>
                <a:cubicBezTo>
                  <a:pt x="1588" y="425"/>
                  <a:pt x="1588" y="425"/>
                  <a:pt x="1588" y="425"/>
                </a:cubicBezTo>
                <a:cubicBezTo>
                  <a:pt x="1588" y="425"/>
                  <a:pt x="1588" y="425"/>
                  <a:pt x="1588" y="426"/>
                </a:cubicBezTo>
                <a:cubicBezTo>
                  <a:pt x="1588" y="426"/>
                  <a:pt x="1588" y="426"/>
                  <a:pt x="1588" y="427"/>
                </a:cubicBezTo>
                <a:cubicBezTo>
                  <a:pt x="1588" y="427"/>
                  <a:pt x="1588" y="427"/>
                  <a:pt x="1589" y="427"/>
                </a:cubicBezTo>
                <a:cubicBezTo>
                  <a:pt x="1589" y="427"/>
                  <a:pt x="1589" y="426"/>
                  <a:pt x="1589" y="426"/>
                </a:cubicBezTo>
                <a:cubicBezTo>
                  <a:pt x="1589" y="426"/>
                  <a:pt x="1589" y="426"/>
                  <a:pt x="1589" y="426"/>
                </a:cubicBezTo>
                <a:cubicBezTo>
                  <a:pt x="1589" y="426"/>
                  <a:pt x="1589" y="426"/>
                  <a:pt x="1589" y="426"/>
                </a:cubicBezTo>
                <a:cubicBezTo>
                  <a:pt x="1589" y="425"/>
                  <a:pt x="1589" y="425"/>
                  <a:pt x="1589" y="425"/>
                </a:cubicBezTo>
                <a:close/>
                <a:moveTo>
                  <a:pt x="1580" y="428"/>
                </a:moveTo>
                <a:cubicBezTo>
                  <a:pt x="1580" y="428"/>
                  <a:pt x="1581" y="428"/>
                  <a:pt x="1581" y="428"/>
                </a:cubicBezTo>
                <a:cubicBezTo>
                  <a:pt x="1582" y="428"/>
                  <a:pt x="1582" y="428"/>
                  <a:pt x="1582" y="428"/>
                </a:cubicBezTo>
                <a:cubicBezTo>
                  <a:pt x="1582" y="428"/>
                  <a:pt x="1583" y="428"/>
                  <a:pt x="1583" y="428"/>
                </a:cubicBezTo>
                <a:cubicBezTo>
                  <a:pt x="1583" y="429"/>
                  <a:pt x="1584" y="429"/>
                  <a:pt x="1584" y="429"/>
                </a:cubicBezTo>
                <a:cubicBezTo>
                  <a:pt x="1584" y="430"/>
                  <a:pt x="1584" y="430"/>
                  <a:pt x="1584" y="430"/>
                </a:cubicBezTo>
                <a:cubicBezTo>
                  <a:pt x="1585" y="430"/>
                  <a:pt x="1585" y="430"/>
                  <a:pt x="1585" y="430"/>
                </a:cubicBezTo>
                <a:cubicBezTo>
                  <a:pt x="1585" y="430"/>
                  <a:pt x="1586" y="429"/>
                  <a:pt x="1586" y="429"/>
                </a:cubicBezTo>
                <a:cubicBezTo>
                  <a:pt x="1586" y="429"/>
                  <a:pt x="1587" y="429"/>
                  <a:pt x="1587" y="429"/>
                </a:cubicBezTo>
                <a:cubicBezTo>
                  <a:pt x="1587" y="429"/>
                  <a:pt x="1588" y="428"/>
                  <a:pt x="1588" y="428"/>
                </a:cubicBezTo>
                <a:cubicBezTo>
                  <a:pt x="1588" y="428"/>
                  <a:pt x="1588" y="428"/>
                  <a:pt x="1587" y="428"/>
                </a:cubicBezTo>
                <a:cubicBezTo>
                  <a:pt x="1587" y="428"/>
                  <a:pt x="1587" y="428"/>
                  <a:pt x="1587" y="427"/>
                </a:cubicBezTo>
                <a:cubicBezTo>
                  <a:pt x="1587" y="427"/>
                  <a:pt x="1587" y="427"/>
                  <a:pt x="1587" y="426"/>
                </a:cubicBezTo>
                <a:cubicBezTo>
                  <a:pt x="1586" y="426"/>
                  <a:pt x="1586" y="426"/>
                  <a:pt x="1586" y="426"/>
                </a:cubicBezTo>
                <a:cubicBezTo>
                  <a:pt x="1586" y="426"/>
                  <a:pt x="1585" y="426"/>
                  <a:pt x="1585" y="425"/>
                </a:cubicBezTo>
                <a:cubicBezTo>
                  <a:pt x="1585" y="425"/>
                  <a:pt x="1584" y="425"/>
                  <a:pt x="1584" y="425"/>
                </a:cubicBezTo>
                <a:cubicBezTo>
                  <a:pt x="1583" y="425"/>
                  <a:pt x="1583" y="425"/>
                  <a:pt x="1582" y="425"/>
                </a:cubicBezTo>
                <a:cubicBezTo>
                  <a:pt x="1582" y="425"/>
                  <a:pt x="1582" y="425"/>
                  <a:pt x="1582" y="425"/>
                </a:cubicBezTo>
                <a:cubicBezTo>
                  <a:pt x="1582" y="426"/>
                  <a:pt x="1582" y="426"/>
                  <a:pt x="1582" y="426"/>
                </a:cubicBezTo>
                <a:cubicBezTo>
                  <a:pt x="1581" y="426"/>
                  <a:pt x="1581" y="426"/>
                  <a:pt x="1581" y="426"/>
                </a:cubicBezTo>
                <a:cubicBezTo>
                  <a:pt x="1580" y="426"/>
                  <a:pt x="1580" y="426"/>
                  <a:pt x="1580" y="426"/>
                </a:cubicBezTo>
                <a:cubicBezTo>
                  <a:pt x="1580" y="426"/>
                  <a:pt x="1579" y="426"/>
                  <a:pt x="1579" y="425"/>
                </a:cubicBezTo>
                <a:cubicBezTo>
                  <a:pt x="1579" y="425"/>
                  <a:pt x="1579" y="425"/>
                  <a:pt x="1579" y="424"/>
                </a:cubicBezTo>
                <a:cubicBezTo>
                  <a:pt x="1579" y="424"/>
                  <a:pt x="1579" y="424"/>
                  <a:pt x="1579" y="424"/>
                </a:cubicBezTo>
                <a:cubicBezTo>
                  <a:pt x="1578" y="424"/>
                  <a:pt x="1577" y="425"/>
                  <a:pt x="1577" y="425"/>
                </a:cubicBezTo>
                <a:cubicBezTo>
                  <a:pt x="1577" y="425"/>
                  <a:pt x="1577" y="425"/>
                  <a:pt x="1577" y="425"/>
                </a:cubicBezTo>
                <a:cubicBezTo>
                  <a:pt x="1576" y="425"/>
                  <a:pt x="1576" y="425"/>
                  <a:pt x="1576" y="425"/>
                </a:cubicBezTo>
                <a:cubicBezTo>
                  <a:pt x="1575" y="426"/>
                  <a:pt x="1575" y="426"/>
                  <a:pt x="1575" y="426"/>
                </a:cubicBezTo>
                <a:cubicBezTo>
                  <a:pt x="1575" y="426"/>
                  <a:pt x="1576" y="427"/>
                  <a:pt x="1576" y="427"/>
                </a:cubicBezTo>
                <a:cubicBezTo>
                  <a:pt x="1576" y="427"/>
                  <a:pt x="1576" y="427"/>
                  <a:pt x="1576" y="428"/>
                </a:cubicBezTo>
                <a:cubicBezTo>
                  <a:pt x="1576" y="428"/>
                  <a:pt x="1576" y="428"/>
                  <a:pt x="1576" y="428"/>
                </a:cubicBezTo>
                <a:cubicBezTo>
                  <a:pt x="1576" y="428"/>
                  <a:pt x="1576" y="428"/>
                  <a:pt x="1576" y="428"/>
                </a:cubicBezTo>
                <a:cubicBezTo>
                  <a:pt x="1576" y="428"/>
                  <a:pt x="1576" y="429"/>
                  <a:pt x="1576" y="429"/>
                </a:cubicBezTo>
                <a:cubicBezTo>
                  <a:pt x="1577" y="429"/>
                  <a:pt x="1577" y="429"/>
                  <a:pt x="1577" y="430"/>
                </a:cubicBezTo>
                <a:cubicBezTo>
                  <a:pt x="1577" y="430"/>
                  <a:pt x="1577" y="430"/>
                  <a:pt x="1577" y="430"/>
                </a:cubicBezTo>
                <a:cubicBezTo>
                  <a:pt x="1577" y="430"/>
                  <a:pt x="1577" y="430"/>
                  <a:pt x="1578" y="430"/>
                </a:cubicBezTo>
                <a:cubicBezTo>
                  <a:pt x="1578" y="430"/>
                  <a:pt x="1578" y="430"/>
                  <a:pt x="1578" y="430"/>
                </a:cubicBezTo>
                <a:cubicBezTo>
                  <a:pt x="1578" y="430"/>
                  <a:pt x="1578" y="430"/>
                  <a:pt x="1579" y="431"/>
                </a:cubicBezTo>
                <a:cubicBezTo>
                  <a:pt x="1579" y="431"/>
                  <a:pt x="1579" y="431"/>
                  <a:pt x="1579" y="431"/>
                </a:cubicBezTo>
                <a:cubicBezTo>
                  <a:pt x="1579" y="431"/>
                  <a:pt x="1579" y="430"/>
                  <a:pt x="1579" y="430"/>
                </a:cubicBezTo>
                <a:cubicBezTo>
                  <a:pt x="1579" y="430"/>
                  <a:pt x="1579" y="430"/>
                  <a:pt x="1578" y="429"/>
                </a:cubicBezTo>
                <a:cubicBezTo>
                  <a:pt x="1579" y="429"/>
                  <a:pt x="1579" y="429"/>
                  <a:pt x="1579" y="429"/>
                </a:cubicBezTo>
                <a:cubicBezTo>
                  <a:pt x="1579" y="429"/>
                  <a:pt x="1580" y="428"/>
                  <a:pt x="1580" y="428"/>
                </a:cubicBezTo>
                <a:close/>
                <a:moveTo>
                  <a:pt x="1586" y="425"/>
                </a:moveTo>
                <a:cubicBezTo>
                  <a:pt x="1586" y="425"/>
                  <a:pt x="1586" y="425"/>
                  <a:pt x="1586" y="425"/>
                </a:cubicBezTo>
                <a:cubicBezTo>
                  <a:pt x="1586" y="425"/>
                  <a:pt x="1586" y="424"/>
                  <a:pt x="1586" y="424"/>
                </a:cubicBezTo>
                <a:cubicBezTo>
                  <a:pt x="1585" y="424"/>
                  <a:pt x="1585" y="424"/>
                  <a:pt x="1585" y="425"/>
                </a:cubicBezTo>
                <a:cubicBezTo>
                  <a:pt x="1585" y="425"/>
                  <a:pt x="1585" y="425"/>
                  <a:pt x="1585" y="425"/>
                </a:cubicBezTo>
                <a:cubicBezTo>
                  <a:pt x="1586" y="425"/>
                  <a:pt x="1586" y="425"/>
                  <a:pt x="1586" y="425"/>
                </a:cubicBezTo>
                <a:close/>
                <a:moveTo>
                  <a:pt x="1565" y="438"/>
                </a:moveTo>
                <a:cubicBezTo>
                  <a:pt x="1565" y="438"/>
                  <a:pt x="1565" y="439"/>
                  <a:pt x="1565" y="439"/>
                </a:cubicBezTo>
                <a:cubicBezTo>
                  <a:pt x="1565" y="439"/>
                  <a:pt x="1565" y="439"/>
                  <a:pt x="1565" y="440"/>
                </a:cubicBezTo>
                <a:cubicBezTo>
                  <a:pt x="1565" y="440"/>
                  <a:pt x="1565" y="440"/>
                  <a:pt x="1566" y="440"/>
                </a:cubicBezTo>
                <a:cubicBezTo>
                  <a:pt x="1566" y="440"/>
                  <a:pt x="1566" y="440"/>
                  <a:pt x="1566" y="440"/>
                </a:cubicBezTo>
                <a:cubicBezTo>
                  <a:pt x="1566" y="440"/>
                  <a:pt x="1566" y="439"/>
                  <a:pt x="1566" y="439"/>
                </a:cubicBezTo>
                <a:cubicBezTo>
                  <a:pt x="1566" y="439"/>
                  <a:pt x="1566" y="439"/>
                  <a:pt x="1566" y="439"/>
                </a:cubicBezTo>
                <a:cubicBezTo>
                  <a:pt x="1565" y="438"/>
                  <a:pt x="1565" y="438"/>
                  <a:pt x="1565" y="438"/>
                </a:cubicBezTo>
                <a:close/>
                <a:moveTo>
                  <a:pt x="1580" y="414"/>
                </a:move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lose/>
                <a:moveTo>
                  <a:pt x="1559" y="424"/>
                </a:moveTo>
                <a:cubicBezTo>
                  <a:pt x="1558" y="423"/>
                  <a:pt x="1558" y="423"/>
                  <a:pt x="1558" y="423"/>
                </a:cubicBezTo>
                <a:cubicBezTo>
                  <a:pt x="1558" y="423"/>
                  <a:pt x="1558" y="423"/>
                  <a:pt x="1558" y="424"/>
                </a:cubicBezTo>
                <a:cubicBezTo>
                  <a:pt x="1558" y="424"/>
                  <a:pt x="1558" y="424"/>
                  <a:pt x="1559" y="424"/>
                </a:cubicBezTo>
                <a:close/>
                <a:moveTo>
                  <a:pt x="1528" y="457"/>
                </a:moveTo>
                <a:cubicBezTo>
                  <a:pt x="1528" y="457"/>
                  <a:pt x="1528" y="456"/>
                  <a:pt x="1528" y="456"/>
                </a:cubicBezTo>
                <a:cubicBezTo>
                  <a:pt x="1528" y="456"/>
                  <a:pt x="1528" y="456"/>
                  <a:pt x="1528" y="456"/>
                </a:cubicBezTo>
                <a:cubicBezTo>
                  <a:pt x="1527" y="456"/>
                  <a:pt x="1527" y="456"/>
                  <a:pt x="1527" y="457"/>
                </a:cubicBezTo>
                <a:cubicBezTo>
                  <a:pt x="1527" y="457"/>
                  <a:pt x="1528" y="457"/>
                  <a:pt x="1528" y="457"/>
                </a:cubicBezTo>
                <a:cubicBezTo>
                  <a:pt x="1528" y="457"/>
                  <a:pt x="1528" y="457"/>
                  <a:pt x="1528" y="457"/>
                </a:cubicBezTo>
                <a:close/>
                <a:moveTo>
                  <a:pt x="1565" y="428"/>
                </a:moveTo>
                <a:cubicBezTo>
                  <a:pt x="1565" y="428"/>
                  <a:pt x="1565" y="427"/>
                  <a:pt x="1565" y="427"/>
                </a:cubicBezTo>
                <a:cubicBezTo>
                  <a:pt x="1564" y="427"/>
                  <a:pt x="1564" y="427"/>
                  <a:pt x="1564" y="427"/>
                </a:cubicBezTo>
                <a:cubicBezTo>
                  <a:pt x="1564" y="428"/>
                  <a:pt x="1564" y="428"/>
                  <a:pt x="1564" y="428"/>
                </a:cubicBezTo>
                <a:cubicBezTo>
                  <a:pt x="1564" y="428"/>
                  <a:pt x="1564" y="428"/>
                  <a:pt x="1565" y="428"/>
                </a:cubicBezTo>
                <a:cubicBezTo>
                  <a:pt x="1565" y="428"/>
                  <a:pt x="1565" y="428"/>
                  <a:pt x="1565" y="428"/>
                </a:cubicBezTo>
                <a:close/>
                <a:moveTo>
                  <a:pt x="1529" y="456"/>
                </a:moveTo>
                <a:cubicBezTo>
                  <a:pt x="1529" y="457"/>
                  <a:pt x="1529" y="457"/>
                  <a:pt x="1529" y="457"/>
                </a:cubicBezTo>
                <a:cubicBezTo>
                  <a:pt x="1529" y="457"/>
                  <a:pt x="1529" y="457"/>
                  <a:pt x="1530" y="457"/>
                </a:cubicBezTo>
                <a:cubicBezTo>
                  <a:pt x="1530" y="457"/>
                  <a:pt x="1530" y="457"/>
                  <a:pt x="1530" y="457"/>
                </a:cubicBezTo>
                <a:cubicBezTo>
                  <a:pt x="1530" y="456"/>
                  <a:pt x="1530" y="456"/>
                  <a:pt x="1530" y="456"/>
                </a:cubicBezTo>
                <a:cubicBezTo>
                  <a:pt x="1529" y="456"/>
                  <a:pt x="1529" y="456"/>
                  <a:pt x="1529" y="456"/>
                </a:cubicBezTo>
                <a:close/>
                <a:moveTo>
                  <a:pt x="1559" y="423"/>
                </a:moveTo>
                <a:cubicBezTo>
                  <a:pt x="1559" y="423"/>
                  <a:pt x="1559" y="423"/>
                  <a:pt x="1559" y="423"/>
                </a:cubicBezTo>
                <a:cubicBezTo>
                  <a:pt x="1559" y="423"/>
                  <a:pt x="1559" y="423"/>
                  <a:pt x="1559" y="423"/>
                </a:cubicBezTo>
                <a:cubicBezTo>
                  <a:pt x="1559" y="423"/>
                  <a:pt x="1559" y="423"/>
                  <a:pt x="1559" y="423"/>
                </a:cubicBezTo>
                <a:close/>
                <a:moveTo>
                  <a:pt x="1582" y="414"/>
                </a:moveTo>
                <a:cubicBezTo>
                  <a:pt x="1582" y="414"/>
                  <a:pt x="1582" y="414"/>
                  <a:pt x="1582" y="413"/>
                </a:cubicBezTo>
                <a:cubicBezTo>
                  <a:pt x="1582" y="413"/>
                  <a:pt x="1581" y="413"/>
                  <a:pt x="1581" y="413"/>
                </a:cubicBezTo>
                <a:cubicBezTo>
                  <a:pt x="1581" y="413"/>
                  <a:pt x="1581" y="413"/>
                  <a:pt x="1581" y="413"/>
                </a:cubicBezTo>
                <a:cubicBezTo>
                  <a:pt x="1581" y="414"/>
                  <a:pt x="1581" y="414"/>
                  <a:pt x="1581" y="414"/>
                </a:cubicBezTo>
                <a:cubicBezTo>
                  <a:pt x="1581" y="414"/>
                  <a:pt x="1581" y="414"/>
                  <a:pt x="1581" y="414"/>
                </a:cubicBezTo>
                <a:cubicBezTo>
                  <a:pt x="1582" y="414"/>
                  <a:pt x="1582" y="414"/>
                  <a:pt x="1582" y="414"/>
                </a:cubicBezTo>
                <a:close/>
                <a:moveTo>
                  <a:pt x="1548" y="452"/>
                </a:moveTo>
                <a:cubicBezTo>
                  <a:pt x="1548" y="453"/>
                  <a:pt x="1548" y="453"/>
                  <a:pt x="1548" y="453"/>
                </a:cubicBezTo>
                <a:cubicBezTo>
                  <a:pt x="1548" y="453"/>
                  <a:pt x="1548" y="454"/>
                  <a:pt x="1548" y="454"/>
                </a:cubicBezTo>
                <a:cubicBezTo>
                  <a:pt x="1548" y="453"/>
                  <a:pt x="1548" y="453"/>
                  <a:pt x="1548" y="453"/>
                </a:cubicBezTo>
                <a:cubicBezTo>
                  <a:pt x="1549" y="453"/>
                  <a:pt x="1549" y="453"/>
                  <a:pt x="1550" y="453"/>
                </a:cubicBezTo>
                <a:cubicBezTo>
                  <a:pt x="1550" y="453"/>
                  <a:pt x="1550" y="452"/>
                  <a:pt x="1550" y="452"/>
                </a:cubicBezTo>
                <a:cubicBezTo>
                  <a:pt x="1550" y="452"/>
                  <a:pt x="1551" y="452"/>
                  <a:pt x="1551" y="452"/>
                </a:cubicBezTo>
                <a:cubicBezTo>
                  <a:pt x="1551" y="452"/>
                  <a:pt x="1551" y="451"/>
                  <a:pt x="1551" y="451"/>
                </a:cubicBezTo>
                <a:cubicBezTo>
                  <a:pt x="1550" y="451"/>
                  <a:pt x="1550" y="451"/>
                  <a:pt x="1550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8" y="452"/>
                  <a:pt x="1548" y="452"/>
                  <a:pt x="1548" y="452"/>
                </a:cubicBezTo>
                <a:close/>
                <a:moveTo>
                  <a:pt x="1534" y="456"/>
                </a:moveTo>
                <a:cubicBezTo>
                  <a:pt x="1534" y="456"/>
                  <a:pt x="1534" y="457"/>
                  <a:pt x="1534" y="457"/>
                </a:cubicBezTo>
                <a:cubicBezTo>
                  <a:pt x="1535" y="457"/>
                  <a:pt x="1535" y="457"/>
                  <a:pt x="1535" y="457"/>
                </a:cubicBezTo>
                <a:cubicBezTo>
                  <a:pt x="1535" y="457"/>
                  <a:pt x="1535" y="457"/>
                  <a:pt x="1536" y="456"/>
                </a:cubicBezTo>
                <a:cubicBezTo>
                  <a:pt x="1535" y="456"/>
                  <a:pt x="1535" y="456"/>
                  <a:pt x="1535" y="456"/>
                </a:cubicBezTo>
                <a:cubicBezTo>
                  <a:pt x="1534" y="456"/>
                  <a:pt x="1534" y="456"/>
                  <a:pt x="1534" y="456"/>
                </a:cubicBezTo>
                <a:close/>
                <a:moveTo>
                  <a:pt x="1569" y="422"/>
                </a:moveTo>
                <a:cubicBezTo>
                  <a:pt x="1568" y="422"/>
                  <a:pt x="1568" y="422"/>
                  <a:pt x="1568" y="422"/>
                </a:cubicBezTo>
                <a:cubicBezTo>
                  <a:pt x="1567" y="422"/>
                  <a:pt x="1567" y="422"/>
                  <a:pt x="1566" y="422"/>
                </a:cubicBezTo>
                <a:cubicBezTo>
                  <a:pt x="1566" y="422"/>
                  <a:pt x="1566" y="422"/>
                  <a:pt x="1566" y="422"/>
                </a:cubicBezTo>
                <a:cubicBezTo>
                  <a:pt x="1566" y="422"/>
                  <a:pt x="1565" y="422"/>
                  <a:pt x="1565" y="422"/>
                </a:cubicBezTo>
                <a:cubicBezTo>
                  <a:pt x="1565" y="422"/>
                  <a:pt x="1564" y="422"/>
                  <a:pt x="1564" y="423"/>
                </a:cubicBezTo>
                <a:cubicBezTo>
                  <a:pt x="1564" y="423"/>
                  <a:pt x="1564" y="423"/>
                  <a:pt x="1563" y="423"/>
                </a:cubicBezTo>
                <a:cubicBezTo>
                  <a:pt x="1563" y="423"/>
                  <a:pt x="1563" y="423"/>
                  <a:pt x="1563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3" y="423"/>
                  <a:pt x="1563" y="424"/>
                  <a:pt x="1563" y="424"/>
                </a:cubicBezTo>
                <a:cubicBezTo>
                  <a:pt x="1563" y="424"/>
                  <a:pt x="1563" y="424"/>
                  <a:pt x="1563" y="425"/>
                </a:cubicBezTo>
                <a:cubicBezTo>
                  <a:pt x="1563" y="425"/>
                  <a:pt x="1562" y="425"/>
                  <a:pt x="1562" y="425"/>
                </a:cubicBezTo>
                <a:cubicBezTo>
                  <a:pt x="1562" y="425"/>
                  <a:pt x="1562" y="424"/>
                  <a:pt x="1562" y="424"/>
                </a:cubicBezTo>
                <a:cubicBezTo>
                  <a:pt x="1562" y="424"/>
                  <a:pt x="1562" y="424"/>
                  <a:pt x="1562" y="424"/>
                </a:cubicBezTo>
                <a:cubicBezTo>
                  <a:pt x="1562" y="424"/>
                  <a:pt x="1562" y="424"/>
                  <a:pt x="1562" y="424"/>
                </a:cubicBezTo>
                <a:cubicBezTo>
                  <a:pt x="1562" y="424"/>
                  <a:pt x="1562" y="425"/>
                  <a:pt x="1562" y="425"/>
                </a:cubicBezTo>
                <a:cubicBezTo>
                  <a:pt x="1562" y="425"/>
                  <a:pt x="1562" y="425"/>
                  <a:pt x="1562" y="425"/>
                </a:cubicBezTo>
                <a:cubicBezTo>
                  <a:pt x="1562" y="425"/>
                  <a:pt x="1562" y="426"/>
                  <a:pt x="1562" y="426"/>
                </a:cubicBezTo>
                <a:cubicBezTo>
                  <a:pt x="1562" y="426"/>
                  <a:pt x="1562" y="426"/>
                  <a:pt x="1562" y="426"/>
                </a:cubicBezTo>
                <a:cubicBezTo>
                  <a:pt x="1562" y="426"/>
                  <a:pt x="1562" y="426"/>
                  <a:pt x="1562" y="426"/>
                </a:cubicBezTo>
                <a:cubicBezTo>
                  <a:pt x="1562" y="426"/>
                  <a:pt x="1563" y="426"/>
                  <a:pt x="1563" y="426"/>
                </a:cubicBezTo>
                <a:cubicBezTo>
                  <a:pt x="1563" y="426"/>
                  <a:pt x="1563" y="426"/>
                  <a:pt x="1564" y="426"/>
                </a:cubicBezTo>
                <a:cubicBezTo>
                  <a:pt x="1564" y="426"/>
                  <a:pt x="1564" y="426"/>
                  <a:pt x="1564" y="426"/>
                </a:cubicBezTo>
                <a:cubicBezTo>
                  <a:pt x="1564" y="426"/>
                  <a:pt x="1564" y="426"/>
                  <a:pt x="1563" y="426"/>
                </a:cubicBezTo>
                <a:cubicBezTo>
                  <a:pt x="1564" y="426"/>
                  <a:pt x="1564" y="426"/>
                  <a:pt x="1564" y="427"/>
                </a:cubicBezTo>
                <a:cubicBezTo>
                  <a:pt x="1564" y="427"/>
                  <a:pt x="1564" y="427"/>
                  <a:pt x="1565" y="427"/>
                </a:cubicBezTo>
                <a:cubicBezTo>
                  <a:pt x="1565" y="426"/>
                  <a:pt x="1565" y="426"/>
                  <a:pt x="1565" y="426"/>
                </a:cubicBezTo>
                <a:cubicBezTo>
                  <a:pt x="1565" y="426"/>
                  <a:pt x="1565" y="426"/>
                  <a:pt x="1564" y="425"/>
                </a:cubicBezTo>
                <a:cubicBezTo>
                  <a:pt x="1564" y="425"/>
                  <a:pt x="1564" y="425"/>
                  <a:pt x="1563" y="425"/>
                </a:cubicBezTo>
                <a:cubicBezTo>
                  <a:pt x="1563" y="425"/>
                  <a:pt x="1564" y="425"/>
                  <a:pt x="1564" y="425"/>
                </a:cubicBezTo>
                <a:cubicBezTo>
                  <a:pt x="1564" y="425"/>
                  <a:pt x="1564" y="425"/>
                  <a:pt x="1564" y="425"/>
                </a:cubicBezTo>
                <a:cubicBezTo>
                  <a:pt x="1564" y="425"/>
                  <a:pt x="1564" y="424"/>
                  <a:pt x="1564" y="424"/>
                </a:cubicBezTo>
                <a:cubicBezTo>
                  <a:pt x="1564" y="424"/>
                  <a:pt x="1564" y="424"/>
                  <a:pt x="1565" y="424"/>
                </a:cubicBezTo>
                <a:cubicBezTo>
                  <a:pt x="1565" y="424"/>
                  <a:pt x="1565" y="424"/>
                  <a:pt x="1565" y="425"/>
                </a:cubicBezTo>
                <a:cubicBezTo>
                  <a:pt x="1565" y="425"/>
                  <a:pt x="1566" y="425"/>
                  <a:pt x="1566" y="426"/>
                </a:cubicBezTo>
                <a:cubicBezTo>
                  <a:pt x="1566" y="426"/>
                  <a:pt x="1566" y="426"/>
                  <a:pt x="1566" y="427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66" y="428"/>
                  <a:pt x="1566" y="428"/>
                  <a:pt x="1565" y="428"/>
                </a:cubicBezTo>
                <a:cubicBezTo>
                  <a:pt x="1565" y="429"/>
                  <a:pt x="1565" y="429"/>
                  <a:pt x="1564" y="429"/>
                </a:cubicBezTo>
                <a:cubicBezTo>
                  <a:pt x="1564" y="429"/>
                  <a:pt x="1564" y="429"/>
                  <a:pt x="1563" y="429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4" y="430"/>
                  <a:pt x="1564" y="430"/>
                  <a:pt x="1564" y="431"/>
                </a:cubicBezTo>
                <a:cubicBezTo>
                  <a:pt x="1564" y="431"/>
                  <a:pt x="1564" y="432"/>
                  <a:pt x="1564" y="432"/>
                </a:cubicBezTo>
                <a:cubicBezTo>
                  <a:pt x="1564" y="432"/>
                  <a:pt x="1564" y="433"/>
                  <a:pt x="1564" y="433"/>
                </a:cubicBezTo>
                <a:cubicBezTo>
                  <a:pt x="1564" y="433"/>
                  <a:pt x="1564" y="433"/>
                  <a:pt x="1564" y="434"/>
                </a:cubicBezTo>
                <a:cubicBezTo>
                  <a:pt x="1564" y="434"/>
                  <a:pt x="1564" y="434"/>
                  <a:pt x="1563" y="434"/>
                </a:cubicBezTo>
                <a:cubicBezTo>
                  <a:pt x="1564" y="434"/>
                  <a:pt x="1564" y="434"/>
                  <a:pt x="1564" y="435"/>
                </a:cubicBezTo>
                <a:cubicBezTo>
                  <a:pt x="1564" y="435"/>
                  <a:pt x="1564" y="435"/>
                  <a:pt x="1565" y="435"/>
                </a:cubicBezTo>
                <a:cubicBezTo>
                  <a:pt x="1565" y="435"/>
                  <a:pt x="1565" y="435"/>
                  <a:pt x="1565" y="435"/>
                </a:cubicBezTo>
                <a:cubicBezTo>
                  <a:pt x="1565" y="435"/>
                  <a:pt x="1565" y="435"/>
                  <a:pt x="1566" y="435"/>
                </a:cubicBezTo>
                <a:cubicBezTo>
                  <a:pt x="1566" y="435"/>
                  <a:pt x="1566" y="435"/>
                  <a:pt x="1566" y="435"/>
                </a:cubicBezTo>
                <a:cubicBezTo>
                  <a:pt x="1566" y="434"/>
                  <a:pt x="1565" y="434"/>
                  <a:pt x="1565" y="434"/>
                </a:cubicBezTo>
                <a:cubicBezTo>
                  <a:pt x="1565" y="433"/>
                  <a:pt x="1566" y="433"/>
                  <a:pt x="1566" y="433"/>
                </a:cubicBezTo>
                <a:cubicBezTo>
                  <a:pt x="1566" y="433"/>
                  <a:pt x="1566" y="432"/>
                  <a:pt x="1566" y="432"/>
                </a:cubicBezTo>
                <a:cubicBezTo>
                  <a:pt x="1567" y="433"/>
                  <a:pt x="1567" y="433"/>
                  <a:pt x="1567" y="433"/>
                </a:cubicBezTo>
                <a:cubicBezTo>
                  <a:pt x="1567" y="433"/>
                  <a:pt x="1566" y="433"/>
                  <a:pt x="1566" y="433"/>
                </a:cubicBezTo>
                <a:cubicBezTo>
                  <a:pt x="1566" y="433"/>
                  <a:pt x="1566" y="433"/>
                  <a:pt x="1566" y="433"/>
                </a:cubicBezTo>
                <a:cubicBezTo>
                  <a:pt x="1566" y="434"/>
                  <a:pt x="1567" y="434"/>
                  <a:pt x="1567" y="434"/>
                </a:cubicBezTo>
                <a:cubicBezTo>
                  <a:pt x="1567" y="435"/>
                  <a:pt x="1567" y="435"/>
                  <a:pt x="1567" y="435"/>
                </a:cubicBezTo>
                <a:cubicBezTo>
                  <a:pt x="1567" y="435"/>
                  <a:pt x="1566" y="436"/>
                  <a:pt x="1566" y="436"/>
                </a:cubicBezTo>
                <a:cubicBezTo>
                  <a:pt x="1566" y="436"/>
                  <a:pt x="1566" y="436"/>
                  <a:pt x="1566" y="436"/>
                </a:cubicBezTo>
                <a:cubicBezTo>
                  <a:pt x="1566" y="436"/>
                  <a:pt x="1567" y="436"/>
                  <a:pt x="1567" y="436"/>
                </a:cubicBezTo>
                <a:cubicBezTo>
                  <a:pt x="1568" y="436"/>
                  <a:pt x="1568" y="436"/>
                  <a:pt x="1569" y="436"/>
                </a:cubicBezTo>
                <a:cubicBezTo>
                  <a:pt x="1568" y="435"/>
                  <a:pt x="1568" y="435"/>
                  <a:pt x="1568" y="435"/>
                </a:cubicBezTo>
                <a:cubicBezTo>
                  <a:pt x="1568" y="435"/>
                  <a:pt x="1568" y="434"/>
                  <a:pt x="1568" y="434"/>
                </a:cubicBezTo>
                <a:cubicBezTo>
                  <a:pt x="1568" y="434"/>
                  <a:pt x="1568" y="434"/>
                  <a:pt x="1569" y="434"/>
                </a:cubicBezTo>
                <a:cubicBezTo>
                  <a:pt x="1569" y="434"/>
                  <a:pt x="1569" y="435"/>
                  <a:pt x="1569" y="435"/>
                </a:cubicBezTo>
                <a:cubicBezTo>
                  <a:pt x="1569" y="435"/>
                  <a:pt x="1569" y="435"/>
                  <a:pt x="1570" y="435"/>
                </a:cubicBezTo>
                <a:cubicBezTo>
                  <a:pt x="1570" y="435"/>
                  <a:pt x="1570" y="435"/>
                  <a:pt x="1570" y="434"/>
                </a:cubicBezTo>
                <a:cubicBezTo>
                  <a:pt x="1570" y="434"/>
                  <a:pt x="1570" y="434"/>
                  <a:pt x="1570" y="433"/>
                </a:cubicBezTo>
                <a:cubicBezTo>
                  <a:pt x="1570" y="433"/>
                  <a:pt x="1570" y="433"/>
                  <a:pt x="1570" y="433"/>
                </a:cubicBezTo>
                <a:cubicBezTo>
                  <a:pt x="1571" y="432"/>
                  <a:pt x="1571" y="431"/>
                  <a:pt x="1571" y="431"/>
                </a:cubicBezTo>
                <a:cubicBezTo>
                  <a:pt x="1571" y="430"/>
                  <a:pt x="1571" y="430"/>
                  <a:pt x="1572" y="430"/>
                </a:cubicBezTo>
                <a:cubicBezTo>
                  <a:pt x="1572" y="430"/>
                  <a:pt x="1572" y="429"/>
                  <a:pt x="1572" y="429"/>
                </a:cubicBezTo>
                <a:cubicBezTo>
                  <a:pt x="1573" y="429"/>
                  <a:pt x="1573" y="429"/>
                  <a:pt x="1574" y="429"/>
                </a:cubicBezTo>
                <a:cubicBezTo>
                  <a:pt x="1574" y="429"/>
                  <a:pt x="1574" y="429"/>
                  <a:pt x="1574" y="428"/>
                </a:cubicBezTo>
                <a:cubicBezTo>
                  <a:pt x="1573" y="428"/>
                  <a:pt x="1573" y="428"/>
                  <a:pt x="1573" y="428"/>
                </a:cubicBezTo>
                <a:cubicBezTo>
                  <a:pt x="1573" y="428"/>
                  <a:pt x="1573" y="428"/>
                  <a:pt x="1573" y="427"/>
                </a:cubicBezTo>
                <a:cubicBezTo>
                  <a:pt x="1573" y="427"/>
                  <a:pt x="1573" y="427"/>
                  <a:pt x="1573" y="427"/>
                </a:cubicBezTo>
                <a:cubicBezTo>
                  <a:pt x="1573" y="427"/>
                  <a:pt x="1573" y="427"/>
                  <a:pt x="1573" y="427"/>
                </a:cubicBezTo>
                <a:cubicBezTo>
                  <a:pt x="1573" y="427"/>
                  <a:pt x="1572" y="426"/>
                  <a:pt x="1572" y="426"/>
                </a:cubicBezTo>
                <a:cubicBezTo>
                  <a:pt x="1572" y="426"/>
                  <a:pt x="1571" y="426"/>
                  <a:pt x="1571" y="426"/>
                </a:cubicBezTo>
                <a:cubicBezTo>
                  <a:pt x="1572" y="426"/>
                  <a:pt x="1572" y="426"/>
                  <a:pt x="1572" y="426"/>
                </a:cubicBezTo>
                <a:cubicBezTo>
                  <a:pt x="1572" y="426"/>
                  <a:pt x="1573" y="426"/>
                  <a:pt x="1573" y="425"/>
                </a:cubicBezTo>
                <a:cubicBezTo>
                  <a:pt x="1573" y="425"/>
                  <a:pt x="1573" y="425"/>
                  <a:pt x="1573" y="424"/>
                </a:cubicBezTo>
                <a:cubicBezTo>
                  <a:pt x="1573" y="424"/>
                  <a:pt x="1573" y="424"/>
                  <a:pt x="1572" y="424"/>
                </a:cubicBezTo>
                <a:cubicBezTo>
                  <a:pt x="1572" y="424"/>
                  <a:pt x="1572" y="424"/>
                  <a:pt x="1572" y="424"/>
                </a:cubicBezTo>
                <a:cubicBezTo>
                  <a:pt x="1571" y="424"/>
                  <a:pt x="1571" y="424"/>
                  <a:pt x="1571" y="424"/>
                </a:cubicBezTo>
                <a:cubicBezTo>
                  <a:pt x="1571" y="424"/>
                  <a:pt x="1571" y="424"/>
                  <a:pt x="1571" y="424"/>
                </a:cubicBezTo>
                <a:cubicBezTo>
                  <a:pt x="1570" y="424"/>
                  <a:pt x="1570" y="424"/>
                  <a:pt x="1570" y="424"/>
                </a:cubicBezTo>
                <a:cubicBezTo>
                  <a:pt x="1570" y="423"/>
                  <a:pt x="1569" y="423"/>
                  <a:pt x="1569" y="423"/>
                </a:cubicBezTo>
                <a:cubicBezTo>
                  <a:pt x="1569" y="422"/>
                  <a:pt x="1569" y="422"/>
                  <a:pt x="1570" y="422"/>
                </a:cubicBezTo>
                <a:cubicBezTo>
                  <a:pt x="1570" y="422"/>
                  <a:pt x="1571" y="422"/>
                  <a:pt x="1571" y="422"/>
                </a:cubicBezTo>
                <a:cubicBezTo>
                  <a:pt x="1572" y="422"/>
                  <a:pt x="1572" y="422"/>
                  <a:pt x="1573" y="422"/>
                </a:cubicBezTo>
                <a:cubicBezTo>
                  <a:pt x="1573" y="423"/>
                  <a:pt x="1574" y="423"/>
                  <a:pt x="1574" y="423"/>
                </a:cubicBezTo>
                <a:cubicBezTo>
                  <a:pt x="1574" y="424"/>
                  <a:pt x="1575" y="424"/>
                  <a:pt x="1575" y="424"/>
                </a:cubicBezTo>
                <a:cubicBezTo>
                  <a:pt x="1575" y="424"/>
                  <a:pt x="1575" y="424"/>
                  <a:pt x="1575" y="424"/>
                </a:cubicBezTo>
                <a:cubicBezTo>
                  <a:pt x="1575" y="424"/>
                  <a:pt x="1575" y="423"/>
                  <a:pt x="1575" y="423"/>
                </a:cubicBezTo>
                <a:cubicBezTo>
                  <a:pt x="1575" y="423"/>
                  <a:pt x="1575" y="423"/>
                  <a:pt x="1576" y="423"/>
                </a:cubicBezTo>
                <a:cubicBezTo>
                  <a:pt x="1576" y="422"/>
                  <a:pt x="1576" y="422"/>
                  <a:pt x="1576" y="422"/>
                </a:cubicBezTo>
                <a:cubicBezTo>
                  <a:pt x="1576" y="422"/>
                  <a:pt x="1576" y="422"/>
                  <a:pt x="1576" y="422"/>
                </a:cubicBezTo>
                <a:cubicBezTo>
                  <a:pt x="1576" y="422"/>
                  <a:pt x="1576" y="422"/>
                  <a:pt x="1577" y="422"/>
                </a:cubicBezTo>
                <a:cubicBezTo>
                  <a:pt x="1577" y="422"/>
                  <a:pt x="1577" y="422"/>
                  <a:pt x="1577" y="423"/>
                </a:cubicBezTo>
                <a:cubicBezTo>
                  <a:pt x="1577" y="423"/>
                  <a:pt x="1577" y="423"/>
                  <a:pt x="1578" y="423"/>
                </a:cubicBezTo>
                <a:cubicBezTo>
                  <a:pt x="1578" y="423"/>
                  <a:pt x="1578" y="423"/>
                  <a:pt x="1579" y="423"/>
                </a:cubicBezTo>
                <a:cubicBezTo>
                  <a:pt x="1579" y="423"/>
                  <a:pt x="1580" y="423"/>
                  <a:pt x="1580" y="423"/>
                </a:cubicBezTo>
                <a:cubicBezTo>
                  <a:pt x="1581" y="423"/>
                  <a:pt x="1581" y="423"/>
                  <a:pt x="1582" y="423"/>
                </a:cubicBezTo>
                <a:cubicBezTo>
                  <a:pt x="1582" y="424"/>
                  <a:pt x="1583" y="424"/>
                  <a:pt x="1583" y="424"/>
                </a:cubicBezTo>
                <a:cubicBezTo>
                  <a:pt x="1583" y="424"/>
                  <a:pt x="1583" y="424"/>
                  <a:pt x="1583" y="424"/>
                </a:cubicBezTo>
                <a:cubicBezTo>
                  <a:pt x="1584" y="424"/>
                  <a:pt x="1584" y="424"/>
                  <a:pt x="1584" y="424"/>
                </a:cubicBezTo>
                <a:cubicBezTo>
                  <a:pt x="1584" y="424"/>
                  <a:pt x="1584" y="424"/>
                  <a:pt x="1584" y="424"/>
                </a:cubicBezTo>
                <a:cubicBezTo>
                  <a:pt x="1585" y="424"/>
                  <a:pt x="1585" y="424"/>
                  <a:pt x="1585" y="424"/>
                </a:cubicBezTo>
                <a:cubicBezTo>
                  <a:pt x="1585" y="424"/>
                  <a:pt x="1586" y="424"/>
                  <a:pt x="1586" y="424"/>
                </a:cubicBezTo>
                <a:cubicBezTo>
                  <a:pt x="1586" y="424"/>
                  <a:pt x="1587" y="423"/>
                  <a:pt x="1587" y="423"/>
                </a:cubicBezTo>
                <a:cubicBezTo>
                  <a:pt x="1588" y="423"/>
                  <a:pt x="1588" y="424"/>
                  <a:pt x="1588" y="424"/>
                </a:cubicBezTo>
                <a:cubicBezTo>
                  <a:pt x="1589" y="424"/>
                  <a:pt x="1589" y="424"/>
                  <a:pt x="1590" y="424"/>
                </a:cubicBezTo>
                <a:cubicBezTo>
                  <a:pt x="1590" y="424"/>
                  <a:pt x="1591" y="424"/>
                  <a:pt x="1591" y="425"/>
                </a:cubicBezTo>
                <a:cubicBezTo>
                  <a:pt x="1591" y="425"/>
                  <a:pt x="1591" y="425"/>
                  <a:pt x="1591" y="425"/>
                </a:cubicBezTo>
                <a:cubicBezTo>
                  <a:pt x="1591" y="425"/>
                  <a:pt x="1591" y="425"/>
                  <a:pt x="1591" y="426"/>
                </a:cubicBezTo>
                <a:cubicBezTo>
                  <a:pt x="1591" y="426"/>
                  <a:pt x="1590" y="426"/>
                  <a:pt x="1590" y="426"/>
                </a:cubicBezTo>
                <a:cubicBezTo>
                  <a:pt x="1590" y="426"/>
                  <a:pt x="1590" y="426"/>
                  <a:pt x="1589" y="426"/>
                </a:cubicBezTo>
                <a:cubicBezTo>
                  <a:pt x="1589" y="427"/>
                  <a:pt x="1590" y="427"/>
                  <a:pt x="1590" y="427"/>
                </a:cubicBezTo>
                <a:cubicBezTo>
                  <a:pt x="1590" y="427"/>
                  <a:pt x="1590" y="427"/>
                  <a:pt x="1590" y="428"/>
                </a:cubicBezTo>
                <a:cubicBezTo>
                  <a:pt x="1590" y="428"/>
                  <a:pt x="1589" y="428"/>
                  <a:pt x="1589" y="428"/>
                </a:cubicBezTo>
                <a:cubicBezTo>
                  <a:pt x="1589" y="428"/>
                  <a:pt x="1589" y="428"/>
                  <a:pt x="1589" y="428"/>
                </a:cubicBezTo>
                <a:cubicBezTo>
                  <a:pt x="1589" y="429"/>
                  <a:pt x="1589" y="429"/>
                  <a:pt x="1589" y="429"/>
                </a:cubicBezTo>
                <a:cubicBezTo>
                  <a:pt x="1589" y="429"/>
                  <a:pt x="1590" y="430"/>
                  <a:pt x="1590" y="430"/>
                </a:cubicBezTo>
                <a:cubicBezTo>
                  <a:pt x="1590" y="430"/>
                  <a:pt x="1591" y="431"/>
                  <a:pt x="1591" y="431"/>
                </a:cubicBezTo>
                <a:cubicBezTo>
                  <a:pt x="1591" y="431"/>
                  <a:pt x="1592" y="432"/>
                  <a:pt x="1592" y="432"/>
                </a:cubicBezTo>
                <a:cubicBezTo>
                  <a:pt x="1592" y="432"/>
                  <a:pt x="1592" y="432"/>
                  <a:pt x="1593" y="432"/>
                </a:cubicBezTo>
                <a:cubicBezTo>
                  <a:pt x="1593" y="432"/>
                  <a:pt x="1594" y="431"/>
                  <a:pt x="1594" y="431"/>
                </a:cubicBezTo>
                <a:cubicBezTo>
                  <a:pt x="1594" y="431"/>
                  <a:pt x="1594" y="431"/>
                  <a:pt x="1594" y="431"/>
                </a:cubicBezTo>
                <a:cubicBezTo>
                  <a:pt x="1595" y="431"/>
                  <a:pt x="1595" y="431"/>
                  <a:pt x="1595" y="431"/>
                </a:cubicBezTo>
                <a:cubicBezTo>
                  <a:pt x="1595" y="430"/>
                  <a:pt x="1595" y="430"/>
                  <a:pt x="1595" y="430"/>
                </a:cubicBezTo>
                <a:cubicBezTo>
                  <a:pt x="1595" y="430"/>
                  <a:pt x="1595" y="430"/>
                  <a:pt x="1595" y="430"/>
                </a:cubicBezTo>
                <a:cubicBezTo>
                  <a:pt x="1596" y="430"/>
                  <a:pt x="1596" y="429"/>
                  <a:pt x="1596" y="429"/>
                </a:cubicBezTo>
                <a:cubicBezTo>
                  <a:pt x="1597" y="429"/>
                  <a:pt x="1597" y="429"/>
                  <a:pt x="1597" y="429"/>
                </a:cubicBezTo>
                <a:cubicBezTo>
                  <a:pt x="1597" y="430"/>
                  <a:pt x="1598" y="430"/>
                  <a:pt x="1598" y="430"/>
                </a:cubicBezTo>
                <a:cubicBezTo>
                  <a:pt x="1598" y="430"/>
                  <a:pt x="1598" y="430"/>
                  <a:pt x="1598" y="429"/>
                </a:cubicBezTo>
                <a:cubicBezTo>
                  <a:pt x="1598" y="429"/>
                  <a:pt x="1598" y="429"/>
                  <a:pt x="1598" y="429"/>
                </a:cubicBezTo>
                <a:cubicBezTo>
                  <a:pt x="1598" y="429"/>
                  <a:pt x="1598" y="429"/>
                  <a:pt x="1598" y="428"/>
                </a:cubicBezTo>
                <a:cubicBezTo>
                  <a:pt x="1598" y="428"/>
                  <a:pt x="1597" y="428"/>
                  <a:pt x="1597" y="427"/>
                </a:cubicBezTo>
                <a:cubicBezTo>
                  <a:pt x="1597" y="427"/>
                  <a:pt x="1597" y="427"/>
                  <a:pt x="1597" y="427"/>
                </a:cubicBezTo>
                <a:cubicBezTo>
                  <a:pt x="1597" y="426"/>
                  <a:pt x="1597" y="426"/>
                  <a:pt x="1597" y="426"/>
                </a:cubicBezTo>
                <a:cubicBezTo>
                  <a:pt x="1598" y="426"/>
                  <a:pt x="1598" y="426"/>
                  <a:pt x="1598" y="426"/>
                </a:cubicBezTo>
                <a:cubicBezTo>
                  <a:pt x="1598" y="426"/>
                  <a:pt x="1598" y="426"/>
                  <a:pt x="1599" y="426"/>
                </a:cubicBezTo>
                <a:cubicBezTo>
                  <a:pt x="1598" y="426"/>
                  <a:pt x="1598" y="426"/>
                  <a:pt x="1598" y="426"/>
                </a:cubicBezTo>
                <a:cubicBezTo>
                  <a:pt x="1598" y="426"/>
                  <a:pt x="1598" y="427"/>
                  <a:pt x="1598" y="427"/>
                </a:cubicBezTo>
                <a:cubicBezTo>
                  <a:pt x="1598" y="427"/>
                  <a:pt x="1598" y="427"/>
                  <a:pt x="1598" y="427"/>
                </a:cubicBezTo>
                <a:cubicBezTo>
                  <a:pt x="1598" y="427"/>
                  <a:pt x="1599" y="427"/>
                  <a:pt x="1599" y="427"/>
                </a:cubicBezTo>
                <a:cubicBezTo>
                  <a:pt x="1599" y="427"/>
                  <a:pt x="1599" y="427"/>
                  <a:pt x="1599" y="427"/>
                </a:cubicBezTo>
                <a:cubicBezTo>
                  <a:pt x="1599" y="427"/>
                  <a:pt x="1600" y="427"/>
                  <a:pt x="1600" y="427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1" y="428"/>
                  <a:pt x="1601" y="428"/>
                </a:cubicBezTo>
                <a:cubicBezTo>
                  <a:pt x="1601" y="428"/>
                  <a:pt x="1601" y="428"/>
                  <a:pt x="1601" y="428"/>
                </a:cubicBezTo>
                <a:cubicBezTo>
                  <a:pt x="1601" y="428"/>
                  <a:pt x="1601" y="428"/>
                  <a:pt x="1601" y="428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0" y="428"/>
                  <a:pt x="1600" y="429"/>
                </a:cubicBezTo>
                <a:cubicBezTo>
                  <a:pt x="1600" y="429"/>
                  <a:pt x="1600" y="429"/>
                  <a:pt x="1601" y="429"/>
                </a:cubicBezTo>
                <a:cubicBezTo>
                  <a:pt x="1601" y="429"/>
                  <a:pt x="1602" y="429"/>
                  <a:pt x="1602" y="429"/>
                </a:cubicBezTo>
                <a:cubicBezTo>
                  <a:pt x="1603" y="429"/>
                  <a:pt x="1604" y="429"/>
                  <a:pt x="1605" y="430"/>
                </a:cubicBezTo>
                <a:cubicBezTo>
                  <a:pt x="1605" y="430"/>
                  <a:pt x="1605" y="430"/>
                  <a:pt x="1606" y="430"/>
                </a:cubicBezTo>
                <a:cubicBezTo>
                  <a:pt x="1606" y="430"/>
                  <a:pt x="1606" y="430"/>
                  <a:pt x="1606" y="430"/>
                </a:cubicBezTo>
                <a:cubicBezTo>
                  <a:pt x="1606" y="430"/>
                  <a:pt x="1606" y="429"/>
                  <a:pt x="1606" y="429"/>
                </a:cubicBezTo>
                <a:cubicBezTo>
                  <a:pt x="1606" y="429"/>
                  <a:pt x="1606" y="429"/>
                  <a:pt x="1606" y="428"/>
                </a:cubicBezTo>
                <a:cubicBezTo>
                  <a:pt x="1607" y="428"/>
                  <a:pt x="1607" y="428"/>
                  <a:pt x="1608" y="429"/>
                </a:cubicBezTo>
                <a:cubicBezTo>
                  <a:pt x="1608" y="429"/>
                  <a:pt x="1608" y="429"/>
                  <a:pt x="1608" y="429"/>
                </a:cubicBezTo>
                <a:cubicBezTo>
                  <a:pt x="1608" y="429"/>
                  <a:pt x="1608" y="429"/>
                  <a:pt x="1608" y="430"/>
                </a:cubicBezTo>
                <a:cubicBezTo>
                  <a:pt x="1608" y="430"/>
                  <a:pt x="1608" y="430"/>
                  <a:pt x="1608" y="430"/>
                </a:cubicBezTo>
                <a:cubicBezTo>
                  <a:pt x="1608" y="430"/>
                  <a:pt x="1608" y="431"/>
                  <a:pt x="1608" y="431"/>
                </a:cubicBezTo>
                <a:cubicBezTo>
                  <a:pt x="1608" y="431"/>
                  <a:pt x="1608" y="431"/>
                  <a:pt x="1609" y="431"/>
                </a:cubicBezTo>
                <a:cubicBezTo>
                  <a:pt x="1609" y="431"/>
                  <a:pt x="1609" y="431"/>
                  <a:pt x="1610" y="431"/>
                </a:cubicBezTo>
                <a:cubicBezTo>
                  <a:pt x="1610" y="430"/>
                  <a:pt x="1610" y="430"/>
                  <a:pt x="1610" y="429"/>
                </a:cubicBezTo>
                <a:cubicBezTo>
                  <a:pt x="1610" y="429"/>
                  <a:pt x="1610" y="429"/>
                  <a:pt x="1610" y="429"/>
                </a:cubicBezTo>
                <a:cubicBezTo>
                  <a:pt x="1611" y="429"/>
                  <a:pt x="1611" y="429"/>
                  <a:pt x="1612" y="429"/>
                </a:cubicBezTo>
                <a:cubicBezTo>
                  <a:pt x="1612" y="429"/>
                  <a:pt x="1612" y="429"/>
                  <a:pt x="1612" y="429"/>
                </a:cubicBezTo>
                <a:cubicBezTo>
                  <a:pt x="1613" y="429"/>
                  <a:pt x="1613" y="429"/>
                  <a:pt x="1613" y="429"/>
                </a:cubicBezTo>
                <a:cubicBezTo>
                  <a:pt x="1613" y="428"/>
                  <a:pt x="1613" y="428"/>
                  <a:pt x="1612" y="428"/>
                </a:cubicBezTo>
                <a:cubicBezTo>
                  <a:pt x="1613" y="428"/>
                  <a:pt x="1613" y="428"/>
                  <a:pt x="1613" y="427"/>
                </a:cubicBezTo>
                <a:cubicBezTo>
                  <a:pt x="1613" y="427"/>
                  <a:pt x="1614" y="427"/>
                  <a:pt x="1614" y="427"/>
                </a:cubicBezTo>
                <a:cubicBezTo>
                  <a:pt x="1614" y="427"/>
                  <a:pt x="1614" y="428"/>
                  <a:pt x="1615" y="428"/>
                </a:cubicBezTo>
                <a:cubicBezTo>
                  <a:pt x="1615" y="428"/>
                  <a:pt x="1615" y="428"/>
                  <a:pt x="1615" y="428"/>
                </a:cubicBezTo>
                <a:cubicBezTo>
                  <a:pt x="1615" y="428"/>
                  <a:pt x="1614" y="428"/>
                  <a:pt x="1614" y="428"/>
                </a:cubicBezTo>
                <a:cubicBezTo>
                  <a:pt x="1614" y="429"/>
                  <a:pt x="1614" y="429"/>
                  <a:pt x="1613" y="429"/>
                </a:cubicBezTo>
                <a:cubicBezTo>
                  <a:pt x="1613" y="430"/>
                  <a:pt x="1613" y="431"/>
                  <a:pt x="1613" y="431"/>
                </a:cubicBezTo>
                <a:cubicBezTo>
                  <a:pt x="1613" y="431"/>
                  <a:pt x="1613" y="432"/>
                  <a:pt x="1613" y="432"/>
                </a:cubicBezTo>
                <a:cubicBezTo>
                  <a:pt x="1614" y="432"/>
                  <a:pt x="1614" y="432"/>
                  <a:pt x="1614" y="432"/>
                </a:cubicBezTo>
                <a:cubicBezTo>
                  <a:pt x="1614" y="432"/>
                  <a:pt x="1615" y="431"/>
                  <a:pt x="1615" y="431"/>
                </a:cubicBezTo>
                <a:cubicBezTo>
                  <a:pt x="1615" y="431"/>
                  <a:pt x="1615" y="431"/>
                  <a:pt x="1616" y="431"/>
                </a:cubicBezTo>
                <a:cubicBezTo>
                  <a:pt x="1616" y="431"/>
                  <a:pt x="1616" y="431"/>
                  <a:pt x="1617" y="431"/>
                </a:cubicBezTo>
                <a:cubicBezTo>
                  <a:pt x="1617" y="431"/>
                  <a:pt x="1617" y="431"/>
                  <a:pt x="1618" y="430"/>
                </a:cubicBezTo>
                <a:cubicBezTo>
                  <a:pt x="1618" y="430"/>
                  <a:pt x="1618" y="430"/>
                  <a:pt x="1618" y="430"/>
                </a:cubicBezTo>
                <a:cubicBezTo>
                  <a:pt x="1618" y="430"/>
                  <a:pt x="1619" y="430"/>
                  <a:pt x="1619" y="430"/>
                </a:cubicBezTo>
                <a:cubicBezTo>
                  <a:pt x="1619" y="429"/>
                  <a:pt x="1619" y="429"/>
                  <a:pt x="1619" y="429"/>
                </a:cubicBezTo>
                <a:cubicBezTo>
                  <a:pt x="1619" y="429"/>
                  <a:pt x="1619" y="429"/>
                  <a:pt x="1619" y="428"/>
                </a:cubicBezTo>
                <a:cubicBezTo>
                  <a:pt x="1618" y="428"/>
                  <a:pt x="1618" y="427"/>
                  <a:pt x="1618" y="427"/>
                </a:cubicBezTo>
                <a:cubicBezTo>
                  <a:pt x="1618" y="427"/>
                  <a:pt x="1618" y="426"/>
                  <a:pt x="1618" y="426"/>
                </a:cubicBezTo>
                <a:cubicBezTo>
                  <a:pt x="1618" y="425"/>
                  <a:pt x="1618" y="425"/>
                  <a:pt x="1618" y="424"/>
                </a:cubicBezTo>
                <a:cubicBezTo>
                  <a:pt x="1619" y="424"/>
                  <a:pt x="1619" y="423"/>
                  <a:pt x="1620" y="422"/>
                </a:cubicBezTo>
                <a:cubicBezTo>
                  <a:pt x="1620" y="422"/>
                  <a:pt x="1620" y="422"/>
                  <a:pt x="1620" y="421"/>
                </a:cubicBezTo>
                <a:cubicBezTo>
                  <a:pt x="1620" y="420"/>
                  <a:pt x="1620" y="419"/>
                  <a:pt x="1620" y="418"/>
                </a:cubicBezTo>
                <a:cubicBezTo>
                  <a:pt x="1620" y="418"/>
                  <a:pt x="1620" y="417"/>
                  <a:pt x="1620" y="417"/>
                </a:cubicBezTo>
                <a:cubicBezTo>
                  <a:pt x="1620" y="416"/>
                  <a:pt x="1620" y="416"/>
                  <a:pt x="1620" y="416"/>
                </a:cubicBezTo>
                <a:cubicBezTo>
                  <a:pt x="1620" y="416"/>
                  <a:pt x="1620" y="415"/>
                  <a:pt x="1621" y="415"/>
                </a:cubicBezTo>
                <a:cubicBezTo>
                  <a:pt x="1621" y="415"/>
                  <a:pt x="1622" y="415"/>
                  <a:pt x="1622" y="415"/>
                </a:cubicBezTo>
                <a:cubicBezTo>
                  <a:pt x="1623" y="415"/>
                  <a:pt x="1623" y="415"/>
                  <a:pt x="1623" y="415"/>
                </a:cubicBezTo>
                <a:cubicBezTo>
                  <a:pt x="1623" y="416"/>
                  <a:pt x="1623" y="416"/>
                  <a:pt x="1623" y="416"/>
                </a:cubicBezTo>
                <a:cubicBezTo>
                  <a:pt x="1623" y="416"/>
                  <a:pt x="1624" y="416"/>
                  <a:pt x="1624" y="416"/>
                </a:cubicBezTo>
                <a:cubicBezTo>
                  <a:pt x="1624" y="415"/>
                  <a:pt x="1624" y="415"/>
                  <a:pt x="1624" y="415"/>
                </a:cubicBezTo>
                <a:cubicBezTo>
                  <a:pt x="1624" y="415"/>
                  <a:pt x="1624" y="415"/>
                  <a:pt x="1624" y="414"/>
                </a:cubicBezTo>
                <a:cubicBezTo>
                  <a:pt x="1624" y="414"/>
                  <a:pt x="1624" y="414"/>
                  <a:pt x="1624" y="414"/>
                </a:cubicBezTo>
                <a:cubicBezTo>
                  <a:pt x="1624" y="414"/>
                  <a:pt x="1624" y="413"/>
                  <a:pt x="1624" y="413"/>
                </a:cubicBezTo>
                <a:cubicBezTo>
                  <a:pt x="1624" y="413"/>
                  <a:pt x="1624" y="413"/>
                  <a:pt x="1624" y="413"/>
                </a:cubicBezTo>
                <a:cubicBezTo>
                  <a:pt x="1624" y="413"/>
                  <a:pt x="1624" y="412"/>
                  <a:pt x="1624" y="412"/>
                </a:cubicBezTo>
                <a:cubicBezTo>
                  <a:pt x="1624" y="412"/>
                  <a:pt x="1625" y="412"/>
                  <a:pt x="1625" y="412"/>
                </a:cubicBezTo>
                <a:cubicBezTo>
                  <a:pt x="1625" y="412"/>
                  <a:pt x="1625" y="412"/>
                  <a:pt x="1625" y="412"/>
                </a:cubicBezTo>
                <a:cubicBezTo>
                  <a:pt x="1625" y="412"/>
                  <a:pt x="1625" y="411"/>
                  <a:pt x="1625" y="411"/>
                </a:cubicBezTo>
                <a:cubicBezTo>
                  <a:pt x="1625" y="411"/>
                  <a:pt x="1625" y="411"/>
                  <a:pt x="1625" y="411"/>
                </a:cubicBezTo>
                <a:cubicBezTo>
                  <a:pt x="1625" y="411"/>
                  <a:pt x="1625" y="410"/>
                  <a:pt x="1625" y="410"/>
                </a:cubicBezTo>
                <a:cubicBezTo>
                  <a:pt x="1625" y="410"/>
                  <a:pt x="1625" y="410"/>
                  <a:pt x="1626" y="410"/>
                </a:cubicBezTo>
                <a:cubicBezTo>
                  <a:pt x="1626" y="409"/>
                  <a:pt x="1626" y="409"/>
                  <a:pt x="1625" y="409"/>
                </a:cubicBezTo>
                <a:cubicBezTo>
                  <a:pt x="1626" y="409"/>
                  <a:pt x="1626" y="408"/>
                  <a:pt x="1626" y="408"/>
                </a:cubicBezTo>
                <a:cubicBezTo>
                  <a:pt x="1626" y="407"/>
                  <a:pt x="1625" y="407"/>
                  <a:pt x="1625" y="406"/>
                </a:cubicBezTo>
                <a:cubicBezTo>
                  <a:pt x="1625" y="406"/>
                  <a:pt x="1625" y="406"/>
                  <a:pt x="1625" y="406"/>
                </a:cubicBezTo>
                <a:cubicBezTo>
                  <a:pt x="1625" y="406"/>
                  <a:pt x="1624" y="406"/>
                  <a:pt x="1624" y="406"/>
                </a:cubicBezTo>
                <a:cubicBezTo>
                  <a:pt x="1624" y="405"/>
                  <a:pt x="1625" y="405"/>
                  <a:pt x="1625" y="404"/>
                </a:cubicBezTo>
                <a:cubicBezTo>
                  <a:pt x="1625" y="404"/>
                  <a:pt x="1624" y="403"/>
                  <a:pt x="1624" y="403"/>
                </a:cubicBezTo>
                <a:cubicBezTo>
                  <a:pt x="1624" y="402"/>
                  <a:pt x="1623" y="401"/>
                  <a:pt x="1623" y="401"/>
                </a:cubicBezTo>
                <a:cubicBezTo>
                  <a:pt x="1623" y="400"/>
                  <a:pt x="1623" y="400"/>
                  <a:pt x="1622" y="400"/>
                </a:cubicBezTo>
                <a:cubicBezTo>
                  <a:pt x="1622" y="399"/>
                  <a:pt x="1622" y="399"/>
                  <a:pt x="1623" y="399"/>
                </a:cubicBezTo>
                <a:cubicBezTo>
                  <a:pt x="1623" y="398"/>
                  <a:pt x="1623" y="398"/>
                  <a:pt x="1623" y="397"/>
                </a:cubicBezTo>
                <a:cubicBezTo>
                  <a:pt x="1623" y="397"/>
                  <a:pt x="1623" y="397"/>
                  <a:pt x="1623" y="397"/>
                </a:cubicBezTo>
                <a:cubicBezTo>
                  <a:pt x="1623" y="397"/>
                  <a:pt x="1623" y="397"/>
                  <a:pt x="1622" y="397"/>
                </a:cubicBezTo>
                <a:cubicBezTo>
                  <a:pt x="1622" y="397"/>
                  <a:pt x="1622" y="397"/>
                  <a:pt x="1622" y="397"/>
                </a:cubicBezTo>
                <a:cubicBezTo>
                  <a:pt x="1622" y="397"/>
                  <a:pt x="1622" y="397"/>
                  <a:pt x="1622" y="397"/>
                </a:cubicBezTo>
                <a:cubicBezTo>
                  <a:pt x="1621" y="396"/>
                  <a:pt x="1621" y="396"/>
                  <a:pt x="1621" y="396"/>
                </a:cubicBezTo>
                <a:cubicBezTo>
                  <a:pt x="1621" y="396"/>
                  <a:pt x="1621" y="396"/>
                  <a:pt x="1620" y="396"/>
                </a:cubicBezTo>
                <a:cubicBezTo>
                  <a:pt x="1620" y="396"/>
                  <a:pt x="1620" y="396"/>
                  <a:pt x="1620" y="396"/>
                </a:cubicBezTo>
                <a:cubicBezTo>
                  <a:pt x="1620" y="396"/>
                  <a:pt x="1620" y="396"/>
                  <a:pt x="1620" y="397"/>
                </a:cubicBezTo>
                <a:cubicBezTo>
                  <a:pt x="1620" y="397"/>
                  <a:pt x="1619" y="397"/>
                  <a:pt x="1619" y="397"/>
                </a:cubicBezTo>
                <a:cubicBezTo>
                  <a:pt x="1619" y="397"/>
                  <a:pt x="1620" y="398"/>
                  <a:pt x="1620" y="398"/>
                </a:cubicBezTo>
                <a:cubicBezTo>
                  <a:pt x="1620" y="398"/>
                  <a:pt x="1620" y="398"/>
                  <a:pt x="1620" y="398"/>
                </a:cubicBezTo>
                <a:cubicBezTo>
                  <a:pt x="1621" y="398"/>
                  <a:pt x="1621" y="398"/>
                  <a:pt x="1622" y="398"/>
                </a:cubicBezTo>
                <a:cubicBezTo>
                  <a:pt x="1622" y="398"/>
                  <a:pt x="1622" y="398"/>
                  <a:pt x="1622" y="399"/>
                </a:cubicBezTo>
                <a:cubicBezTo>
                  <a:pt x="1622" y="399"/>
                  <a:pt x="1621" y="399"/>
                  <a:pt x="1621" y="399"/>
                </a:cubicBezTo>
                <a:cubicBezTo>
                  <a:pt x="1621" y="399"/>
                  <a:pt x="1621" y="399"/>
                  <a:pt x="1620" y="399"/>
                </a:cubicBezTo>
                <a:cubicBezTo>
                  <a:pt x="1620" y="399"/>
                  <a:pt x="1620" y="399"/>
                  <a:pt x="1620" y="399"/>
                </a:cubicBezTo>
                <a:cubicBezTo>
                  <a:pt x="1620" y="398"/>
                  <a:pt x="1620" y="398"/>
                  <a:pt x="1620" y="398"/>
                </a:cubicBezTo>
                <a:cubicBezTo>
                  <a:pt x="1620" y="399"/>
                  <a:pt x="1620" y="399"/>
                  <a:pt x="1620" y="399"/>
                </a:cubicBezTo>
                <a:cubicBezTo>
                  <a:pt x="1619" y="399"/>
                  <a:pt x="1619" y="399"/>
                  <a:pt x="1619" y="399"/>
                </a:cubicBezTo>
                <a:cubicBezTo>
                  <a:pt x="1619" y="399"/>
                  <a:pt x="1619" y="399"/>
                  <a:pt x="1618" y="399"/>
                </a:cubicBezTo>
                <a:cubicBezTo>
                  <a:pt x="1618" y="399"/>
                  <a:pt x="1618" y="399"/>
                  <a:pt x="1619" y="398"/>
                </a:cubicBezTo>
                <a:cubicBezTo>
                  <a:pt x="1619" y="398"/>
                  <a:pt x="1619" y="398"/>
                  <a:pt x="1619" y="398"/>
                </a:cubicBezTo>
                <a:cubicBezTo>
                  <a:pt x="1619" y="397"/>
                  <a:pt x="1619" y="397"/>
                  <a:pt x="1618" y="397"/>
                </a:cubicBezTo>
                <a:cubicBezTo>
                  <a:pt x="1618" y="397"/>
                  <a:pt x="1618" y="397"/>
                  <a:pt x="1618" y="397"/>
                </a:cubicBezTo>
                <a:cubicBezTo>
                  <a:pt x="1618" y="397"/>
                  <a:pt x="1617" y="397"/>
                  <a:pt x="1617" y="397"/>
                </a:cubicBezTo>
                <a:cubicBezTo>
                  <a:pt x="1617" y="397"/>
                  <a:pt x="1617" y="397"/>
                  <a:pt x="1617" y="397"/>
                </a:cubicBezTo>
                <a:cubicBezTo>
                  <a:pt x="1617" y="397"/>
                  <a:pt x="1617" y="398"/>
                  <a:pt x="1617" y="398"/>
                </a:cubicBezTo>
                <a:cubicBezTo>
                  <a:pt x="1617" y="398"/>
                  <a:pt x="1617" y="399"/>
                  <a:pt x="1617" y="399"/>
                </a:cubicBezTo>
                <a:cubicBezTo>
                  <a:pt x="1616" y="399"/>
                  <a:pt x="1616" y="399"/>
                  <a:pt x="1616" y="399"/>
                </a:cubicBezTo>
                <a:cubicBezTo>
                  <a:pt x="1616" y="399"/>
                  <a:pt x="1615" y="399"/>
                  <a:pt x="1615" y="399"/>
                </a:cubicBezTo>
                <a:cubicBezTo>
                  <a:pt x="1615" y="399"/>
                  <a:pt x="1615" y="399"/>
                  <a:pt x="1615" y="400"/>
                </a:cubicBezTo>
                <a:cubicBezTo>
                  <a:pt x="1615" y="400"/>
                  <a:pt x="1615" y="401"/>
                  <a:pt x="1616" y="401"/>
                </a:cubicBezTo>
                <a:cubicBezTo>
                  <a:pt x="1616" y="401"/>
                  <a:pt x="1616" y="401"/>
                  <a:pt x="1616" y="402"/>
                </a:cubicBezTo>
                <a:cubicBezTo>
                  <a:pt x="1616" y="402"/>
                  <a:pt x="1615" y="402"/>
                  <a:pt x="1615" y="402"/>
                </a:cubicBezTo>
                <a:cubicBezTo>
                  <a:pt x="1615" y="402"/>
                  <a:pt x="1615" y="402"/>
                  <a:pt x="1614" y="402"/>
                </a:cubicBezTo>
                <a:cubicBezTo>
                  <a:pt x="1614" y="402"/>
                  <a:pt x="1614" y="402"/>
                  <a:pt x="1614" y="402"/>
                </a:cubicBezTo>
                <a:cubicBezTo>
                  <a:pt x="1613" y="402"/>
                  <a:pt x="1613" y="402"/>
                  <a:pt x="1613" y="402"/>
                </a:cubicBezTo>
                <a:cubicBezTo>
                  <a:pt x="1613" y="403"/>
                  <a:pt x="1614" y="403"/>
                  <a:pt x="1614" y="403"/>
                </a:cubicBezTo>
                <a:cubicBezTo>
                  <a:pt x="1614" y="403"/>
                  <a:pt x="1614" y="403"/>
                  <a:pt x="1615" y="403"/>
                </a:cubicBezTo>
                <a:cubicBezTo>
                  <a:pt x="1615" y="403"/>
                  <a:pt x="1615" y="403"/>
                  <a:pt x="1615" y="403"/>
                </a:cubicBezTo>
                <a:cubicBezTo>
                  <a:pt x="1616" y="404"/>
                  <a:pt x="1616" y="404"/>
                  <a:pt x="1616" y="405"/>
                </a:cubicBezTo>
                <a:cubicBezTo>
                  <a:pt x="1616" y="406"/>
                  <a:pt x="1616" y="406"/>
                  <a:pt x="1615" y="407"/>
                </a:cubicBezTo>
                <a:cubicBezTo>
                  <a:pt x="1615" y="407"/>
                  <a:pt x="1615" y="407"/>
                  <a:pt x="1615" y="408"/>
                </a:cubicBezTo>
                <a:cubicBezTo>
                  <a:pt x="1615" y="408"/>
                  <a:pt x="1614" y="409"/>
                  <a:pt x="1614" y="409"/>
                </a:cubicBezTo>
                <a:cubicBezTo>
                  <a:pt x="1614" y="410"/>
                  <a:pt x="1613" y="411"/>
                  <a:pt x="1612" y="411"/>
                </a:cubicBezTo>
                <a:cubicBezTo>
                  <a:pt x="1612" y="412"/>
                  <a:pt x="1612" y="412"/>
                  <a:pt x="1612" y="412"/>
                </a:cubicBezTo>
                <a:cubicBezTo>
                  <a:pt x="1612" y="413"/>
                  <a:pt x="1612" y="413"/>
                  <a:pt x="1611" y="413"/>
                </a:cubicBezTo>
                <a:cubicBezTo>
                  <a:pt x="1611" y="413"/>
                  <a:pt x="1610" y="413"/>
                  <a:pt x="1610" y="413"/>
                </a:cubicBezTo>
                <a:cubicBezTo>
                  <a:pt x="1610" y="414"/>
                  <a:pt x="1609" y="414"/>
                  <a:pt x="1609" y="414"/>
                </a:cubicBezTo>
                <a:cubicBezTo>
                  <a:pt x="1609" y="414"/>
                  <a:pt x="1609" y="415"/>
                  <a:pt x="1609" y="415"/>
                </a:cubicBezTo>
                <a:cubicBezTo>
                  <a:pt x="1608" y="415"/>
                  <a:pt x="1608" y="415"/>
                  <a:pt x="1608" y="416"/>
                </a:cubicBezTo>
                <a:cubicBezTo>
                  <a:pt x="1608" y="416"/>
                  <a:pt x="1607" y="416"/>
                  <a:pt x="1607" y="416"/>
                </a:cubicBezTo>
                <a:cubicBezTo>
                  <a:pt x="1607" y="416"/>
                  <a:pt x="1606" y="416"/>
                  <a:pt x="1606" y="417"/>
                </a:cubicBezTo>
                <a:cubicBezTo>
                  <a:pt x="1605" y="417"/>
                  <a:pt x="1604" y="417"/>
                  <a:pt x="1603" y="417"/>
                </a:cubicBezTo>
                <a:cubicBezTo>
                  <a:pt x="1603" y="417"/>
                  <a:pt x="1602" y="416"/>
                  <a:pt x="1602" y="416"/>
                </a:cubicBezTo>
                <a:cubicBezTo>
                  <a:pt x="1602" y="417"/>
                  <a:pt x="1601" y="417"/>
                  <a:pt x="1601" y="417"/>
                </a:cubicBezTo>
                <a:cubicBezTo>
                  <a:pt x="1601" y="417"/>
                  <a:pt x="1600" y="416"/>
                  <a:pt x="1600" y="416"/>
                </a:cubicBezTo>
                <a:cubicBezTo>
                  <a:pt x="1600" y="415"/>
                  <a:pt x="1600" y="415"/>
                  <a:pt x="1599" y="414"/>
                </a:cubicBezTo>
                <a:cubicBezTo>
                  <a:pt x="1599" y="414"/>
                  <a:pt x="1599" y="414"/>
                  <a:pt x="1599" y="414"/>
                </a:cubicBezTo>
                <a:cubicBezTo>
                  <a:pt x="1600" y="414"/>
                  <a:pt x="1600" y="414"/>
                  <a:pt x="1600" y="414"/>
                </a:cubicBezTo>
                <a:cubicBezTo>
                  <a:pt x="1600" y="414"/>
                  <a:pt x="1601" y="414"/>
                  <a:pt x="1601" y="414"/>
                </a:cubicBezTo>
                <a:cubicBezTo>
                  <a:pt x="1601" y="414"/>
                  <a:pt x="1601" y="413"/>
                  <a:pt x="1601" y="413"/>
                </a:cubicBezTo>
                <a:cubicBezTo>
                  <a:pt x="1601" y="413"/>
                  <a:pt x="1601" y="413"/>
                  <a:pt x="1602" y="413"/>
                </a:cubicBezTo>
                <a:cubicBezTo>
                  <a:pt x="1602" y="413"/>
                  <a:pt x="1602" y="413"/>
                  <a:pt x="1602" y="413"/>
                </a:cubicBezTo>
                <a:cubicBezTo>
                  <a:pt x="1601" y="413"/>
                  <a:pt x="1601" y="413"/>
                  <a:pt x="1601" y="413"/>
                </a:cubicBezTo>
                <a:cubicBezTo>
                  <a:pt x="1600" y="413"/>
                  <a:pt x="1600" y="413"/>
                  <a:pt x="1599" y="413"/>
                </a:cubicBezTo>
                <a:cubicBezTo>
                  <a:pt x="1599" y="413"/>
                  <a:pt x="1599" y="413"/>
                  <a:pt x="1598" y="413"/>
                </a:cubicBezTo>
                <a:cubicBezTo>
                  <a:pt x="1598" y="413"/>
                  <a:pt x="1598" y="413"/>
                  <a:pt x="1598" y="413"/>
                </a:cubicBezTo>
                <a:cubicBezTo>
                  <a:pt x="1598" y="414"/>
                  <a:pt x="1598" y="414"/>
                  <a:pt x="1598" y="414"/>
                </a:cubicBezTo>
                <a:cubicBezTo>
                  <a:pt x="1598" y="415"/>
                  <a:pt x="1598" y="416"/>
                  <a:pt x="1598" y="416"/>
                </a:cubicBezTo>
                <a:cubicBezTo>
                  <a:pt x="1597" y="416"/>
                  <a:pt x="1597" y="417"/>
                  <a:pt x="1597" y="417"/>
                </a:cubicBezTo>
                <a:cubicBezTo>
                  <a:pt x="1597" y="417"/>
                  <a:pt x="1596" y="417"/>
                  <a:pt x="1596" y="417"/>
                </a:cubicBezTo>
                <a:cubicBezTo>
                  <a:pt x="1596" y="417"/>
                  <a:pt x="1595" y="417"/>
                  <a:pt x="1595" y="418"/>
                </a:cubicBezTo>
                <a:cubicBezTo>
                  <a:pt x="1595" y="418"/>
                  <a:pt x="1595" y="418"/>
                  <a:pt x="1595" y="418"/>
                </a:cubicBezTo>
                <a:cubicBezTo>
                  <a:pt x="1595" y="418"/>
                  <a:pt x="1594" y="419"/>
                  <a:pt x="1594" y="419"/>
                </a:cubicBezTo>
                <a:cubicBezTo>
                  <a:pt x="1594" y="419"/>
                  <a:pt x="1594" y="419"/>
                  <a:pt x="1594" y="419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1"/>
                </a:cubicBezTo>
                <a:cubicBezTo>
                  <a:pt x="1593" y="421"/>
                  <a:pt x="1593" y="420"/>
                  <a:pt x="1593" y="420"/>
                </a:cubicBezTo>
                <a:cubicBezTo>
                  <a:pt x="1593" y="421"/>
                  <a:pt x="1593" y="421"/>
                  <a:pt x="1593" y="421"/>
                </a:cubicBezTo>
                <a:cubicBezTo>
                  <a:pt x="1593" y="421"/>
                  <a:pt x="1593" y="421"/>
                  <a:pt x="1593" y="421"/>
                </a:cubicBezTo>
                <a:cubicBezTo>
                  <a:pt x="1592" y="421"/>
                  <a:pt x="1592" y="420"/>
                  <a:pt x="1592" y="420"/>
                </a:cubicBezTo>
                <a:cubicBezTo>
                  <a:pt x="1592" y="420"/>
                  <a:pt x="1592" y="420"/>
                  <a:pt x="1591" y="420"/>
                </a:cubicBezTo>
                <a:cubicBezTo>
                  <a:pt x="1591" y="420"/>
                  <a:pt x="1591" y="420"/>
                  <a:pt x="1591" y="420"/>
                </a:cubicBezTo>
                <a:cubicBezTo>
                  <a:pt x="1591" y="420"/>
                  <a:pt x="1591" y="420"/>
                  <a:pt x="1591" y="419"/>
                </a:cubicBezTo>
                <a:cubicBezTo>
                  <a:pt x="1591" y="419"/>
                  <a:pt x="1591" y="419"/>
                  <a:pt x="1591" y="419"/>
                </a:cubicBezTo>
                <a:cubicBezTo>
                  <a:pt x="1590" y="419"/>
                  <a:pt x="1590" y="419"/>
                  <a:pt x="1590" y="419"/>
                </a:cubicBezTo>
                <a:cubicBezTo>
                  <a:pt x="1590" y="419"/>
                  <a:pt x="1589" y="419"/>
                  <a:pt x="1589" y="419"/>
                </a:cubicBezTo>
                <a:cubicBezTo>
                  <a:pt x="1589" y="419"/>
                  <a:pt x="1589" y="419"/>
                  <a:pt x="1589" y="419"/>
                </a:cubicBezTo>
                <a:cubicBezTo>
                  <a:pt x="1588" y="419"/>
                  <a:pt x="1587" y="418"/>
                  <a:pt x="1587" y="418"/>
                </a:cubicBezTo>
                <a:cubicBezTo>
                  <a:pt x="1586" y="418"/>
                  <a:pt x="1586" y="418"/>
                  <a:pt x="1585" y="418"/>
                </a:cubicBezTo>
                <a:cubicBezTo>
                  <a:pt x="1585" y="418"/>
                  <a:pt x="1585" y="418"/>
                  <a:pt x="1584" y="418"/>
                </a:cubicBezTo>
                <a:cubicBezTo>
                  <a:pt x="1584" y="418"/>
                  <a:pt x="1583" y="418"/>
                  <a:pt x="1583" y="418"/>
                </a:cubicBezTo>
                <a:cubicBezTo>
                  <a:pt x="1582" y="418"/>
                  <a:pt x="1582" y="418"/>
                  <a:pt x="1581" y="417"/>
                </a:cubicBezTo>
                <a:cubicBezTo>
                  <a:pt x="1581" y="417"/>
                  <a:pt x="1581" y="417"/>
                  <a:pt x="1581" y="417"/>
                </a:cubicBezTo>
                <a:cubicBezTo>
                  <a:pt x="1581" y="417"/>
                  <a:pt x="1580" y="417"/>
                  <a:pt x="1580" y="417"/>
                </a:cubicBezTo>
                <a:cubicBezTo>
                  <a:pt x="1579" y="417"/>
                  <a:pt x="1579" y="417"/>
                  <a:pt x="1578" y="417"/>
                </a:cubicBezTo>
                <a:cubicBezTo>
                  <a:pt x="1578" y="417"/>
                  <a:pt x="1577" y="417"/>
                  <a:pt x="1577" y="418"/>
                </a:cubicBezTo>
                <a:cubicBezTo>
                  <a:pt x="1577" y="418"/>
                  <a:pt x="1577" y="418"/>
                  <a:pt x="1576" y="418"/>
                </a:cubicBezTo>
                <a:cubicBezTo>
                  <a:pt x="1576" y="418"/>
                  <a:pt x="1576" y="418"/>
                  <a:pt x="1576" y="418"/>
                </a:cubicBezTo>
                <a:cubicBezTo>
                  <a:pt x="1575" y="418"/>
                  <a:pt x="1575" y="419"/>
                  <a:pt x="1574" y="419"/>
                </a:cubicBezTo>
                <a:cubicBezTo>
                  <a:pt x="1574" y="419"/>
                  <a:pt x="1573" y="419"/>
                  <a:pt x="1573" y="419"/>
                </a:cubicBezTo>
                <a:cubicBezTo>
                  <a:pt x="1573" y="419"/>
                  <a:pt x="1572" y="419"/>
                  <a:pt x="1572" y="419"/>
                </a:cubicBezTo>
                <a:cubicBezTo>
                  <a:pt x="1572" y="419"/>
                  <a:pt x="1572" y="419"/>
                  <a:pt x="1572" y="419"/>
                </a:cubicBezTo>
                <a:cubicBezTo>
                  <a:pt x="1571" y="419"/>
                  <a:pt x="1571" y="420"/>
                  <a:pt x="1571" y="420"/>
                </a:cubicBezTo>
                <a:cubicBezTo>
                  <a:pt x="1570" y="420"/>
                  <a:pt x="1570" y="419"/>
                  <a:pt x="1569" y="419"/>
                </a:cubicBezTo>
                <a:cubicBezTo>
                  <a:pt x="1569" y="419"/>
                  <a:pt x="1569" y="420"/>
                  <a:pt x="1569" y="420"/>
                </a:cubicBezTo>
                <a:cubicBezTo>
                  <a:pt x="1569" y="420"/>
                  <a:pt x="1569" y="420"/>
                  <a:pt x="1569" y="421"/>
                </a:cubicBezTo>
                <a:cubicBezTo>
                  <a:pt x="1569" y="421"/>
                  <a:pt x="1569" y="421"/>
                  <a:pt x="1569" y="421"/>
                </a:cubicBezTo>
                <a:cubicBezTo>
                  <a:pt x="1569" y="421"/>
                  <a:pt x="1569" y="421"/>
                  <a:pt x="1569" y="422"/>
                </a:cubicBezTo>
                <a:cubicBezTo>
                  <a:pt x="1569" y="422"/>
                  <a:pt x="1569" y="422"/>
                  <a:pt x="1569" y="422"/>
                </a:cubicBezTo>
                <a:close/>
                <a:moveTo>
                  <a:pt x="1560" y="423"/>
                </a:moveTo>
                <a:cubicBezTo>
                  <a:pt x="1560" y="423"/>
                  <a:pt x="1560" y="423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lose/>
                <a:moveTo>
                  <a:pt x="1560" y="422"/>
                </a:moveTo>
                <a:cubicBezTo>
                  <a:pt x="1560" y="422"/>
                  <a:pt x="1560" y="422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ubicBezTo>
                  <a:pt x="1561" y="423"/>
                  <a:pt x="1561" y="423"/>
                  <a:pt x="1561" y="423"/>
                </a:cubicBezTo>
                <a:cubicBezTo>
                  <a:pt x="1561" y="423"/>
                  <a:pt x="1560" y="423"/>
                  <a:pt x="1560" y="422"/>
                </a:cubicBezTo>
                <a:cubicBezTo>
                  <a:pt x="1560" y="422"/>
                  <a:pt x="1560" y="422"/>
                  <a:pt x="1560" y="422"/>
                </a:cubicBezTo>
                <a:close/>
                <a:moveTo>
                  <a:pt x="1567" y="439"/>
                </a:moveTo>
                <a:cubicBezTo>
                  <a:pt x="1567" y="439"/>
                  <a:pt x="1567" y="439"/>
                  <a:pt x="1567" y="439"/>
                </a:cubicBezTo>
                <a:cubicBezTo>
                  <a:pt x="1568" y="439"/>
                  <a:pt x="1568" y="438"/>
                  <a:pt x="1568" y="438"/>
                </a:cubicBezTo>
                <a:cubicBezTo>
                  <a:pt x="1568" y="438"/>
                  <a:pt x="1568" y="438"/>
                  <a:pt x="1568" y="438"/>
                </a:cubicBezTo>
                <a:cubicBezTo>
                  <a:pt x="1568" y="438"/>
                  <a:pt x="1568" y="437"/>
                  <a:pt x="1568" y="437"/>
                </a:cubicBezTo>
                <a:cubicBezTo>
                  <a:pt x="1567" y="437"/>
                  <a:pt x="1567" y="437"/>
                  <a:pt x="1567" y="438"/>
                </a:cubicBezTo>
                <a:cubicBezTo>
                  <a:pt x="1567" y="438"/>
                  <a:pt x="1567" y="438"/>
                  <a:pt x="1567" y="439"/>
                </a:cubicBezTo>
                <a:close/>
                <a:moveTo>
                  <a:pt x="1563" y="427"/>
                </a:moveTo>
                <a:cubicBezTo>
                  <a:pt x="1563" y="427"/>
                  <a:pt x="1563" y="427"/>
                  <a:pt x="1563" y="427"/>
                </a:cubicBezTo>
                <a:cubicBezTo>
                  <a:pt x="1563" y="427"/>
                  <a:pt x="1563" y="427"/>
                  <a:pt x="1562" y="428"/>
                </a:cubicBezTo>
                <a:cubicBezTo>
                  <a:pt x="1563" y="428"/>
                  <a:pt x="1563" y="428"/>
                  <a:pt x="1563" y="428"/>
                </a:cubicBezTo>
                <a:cubicBezTo>
                  <a:pt x="1563" y="428"/>
                  <a:pt x="1563" y="428"/>
                  <a:pt x="1563" y="428"/>
                </a:cubicBezTo>
                <a:cubicBezTo>
                  <a:pt x="1563" y="428"/>
                  <a:pt x="1563" y="428"/>
                  <a:pt x="1564" y="428"/>
                </a:cubicBezTo>
                <a:cubicBezTo>
                  <a:pt x="1563" y="428"/>
                  <a:pt x="1563" y="427"/>
                  <a:pt x="1563" y="427"/>
                </a:cubicBezTo>
                <a:cubicBezTo>
                  <a:pt x="1563" y="427"/>
                  <a:pt x="1563" y="427"/>
                  <a:pt x="1563" y="427"/>
                </a:cubicBezTo>
                <a:cubicBezTo>
                  <a:pt x="1563" y="427"/>
                  <a:pt x="1563" y="427"/>
                  <a:pt x="1563" y="427"/>
                </a:cubicBezTo>
                <a:close/>
                <a:moveTo>
                  <a:pt x="1555" y="449"/>
                </a:moveTo>
                <a:cubicBezTo>
                  <a:pt x="1555" y="449"/>
                  <a:pt x="1555" y="449"/>
                  <a:pt x="1555" y="449"/>
                </a:cubicBezTo>
                <a:cubicBezTo>
                  <a:pt x="1555" y="449"/>
                  <a:pt x="1555" y="448"/>
                  <a:pt x="1555" y="448"/>
                </a:cubicBezTo>
                <a:cubicBezTo>
                  <a:pt x="1555" y="448"/>
                  <a:pt x="1555" y="448"/>
                  <a:pt x="1555" y="448"/>
                </a:cubicBezTo>
                <a:cubicBezTo>
                  <a:pt x="1554" y="448"/>
                  <a:pt x="1554" y="449"/>
                  <a:pt x="1554" y="449"/>
                </a:cubicBezTo>
                <a:cubicBezTo>
                  <a:pt x="1555" y="449"/>
                  <a:pt x="1555" y="449"/>
                  <a:pt x="1555" y="449"/>
                </a:cubicBezTo>
                <a:cubicBezTo>
                  <a:pt x="1555" y="449"/>
                  <a:pt x="1555" y="449"/>
                  <a:pt x="1555" y="449"/>
                </a:cubicBezTo>
                <a:close/>
                <a:moveTo>
                  <a:pt x="1556" y="447"/>
                </a:moveTo>
                <a:cubicBezTo>
                  <a:pt x="1557" y="447"/>
                  <a:pt x="1557" y="447"/>
                  <a:pt x="1557" y="447"/>
                </a:cubicBezTo>
                <a:cubicBezTo>
                  <a:pt x="1557" y="447"/>
                  <a:pt x="1557" y="448"/>
                  <a:pt x="1557" y="448"/>
                </a:cubicBezTo>
                <a:cubicBezTo>
                  <a:pt x="1558" y="448"/>
                  <a:pt x="1558" y="448"/>
                  <a:pt x="1558" y="448"/>
                </a:cubicBezTo>
                <a:cubicBezTo>
                  <a:pt x="1558" y="447"/>
                  <a:pt x="1558" y="447"/>
                  <a:pt x="1558" y="447"/>
                </a:cubicBezTo>
                <a:cubicBezTo>
                  <a:pt x="1558" y="447"/>
                  <a:pt x="1559" y="447"/>
                  <a:pt x="1559" y="447"/>
                </a:cubicBezTo>
                <a:cubicBezTo>
                  <a:pt x="1559" y="447"/>
                  <a:pt x="1560" y="447"/>
                  <a:pt x="1560" y="447"/>
                </a:cubicBezTo>
                <a:cubicBezTo>
                  <a:pt x="1560" y="447"/>
                  <a:pt x="1559" y="446"/>
                  <a:pt x="1559" y="446"/>
                </a:cubicBezTo>
                <a:cubicBezTo>
                  <a:pt x="1559" y="446"/>
                  <a:pt x="1559" y="446"/>
                  <a:pt x="1559" y="446"/>
                </a:cubicBezTo>
                <a:cubicBezTo>
                  <a:pt x="1559" y="446"/>
                  <a:pt x="1558" y="446"/>
                  <a:pt x="1558" y="446"/>
                </a:cubicBezTo>
                <a:cubicBezTo>
                  <a:pt x="1558" y="446"/>
                  <a:pt x="1558" y="446"/>
                  <a:pt x="1558" y="446"/>
                </a:cubicBezTo>
                <a:cubicBezTo>
                  <a:pt x="1558" y="446"/>
                  <a:pt x="1558" y="446"/>
                  <a:pt x="1558" y="446"/>
                </a:cubicBezTo>
                <a:cubicBezTo>
                  <a:pt x="1557" y="446"/>
                  <a:pt x="1557" y="446"/>
                  <a:pt x="1557" y="446"/>
                </a:cubicBezTo>
                <a:cubicBezTo>
                  <a:pt x="1556" y="446"/>
                  <a:pt x="1556" y="447"/>
                  <a:pt x="1556" y="447"/>
                </a:cubicBezTo>
                <a:cubicBezTo>
                  <a:pt x="1556" y="447"/>
                  <a:pt x="1556" y="447"/>
                  <a:pt x="1556" y="447"/>
                </a:cubicBezTo>
                <a:close/>
                <a:moveTo>
                  <a:pt x="1557" y="424"/>
                </a:moveTo>
                <a:cubicBezTo>
                  <a:pt x="1557" y="424"/>
                  <a:pt x="1557" y="424"/>
                  <a:pt x="1557" y="425"/>
                </a:cubicBezTo>
                <a:cubicBezTo>
                  <a:pt x="1557" y="425"/>
                  <a:pt x="1557" y="425"/>
                  <a:pt x="1557" y="425"/>
                </a:cubicBezTo>
                <a:cubicBezTo>
                  <a:pt x="1557" y="425"/>
                  <a:pt x="1558" y="425"/>
                  <a:pt x="1558" y="425"/>
                </a:cubicBezTo>
                <a:cubicBezTo>
                  <a:pt x="1558" y="425"/>
                  <a:pt x="1558" y="424"/>
                  <a:pt x="1558" y="424"/>
                </a:cubicBezTo>
                <a:cubicBezTo>
                  <a:pt x="1558" y="424"/>
                  <a:pt x="1557" y="424"/>
                  <a:pt x="1557" y="424"/>
                </a:cubicBezTo>
                <a:cubicBezTo>
                  <a:pt x="1557" y="424"/>
                  <a:pt x="1557" y="423"/>
                  <a:pt x="1557" y="423"/>
                </a:cubicBezTo>
                <a:cubicBezTo>
                  <a:pt x="1557" y="423"/>
                  <a:pt x="1557" y="423"/>
                  <a:pt x="1557" y="423"/>
                </a:cubicBezTo>
                <a:cubicBezTo>
                  <a:pt x="1557" y="423"/>
                  <a:pt x="1557" y="424"/>
                  <a:pt x="1557" y="424"/>
                </a:cubicBezTo>
                <a:close/>
                <a:moveTo>
                  <a:pt x="1564" y="429"/>
                </a:moveTo>
                <a:cubicBezTo>
                  <a:pt x="1563" y="429"/>
                  <a:pt x="1563" y="429"/>
                  <a:pt x="1563" y="428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3" y="429"/>
                  <a:pt x="1563" y="429"/>
                  <a:pt x="1564" y="429"/>
                </a:cubicBezTo>
                <a:close/>
                <a:moveTo>
                  <a:pt x="1546" y="412"/>
                </a:moveTo>
                <a:cubicBezTo>
                  <a:pt x="1546" y="412"/>
                  <a:pt x="1546" y="412"/>
                  <a:pt x="1546" y="411"/>
                </a:cubicBezTo>
                <a:cubicBezTo>
                  <a:pt x="1546" y="411"/>
                  <a:pt x="1546" y="411"/>
                  <a:pt x="1546" y="411"/>
                </a:cubicBezTo>
                <a:cubicBezTo>
                  <a:pt x="1546" y="411"/>
                  <a:pt x="1545" y="411"/>
                  <a:pt x="1545" y="411"/>
                </a:cubicBezTo>
                <a:cubicBezTo>
                  <a:pt x="1545" y="411"/>
                  <a:pt x="1545" y="411"/>
                  <a:pt x="1545" y="411"/>
                </a:cubicBezTo>
                <a:cubicBezTo>
                  <a:pt x="1545" y="411"/>
                  <a:pt x="1545" y="411"/>
                  <a:pt x="1545" y="411"/>
                </a:cubicBezTo>
                <a:cubicBezTo>
                  <a:pt x="1545" y="411"/>
                  <a:pt x="1545" y="412"/>
                  <a:pt x="1545" y="412"/>
                </a:cubicBezTo>
                <a:cubicBezTo>
                  <a:pt x="1545" y="412"/>
                  <a:pt x="1545" y="412"/>
                  <a:pt x="1545" y="412"/>
                </a:cubicBezTo>
                <a:cubicBezTo>
                  <a:pt x="1546" y="412"/>
                  <a:pt x="1546" y="412"/>
                  <a:pt x="1546" y="412"/>
                </a:cubicBezTo>
                <a:close/>
                <a:moveTo>
                  <a:pt x="1544" y="417"/>
                </a:moveTo>
                <a:cubicBezTo>
                  <a:pt x="1545" y="417"/>
                  <a:pt x="1545" y="417"/>
                  <a:pt x="1545" y="417"/>
                </a:cubicBezTo>
                <a:cubicBezTo>
                  <a:pt x="1546" y="417"/>
                  <a:pt x="1547" y="418"/>
                  <a:pt x="1547" y="418"/>
                </a:cubicBezTo>
                <a:cubicBezTo>
                  <a:pt x="1548" y="418"/>
                  <a:pt x="1548" y="417"/>
                  <a:pt x="1548" y="417"/>
                </a:cubicBezTo>
                <a:cubicBezTo>
                  <a:pt x="1548" y="417"/>
                  <a:pt x="1548" y="417"/>
                  <a:pt x="1548" y="417"/>
                </a:cubicBezTo>
                <a:cubicBezTo>
                  <a:pt x="1548" y="417"/>
                  <a:pt x="1548" y="416"/>
                  <a:pt x="1547" y="416"/>
                </a:cubicBezTo>
                <a:cubicBezTo>
                  <a:pt x="1547" y="416"/>
                  <a:pt x="1546" y="416"/>
                  <a:pt x="1545" y="416"/>
                </a:cubicBezTo>
                <a:cubicBezTo>
                  <a:pt x="1545" y="416"/>
                  <a:pt x="1545" y="416"/>
                  <a:pt x="1544" y="416"/>
                </a:cubicBezTo>
                <a:cubicBezTo>
                  <a:pt x="1544" y="416"/>
                  <a:pt x="1544" y="417"/>
                  <a:pt x="1544" y="417"/>
                </a:cubicBezTo>
                <a:close/>
                <a:moveTo>
                  <a:pt x="1554" y="412"/>
                </a:moveTo>
                <a:cubicBezTo>
                  <a:pt x="1553" y="412"/>
                  <a:pt x="1553" y="412"/>
                  <a:pt x="1553" y="412"/>
                </a:cubicBezTo>
                <a:cubicBezTo>
                  <a:pt x="1553" y="412"/>
                  <a:pt x="1553" y="412"/>
                  <a:pt x="1553" y="412"/>
                </a:cubicBezTo>
                <a:cubicBezTo>
                  <a:pt x="1553" y="412"/>
                  <a:pt x="1554" y="412"/>
                  <a:pt x="1554" y="412"/>
                </a:cubicBezTo>
                <a:cubicBezTo>
                  <a:pt x="1554" y="412"/>
                  <a:pt x="1554" y="412"/>
                  <a:pt x="1554" y="412"/>
                </a:cubicBezTo>
                <a:close/>
                <a:moveTo>
                  <a:pt x="1561" y="416"/>
                </a:moveTo>
                <a:cubicBezTo>
                  <a:pt x="1561" y="416"/>
                  <a:pt x="1561" y="416"/>
                  <a:pt x="1561" y="416"/>
                </a:cubicBezTo>
                <a:cubicBezTo>
                  <a:pt x="1560" y="416"/>
                  <a:pt x="1560" y="416"/>
                  <a:pt x="1560" y="416"/>
                </a:cubicBezTo>
                <a:cubicBezTo>
                  <a:pt x="1560" y="417"/>
                  <a:pt x="1560" y="417"/>
                  <a:pt x="1560" y="417"/>
                </a:cubicBezTo>
                <a:cubicBezTo>
                  <a:pt x="1560" y="417"/>
                  <a:pt x="1561" y="417"/>
                  <a:pt x="1561" y="417"/>
                </a:cubicBezTo>
                <a:cubicBezTo>
                  <a:pt x="1561" y="417"/>
                  <a:pt x="1561" y="417"/>
                  <a:pt x="1562" y="416"/>
                </a:cubicBezTo>
                <a:cubicBezTo>
                  <a:pt x="1562" y="416"/>
                  <a:pt x="1562" y="416"/>
                  <a:pt x="1562" y="416"/>
                </a:cubicBezTo>
                <a:cubicBezTo>
                  <a:pt x="1562" y="416"/>
                  <a:pt x="1562" y="416"/>
                  <a:pt x="1562" y="416"/>
                </a:cubicBezTo>
                <a:cubicBezTo>
                  <a:pt x="1561" y="416"/>
                  <a:pt x="1561" y="416"/>
                  <a:pt x="1561" y="416"/>
                </a:cubicBezTo>
                <a:close/>
                <a:moveTo>
                  <a:pt x="1557" y="412"/>
                </a:moveTo>
                <a:cubicBezTo>
                  <a:pt x="1557" y="413"/>
                  <a:pt x="1557" y="413"/>
                  <a:pt x="1557" y="413"/>
                </a:cubicBezTo>
                <a:cubicBezTo>
                  <a:pt x="1557" y="413"/>
                  <a:pt x="1557" y="413"/>
                  <a:pt x="1557" y="413"/>
                </a:cubicBezTo>
                <a:cubicBezTo>
                  <a:pt x="1557" y="413"/>
                  <a:pt x="1557" y="413"/>
                  <a:pt x="1557" y="414"/>
                </a:cubicBezTo>
                <a:cubicBezTo>
                  <a:pt x="1558" y="413"/>
                  <a:pt x="1558" y="413"/>
                  <a:pt x="1558" y="413"/>
                </a:cubicBezTo>
                <a:cubicBezTo>
                  <a:pt x="1558" y="413"/>
                  <a:pt x="1558" y="413"/>
                  <a:pt x="1558" y="413"/>
                </a:cubicBezTo>
                <a:cubicBezTo>
                  <a:pt x="1558" y="413"/>
                  <a:pt x="1558" y="412"/>
                  <a:pt x="1558" y="412"/>
                </a:cubicBezTo>
                <a:cubicBezTo>
                  <a:pt x="1558" y="412"/>
                  <a:pt x="1557" y="412"/>
                  <a:pt x="1557" y="412"/>
                </a:cubicBezTo>
                <a:close/>
                <a:moveTo>
                  <a:pt x="1559" y="418"/>
                </a:moveTo>
                <a:cubicBezTo>
                  <a:pt x="1559" y="418"/>
                  <a:pt x="1559" y="418"/>
                  <a:pt x="1559" y="418"/>
                </a:cubicBezTo>
                <a:cubicBezTo>
                  <a:pt x="1560" y="418"/>
                  <a:pt x="1560" y="418"/>
                  <a:pt x="1560" y="418"/>
                </a:cubicBezTo>
                <a:cubicBezTo>
                  <a:pt x="1560" y="418"/>
                  <a:pt x="1560" y="418"/>
                  <a:pt x="1560" y="418"/>
                </a:cubicBezTo>
                <a:cubicBezTo>
                  <a:pt x="1561" y="418"/>
                  <a:pt x="1561" y="418"/>
                  <a:pt x="1561" y="418"/>
                </a:cubicBezTo>
                <a:cubicBezTo>
                  <a:pt x="1561" y="418"/>
                  <a:pt x="1560" y="417"/>
                  <a:pt x="1560" y="417"/>
                </a:cubicBezTo>
                <a:cubicBezTo>
                  <a:pt x="1560" y="417"/>
                  <a:pt x="1560" y="418"/>
                  <a:pt x="1559" y="418"/>
                </a:cubicBezTo>
                <a:close/>
                <a:moveTo>
                  <a:pt x="1711" y="721"/>
                </a:moveTo>
                <a:cubicBezTo>
                  <a:pt x="1711" y="721"/>
                  <a:pt x="1710" y="721"/>
                  <a:pt x="1710" y="721"/>
                </a:cubicBezTo>
                <a:cubicBezTo>
                  <a:pt x="1709" y="721"/>
                  <a:pt x="1709" y="720"/>
                  <a:pt x="1709" y="720"/>
                </a:cubicBezTo>
                <a:cubicBezTo>
                  <a:pt x="1709" y="720"/>
                  <a:pt x="1708" y="720"/>
                  <a:pt x="1708" y="720"/>
                </a:cubicBezTo>
                <a:cubicBezTo>
                  <a:pt x="1707" y="720"/>
                  <a:pt x="1707" y="720"/>
                  <a:pt x="1707" y="719"/>
                </a:cubicBezTo>
                <a:cubicBezTo>
                  <a:pt x="1706" y="720"/>
                  <a:pt x="1706" y="720"/>
                  <a:pt x="1705" y="720"/>
                </a:cubicBezTo>
                <a:cubicBezTo>
                  <a:pt x="1706" y="721"/>
                  <a:pt x="1706" y="721"/>
                  <a:pt x="1706" y="721"/>
                </a:cubicBezTo>
                <a:cubicBezTo>
                  <a:pt x="1706" y="721"/>
                  <a:pt x="1707" y="721"/>
                  <a:pt x="1707" y="721"/>
                </a:cubicBezTo>
                <a:cubicBezTo>
                  <a:pt x="1707" y="721"/>
                  <a:pt x="1707" y="722"/>
                  <a:pt x="1708" y="722"/>
                </a:cubicBezTo>
                <a:cubicBezTo>
                  <a:pt x="1708" y="722"/>
                  <a:pt x="1708" y="722"/>
                  <a:pt x="1708" y="722"/>
                </a:cubicBezTo>
                <a:cubicBezTo>
                  <a:pt x="1709" y="722"/>
                  <a:pt x="1709" y="722"/>
                  <a:pt x="1709" y="722"/>
                </a:cubicBezTo>
                <a:cubicBezTo>
                  <a:pt x="1709" y="722"/>
                  <a:pt x="1709" y="722"/>
                  <a:pt x="1709" y="723"/>
                </a:cubicBezTo>
                <a:cubicBezTo>
                  <a:pt x="1710" y="723"/>
                  <a:pt x="1710" y="723"/>
                  <a:pt x="1711" y="724"/>
                </a:cubicBezTo>
                <a:cubicBezTo>
                  <a:pt x="1711" y="723"/>
                  <a:pt x="1712" y="723"/>
                  <a:pt x="1712" y="723"/>
                </a:cubicBezTo>
                <a:cubicBezTo>
                  <a:pt x="1712" y="723"/>
                  <a:pt x="1712" y="723"/>
                  <a:pt x="1712" y="723"/>
                </a:cubicBezTo>
                <a:cubicBezTo>
                  <a:pt x="1712" y="723"/>
                  <a:pt x="1711" y="723"/>
                  <a:pt x="1711" y="723"/>
                </a:cubicBezTo>
                <a:cubicBezTo>
                  <a:pt x="1711" y="723"/>
                  <a:pt x="1711" y="723"/>
                  <a:pt x="1710" y="722"/>
                </a:cubicBezTo>
                <a:cubicBezTo>
                  <a:pt x="1711" y="722"/>
                  <a:pt x="1712" y="722"/>
                  <a:pt x="1712" y="722"/>
                </a:cubicBezTo>
                <a:cubicBezTo>
                  <a:pt x="1712" y="722"/>
                  <a:pt x="1712" y="722"/>
                  <a:pt x="1713" y="722"/>
                </a:cubicBezTo>
                <a:cubicBezTo>
                  <a:pt x="1713" y="722"/>
                  <a:pt x="1713" y="722"/>
                  <a:pt x="1714" y="722"/>
                </a:cubicBezTo>
                <a:cubicBezTo>
                  <a:pt x="1714" y="721"/>
                  <a:pt x="1714" y="721"/>
                  <a:pt x="1714" y="721"/>
                </a:cubicBezTo>
                <a:cubicBezTo>
                  <a:pt x="1713" y="721"/>
                  <a:pt x="1713" y="721"/>
                  <a:pt x="1712" y="721"/>
                </a:cubicBezTo>
                <a:cubicBezTo>
                  <a:pt x="1712" y="721"/>
                  <a:pt x="1711" y="721"/>
                  <a:pt x="1711" y="721"/>
                </a:cubicBezTo>
                <a:close/>
                <a:moveTo>
                  <a:pt x="1701" y="720"/>
                </a:moveTo>
                <a:cubicBezTo>
                  <a:pt x="1700" y="720"/>
                  <a:pt x="1700" y="720"/>
                  <a:pt x="1699" y="720"/>
                </a:cubicBezTo>
                <a:cubicBezTo>
                  <a:pt x="1699" y="721"/>
                  <a:pt x="1699" y="721"/>
                  <a:pt x="1698" y="721"/>
                </a:cubicBezTo>
                <a:cubicBezTo>
                  <a:pt x="1698" y="721"/>
                  <a:pt x="1698" y="721"/>
                  <a:pt x="1698" y="721"/>
                </a:cubicBezTo>
                <a:cubicBezTo>
                  <a:pt x="1697" y="721"/>
                  <a:pt x="1697" y="721"/>
                  <a:pt x="1697" y="722"/>
                </a:cubicBezTo>
                <a:cubicBezTo>
                  <a:pt x="1697" y="722"/>
                  <a:pt x="1698" y="723"/>
                  <a:pt x="1698" y="723"/>
                </a:cubicBezTo>
                <a:cubicBezTo>
                  <a:pt x="1699" y="723"/>
                  <a:pt x="1699" y="724"/>
                  <a:pt x="1700" y="724"/>
                </a:cubicBezTo>
                <a:cubicBezTo>
                  <a:pt x="1700" y="724"/>
                  <a:pt x="1700" y="724"/>
                  <a:pt x="1701" y="724"/>
                </a:cubicBezTo>
                <a:cubicBezTo>
                  <a:pt x="1701" y="724"/>
                  <a:pt x="1701" y="725"/>
                  <a:pt x="1702" y="725"/>
                </a:cubicBezTo>
                <a:cubicBezTo>
                  <a:pt x="1702" y="725"/>
                  <a:pt x="1703" y="725"/>
                  <a:pt x="1703" y="725"/>
                </a:cubicBezTo>
                <a:cubicBezTo>
                  <a:pt x="1703" y="724"/>
                  <a:pt x="1704" y="724"/>
                  <a:pt x="1704" y="723"/>
                </a:cubicBezTo>
                <a:cubicBezTo>
                  <a:pt x="1704" y="722"/>
                  <a:pt x="1703" y="722"/>
                  <a:pt x="1703" y="721"/>
                </a:cubicBezTo>
                <a:cubicBezTo>
                  <a:pt x="1702" y="721"/>
                  <a:pt x="1702" y="721"/>
                  <a:pt x="1701" y="720"/>
                </a:cubicBezTo>
                <a:close/>
                <a:moveTo>
                  <a:pt x="1660" y="708"/>
                </a:moveTo>
                <a:cubicBezTo>
                  <a:pt x="1660" y="709"/>
                  <a:pt x="1660" y="709"/>
                  <a:pt x="1660" y="709"/>
                </a:cubicBezTo>
                <a:cubicBezTo>
                  <a:pt x="1660" y="709"/>
                  <a:pt x="1660" y="709"/>
                  <a:pt x="1661" y="709"/>
                </a:cubicBezTo>
                <a:cubicBezTo>
                  <a:pt x="1661" y="708"/>
                  <a:pt x="1661" y="708"/>
                  <a:pt x="1660" y="708"/>
                </a:cubicBezTo>
                <a:cubicBezTo>
                  <a:pt x="1660" y="708"/>
                  <a:pt x="1660" y="708"/>
                  <a:pt x="1660" y="708"/>
                </a:cubicBezTo>
                <a:close/>
                <a:moveTo>
                  <a:pt x="1663" y="696"/>
                </a:moveTo>
                <a:cubicBezTo>
                  <a:pt x="1663" y="696"/>
                  <a:pt x="1663" y="697"/>
                  <a:pt x="1663" y="697"/>
                </a:cubicBezTo>
                <a:cubicBezTo>
                  <a:pt x="1663" y="697"/>
                  <a:pt x="1664" y="697"/>
                  <a:pt x="1664" y="697"/>
                </a:cubicBezTo>
                <a:cubicBezTo>
                  <a:pt x="1664" y="697"/>
                  <a:pt x="1664" y="697"/>
                  <a:pt x="1664" y="697"/>
                </a:cubicBezTo>
                <a:cubicBezTo>
                  <a:pt x="1664" y="696"/>
                  <a:pt x="1664" y="696"/>
                  <a:pt x="1664" y="696"/>
                </a:cubicBezTo>
                <a:cubicBezTo>
                  <a:pt x="1663" y="696"/>
                  <a:pt x="1663" y="696"/>
                  <a:pt x="1663" y="696"/>
                </a:cubicBezTo>
                <a:close/>
                <a:moveTo>
                  <a:pt x="1663" y="688"/>
                </a:moveTo>
                <a:cubicBezTo>
                  <a:pt x="1663" y="688"/>
                  <a:pt x="1663" y="688"/>
                  <a:pt x="1663" y="688"/>
                </a:cubicBezTo>
                <a:cubicBezTo>
                  <a:pt x="1663" y="687"/>
                  <a:pt x="1663" y="687"/>
                  <a:pt x="1663" y="687"/>
                </a:cubicBezTo>
                <a:cubicBezTo>
                  <a:pt x="1663" y="687"/>
                  <a:pt x="1663" y="687"/>
                  <a:pt x="1663" y="687"/>
                </a:cubicBezTo>
                <a:cubicBezTo>
                  <a:pt x="1663" y="687"/>
                  <a:pt x="1663" y="687"/>
                  <a:pt x="1662" y="688"/>
                </a:cubicBezTo>
                <a:cubicBezTo>
                  <a:pt x="1662" y="688"/>
                  <a:pt x="1662" y="688"/>
                  <a:pt x="1662" y="687"/>
                </a:cubicBezTo>
                <a:cubicBezTo>
                  <a:pt x="1662" y="687"/>
                  <a:pt x="1662" y="687"/>
                  <a:pt x="1662" y="687"/>
                </a:cubicBezTo>
                <a:cubicBezTo>
                  <a:pt x="1662" y="687"/>
                  <a:pt x="1662" y="686"/>
                  <a:pt x="1662" y="686"/>
                </a:cubicBezTo>
                <a:cubicBezTo>
                  <a:pt x="1662" y="686"/>
                  <a:pt x="1662" y="685"/>
                  <a:pt x="1662" y="685"/>
                </a:cubicBezTo>
                <a:cubicBezTo>
                  <a:pt x="1661" y="685"/>
                  <a:pt x="1661" y="686"/>
                  <a:pt x="1661" y="686"/>
                </a:cubicBezTo>
                <a:cubicBezTo>
                  <a:pt x="1661" y="687"/>
                  <a:pt x="1661" y="687"/>
                  <a:pt x="1661" y="687"/>
                </a:cubicBezTo>
                <a:cubicBezTo>
                  <a:pt x="1660" y="687"/>
                  <a:pt x="1660" y="688"/>
                  <a:pt x="1660" y="688"/>
                </a:cubicBezTo>
                <a:cubicBezTo>
                  <a:pt x="1660" y="688"/>
                  <a:pt x="1660" y="689"/>
                  <a:pt x="1660" y="689"/>
                </a:cubicBezTo>
                <a:cubicBezTo>
                  <a:pt x="1660" y="689"/>
                  <a:pt x="1660" y="689"/>
                  <a:pt x="1661" y="689"/>
                </a:cubicBezTo>
                <a:cubicBezTo>
                  <a:pt x="1661" y="689"/>
                  <a:pt x="1661" y="689"/>
                  <a:pt x="1661" y="689"/>
                </a:cubicBezTo>
                <a:cubicBezTo>
                  <a:pt x="1662" y="689"/>
                  <a:pt x="1662" y="689"/>
                  <a:pt x="1662" y="690"/>
                </a:cubicBezTo>
                <a:cubicBezTo>
                  <a:pt x="1662" y="690"/>
                  <a:pt x="1662" y="690"/>
                  <a:pt x="1663" y="690"/>
                </a:cubicBezTo>
                <a:cubicBezTo>
                  <a:pt x="1663" y="689"/>
                  <a:pt x="1663" y="689"/>
                  <a:pt x="1663" y="689"/>
                </a:cubicBezTo>
                <a:cubicBezTo>
                  <a:pt x="1663" y="689"/>
                  <a:pt x="1663" y="688"/>
                  <a:pt x="1663" y="688"/>
                </a:cubicBezTo>
                <a:close/>
                <a:moveTo>
                  <a:pt x="1667" y="691"/>
                </a:moveTo>
                <a:cubicBezTo>
                  <a:pt x="1667" y="691"/>
                  <a:pt x="1667" y="691"/>
                  <a:pt x="1668" y="691"/>
                </a:cubicBezTo>
                <a:cubicBezTo>
                  <a:pt x="1668" y="690"/>
                  <a:pt x="1668" y="690"/>
                  <a:pt x="1668" y="689"/>
                </a:cubicBezTo>
                <a:cubicBezTo>
                  <a:pt x="1668" y="690"/>
                  <a:pt x="1668" y="690"/>
                  <a:pt x="1667" y="690"/>
                </a:cubicBezTo>
                <a:cubicBezTo>
                  <a:pt x="1667" y="691"/>
                  <a:pt x="1667" y="691"/>
                  <a:pt x="1667" y="691"/>
                </a:cubicBezTo>
                <a:close/>
                <a:moveTo>
                  <a:pt x="1660" y="694"/>
                </a:moveTo>
                <a:cubicBezTo>
                  <a:pt x="1660" y="694"/>
                  <a:pt x="1660" y="694"/>
                  <a:pt x="1660" y="694"/>
                </a:cubicBezTo>
                <a:cubicBezTo>
                  <a:pt x="1661" y="694"/>
                  <a:pt x="1661" y="694"/>
                  <a:pt x="1661" y="694"/>
                </a:cubicBezTo>
                <a:cubicBezTo>
                  <a:pt x="1662" y="694"/>
                  <a:pt x="1662" y="694"/>
                  <a:pt x="1662" y="694"/>
                </a:cubicBezTo>
                <a:cubicBezTo>
                  <a:pt x="1662" y="694"/>
                  <a:pt x="1662" y="694"/>
                  <a:pt x="1662" y="694"/>
                </a:cubicBezTo>
                <a:cubicBezTo>
                  <a:pt x="1662" y="693"/>
                  <a:pt x="1662" y="693"/>
                  <a:pt x="1662" y="693"/>
                </a:cubicBezTo>
                <a:cubicBezTo>
                  <a:pt x="1662" y="692"/>
                  <a:pt x="1662" y="692"/>
                  <a:pt x="1662" y="692"/>
                </a:cubicBezTo>
                <a:cubicBezTo>
                  <a:pt x="1662" y="692"/>
                  <a:pt x="1662" y="692"/>
                  <a:pt x="1662" y="691"/>
                </a:cubicBezTo>
                <a:cubicBezTo>
                  <a:pt x="1662" y="691"/>
                  <a:pt x="1661" y="691"/>
                  <a:pt x="1661" y="691"/>
                </a:cubicBezTo>
                <a:cubicBezTo>
                  <a:pt x="1661" y="691"/>
                  <a:pt x="1661" y="691"/>
                  <a:pt x="1661" y="691"/>
                </a:cubicBezTo>
                <a:cubicBezTo>
                  <a:pt x="1661" y="691"/>
                  <a:pt x="1661" y="691"/>
                  <a:pt x="1661" y="692"/>
                </a:cubicBezTo>
                <a:cubicBezTo>
                  <a:pt x="1661" y="692"/>
                  <a:pt x="1661" y="692"/>
                  <a:pt x="1661" y="692"/>
                </a:cubicBezTo>
                <a:cubicBezTo>
                  <a:pt x="1661" y="692"/>
                  <a:pt x="1661" y="692"/>
                  <a:pt x="1661" y="692"/>
                </a:cubicBezTo>
                <a:cubicBezTo>
                  <a:pt x="1661" y="693"/>
                  <a:pt x="1661" y="693"/>
                  <a:pt x="1661" y="693"/>
                </a:cubicBezTo>
                <a:cubicBezTo>
                  <a:pt x="1661" y="693"/>
                  <a:pt x="1661" y="693"/>
                  <a:pt x="1660" y="694"/>
                </a:cubicBezTo>
                <a:close/>
                <a:moveTo>
                  <a:pt x="1661" y="705"/>
                </a:moveTo>
                <a:cubicBezTo>
                  <a:pt x="1661" y="705"/>
                  <a:pt x="1661" y="705"/>
                  <a:pt x="1661" y="705"/>
                </a:cubicBezTo>
                <a:cubicBezTo>
                  <a:pt x="1661" y="706"/>
                  <a:pt x="1661" y="706"/>
                  <a:pt x="1661" y="706"/>
                </a:cubicBezTo>
                <a:cubicBezTo>
                  <a:pt x="1661" y="706"/>
                  <a:pt x="1662" y="706"/>
                  <a:pt x="1662" y="705"/>
                </a:cubicBezTo>
                <a:cubicBezTo>
                  <a:pt x="1662" y="705"/>
                  <a:pt x="1662" y="705"/>
                  <a:pt x="1662" y="705"/>
                </a:cubicBezTo>
                <a:cubicBezTo>
                  <a:pt x="1661" y="705"/>
                  <a:pt x="1661" y="705"/>
                  <a:pt x="1661" y="705"/>
                </a:cubicBezTo>
                <a:close/>
                <a:moveTo>
                  <a:pt x="1661" y="699"/>
                </a:moveTo>
                <a:cubicBezTo>
                  <a:pt x="1661" y="699"/>
                  <a:pt x="1661" y="699"/>
                  <a:pt x="1661" y="700"/>
                </a:cubicBezTo>
                <a:cubicBezTo>
                  <a:pt x="1661" y="700"/>
                  <a:pt x="1661" y="700"/>
                  <a:pt x="1661" y="700"/>
                </a:cubicBezTo>
                <a:cubicBezTo>
                  <a:pt x="1661" y="701"/>
                  <a:pt x="1662" y="701"/>
                  <a:pt x="1662" y="701"/>
                </a:cubicBezTo>
                <a:cubicBezTo>
                  <a:pt x="1662" y="700"/>
                  <a:pt x="1662" y="700"/>
                  <a:pt x="1662" y="700"/>
                </a:cubicBezTo>
                <a:cubicBezTo>
                  <a:pt x="1662" y="700"/>
                  <a:pt x="1662" y="699"/>
                  <a:pt x="1662" y="699"/>
                </a:cubicBezTo>
                <a:cubicBezTo>
                  <a:pt x="1662" y="699"/>
                  <a:pt x="1661" y="699"/>
                  <a:pt x="1661" y="699"/>
                </a:cubicBezTo>
                <a:close/>
                <a:moveTo>
                  <a:pt x="1665" y="694"/>
                </a:moveTo>
                <a:cubicBezTo>
                  <a:pt x="1664" y="694"/>
                  <a:pt x="1664" y="694"/>
                  <a:pt x="1663" y="694"/>
                </a:cubicBezTo>
                <a:cubicBezTo>
                  <a:pt x="1663" y="694"/>
                  <a:pt x="1663" y="694"/>
                  <a:pt x="1663" y="694"/>
                </a:cubicBezTo>
                <a:cubicBezTo>
                  <a:pt x="1663" y="695"/>
                  <a:pt x="1663" y="695"/>
                  <a:pt x="1663" y="695"/>
                </a:cubicBezTo>
                <a:cubicBezTo>
                  <a:pt x="1663" y="695"/>
                  <a:pt x="1664" y="695"/>
                  <a:pt x="1664" y="695"/>
                </a:cubicBezTo>
                <a:cubicBezTo>
                  <a:pt x="1664" y="695"/>
                  <a:pt x="1664" y="695"/>
                  <a:pt x="1664" y="695"/>
                </a:cubicBezTo>
                <a:cubicBezTo>
                  <a:pt x="1664" y="695"/>
                  <a:pt x="1664" y="695"/>
                  <a:pt x="1665" y="695"/>
                </a:cubicBezTo>
                <a:cubicBezTo>
                  <a:pt x="1665" y="695"/>
                  <a:pt x="1665" y="695"/>
                  <a:pt x="1665" y="695"/>
                </a:cubicBezTo>
                <a:cubicBezTo>
                  <a:pt x="1665" y="695"/>
                  <a:pt x="1665" y="695"/>
                  <a:pt x="1665" y="695"/>
                </a:cubicBezTo>
                <a:cubicBezTo>
                  <a:pt x="1665" y="694"/>
                  <a:pt x="1665" y="694"/>
                  <a:pt x="1665" y="694"/>
                </a:cubicBezTo>
                <a:close/>
                <a:moveTo>
                  <a:pt x="1666" y="690"/>
                </a:moveTo>
                <a:cubicBezTo>
                  <a:pt x="1666" y="690"/>
                  <a:pt x="1666" y="690"/>
                  <a:pt x="1665" y="690"/>
                </a:cubicBezTo>
                <a:cubicBezTo>
                  <a:pt x="1665" y="690"/>
                  <a:pt x="1665" y="690"/>
                  <a:pt x="1665" y="690"/>
                </a:cubicBezTo>
                <a:cubicBezTo>
                  <a:pt x="1665" y="690"/>
                  <a:pt x="1665" y="691"/>
                  <a:pt x="1665" y="691"/>
                </a:cubicBezTo>
                <a:cubicBezTo>
                  <a:pt x="1665" y="691"/>
                  <a:pt x="1666" y="691"/>
                  <a:pt x="1666" y="691"/>
                </a:cubicBezTo>
                <a:cubicBezTo>
                  <a:pt x="1666" y="690"/>
                  <a:pt x="1666" y="690"/>
                  <a:pt x="1666" y="690"/>
                </a:cubicBezTo>
                <a:close/>
                <a:moveTo>
                  <a:pt x="1666" y="692"/>
                </a:move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2"/>
                  <a:pt x="1667" y="692"/>
                </a:cubicBezTo>
                <a:cubicBezTo>
                  <a:pt x="1666" y="692"/>
                  <a:pt x="1666" y="692"/>
                  <a:pt x="1666" y="692"/>
                </a:cubicBezTo>
                <a:cubicBezTo>
                  <a:pt x="1666" y="692"/>
                  <a:pt x="1666" y="692"/>
                  <a:pt x="1666" y="692"/>
                </a:cubicBezTo>
                <a:close/>
                <a:moveTo>
                  <a:pt x="1638" y="635"/>
                </a:moveTo>
                <a:cubicBezTo>
                  <a:pt x="1638" y="635"/>
                  <a:pt x="1637" y="635"/>
                  <a:pt x="1637" y="635"/>
                </a:cubicBezTo>
                <a:cubicBezTo>
                  <a:pt x="1637" y="635"/>
                  <a:pt x="1637" y="635"/>
                  <a:pt x="1638" y="635"/>
                </a:cubicBezTo>
                <a:cubicBezTo>
                  <a:pt x="1638" y="635"/>
                  <a:pt x="1638" y="635"/>
                  <a:pt x="1638" y="635"/>
                </a:cubicBezTo>
                <a:close/>
                <a:moveTo>
                  <a:pt x="1635" y="636"/>
                </a:moveTo>
                <a:cubicBezTo>
                  <a:pt x="1635" y="636"/>
                  <a:pt x="1635" y="636"/>
                  <a:pt x="1635" y="635"/>
                </a:cubicBezTo>
                <a:cubicBezTo>
                  <a:pt x="1635" y="635"/>
                  <a:pt x="1635" y="635"/>
                  <a:pt x="1635" y="635"/>
                </a:cubicBezTo>
                <a:cubicBezTo>
                  <a:pt x="1635" y="636"/>
                  <a:pt x="1635" y="636"/>
                  <a:pt x="1635" y="636"/>
                </a:cubicBezTo>
                <a:close/>
                <a:moveTo>
                  <a:pt x="1640" y="646"/>
                </a:moveTo>
                <a:cubicBezTo>
                  <a:pt x="1640" y="646"/>
                  <a:pt x="1640" y="646"/>
                  <a:pt x="1640" y="646"/>
                </a:cubicBezTo>
                <a:cubicBezTo>
                  <a:pt x="1640" y="646"/>
                  <a:pt x="1640" y="645"/>
                  <a:pt x="1639" y="645"/>
                </a:cubicBezTo>
                <a:cubicBezTo>
                  <a:pt x="1639" y="645"/>
                  <a:pt x="1639" y="645"/>
                  <a:pt x="1639" y="646"/>
                </a:cubicBezTo>
                <a:cubicBezTo>
                  <a:pt x="1639" y="646"/>
                  <a:pt x="1639" y="646"/>
                  <a:pt x="1639" y="646"/>
                </a:cubicBezTo>
                <a:cubicBezTo>
                  <a:pt x="1639" y="646"/>
                  <a:pt x="1640" y="646"/>
                  <a:pt x="1640" y="646"/>
                </a:cubicBezTo>
                <a:close/>
                <a:moveTo>
                  <a:pt x="1635" y="640"/>
                </a:moveTo>
                <a:cubicBezTo>
                  <a:pt x="1635" y="640"/>
                  <a:pt x="1635" y="640"/>
                  <a:pt x="1635" y="640"/>
                </a:cubicBezTo>
                <a:cubicBezTo>
                  <a:pt x="1635" y="640"/>
                  <a:pt x="1635" y="640"/>
                  <a:pt x="1635" y="641"/>
                </a:cubicBezTo>
                <a:cubicBezTo>
                  <a:pt x="1635" y="641"/>
                  <a:pt x="1636" y="641"/>
                  <a:pt x="1636" y="641"/>
                </a:cubicBezTo>
                <a:cubicBezTo>
                  <a:pt x="1636" y="640"/>
                  <a:pt x="1636" y="640"/>
                  <a:pt x="1636" y="640"/>
                </a:cubicBezTo>
                <a:cubicBezTo>
                  <a:pt x="1636" y="640"/>
                  <a:pt x="1636" y="640"/>
                  <a:pt x="1636" y="639"/>
                </a:cubicBezTo>
                <a:cubicBezTo>
                  <a:pt x="1635" y="639"/>
                  <a:pt x="1635" y="640"/>
                  <a:pt x="1635" y="640"/>
                </a:cubicBezTo>
                <a:close/>
                <a:moveTo>
                  <a:pt x="1639" y="645"/>
                </a:moveTo>
                <a:cubicBezTo>
                  <a:pt x="1639" y="645"/>
                  <a:pt x="1639" y="645"/>
                  <a:pt x="1639" y="645"/>
                </a:cubicBezTo>
                <a:cubicBezTo>
                  <a:pt x="1639" y="645"/>
                  <a:pt x="1639" y="644"/>
                  <a:pt x="1640" y="644"/>
                </a:cubicBezTo>
                <a:cubicBezTo>
                  <a:pt x="1640" y="644"/>
                  <a:pt x="1639" y="644"/>
                  <a:pt x="1639" y="644"/>
                </a:cubicBezTo>
                <a:cubicBezTo>
                  <a:pt x="1639" y="644"/>
                  <a:pt x="1639" y="643"/>
                  <a:pt x="1639" y="643"/>
                </a:cubicBezTo>
                <a:cubicBezTo>
                  <a:pt x="1639" y="643"/>
                  <a:pt x="1639" y="643"/>
                  <a:pt x="1639" y="643"/>
                </a:cubicBezTo>
                <a:cubicBezTo>
                  <a:pt x="1639" y="642"/>
                  <a:pt x="1639" y="642"/>
                  <a:pt x="1639" y="642"/>
                </a:cubicBezTo>
                <a:cubicBezTo>
                  <a:pt x="1638" y="642"/>
                  <a:pt x="1638" y="642"/>
                  <a:pt x="1638" y="642"/>
                </a:cubicBezTo>
                <a:cubicBezTo>
                  <a:pt x="1638" y="642"/>
                  <a:pt x="1637" y="643"/>
                  <a:pt x="1637" y="643"/>
                </a:cubicBezTo>
                <a:cubicBezTo>
                  <a:pt x="1637" y="643"/>
                  <a:pt x="1638" y="643"/>
                  <a:pt x="1638" y="643"/>
                </a:cubicBezTo>
                <a:cubicBezTo>
                  <a:pt x="1638" y="643"/>
                  <a:pt x="1638" y="643"/>
                  <a:pt x="1638" y="644"/>
                </a:cubicBezTo>
                <a:cubicBezTo>
                  <a:pt x="1638" y="644"/>
                  <a:pt x="1638" y="644"/>
                  <a:pt x="1638" y="644"/>
                </a:cubicBezTo>
                <a:cubicBezTo>
                  <a:pt x="1638" y="644"/>
                  <a:pt x="1639" y="644"/>
                  <a:pt x="1639" y="645"/>
                </a:cubicBezTo>
                <a:close/>
                <a:moveTo>
                  <a:pt x="1637" y="644"/>
                </a:move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lose/>
                <a:moveTo>
                  <a:pt x="1668" y="670"/>
                </a:moveTo>
                <a:cubicBezTo>
                  <a:pt x="1668" y="670"/>
                  <a:pt x="1668" y="670"/>
                  <a:pt x="1667" y="670"/>
                </a:cubicBezTo>
                <a:cubicBezTo>
                  <a:pt x="1667" y="670"/>
                  <a:pt x="1667" y="670"/>
                  <a:pt x="1667" y="670"/>
                </a:cubicBezTo>
                <a:cubicBezTo>
                  <a:pt x="1668" y="670"/>
                  <a:pt x="1668" y="670"/>
                  <a:pt x="1668" y="671"/>
                </a:cubicBezTo>
                <a:cubicBezTo>
                  <a:pt x="1668" y="671"/>
                  <a:pt x="1669" y="670"/>
                  <a:pt x="1669" y="670"/>
                </a:cubicBezTo>
                <a:cubicBezTo>
                  <a:pt x="1669" y="670"/>
                  <a:pt x="1669" y="670"/>
                  <a:pt x="1669" y="670"/>
                </a:cubicBezTo>
                <a:cubicBezTo>
                  <a:pt x="1669" y="670"/>
                  <a:pt x="1669" y="670"/>
                  <a:pt x="1668" y="670"/>
                </a:cubicBezTo>
                <a:close/>
                <a:moveTo>
                  <a:pt x="1640" y="640"/>
                </a:moveTo>
                <a:cubicBezTo>
                  <a:pt x="1640" y="640"/>
                  <a:pt x="1640" y="639"/>
                  <a:pt x="1640" y="639"/>
                </a:cubicBezTo>
                <a:cubicBezTo>
                  <a:pt x="1640" y="639"/>
                  <a:pt x="1639" y="639"/>
                  <a:pt x="1639" y="638"/>
                </a:cubicBezTo>
                <a:cubicBezTo>
                  <a:pt x="1639" y="638"/>
                  <a:pt x="1639" y="638"/>
                  <a:pt x="1639" y="638"/>
                </a:cubicBezTo>
                <a:cubicBezTo>
                  <a:pt x="1639" y="638"/>
                  <a:pt x="1639" y="638"/>
                  <a:pt x="1639" y="637"/>
                </a:cubicBezTo>
                <a:cubicBezTo>
                  <a:pt x="1638" y="637"/>
                  <a:pt x="1638" y="637"/>
                  <a:pt x="1638" y="636"/>
                </a:cubicBezTo>
                <a:cubicBezTo>
                  <a:pt x="1638" y="636"/>
                  <a:pt x="1638" y="636"/>
                  <a:pt x="1638" y="636"/>
                </a:cubicBezTo>
                <a:cubicBezTo>
                  <a:pt x="1638" y="636"/>
                  <a:pt x="1638" y="636"/>
                  <a:pt x="1637" y="636"/>
                </a:cubicBezTo>
                <a:cubicBezTo>
                  <a:pt x="1637" y="636"/>
                  <a:pt x="1637" y="636"/>
                  <a:pt x="1637" y="636"/>
                </a:cubicBezTo>
                <a:cubicBezTo>
                  <a:pt x="1637" y="636"/>
                  <a:pt x="1637" y="636"/>
                  <a:pt x="1637" y="637"/>
                </a:cubicBezTo>
                <a:cubicBezTo>
                  <a:pt x="1637" y="637"/>
                  <a:pt x="1638" y="638"/>
                  <a:pt x="1638" y="638"/>
                </a:cubicBezTo>
                <a:cubicBezTo>
                  <a:pt x="1638" y="639"/>
                  <a:pt x="1638" y="639"/>
                  <a:pt x="1639" y="639"/>
                </a:cubicBezTo>
                <a:cubicBezTo>
                  <a:pt x="1639" y="640"/>
                  <a:pt x="1639" y="640"/>
                  <a:pt x="1639" y="640"/>
                </a:cubicBezTo>
                <a:cubicBezTo>
                  <a:pt x="1640" y="640"/>
                  <a:pt x="1640" y="640"/>
                  <a:pt x="1640" y="641"/>
                </a:cubicBezTo>
                <a:cubicBezTo>
                  <a:pt x="1640" y="640"/>
                  <a:pt x="1640" y="640"/>
                  <a:pt x="1640" y="640"/>
                </a:cubicBezTo>
                <a:close/>
                <a:moveTo>
                  <a:pt x="1652" y="655"/>
                </a:moveTo>
                <a:cubicBezTo>
                  <a:pt x="1652" y="654"/>
                  <a:pt x="1652" y="654"/>
                  <a:pt x="1652" y="654"/>
                </a:cubicBezTo>
                <a:cubicBezTo>
                  <a:pt x="1652" y="653"/>
                  <a:pt x="1652" y="653"/>
                  <a:pt x="1652" y="652"/>
                </a:cubicBezTo>
                <a:cubicBezTo>
                  <a:pt x="1652" y="652"/>
                  <a:pt x="1652" y="652"/>
                  <a:pt x="1652" y="652"/>
                </a:cubicBezTo>
                <a:cubicBezTo>
                  <a:pt x="1652" y="651"/>
                  <a:pt x="1652" y="651"/>
                  <a:pt x="1652" y="651"/>
                </a:cubicBezTo>
                <a:cubicBezTo>
                  <a:pt x="1652" y="650"/>
                  <a:pt x="1651" y="650"/>
                  <a:pt x="1651" y="650"/>
                </a:cubicBezTo>
                <a:cubicBezTo>
                  <a:pt x="1651" y="650"/>
                  <a:pt x="1651" y="650"/>
                  <a:pt x="1651" y="650"/>
                </a:cubicBezTo>
                <a:cubicBezTo>
                  <a:pt x="1651" y="651"/>
                  <a:pt x="1651" y="651"/>
                  <a:pt x="1651" y="651"/>
                </a:cubicBezTo>
                <a:cubicBezTo>
                  <a:pt x="1651" y="651"/>
                  <a:pt x="1651" y="651"/>
                  <a:pt x="1651" y="651"/>
                </a:cubicBezTo>
                <a:cubicBezTo>
                  <a:pt x="1651" y="652"/>
                  <a:pt x="1651" y="652"/>
                  <a:pt x="1651" y="652"/>
                </a:cubicBezTo>
                <a:cubicBezTo>
                  <a:pt x="1651" y="653"/>
                  <a:pt x="1651" y="653"/>
                  <a:pt x="1651" y="653"/>
                </a:cubicBezTo>
                <a:cubicBezTo>
                  <a:pt x="1651" y="654"/>
                  <a:pt x="1652" y="655"/>
                  <a:pt x="1652" y="655"/>
                </a:cubicBezTo>
                <a:cubicBezTo>
                  <a:pt x="1652" y="655"/>
                  <a:pt x="1652" y="656"/>
                  <a:pt x="1653" y="656"/>
                </a:cubicBezTo>
                <a:cubicBezTo>
                  <a:pt x="1652" y="656"/>
                  <a:pt x="1652" y="656"/>
                  <a:pt x="1652" y="657"/>
                </a:cubicBezTo>
                <a:cubicBezTo>
                  <a:pt x="1653" y="657"/>
                  <a:pt x="1653" y="657"/>
                  <a:pt x="1653" y="657"/>
                </a:cubicBezTo>
                <a:cubicBezTo>
                  <a:pt x="1653" y="657"/>
                  <a:pt x="1653" y="657"/>
                  <a:pt x="1653" y="656"/>
                </a:cubicBezTo>
                <a:cubicBezTo>
                  <a:pt x="1653" y="656"/>
                  <a:pt x="1653" y="656"/>
                  <a:pt x="1653" y="655"/>
                </a:cubicBezTo>
                <a:cubicBezTo>
                  <a:pt x="1653" y="655"/>
                  <a:pt x="1653" y="655"/>
                  <a:pt x="1652" y="655"/>
                </a:cubicBezTo>
                <a:close/>
                <a:moveTo>
                  <a:pt x="1646" y="647"/>
                </a:moveTo>
                <a:cubicBezTo>
                  <a:pt x="1646" y="648"/>
                  <a:pt x="1646" y="648"/>
                  <a:pt x="1646" y="648"/>
                </a:cubicBezTo>
                <a:cubicBezTo>
                  <a:pt x="1646" y="648"/>
                  <a:pt x="1646" y="648"/>
                  <a:pt x="1646" y="649"/>
                </a:cubicBezTo>
                <a:cubicBezTo>
                  <a:pt x="1647" y="648"/>
                  <a:pt x="1647" y="648"/>
                  <a:pt x="1647" y="648"/>
                </a:cubicBezTo>
                <a:cubicBezTo>
                  <a:pt x="1647" y="649"/>
                  <a:pt x="1647" y="649"/>
                  <a:pt x="1647" y="649"/>
                </a:cubicBezTo>
                <a:cubicBezTo>
                  <a:pt x="1647" y="649"/>
                  <a:pt x="1647" y="649"/>
                  <a:pt x="1647" y="648"/>
                </a:cubicBezTo>
                <a:cubicBezTo>
                  <a:pt x="1648" y="648"/>
                  <a:pt x="1648" y="648"/>
                  <a:pt x="1648" y="648"/>
                </a:cubicBezTo>
                <a:cubicBezTo>
                  <a:pt x="1648" y="648"/>
                  <a:pt x="1647" y="647"/>
                  <a:pt x="1647" y="646"/>
                </a:cubicBezTo>
                <a:cubicBezTo>
                  <a:pt x="1647" y="646"/>
                  <a:pt x="1646" y="645"/>
                  <a:pt x="1646" y="645"/>
                </a:cubicBezTo>
                <a:cubicBezTo>
                  <a:pt x="1646" y="645"/>
                  <a:pt x="1645" y="644"/>
                  <a:pt x="1645" y="644"/>
                </a:cubicBezTo>
                <a:cubicBezTo>
                  <a:pt x="1645" y="643"/>
                  <a:pt x="1644" y="643"/>
                  <a:pt x="1644" y="643"/>
                </a:cubicBezTo>
                <a:cubicBezTo>
                  <a:pt x="1644" y="643"/>
                  <a:pt x="1644" y="644"/>
                  <a:pt x="1644" y="644"/>
                </a:cubicBezTo>
                <a:cubicBezTo>
                  <a:pt x="1645" y="645"/>
                  <a:pt x="1645" y="646"/>
                  <a:pt x="1646" y="646"/>
                </a:cubicBezTo>
                <a:cubicBezTo>
                  <a:pt x="1646" y="647"/>
                  <a:pt x="1646" y="647"/>
                  <a:pt x="1646" y="647"/>
                </a:cubicBezTo>
                <a:close/>
                <a:moveTo>
                  <a:pt x="1648" y="652"/>
                </a:moveTo>
                <a:cubicBezTo>
                  <a:pt x="1649" y="652"/>
                  <a:pt x="1649" y="652"/>
                  <a:pt x="1649" y="653"/>
                </a:cubicBezTo>
                <a:cubicBezTo>
                  <a:pt x="1649" y="652"/>
                  <a:pt x="1649" y="652"/>
                  <a:pt x="1649" y="652"/>
                </a:cubicBezTo>
                <a:cubicBezTo>
                  <a:pt x="1649" y="652"/>
                  <a:pt x="1649" y="652"/>
                  <a:pt x="1648" y="652"/>
                </a:cubicBezTo>
                <a:cubicBezTo>
                  <a:pt x="1648" y="652"/>
                  <a:pt x="1648" y="652"/>
                  <a:pt x="1648" y="652"/>
                </a:cubicBezTo>
                <a:close/>
                <a:moveTo>
                  <a:pt x="1653" y="661"/>
                </a:moveTo>
                <a:cubicBezTo>
                  <a:pt x="1652" y="661"/>
                  <a:pt x="1652" y="660"/>
                  <a:pt x="1652" y="660"/>
                </a:cubicBezTo>
                <a:cubicBezTo>
                  <a:pt x="1651" y="660"/>
                  <a:pt x="1651" y="659"/>
                  <a:pt x="1651" y="659"/>
                </a:cubicBezTo>
                <a:cubicBezTo>
                  <a:pt x="1651" y="659"/>
                  <a:pt x="1650" y="658"/>
                  <a:pt x="1650" y="658"/>
                </a:cubicBezTo>
                <a:cubicBezTo>
                  <a:pt x="1650" y="659"/>
                  <a:pt x="1650" y="659"/>
                  <a:pt x="1650" y="659"/>
                </a:cubicBezTo>
                <a:cubicBezTo>
                  <a:pt x="1650" y="659"/>
                  <a:pt x="1650" y="659"/>
                  <a:pt x="1650" y="660"/>
                </a:cubicBezTo>
                <a:cubicBezTo>
                  <a:pt x="1650" y="660"/>
                  <a:pt x="1651" y="661"/>
                  <a:pt x="1651" y="661"/>
                </a:cubicBezTo>
                <a:cubicBezTo>
                  <a:pt x="1651" y="661"/>
                  <a:pt x="1652" y="662"/>
                  <a:pt x="1652" y="662"/>
                </a:cubicBezTo>
                <a:cubicBezTo>
                  <a:pt x="1652" y="662"/>
                  <a:pt x="1653" y="662"/>
                  <a:pt x="1653" y="663"/>
                </a:cubicBezTo>
                <a:cubicBezTo>
                  <a:pt x="1653" y="662"/>
                  <a:pt x="1653" y="662"/>
                  <a:pt x="1653" y="662"/>
                </a:cubicBezTo>
                <a:cubicBezTo>
                  <a:pt x="1653" y="662"/>
                  <a:pt x="1653" y="662"/>
                  <a:pt x="1653" y="662"/>
                </a:cubicBezTo>
                <a:cubicBezTo>
                  <a:pt x="1653" y="662"/>
                  <a:pt x="1653" y="661"/>
                  <a:pt x="1653" y="661"/>
                </a:cubicBezTo>
                <a:close/>
                <a:moveTo>
                  <a:pt x="1647" y="655"/>
                </a:moveTo>
                <a:cubicBezTo>
                  <a:pt x="1647" y="655"/>
                  <a:pt x="1648" y="655"/>
                  <a:pt x="1648" y="656"/>
                </a:cubicBezTo>
                <a:cubicBezTo>
                  <a:pt x="1648" y="656"/>
                  <a:pt x="1648" y="656"/>
                  <a:pt x="1649" y="656"/>
                </a:cubicBezTo>
                <a:cubicBezTo>
                  <a:pt x="1649" y="656"/>
                  <a:pt x="1649" y="656"/>
                  <a:pt x="1649" y="656"/>
                </a:cubicBezTo>
                <a:cubicBezTo>
                  <a:pt x="1649" y="655"/>
                  <a:pt x="1649" y="655"/>
                  <a:pt x="1649" y="655"/>
                </a:cubicBezTo>
                <a:cubicBezTo>
                  <a:pt x="1649" y="655"/>
                  <a:pt x="1649" y="655"/>
                  <a:pt x="1649" y="655"/>
                </a:cubicBezTo>
                <a:cubicBezTo>
                  <a:pt x="1649" y="655"/>
                  <a:pt x="1649" y="654"/>
                  <a:pt x="1649" y="654"/>
                </a:cubicBezTo>
                <a:cubicBezTo>
                  <a:pt x="1648" y="654"/>
                  <a:pt x="1648" y="653"/>
                  <a:pt x="1647" y="653"/>
                </a:cubicBezTo>
                <a:cubicBezTo>
                  <a:pt x="1647" y="653"/>
                  <a:pt x="1647" y="653"/>
                  <a:pt x="1646" y="652"/>
                </a:cubicBezTo>
                <a:cubicBezTo>
                  <a:pt x="1646" y="652"/>
                  <a:pt x="1646" y="652"/>
                  <a:pt x="1646" y="651"/>
                </a:cubicBezTo>
                <a:cubicBezTo>
                  <a:pt x="1646" y="651"/>
                  <a:pt x="1646" y="651"/>
                  <a:pt x="1645" y="651"/>
                </a:cubicBezTo>
                <a:cubicBezTo>
                  <a:pt x="1645" y="652"/>
                  <a:pt x="1645" y="652"/>
                  <a:pt x="1645" y="652"/>
                </a:cubicBezTo>
                <a:cubicBezTo>
                  <a:pt x="1645" y="653"/>
                  <a:pt x="1645" y="653"/>
                  <a:pt x="1645" y="653"/>
                </a:cubicBezTo>
                <a:cubicBezTo>
                  <a:pt x="1646" y="654"/>
                  <a:pt x="1646" y="654"/>
                  <a:pt x="1646" y="654"/>
                </a:cubicBezTo>
                <a:cubicBezTo>
                  <a:pt x="1647" y="654"/>
                  <a:pt x="1647" y="655"/>
                  <a:pt x="1647" y="655"/>
                </a:cubicBezTo>
                <a:close/>
                <a:moveTo>
                  <a:pt x="1643" y="660"/>
                </a:moveTo>
                <a:cubicBezTo>
                  <a:pt x="1642" y="660"/>
                  <a:pt x="1642" y="660"/>
                  <a:pt x="1642" y="660"/>
                </a:cubicBezTo>
                <a:cubicBezTo>
                  <a:pt x="1642" y="660"/>
                  <a:pt x="1642" y="660"/>
                  <a:pt x="1642" y="660"/>
                </a:cubicBezTo>
                <a:cubicBezTo>
                  <a:pt x="1642" y="660"/>
                  <a:pt x="1642" y="660"/>
                  <a:pt x="1642" y="661"/>
                </a:cubicBezTo>
                <a:cubicBezTo>
                  <a:pt x="1642" y="661"/>
                  <a:pt x="1642" y="661"/>
                  <a:pt x="1643" y="661"/>
                </a:cubicBezTo>
                <a:cubicBezTo>
                  <a:pt x="1643" y="661"/>
                  <a:pt x="1643" y="661"/>
                  <a:pt x="1643" y="662"/>
                </a:cubicBezTo>
                <a:cubicBezTo>
                  <a:pt x="1644" y="662"/>
                  <a:pt x="1644" y="662"/>
                  <a:pt x="1644" y="662"/>
                </a:cubicBezTo>
                <a:cubicBezTo>
                  <a:pt x="1644" y="661"/>
                  <a:pt x="1644" y="661"/>
                  <a:pt x="1643" y="661"/>
                </a:cubicBezTo>
                <a:cubicBezTo>
                  <a:pt x="1643" y="661"/>
                  <a:pt x="1643" y="660"/>
                  <a:pt x="1643" y="660"/>
                </a:cubicBezTo>
                <a:close/>
                <a:moveTo>
                  <a:pt x="1637" y="642"/>
                </a:moveTo>
                <a:cubicBezTo>
                  <a:pt x="1638" y="642"/>
                  <a:pt x="1638" y="642"/>
                  <a:pt x="1638" y="642"/>
                </a:cubicBezTo>
                <a:cubicBezTo>
                  <a:pt x="1638" y="642"/>
                  <a:pt x="1637" y="641"/>
                  <a:pt x="1637" y="641"/>
                </a:cubicBezTo>
                <a:cubicBezTo>
                  <a:pt x="1637" y="641"/>
                  <a:pt x="1637" y="641"/>
                  <a:pt x="1637" y="641"/>
                </a:cubicBezTo>
                <a:cubicBezTo>
                  <a:pt x="1637" y="641"/>
                  <a:pt x="1636" y="641"/>
                  <a:pt x="1636" y="641"/>
                </a:cubicBezTo>
                <a:cubicBezTo>
                  <a:pt x="1636" y="641"/>
                  <a:pt x="1637" y="642"/>
                  <a:pt x="1637" y="642"/>
                </a:cubicBezTo>
                <a:cubicBezTo>
                  <a:pt x="1637" y="642"/>
                  <a:pt x="1637" y="642"/>
                  <a:pt x="1637" y="642"/>
                </a:cubicBezTo>
                <a:close/>
                <a:moveTo>
                  <a:pt x="1632" y="624"/>
                </a:moveTo>
                <a:cubicBezTo>
                  <a:pt x="1632" y="624"/>
                  <a:pt x="1631" y="624"/>
                  <a:pt x="1631" y="624"/>
                </a:cubicBezTo>
                <a:cubicBezTo>
                  <a:pt x="1631" y="624"/>
                  <a:pt x="1631" y="624"/>
                  <a:pt x="1631" y="624"/>
                </a:cubicBezTo>
                <a:cubicBezTo>
                  <a:pt x="1631" y="624"/>
                  <a:pt x="1631" y="624"/>
                  <a:pt x="1631" y="624"/>
                </a:cubicBezTo>
                <a:cubicBezTo>
                  <a:pt x="1631" y="624"/>
                  <a:pt x="1631" y="625"/>
                  <a:pt x="1631" y="625"/>
                </a:cubicBezTo>
                <a:cubicBezTo>
                  <a:pt x="1632" y="625"/>
                  <a:pt x="1632" y="624"/>
                  <a:pt x="1632" y="624"/>
                </a:cubicBezTo>
                <a:cubicBezTo>
                  <a:pt x="1632" y="624"/>
                  <a:pt x="1632" y="624"/>
                  <a:pt x="1632" y="624"/>
                </a:cubicBezTo>
                <a:close/>
                <a:moveTo>
                  <a:pt x="1632" y="627"/>
                </a:moveTo>
                <a:cubicBezTo>
                  <a:pt x="1632" y="627"/>
                  <a:pt x="1632" y="627"/>
                  <a:pt x="1632" y="627"/>
                </a:cubicBezTo>
                <a:cubicBezTo>
                  <a:pt x="1632" y="626"/>
                  <a:pt x="1632" y="626"/>
                  <a:pt x="1631" y="626"/>
                </a:cubicBezTo>
                <a:cubicBezTo>
                  <a:pt x="1631" y="626"/>
                  <a:pt x="1631" y="626"/>
                  <a:pt x="1631" y="626"/>
                </a:cubicBezTo>
                <a:cubicBezTo>
                  <a:pt x="1631" y="626"/>
                  <a:pt x="1631" y="627"/>
                  <a:pt x="1631" y="627"/>
                </a:cubicBezTo>
                <a:cubicBezTo>
                  <a:pt x="1631" y="627"/>
                  <a:pt x="1631" y="627"/>
                  <a:pt x="1631" y="627"/>
                </a:cubicBezTo>
                <a:cubicBezTo>
                  <a:pt x="1631" y="627"/>
                  <a:pt x="1631" y="627"/>
                  <a:pt x="1632" y="627"/>
                </a:cubicBezTo>
                <a:close/>
                <a:moveTo>
                  <a:pt x="1542" y="569"/>
                </a:moveTo>
                <a:cubicBezTo>
                  <a:pt x="1542" y="568"/>
                  <a:pt x="1541" y="568"/>
                  <a:pt x="1540" y="567"/>
                </a:cubicBezTo>
                <a:cubicBezTo>
                  <a:pt x="1540" y="567"/>
                  <a:pt x="1539" y="567"/>
                  <a:pt x="1539" y="567"/>
                </a:cubicBezTo>
                <a:cubicBezTo>
                  <a:pt x="1539" y="567"/>
                  <a:pt x="1539" y="567"/>
                  <a:pt x="1538" y="567"/>
                </a:cubicBezTo>
                <a:cubicBezTo>
                  <a:pt x="1538" y="567"/>
                  <a:pt x="1537" y="567"/>
                  <a:pt x="1537" y="567"/>
                </a:cubicBezTo>
                <a:cubicBezTo>
                  <a:pt x="1537" y="567"/>
                  <a:pt x="1536" y="567"/>
                  <a:pt x="1536" y="567"/>
                </a:cubicBezTo>
                <a:cubicBezTo>
                  <a:pt x="1536" y="567"/>
                  <a:pt x="1536" y="567"/>
                  <a:pt x="1535" y="567"/>
                </a:cubicBezTo>
                <a:cubicBezTo>
                  <a:pt x="1535" y="567"/>
                  <a:pt x="1534" y="567"/>
                  <a:pt x="1534" y="567"/>
                </a:cubicBezTo>
                <a:cubicBezTo>
                  <a:pt x="1534" y="567"/>
                  <a:pt x="1533" y="567"/>
                  <a:pt x="1533" y="567"/>
                </a:cubicBezTo>
                <a:cubicBezTo>
                  <a:pt x="1533" y="567"/>
                  <a:pt x="1533" y="567"/>
                  <a:pt x="1533" y="568"/>
                </a:cubicBezTo>
                <a:cubicBezTo>
                  <a:pt x="1533" y="568"/>
                  <a:pt x="1533" y="568"/>
                  <a:pt x="1533" y="568"/>
                </a:cubicBezTo>
                <a:cubicBezTo>
                  <a:pt x="1533" y="568"/>
                  <a:pt x="1532" y="568"/>
                  <a:pt x="1532" y="568"/>
                </a:cubicBezTo>
                <a:cubicBezTo>
                  <a:pt x="1532" y="568"/>
                  <a:pt x="1531" y="568"/>
                  <a:pt x="1531" y="569"/>
                </a:cubicBezTo>
                <a:cubicBezTo>
                  <a:pt x="1532" y="569"/>
                  <a:pt x="1532" y="569"/>
                  <a:pt x="1532" y="569"/>
                </a:cubicBezTo>
                <a:cubicBezTo>
                  <a:pt x="1533" y="569"/>
                  <a:pt x="1533" y="569"/>
                  <a:pt x="1533" y="569"/>
                </a:cubicBezTo>
                <a:cubicBezTo>
                  <a:pt x="1533" y="569"/>
                  <a:pt x="1533" y="569"/>
                  <a:pt x="1534" y="569"/>
                </a:cubicBezTo>
                <a:cubicBezTo>
                  <a:pt x="1534" y="569"/>
                  <a:pt x="1534" y="569"/>
                  <a:pt x="1534" y="569"/>
                </a:cubicBezTo>
                <a:cubicBezTo>
                  <a:pt x="1534" y="570"/>
                  <a:pt x="1535" y="570"/>
                  <a:pt x="1535" y="570"/>
                </a:cubicBezTo>
                <a:cubicBezTo>
                  <a:pt x="1535" y="571"/>
                  <a:pt x="1535" y="571"/>
                  <a:pt x="1535" y="571"/>
                </a:cubicBezTo>
                <a:cubicBezTo>
                  <a:pt x="1535" y="571"/>
                  <a:pt x="1535" y="571"/>
                  <a:pt x="1535" y="571"/>
                </a:cubicBezTo>
                <a:cubicBezTo>
                  <a:pt x="1535" y="572"/>
                  <a:pt x="1535" y="572"/>
                  <a:pt x="1535" y="572"/>
                </a:cubicBezTo>
                <a:cubicBezTo>
                  <a:pt x="1535" y="573"/>
                  <a:pt x="1535" y="573"/>
                  <a:pt x="1536" y="573"/>
                </a:cubicBezTo>
                <a:cubicBezTo>
                  <a:pt x="1536" y="573"/>
                  <a:pt x="1536" y="574"/>
                  <a:pt x="1536" y="574"/>
                </a:cubicBezTo>
                <a:cubicBezTo>
                  <a:pt x="1537" y="574"/>
                  <a:pt x="1537" y="574"/>
                  <a:pt x="1537" y="574"/>
                </a:cubicBezTo>
                <a:cubicBezTo>
                  <a:pt x="1537" y="574"/>
                  <a:pt x="1537" y="574"/>
                  <a:pt x="1538" y="574"/>
                </a:cubicBezTo>
                <a:cubicBezTo>
                  <a:pt x="1538" y="574"/>
                  <a:pt x="1538" y="574"/>
                  <a:pt x="1538" y="574"/>
                </a:cubicBezTo>
                <a:cubicBezTo>
                  <a:pt x="1538" y="574"/>
                  <a:pt x="1539" y="575"/>
                  <a:pt x="1539" y="575"/>
                </a:cubicBezTo>
                <a:cubicBezTo>
                  <a:pt x="1539" y="575"/>
                  <a:pt x="1540" y="575"/>
                  <a:pt x="1540" y="575"/>
                </a:cubicBezTo>
                <a:cubicBezTo>
                  <a:pt x="1540" y="575"/>
                  <a:pt x="1541" y="575"/>
                  <a:pt x="1541" y="575"/>
                </a:cubicBezTo>
                <a:cubicBezTo>
                  <a:pt x="1541" y="575"/>
                  <a:pt x="1541" y="575"/>
                  <a:pt x="1541" y="575"/>
                </a:cubicBezTo>
                <a:cubicBezTo>
                  <a:pt x="1541" y="575"/>
                  <a:pt x="1541" y="575"/>
                  <a:pt x="1541" y="575"/>
                </a:cubicBezTo>
                <a:cubicBezTo>
                  <a:pt x="1542" y="575"/>
                  <a:pt x="1543" y="576"/>
                  <a:pt x="1543" y="576"/>
                </a:cubicBezTo>
                <a:cubicBezTo>
                  <a:pt x="1543" y="576"/>
                  <a:pt x="1543" y="576"/>
                  <a:pt x="1543" y="577"/>
                </a:cubicBezTo>
                <a:cubicBezTo>
                  <a:pt x="1543" y="577"/>
                  <a:pt x="1543" y="577"/>
                  <a:pt x="1543" y="577"/>
                </a:cubicBezTo>
                <a:cubicBezTo>
                  <a:pt x="1543" y="577"/>
                  <a:pt x="1543" y="577"/>
                  <a:pt x="1542" y="577"/>
                </a:cubicBezTo>
                <a:cubicBezTo>
                  <a:pt x="1542" y="577"/>
                  <a:pt x="1542" y="577"/>
                  <a:pt x="1542" y="577"/>
                </a:cubicBezTo>
                <a:cubicBezTo>
                  <a:pt x="1542" y="578"/>
                  <a:pt x="1541" y="578"/>
                  <a:pt x="1541" y="578"/>
                </a:cubicBezTo>
                <a:cubicBezTo>
                  <a:pt x="1541" y="578"/>
                  <a:pt x="1541" y="577"/>
                  <a:pt x="1541" y="577"/>
                </a:cubicBezTo>
                <a:cubicBezTo>
                  <a:pt x="1540" y="577"/>
                  <a:pt x="1540" y="576"/>
                  <a:pt x="1540" y="576"/>
                </a:cubicBezTo>
                <a:cubicBezTo>
                  <a:pt x="1539" y="576"/>
                  <a:pt x="1539" y="576"/>
                  <a:pt x="1539" y="576"/>
                </a:cubicBezTo>
                <a:cubicBezTo>
                  <a:pt x="1539" y="576"/>
                  <a:pt x="1538" y="576"/>
                  <a:pt x="1538" y="577"/>
                </a:cubicBezTo>
                <a:cubicBezTo>
                  <a:pt x="1538" y="577"/>
                  <a:pt x="1538" y="577"/>
                  <a:pt x="1537" y="577"/>
                </a:cubicBezTo>
                <a:cubicBezTo>
                  <a:pt x="1537" y="576"/>
                  <a:pt x="1537" y="576"/>
                  <a:pt x="1537" y="576"/>
                </a:cubicBezTo>
                <a:cubicBezTo>
                  <a:pt x="1536" y="576"/>
                  <a:pt x="1536" y="576"/>
                  <a:pt x="1536" y="576"/>
                </a:cubicBezTo>
                <a:cubicBezTo>
                  <a:pt x="1536" y="575"/>
                  <a:pt x="1536" y="575"/>
                  <a:pt x="1535" y="575"/>
                </a:cubicBezTo>
                <a:cubicBezTo>
                  <a:pt x="1535" y="575"/>
                  <a:pt x="1535" y="575"/>
                  <a:pt x="1534" y="575"/>
                </a:cubicBezTo>
                <a:cubicBezTo>
                  <a:pt x="1534" y="575"/>
                  <a:pt x="1534" y="575"/>
                  <a:pt x="1534" y="575"/>
                </a:cubicBezTo>
                <a:cubicBezTo>
                  <a:pt x="1534" y="575"/>
                  <a:pt x="1534" y="575"/>
                  <a:pt x="1534" y="576"/>
                </a:cubicBezTo>
                <a:cubicBezTo>
                  <a:pt x="1534" y="576"/>
                  <a:pt x="1534" y="576"/>
                  <a:pt x="1535" y="576"/>
                </a:cubicBezTo>
                <a:cubicBezTo>
                  <a:pt x="1535" y="576"/>
                  <a:pt x="1535" y="577"/>
                  <a:pt x="1535" y="577"/>
                </a:cubicBezTo>
                <a:cubicBezTo>
                  <a:pt x="1535" y="577"/>
                  <a:pt x="1535" y="577"/>
                  <a:pt x="1536" y="578"/>
                </a:cubicBezTo>
                <a:cubicBezTo>
                  <a:pt x="1536" y="578"/>
                  <a:pt x="1536" y="578"/>
                  <a:pt x="1536" y="578"/>
                </a:cubicBezTo>
                <a:cubicBezTo>
                  <a:pt x="1536" y="578"/>
                  <a:pt x="1536" y="578"/>
                  <a:pt x="1536" y="578"/>
                </a:cubicBezTo>
                <a:cubicBezTo>
                  <a:pt x="1536" y="578"/>
                  <a:pt x="1536" y="579"/>
                  <a:pt x="1536" y="579"/>
                </a:cubicBezTo>
                <a:cubicBezTo>
                  <a:pt x="1536" y="579"/>
                  <a:pt x="1536" y="579"/>
                  <a:pt x="1536" y="579"/>
                </a:cubicBezTo>
                <a:cubicBezTo>
                  <a:pt x="1536" y="579"/>
                  <a:pt x="1536" y="579"/>
                  <a:pt x="1536" y="579"/>
                </a:cubicBezTo>
                <a:cubicBezTo>
                  <a:pt x="1535" y="579"/>
                  <a:pt x="1535" y="579"/>
                  <a:pt x="1535" y="580"/>
                </a:cubicBezTo>
                <a:cubicBezTo>
                  <a:pt x="1535" y="580"/>
                  <a:pt x="1535" y="581"/>
                  <a:pt x="1536" y="581"/>
                </a:cubicBezTo>
                <a:cubicBezTo>
                  <a:pt x="1536" y="581"/>
                  <a:pt x="1536" y="581"/>
                  <a:pt x="1536" y="582"/>
                </a:cubicBezTo>
                <a:cubicBezTo>
                  <a:pt x="1537" y="582"/>
                  <a:pt x="1537" y="582"/>
                  <a:pt x="1537" y="582"/>
                </a:cubicBezTo>
                <a:cubicBezTo>
                  <a:pt x="1538" y="582"/>
                  <a:pt x="1538" y="581"/>
                  <a:pt x="1539" y="581"/>
                </a:cubicBezTo>
                <a:cubicBezTo>
                  <a:pt x="1539" y="581"/>
                  <a:pt x="1539" y="581"/>
                  <a:pt x="1539" y="581"/>
                </a:cubicBezTo>
                <a:cubicBezTo>
                  <a:pt x="1539" y="580"/>
                  <a:pt x="1539" y="580"/>
                  <a:pt x="1540" y="580"/>
                </a:cubicBezTo>
                <a:cubicBezTo>
                  <a:pt x="1540" y="580"/>
                  <a:pt x="1540" y="580"/>
                  <a:pt x="1540" y="580"/>
                </a:cubicBezTo>
                <a:cubicBezTo>
                  <a:pt x="1540" y="580"/>
                  <a:pt x="1540" y="580"/>
                  <a:pt x="1541" y="580"/>
                </a:cubicBezTo>
                <a:cubicBezTo>
                  <a:pt x="1541" y="579"/>
                  <a:pt x="1541" y="579"/>
                  <a:pt x="1541" y="579"/>
                </a:cubicBezTo>
                <a:cubicBezTo>
                  <a:pt x="1541" y="579"/>
                  <a:pt x="1542" y="579"/>
                  <a:pt x="1542" y="578"/>
                </a:cubicBezTo>
                <a:cubicBezTo>
                  <a:pt x="1542" y="579"/>
                  <a:pt x="1542" y="579"/>
                  <a:pt x="1542" y="579"/>
                </a:cubicBezTo>
                <a:cubicBezTo>
                  <a:pt x="1541" y="579"/>
                  <a:pt x="1541" y="579"/>
                  <a:pt x="1541" y="580"/>
                </a:cubicBezTo>
                <a:cubicBezTo>
                  <a:pt x="1541" y="580"/>
                  <a:pt x="1541" y="580"/>
                  <a:pt x="1541" y="580"/>
                </a:cubicBezTo>
                <a:cubicBezTo>
                  <a:pt x="1541" y="581"/>
                  <a:pt x="1541" y="581"/>
                  <a:pt x="1541" y="581"/>
                </a:cubicBezTo>
                <a:cubicBezTo>
                  <a:pt x="1541" y="582"/>
                  <a:pt x="1541" y="582"/>
                  <a:pt x="1541" y="582"/>
                </a:cubicBezTo>
                <a:cubicBezTo>
                  <a:pt x="1541" y="582"/>
                  <a:pt x="1541" y="582"/>
                  <a:pt x="1542" y="582"/>
                </a:cubicBezTo>
                <a:cubicBezTo>
                  <a:pt x="1542" y="582"/>
                  <a:pt x="1542" y="582"/>
                  <a:pt x="1542" y="582"/>
                </a:cubicBezTo>
                <a:cubicBezTo>
                  <a:pt x="1542" y="582"/>
                  <a:pt x="1542" y="582"/>
                  <a:pt x="1542" y="582"/>
                </a:cubicBezTo>
                <a:cubicBezTo>
                  <a:pt x="1542" y="582"/>
                  <a:pt x="1542" y="583"/>
                  <a:pt x="1542" y="583"/>
                </a:cubicBezTo>
                <a:cubicBezTo>
                  <a:pt x="1542" y="583"/>
                  <a:pt x="1542" y="583"/>
                  <a:pt x="1543" y="583"/>
                </a:cubicBezTo>
                <a:cubicBezTo>
                  <a:pt x="1543" y="583"/>
                  <a:pt x="1543" y="583"/>
                  <a:pt x="1543" y="583"/>
                </a:cubicBezTo>
                <a:cubicBezTo>
                  <a:pt x="1543" y="583"/>
                  <a:pt x="1543" y="583"/>
                  <a:pt x="1543" y="583"/>
                </a:cubicBezTo>
                <a:cubicBezTo>
                  <a:pt x="1543" y="583"/>
                  <a:pt x="1543" y="584"/>
                  <a:pt x="1544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4" y="585"/>
                  <a:pt x="1544" y="585"/>
                  <a:pt x="1545" y="585"/>
                </a:cubicBezTo>
                <a:cubicBezTo>
                  <a:pt x="1545" y="585"/>
                  <a:pt x="1545" y="585"/>
                  <a:pt x="1545" y="585"/>
                </a:cubicBezTo>
                <a:cubicBezTo>
                  <a:pt x="1545" y="585"/>
                  <a:pt x="1545" y="585"/>
                  <a:pt x="1545" y="586"/>
                </a:cubicBezTo>
                <a:cubicBezTo>
                  <a:pt x="1545" y="586"/>
                  <a:pt x="1545" y="586"/>
                  <a:pt x="1546" y="586"/>
                </a:cubicBezTo>
                <a:cubicBezTo>
                  <a:pt x="1546" y="587"/>
                  <a:pt x="1547" y="587"/>
                  <a:pt x="1547" y="587"/>
                </a:cubicBezTo>
                <a:cubicBezTo>
                  <a:pt x="1548" y="588"/>
                  <a:pt x="1549" y="588"/>
                  <a:pt x="1549" y="589"/>
                </a:cubicBezTo>
                <a:cubicBezTo>
                  <a:pt x="1550" y="589"/>
                  <a:pt x="1551" y="590"/>
                  <a:pt x="1552" y="591"/>
                </a:cubicBezTo>
                <a:cubicBezTo>
                  <a:pt x="1552" y="591"/>
                  <a:pt x="1552" y="591"/>
                  <a:pt x="1553" y="591"/>
                </a:cubicBezTo>
                <a:cubicBezTo>
                  <a:pt x="1553" y="591"/>
                  <a:pt x="1553" y="591"/>
                  <a:pt x="1554" y="592"/>
                </a:cubicBezTo>
                <a:cubicBezTo>
                  <a:pt x="1554" y="592"/>
                  <a:pt x="1554" y="592"/>
                  <a:pt x="1554" y="592"/>
                </a:cubicBezTo>
                <a:cubicBezTo>
                  <a:pt x="1554" y="593"/>
                  <a:pt x="1554" y="593"/>
                  <a:pt x="1555" y="593"/>
                </a:cubicBezTo>
                <a:cubicBezTo>
                  <a:pt x="1555" y="593"/>
                  <a:pt x="1555" y="593"/>
                  <a:pt x="1556" y="593"/>
                </a:cubicBezTo>
                <a:cubicBezTo>
                  <a:pt x="1556" y="593"/>
                  <a:pt x="1556" y="593"/>
                  <a:pt x="1556" y="593"/>
                </a:cubicBezTo>
                <a:cubicBezTo>
                  <a:pt x="1556" y="594"/>
                  <a:pt x="1556" y="594"/>
                  <a:pt x="1555" y="594"/>
                </a:cubicBezTo>
                <a:cubicBezTo>
                  <a:pt x="1555" y="594"/>
                  <a:pt x="1555" y="594"/>
                  <a:pt x="1556" y="594"/>
                </a:cubicBezTo>
                <a:cubicBezTo>
                  <a:pt x="1556" y="594"/>
                  <a:pt x="1556" y="594"/>
                  <a:pt x="1556" y="594"/>
                </a:cubicBezTo>
                <a:cubicBezTo>
                  <a:pt x="1556" y="594"/>
                  <a:pt x="1556" y="594"/>
                  <a:pt x="1556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6"/>
                  <a:pt x="1557" y="596"/>
                  <a:pt x="1557" y="596"/>
                </a:cubicBezTo>
                <a:cubicBezTo>
                  <a:pt x="1557" y="596"/>
                  <a:pt x="1557" y="596"/>
                  <a:pt x="1557" y="596"/>
                </a:cubicBezTo>
                <a:cubicBezTo>
                  <a:pt x="1557" y="596"/>
                  <a:pt x="1557" y="596"/>
                  <a:pt x="1558" y="596"/>
                </a:cubicBezTo>
                <a:cubicBezTo>
                  <a:pt x="1557" y="596"/>
                  <a:pt x="1557" y="597"/>
                  <a:pt x="1557" y="597"/>
                </a:cubicBezTo>
                <a:cubicBezTo>
                  <a:pt x="1557" y="597"/>
                  <a:pt x="1557" y="597"/>
                  <a:pt x="1556" y="597"/>
                </a:cubicBezTo>
                <a:cubicBezTo>
                  <a:pt x="1557" y="597"/>
                  <a:pt x="1557" y="598"/>
                  <a:pt x="1557" y="598"/>
                </a:cubicBezTo>
                <a:cubicBezTo>
                  <a:pt x="1557" y="598"/>
                  <a:pt x="1557" y="599"/>
                  <a:pt x="1557" y="599"/>
                </a:cubicBezTo>
                <a:cubicBezTo>
                  <a:pt x="1557" y="599"/>
                  <a:pt x="1557" y="599"/>
                  <a:pt x="1557" y="599"/>
                </a:cubicBezTo>
                <a:cubicBezTo>
                  <a:pt x="1557" y="599"/>
                  <a:pt x="1557" y="600"/>
                  <a:pt x="1557" y="600"/>
                </a:cubicBezTo>
                <a:cubicBezTo>
                  <a:pt x="1558" y="600"/>
                  <a:pt x="1558" y="601"/>
                  <a:pt x="1558" y="601"/>
                </a:cubicBezTo>
                <a:cubicBezTo>
                  <a:pt x="1558" y="601"/>
                  <a:pt x="1558" y="601"/>
                  <a:pt x="1558" y="602"/>
                </a:cubicBezTo>
                <a:cubicBezTo>
                  <a:pt x="1558" y="601"/>
                  <a:pt x="1558" y="601"/>
                  <a:pt x="1558" y="601"/>
                </a:cubicBezTo>
                <a:cubicBezTo>
                  <a:pt x="1558" y="601"/>
                  <a:pt x="1557" y="601"/>
                  <a:pt x="1557" y="601"/>
                </a:cubicBezTo>
                <a:cubicBezTo>
                  <a:pt x="1557" y="601"/>
                  <a:pt x="1557" y="601"/>
                  <a:pt x="1557" y="601"/>
                </a:cubicBezTo>
                <a:cubicBezTo>
                  <a:pt x="1557" y="602"/>
                  <a:pt x="1557" y="602"/>
                  <a:pt x="1557" y="602"/>
                </a:cubicBezTo>
                <a:cubicBezTo>
                  <a:pt x="1558" y="602"/>
                  <a:pt x="1558" y="603"/>
                  <a:pt x="1558" y="603"/>
                </a:cubicBezTo>
                <a:cubicBezTo>
                  <a:pt x="1558" y="603"/>
                  <a:pt x="1559" y="603"/>
                  <a:pt x="1559" y="603"/>
                </a:cubicBezTo>
                <a:cubicBezTo>
                  <a:pt x="1559" y="603"/>
                  <a:pt x="1559" y="603"/>
                  <a:pt x="1560" y="603"/>
                </a:cubicBezTo>
                <a:cubicBezTo>
                  <a:pt x="1559" y="603"/>
                  <a:pt x="1559" y="603"/>
                  <a:pt x="1559" y="603"/>
                </a:cubicBezTo>
                <a:cubicBezTo>
                  <a:pt x="1559" y="603"/>
                  <a:pt x="1558" y="603"/>
                  <a:pt x="1558" y="603"/>
                </a:cubicBezTo>
                <a:cubicBezTo>
                  <a:pt x="1558" y="603"/>
                  <a:pt x="1558" y="603"/>
                  <a:pt x="1558" y="603"/>
                </a:cubicBezTo>
                <a:cubicBezTo>
                  <a:pt x="1557" y="603"/>
                  <a:pt x="1557" y="603"/>
                  <a:pt x="1557" y="603"/>
                </a:cubicBezTo>
                <a:cubicBezTo>
                  <a:pt x="1557" y="603"/>
                  <a:pt x="1557" y="603"/>
                  <a:pt x="1557" y="604"/>
                </a:cubicBezTo>
                <a:cubicBezTo>
                  <a:pt x="1558" y="604"/>
                  <a:pt x="1558" y="604"/>
                  <a:pt x="1558" y="604"/>
                </a:cubicBezTo>
                <a:cubicBezTo>
                  <a:pt x="1558" y="604"/>
                  <a:pt x="1558" y="604"/>
                  <a:pt x="1557" y="605"/>
                </a:cubicBezTo>
                <a:cubicBezTo>
                  <a:pt x="1557" y="605"/>
                  <a:pt x="1557" y="605"/>
                  <a:pt x="1557" y="605"/>
                </a:cubicBezTo>
                <a:cubicBezTo>
                  <a:pt x="1557" y="605"/>
                  <a:pt x="1557" y="605"/>
                  <a:pt x="1557" y="605"/>
                </a:cubicBezTo>
                <a:cubicBezTo>
                  <a:pt x="1557" y="605"/>
                  <a:pt x="1557" y="606"/>
                  <a:pt x="1556" y="606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7" y="606"/>
                  <a:pt x="1557" y="606"/>
                  <a:pt x="1557" y="606"/>
                </a:cubicBezTo>
                <a:cubicBezTo>
                  <a:pt x="1558" y="607"/>
                  <a:pt x="1558" y="607"/>
                  <a:pt x="1558" y="607"/>
                </a:cubicBezTo>
                <a:cubicBezTo>
                  <a:pt x="1558" y="607"/>
                  <a:pt x="1558" y="607"/>
                  <a:pt x="1558" y="607"/>
                </a:cubicBezTo>
                <a:cubicBezTo>
                  <a:pt x="1559" y="607"/>
                  <a:pt x="1559" y="607"/>
                  <a:pt x="1559" y="607"/>
                </a:cubicBezTo>
                <a:cubicBezTo>
                  <a:pt x="1560" y="607"/>
                  <a:pt x="1560" y="608"/>
                  <a:pt x="1561" y="608"/>
                </a:cubicBezTo>
                <a:cubicBezTo>
                  <a:pt x="1561" y="608"/>
                  <a:pt x="1561" y="608"/>
                  <a:pt x="1561" y="608"/>
                </a:cubicBezTo>
                <a:cubicBezTo>
                  <a:pt x="1561" y="608"/>
                  <a:pt x="1562" y="607"/>
                  <a:pt x="1562" y="607"/>
                </a:cubicBezTo>
                <a:cubicBezTo>
                  <a:pt x="1562" y="607"/>
                  <a:pt x="1562" y="608"/>
                  <a:pt x="1561" y="608"/>
                </a:cubicBezTo>
                <a:cubicBezTo>
                  <a:pt x="1561" y="608"/>
                  <a:pt x="1561" y="608"/>
                  <a:pt x="1561" y="608"/>
                </a:cubicBezTo>
                <a:cubicBezTo>
                  <a:pt x="1561" y="608"/>
                  <a:pt x="1561" y="609"/>
                  <a:pt x="1561" y="609"/>
                </a:cubicBezTo>
                <a:cubicBezTo>
                  <a:pt x="1561" y="609"/>
                  <a:pt x="1561" y="609"/>
                  <a:pt x="1561" y="609"/>
                </a:cubicBezTo>
                <a:cubicBezTo>
                  <a:pt x="1561" y="609"/>
                  <a:pt x="1561" y="610"/>
                  <a:pt x="1562" y="610"/>
                </a:cubicBezTo>
                <a:cubicBezTo>
                  <a:pt x="1562" y="610"/>
                  <a:pt x="1562" y="610"/>
                  <a:pt x="1562" y="610"/>
                </a:cubicBezTo>
                <a:cubicBezTo>
                  <a:pt x="1562" y="611"/>
                  <a:pt x="1562" y="611"/>
                  <a:pt x="1562" y="611"/>
                </a:cubicBezTo>
                <a:cubicBezTo>
                  <a:pt x="1562" y="611"/>
                  <a:pt x="1562" y="612"/>
                  <a:pt x="1562" y="612"/>
                </a:cubicBezTo>
                <a:cubicBezTo>
                  <a:pt x="1563" y="613"/>
                  <a:pt x="1563" y="613"/>
                  <a:pt x="1563" y="613"/>
                </a:cubicBezTo>
                <a:cubicBezTo>
                  <a:pt x="1563" y="613"/>
                  <a:pt x="1564" y="613"/>
                  <a:pt x="1564" y="613"/>
                </a:cubicBezTo>
                <a:cubicBezTo>
                  <a:pt x="1564" y="614"/>
                  <a:pt x="1565" y="614"/>
                  <a:pt x="1565" y="614"/>
                </a:cubicBezTo>
                <a:cubicBezTo>
                  <a:pt x="1565" y="614"/>
                  <a:pt x="1565" y="614"/>
                  <a:pt x="1565" y="614"/>
                </a:cubicBezTo>
                <a:cubicBezTo>
                  <a:pt x="1566" y="614"/>
                  <a:pt x="1566" y="615"/>
                  <a:pt x="1566" y="615"/>
                </a:cubicBezTo>
                <a:cubicBezTo>
                  <a:pt x="1567" y="615"/>
                  <a:pt x="1568" y="615"/>
                  <a:pt x="1569" y="616"/>
                </a:cubicBezTo>
                <a:cubicBezTo>
                  <a:pt x="1569" y="616"/>
                  <a:pt x="1569" y="616"/>
                  <a:pt x="1569" y="616"/>
                </a:cubicBezTo>
                <a:cubicBezTo>
                  <a:pt x="1569" y="616"/>
                  <a:pt x="1569" y="616"/>
                  <a:pt x="1569" y="616"/>
                </a:cubicBezTo>
                <a:cubicBezTo>
                  <a:pt x="1569" y="617"/>
                  <a:pt x="1570" y="617"/>
                  <a:pt x="1570" y="617"/>
                </a:cubicBezTo>
                <a:cubicBezTo>
                  <a:pt x="1570" y="617"/>
                  <a:pt x="1570" y="617"/>
                  <a:pt x="1570" y="617"/>
                </a:cubicBezTo>
                <a:cubicBezTo>
                  <a:pt x="1571" y="617"/>
                  <a:pt x="1571" y="617"/>
                  <a:pt x="1571" y="617"/>
                </a:cubicBezTo>
                <a:cubicBezTo>
                  <a:pt x="1572" y="618"/>
                  <a:pt x="1573" y="618"/>
                  <a:pt x="1573" y="618"/>
                </a:cubicBezTo>
                <a:cubicBezTo>
                  <a:pt x="1573" y="618"/>
                  <a:pt x="1573" y="618"/>
                  <a:pt x="1573" y="617"/>
                </a:cubicBezTo>
                <a:cubicBezTo>
                  <a:pt x="1574" y="618"/>
                  <a:pt x="1574" y="618"/>
                  <a:pt x="1574" y="618"/>
                </a:cubicBezTo>
                <a:cubicBezTo>
                  <a:pt x="1574" y="618"/>
                  <a:pt x="1574" y="618"/>
                  <a:pt x="1574" y="618"/>
                </a:cubicBezTo>
                <a:cubicBezTo>
                  <a:pt x="1574" y="617"/>
                  <a:pt x="1575" y="617"/>
                  <a:pt x="1575" y="617"/>
                </a:cubicBezTo>
                <a:cubicBezTo>
                  <a:pt x="1574" y="616"/>
                  <a:pt x="1574" y="616"/>
                  <a:pt x="1574" y="616"/>
                </a:cubicBezTo>
                <a:cubicBezTo>
                  <a:pt x="1573" y="615"/>
                  <a:pt x="1573" y="615"/>
                  <a:pt x="1573" y="615"/>
                </a:cubicBezTo>
                <a:cubicBezTo>
                  <a:pt x="1572" y="614"/>
                  <a:pt x="1572" y="614"/>
                  <a:pt x="1572" y="614"/>
                </a:cubicBezTo>
                <a:cubicBezTo>
                  <a:pt x="1572" y="614"/>
                  <a:pt x="1572" y="614"/>
                  <a:pt x="1571" y="613"/>
                </a:cubicBezTo>
                <a:cubicBezTo>
                  <a:pt x="1571" y="613"/>
                  <a:pt x="1571" y="613"/>
                  <a:pt x="1571" y="613"/>
                </a:cubicBezTo>
                <a:cubicBezTo>
                  <a:pt x="1571" y="613"/>
                  <a:pt x="1571" y="613"/>
                  <a:pt x="1571" y="613"/>
                </a:cubicBezTo>
                <a:cubicBezTo>
                  <a:pt x="1570" y="613"/>
                  <a:pt x="1570" y="613"/>
                  <a:pt x="1570" y="612"/>
                </a:cubicBezTo>
                <a:cubicBezTo>
                  <a:pt x="1570" y="612"/>
                  <a:pt x="1570" y="612"/>
                  <a:pt x="1570" y="612"/>
                </a:cubicBezTo>
                <a:cubicBezTo>
                  <a:pt x="1570" y="611"/>
                  <a:pt x="1570" y="611"/>
                  <a:pt x="1570" y="610"/>
                </a:cubicBezTo>
                <a:cubicBezTo>
                  <a:pt x="1570" y="610"/>
                  <a:pt x="1570" y="610"/>
                  <a:pt x="1569" y="610"/>
                </a:cubicBezTo>
                <a:cubicBezTo>
                  <a:pt x="1569" y="610"/>
                  <a:pt x="1569" y="609"/>
                  <a:pt x="1569" y="609"/>
                </a:cubicBezTo>
                <a:cubicBezTo>
                  <a:pt x="1569" y="609"/>
                  <a:pt x="1569" y="609"/>
                  <a:pt x="1569" y="609"/>
                </a:cubicBezTo>
                <a:cubicBezTo>
                  <a:pt x="1569" y="609"/>
                  <a:pt x="1569" y="609"/>
                  <a:pt x="1569" y="609"/>
                </a:cubicBezTo>
                <a:cubicBezTo>
                  <a:pt x="1569" y="609"/>
                  <a:pt x="1569" y="610"/>
                  <a:pt x="1569" y="610"/>
                </a:cubicBezTo>
                <a:cubicBezTo>
                  <a:pt x="1570" y="610"/>
                  <a:pt x="1570" y="610"/>
                  <a:pt x="1570" y="610"/>
                </a:cubicBezTo>
                <a:cubicBezTo>
                  <a:pt x="1570" y="610"/>
                  <a:pt x="1570" y="611"/>
                  <a:pt x="1571" y="611"/>
                </a:cubicBezTo>
                <a:cubicBezTo>
                  <a:pt x="1571" y="611"/>
                  <a:pt x="1571" y="611"/>
                  <a:pt x="1571" y="612"/>
                </a:cubicBezTo>
                <a:cubicBezTo>
                  <a:pt x="1571" y="612"/>
                  <a:pt x="1570" y="612"/>
                  <a:pt x="1570" y="612"/>
                </a:cubicBezTo>
                <a:cubicBezTo>
                  <a:pt x="1571" y="612"/>
                  <a:pt x="1571" y="613"/>
                  <a:pt x="1571" y="613"/>
                </a:cubicBezTo>
                <a:cubicBezTo>
                  <a:pt x="1571" y="613"/>
                  <a:pt x="1571" y="613"/>
                  <a:pt x="1572" y="613"/>
                </a:cubicBezTo>
                <a:cubicBezTo>
                  <a:pt x="1572" y="614"/>
                  <a:pt x="1572" y="614"/>
                  <a:pt x="1572" y="614"/>
                </a:cubicBezTo>
                <a:cubicBezTo>
                  <a:pt x="1572" y="614"/>
                  <a:pt x="1572" y="614"/>
                  <a:pt x="1573" y="614"/>
                </a:cubicBezTo>
                <a:cubicBezTo>
                  <a:pt x="1573" y="614"/>
                  <a:pt x="1573" y="614"/>
                  <a:pt x="1574" y="615"/>
                </a:cubicBezTo>
                <a:cubicBezTo>
                  <a:pt x="1574" y="615"/>
                  <a:pt x="1575" y="615"/>
                  <a:pt x="1575" y="615"/>
                </a:cubicBezTo>
                <a:cubicBezTo>
                  <a:pt x="1575" y="615"/>
                  <a:pt x="1576" y="615"/>
                  <a:pt x="1576" y="615"/>
                </a:cubicBezTo>
                <a:cubicBezTo>
                  <a:pt x="1576" y="615"/>
                  <a:pt x="1576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6" y="615"/>
                  <a:pt x="1576" y="615"/>
                  <a:pt x="1576" y="614"/>
                </a:cubicBezTo>
                <a:cubicBezTo>
                  <a:pt x="1576" y="614"/>
                  <a:pt x="1576" y="614"/>
                  <a:pt x="1576" y="614"/>
                </a:cubicBezTo>
                <a:cubicBezTo>
                  <a:pt x="1576" y="614"/>
                  <a:pt x="1576" y="614"/>
                  <a:pt x="1575" y="614"/>
                </a:cubicBezTo>
                <a:cubicBezTo>
                  <a:pt x="1575" y="613"/>
                  <a:pt x="1575" y="613"/>
                  <a:pt x="1575" y="613"/>
                </a:cubicBezTo>
                <a:cubicBezTo>
                  <a:pt x="1575" y="613"/>
                  <a:pt x="1575" y="613"/>
                  <a:pt x="1576" y="614"/>
                </a:cubicBezTo>
                <a:cubicBezTo>
                  <a:pt x="1576" y="614"/>
                  <a:pt x="1576" y="614"/>
                  <a:pt x="1577" y="614"/>
                </a:cubicBezTo>
                <a:cubicBezTo>
                  <a:pt x="1577" y="614"/>
                  <a:pt x="1577" y="614"/>
                  <a:pt x="1577" y="615"/>
                </a:cubicBezTo>
                <a:cubicBezTo>
                  <a:pt x="1577" y="615"/>
                  <a:pt x="1577" y="615"/>
                  <a:pt x="1578" y="615"/>
                </a:cubicBezTo>
                <a:cubicBezTo>
                  <a:pt x="1578" y="615"/>
                  <a:pt x="1578" y="615"/>
                  <a:pt x="1577" y="615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9" y="614"/>
                  <a:pt x="1579" y="613"/>
                  <a:pt x="1579" y="613"/>
                </a:cubicBezTo>
                <a:cubicBezTo>
                  <a:pt x="1579" y="613"/>
                  <a:pt x="1578" y="613"/>
                  <a:pt x="1578" y="612"/>
                </a:cubicBezTo>
                <a:cubicBezTo>
                  <a:pt x="1578" y="612"/>
                  <a:pt x="1578" y="612"/>
                  <a:pt x="1578" y="612"/>
                </a:cubicBezTo>
                <a:cubicBezTo>
                  <a:pt x="1579" y="612"/>
                  <a:pt x="1579" y="613"/>
                  <a:pt x="1579" y="613"/>
                </a:cubicBezTo>
                <a:cubicBezTo>
                  <a:pt x="1579" y="613"/>
                  <a:pt x="1579" y="613"/>
                  <a:pt x="1579" y="613"/>
                </a:cubicBezTo>
                <a:cubicBezTo>
                  <a:pt x="1579" y="614"/>
                  <a:pt x="1579" y="614"/>
                  <a:pt x="1580" y="614"/>
                </a:cubicBezTo>
                <a:cubicBezTo>
                  <a:pt x="1580" y="614"/>
                  <a:pt x="1580" y="615"/>
                  <a:pt x="1580" y="615"/>
                </a:cubicBezTo>
                <a:cubicBezTo>
                  <a:pt x="1580" y="615"/>
                  <a:pt x="1580" y="615"/>
                  <a:pt x="1580" y="614"/>
                </a:cubicBezTo>
                <a:cubicBezTo>
                  <a:pt x="1580" y="614"/>
                  <a:pt x="1580" y="614"/>
                  <a:pt x="1580" y="614"/>
                </a:cubicBezTo>
                <a:cubicBezTo>
                  <a:pt x="1581" y="614"/>
                  <a:pt x="1581" y="614"/>
                  <a:pt x="1581" y="614"/>
                </a:cubicBezTo>
                <a:cubicBezTo>
                  <a:pt x="1581" y="614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4"/>
                  <a:pt x="1581" y="614"/>
                  <a:pt x="1581" y="614"/>
                </a:cubicBezTo>
                <a:cubicBezTo>
                  <a:pt x="1581" y="614"/>
                  <a:pt x="1582" y="614"/>
                  <a:pt x="1582" y="613"/>
                </a:cubicBezTo>
                <a:cubicBezTo>
                  <a:pt x="1582" y="614"/>
                  <a:pt x="1582" y="614"/>
                  <a:pt x="1582" y="614"/>
                </a:cubicBezTo>
                <a:cubicBezTo>
                  <a:pt x="1582" y="614"/>
                  <a:pt x="1583" y="614"/>
                  <a:pt x="1583" y="615"/>
                </a:cubicBezTo>
                <a:cubicBezTo>
                  <a:pt x="1583" y="615"/>
                  <a:pt x="1583" y="615"/>
                  <a:pt x="1583" y="615"/>
                </a:cubicBezTo>
                <a:cubicBezTo>
                  <a:pt x="1583" y="615"/>
                  <a:pt x="1583" y="616"/>
                  <a:pt x="1583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6"/>
                  <a:pt x="1585" y="616"/>
                  <a:pt x="1585" y="616"/>
                </a:cubicBezTo>
                <a:cubicBezTo>
                  <a:pt x="1585" y="616"/>
                  <a:pt x="1585" y="616"/>
                  <a:pt x="1585" y="616"/>
                </a:cubicBezTo>
                <a:cubicBezTo>
                  <a:pt x="1584" y="617"/>
                  <a:pt x="1584" y="617"/>
                  <a:pt x="1584" y="617"/>
                </a:cubicBezTo>
                <a:cubicBezTo>
                  <a:pt x="1584" y="617"/>
                  <a:pt x="1585" y="617"/>
                  <a:pt x="1585" y="617"/>
                </a:cubicBezTo>
                <a:cubicBezTo>
                  <a:pt x="1585" y="617"/>
                  <a:pt x="1585" y="618"/>
                  <a:pt x="1585" y="618"/>
                </a:cubicBezTo>
                <a:cubicBezTo>
                  <a:pt x="1586" y="618"/>
                  <a:pt x="1587" y="619"/>
                  <a:pt x="1587" y="619"/>
                </a:cubicBezTo>
                <a:cubicBezTo>
                  <a:pt x="1588" y="619"/>
                  <a:pt x="1588" y="620"/>
                  <a:pt x="1588" y="620"/>
                </a:cubicBezTo>
                <a:cubicBezTo>
                  <a:pt x="1588" y="620"/>
                  <a:pt x="1588" y="620"/>
                  <a:pt x="1588" y="621"/>
                </a:cubicBezTo>
                <a:cubicBezTo>
                  <a:pt x="1588" y="621"/>
                  <a:pt x="1588" y="621"/>
                  <a:pt x="1588" y="622"/>
                </a:cubicBezTo>
                <a:cubicBezTo>
                  <a:pt x="1588" y="622"/>
                  <a:pt x="1589" y="623"/>
                  <a:pt x="1589" y="624"/>
                </a:cubicBezTo>
                <a:cubicBezTo>
                  <a:pt x="1589" y="624"/>
                  <a:pt x="1589" y="624"/>
                  <a:pt x="1589" y="624"/>
                </a:cubicBezTo>
                <a:cubicBezTo>
                  <a:pt x="1589" y="624"/>
                  <a:pt x="1589" y="624"/>
                  <a:pt x="1590" y="625"/>
                </a:cubicBezTo>
                <a:cubicBezTo>
                  <a:pt x="1590" y="625"/>
                  <a:pt x="1590" y="625"/>
                  <a:pt x="1590" y="625"/>
                </a:cubicBezTo>
                <a:cubicBezTo>
                  <a:pt x="1590" y="625"/>
                  <a:pt x="1590" y="626"/>
                  <a:pt x="1590" y="626"/>
                </a:cubicBezTo>
                <a:cubicBezTo>
                  <a:pt x="1590" y="627"/>
                  <a:pt x="1591" y="627"/>
                  <a:pt x="1591" y="628"/>
                </a:cubicBezTo>
                <a:cubicBezTo>
                  <a:pt x="1591" y="628"/>
                  <a:pt x="1591" y="629"/>
                  <a:pt x="1591" y="629"/>
                </a:cubicBezTo>
                <a:cubicBezTo>
                  <a:pt x="1591" y="629"/>
                  <a:pt x="1591" y="629"/>
                  <a:pt x="1591" y="630"/>
                </a:cubicBezTo>
                <a:cubicBezTo>
                  <a:pt x="1592" y="630"/>
                  <a:pt x="1592" y="630"/>
                  <a:pt x="1592" y="630"/>
                </a:cubicBezTo>
                <a:cubicBezTo>
                  <a:pt x="1593" y="630"/>
                  <a:pt x="1593" y="631"/>
                  <a:pt x="1593" y="631"/>
                </a:cubicBezTo>
                <a:cubicBezTo>
                  <a:pt x="1593" y="631"/>
                  <a:pt x="1593" y="631"/>
                  <a:pt x="1593" y="631"/>
                </a:cubicBezTo>
                <a:cubicBezTo>
                  <a:pt x="1594" y="631"/>
                  <a:pt x="1594" y="631"/>
                  <a:pt x="1594" y="631"/>
                </a:cubicBezTo>
                <a:cubicBezTo>
                  <a:pt x="1594" y="631"/>
                  <a:pt x="1595" y="632"/>
                  <a:pt x="1595" y="632"/>
                </a:cubicBezTo>
                <a:cubicBezTo>
                  <a:pt x="1596" y="632"/>
                  <a:pt x="1596" y="632"/>
                  <a:pt x="1596" y="632"/>
                </a:cubicBezTo>
                <a:cubicBezTo>
                  <a:pt x="1596" y="632"/>
                  <a:pt x="1597" y="633"/>
                  <a:pt x="1597" y="633"/>
                </a:cubicBezTo>
                <a:cubicBezTo>
                  <a:pt x="1597" y="633"/>
                  <a:pt x="1598" y="633"/>
                  <a:pt x="1598" y="633"/>
                </a:cubicBezTo>
                <a:cubicBezTo>
                  <a:pt x="1598" y="634"/>
                  <a:pt x="1599" y="634"/>
                  <a:pt x="1599" y="634"/>
                </a:cubicBezTo>
                <a:cubicBezTo>
                  <a:pt x="1599" y="634"/>
                  <a:pt x="1599" y="634"/>
                  <a:pt x="1600" y="634"/>
                </a:cubicBezTo>
                <a:cubicBezTo>
                  <a:pt x="1600" y="635"/>
                  <a:pt x="1600" y="635"/>
                  <a:pt x="1600" y="635"/>
                </a:cubicBezTo>
                <a:cubicBezTo>
                  <a:pt x="1600" y="635"/>
                  <a:pt x="1601" y="635"/>
                  <a:pt x="1601" y="635"/>
                </a:cubicBezTo>
                <a:cubicBezTo>
                  <a:pt x="1601" y="635"/>
                  <a:pt x="1601" y="636"/>
                  <a:pt x="1601" y="636"/>
                </a:cubicBezTo>
                <a:cubicBezTo>
                  <a:pt x="1601" y="636"/>
                  <a:pt x="1601" y="636"/>
                  <a:pt x="1600" y="636"/>
                </a:cubicBezTo>
                <a:cubicBezTo>
                  <a:pt x="1601" y="636"/>
                  <a:pt x="1601" y="636"/>
                  <a:pt x="1601" y="636"/>
                </a:cubicBezTo>
                <a:cubicBezTo>
                  <a:pt x="1601" y="637"/>
                  <a:pt x="1602" y="637"/>
                  <a:pt x="1602" y="637"/>
                </a:cubicBezTo>
                <a:cubicBezTo>
                  <a:pt x="1602" y="637"/>
                  <a:pt x="1603" y="637"/>
                  <a:pt x="1603" y="637"/>
                </a:cubicBezTo>
                <a:cubicBezTo>
                  <a:pt x="1603" y="637"/>
                  <a:pt x="1603" y="637"/>
                  <a:pt x="1603" y="637"/>
                </a:cubicBezTo>
                <a:cubicBezTo>
                  <a:pt x="1603" y="637"/>
                  <a:pt x="1603" y="636"/>
                  <a:pt x="1603" y="636"/>
                </a:cubicBezTo>
                <a:cubicBezTo>
                  <a:pt x="1602" y="636"/>
                  <a:pt x="1602" y="636"/>
                  <a:pt x="1602" y="636"/>
                </a:cubicBezTo>
                <a:cubicBezTo>
                  <a:pt x="1602" y="636"/>
                  <a:pt x="1602" y="636"/>
                  <a:pt x="1602" y="636"/>
                </a:cubicBezTo>
                <a:cubicBezTo>
                  <a:pt x="1603" y="636"/>
                  <a:pt x="1603" y="636"/>
                  <a:pt x="1603" y="636"/>
                </a:cubicBezTo>
                <a:cubicBezTo>
                  <a:pt x="1603" y="636"/>
                  <a:pt x="1604" y="636"/>
                  <a:pt x="1604" y="636"/>
                </a:cubicBezTo>
                <a:cubicBezTo>
                  <a:pt x="1604" y="636"/>
                  <a:pt x="1605" y="636"/>
                  <a:pt x="1605" y="636"/>
                </a:cubicBezTo>
                <a:cubicBezTo>
                  <a:pt x="1604" y="636"/>
                  <a:pt x="1604" y="636"/>
                  <a:pt x="1603" y="635"/>
                </a:cubicBezTo>
                <a:cubicBezTo>
                  <a:pt x="1603" y="635"/>
                  <a:pt x="1602" y="635"/>
                  <a:pt x="1602" y="634"/>
                </a:cubicBezTo>
                <a:cubicBezTo>
                  <a:pt x="1601" y="634"/>
                  <a:pt x="1601" y="634"/>
                  <a:pt x="1601" y="633"/>
                </a:cubicBezTo>
                <a:cubicBezTo>
                  <a:pt x="1601" y="633"/>
                  <a:pt x="1600" y="633"/>
                  <a:pt x="1600" y="633"/>
                </a:cubicBezTo>
                <a:cubicBezTo>
                  <a:pt x="1601" y="633"/>
                  <a:pt x="1601" y="633"/>
                  <a:pt x="1602" y="633"/>
                </a:cubicBezTo>
                <a:cubicBezTo>
                  <a:pt x="1602" y="633"/>
                  <a:pt x="1602" y="633"/>
                  <a:pt x="1602" y="633"/>
                </a:cubicBezTo>
                <a:cubicBezTo>
                  <a:pt x="1602" y="633"/>
                  <a:pt x="1603" y="633"/>
                  <a:pt x="1603" y="633"/>
                </a:cubicBezTo>
                <a:cubicBezTo>
                  <a:pt x="1603" y="633"/>
                  <a:pt x="1602" y="633"/>
                  <a:pt x="1602" y="633"/>
                </a:cubicBezTo>
                <a:cubicBezTo>
                  <a:pt x="1602" y="632"/>
                  <a:pt x="1601" y="632"/>
                  <a:pt x="1601" y="632"/>
                </a:cubicBezTo>
                <a:cubicBezTo>
                  <a:pt x="1600" y="632"/>
                  <a:pt x="1600" y="631"/>
                  <a:pt x="1599" y="631"/>
                </a:cubicBezTo>
                <a:cubicBezTo>
                  <a:pt x="1599" y="631"/>
                  <a:pt x="1599" y="631"/>
                  <a:pt x="1599" y="630"/>
                </a:cubicBezTo>
                <a:cubicBezTo>
                  <a:pt x="1599" y="630"/>
                  <a:pt x="1599" y="630"/>
                  <a:pt x="1599" y="630"/>
                </a:cubicBezTo>
                <a:cubicBezTo>
                  <a:pt x="1599" y="630"/>
                  <a:pt x="1600" y="630"/>
                  <a:pt x="1600" y="630"/>
                </a:cubicBezTo>
                <a:cubicBezTo>
                  <a:pt x="1600" y="630"/>
                  <a:pt x="1600" y="630"/>
                  <a:pt x="1600" y="629"/>
                </a:cubicBezTo>
                <a:cubicBezTo>
                  <a:pt x="1600" y="629"/>
                  <a:pt x="1600" y="629"/>
                  <a:pt x="1600" y="629"/>
                </a:cubicBezTo>
                <a:cubicBezTo>
                  <a:pt x="1600" y="629"/>
                  <a:pt x="1600" y="629"/>
                  <a:pt x="1600" y="629"/>
                </a:cubicBezTo>
                <a:cubicBezTo>
                  <a:pt x="1599" y="629"/>
                  <a:pt x="1599" y="629"/>
                  <a:pt x="1599" y="629"/>
                </a:cubicBezTo>
                <a:cubicBezTo>
                  <a:pt x="1599" y="629"/>
                  <a:pt x="1599" y="628"/>
                  <a:pt x="1598" y="628"/>
                </a:cubicBezTo>
                <a:cubicBezTo>
                  <a:pt x="1598" y="628"/>
                  <a:pt x="1598" y="628"/>
                  <a:pt x="1598" y="628"/>
                </a:cubicBezTo>
                <a:cubicBezTo>
                  <a:pt x="1598" y="628"/>
                  <a:pt x="1598" y="627"/>
                  <a:pt x="1598" y="627"/>
                </a:cubicBezTo>
                <a:cubicBezTo>
                  <a:pt x="1598" y="627"/>
                  <a:pt x="1598" y="626"/>
                  <a:pt x="1598" y="626"/>
                </a:cubicBezTo>
                <a:cubicBezTo>
                  <a:pt x="1598" y="626"/>
                  <a:pt x="1597" y="626"/>
                  <a:pt x="1597" y="625"/>
                </a:cubicBezTo>
                <a:cubicBezTo>
                  <a:pt x="1597" y="625"/>
                  <a:pt x="1597" y="624"/>
                  <a:pt x="1597" y="624"/>
                </a:cubicBezTo>
                <a:cubicBezTo>
                  <a:pt x="1597" y="624"/>
                  <a:pt x="1597" y="623"/>
                  <a:pt x="1597" y="623"/>
                </a:cubicBezTo>
                <a:cubicBezTo>
                  <a:pt x="1597" y="623"/>
                  <a:pt x="1597" y="623"/>
                  <a:pt x="1597" y="623"/>
                </a:cubicBezTo>
                <a:cubicBezTo>
                  <a:pt x="1597" y="623"/>
                  <a:pt x="1596" y="622"/>
                  <a:pt x="1596" y="622"/>
                </a:cubicBezTo>
                <a:cubicBezTo>
                  <a:pt x="1596" y="622"/>
                  <a:pt x="1596" y="622"/>
                  <a:pt x="1595" y="622"/>
                </a:cubicBezTo>
                <a:cubicBezTo>
                  <a:pt x="1595" y="621"/>
                  <a:pt x="1595" y="621"/>
                  <a:pt x="1595" y="621"/>
                </a:cubicBezTo>
                <a:cubicBezTo>
                  <a:pt x="1595" y="620"/>
                  <a:pt x="1595" y="620"/>
                  <a:pt x="1595" y="620"/>
                </a:cubicBezTo>
                <a:cubicBezTo>
                  <a:pt x="1595" y="619"/>
                  <a:pt x="1595" y="619"/>
                  <a:pt x="1595" y="619"/>
                </a:cubicBezTo>
                <a:cubicBezTo>
                  <a:pt x="1595" y="619"/>
                  <a:pt x="1595" y="618"/>
                  <a:pt x="1594" y="618"/>
                </a:cubicBezTo>
                <a:cubicBezTo>
                  <a:pt x="1594" y="618"/>
                  <a:pt x="1594" y="617"/>
                  <a:pt x="1594" y="617"/>
                </a:cubicBezTo>
                <a:cubicBezTo>
                  <a:pt x="1594" y="617"/>
                  <a:pt x="1594" y="617"/>
                  <a:pt x="1594" y="617"/>
                </a:cubicBezTo>
                <a:cubicBezTo>
                  <a:pt x="1595" y="617"/>
                  <a:pt x="1596" y="617"/>
                  <a:pt x="1596" y="618"/>
                </a:cubicBezTo>
                <a:cubicBezTo>
                  <a:pt x="1597" y="618"/>
                  <a:pt x="1597" y="618"/>
                  <a:pt x="1598" y="618"/>
                </a:cubicBezTo>
                <a:cubicBezTo>
                  <a:pt x="1598" y="618"/>
                  <a:pt x="1599" y="618"/>
                  <a:pt x="1599" y="618"/>
                </a:cubicBezTo>
                <a:cubicBezTo>
                  <a:pt x="1599" y="617"/>
                  <a:pt x="1599" y="617"/>
                  <a:pt x="1599" y="617"/>
                </a:cubicBezTo>
                <a:cubicBezTo>
                  <a:pt x="1599" y="616"/>
                  <a:pt x="1599" y="616"/>
                  <a:pt x="1598" y="615"/>
                </a:cubicBezTo>
                <a:cubicBezTo>
                  <a:pt x="1598" y="615"/>
                  <a:pt x="1598" y="615"/>
                  <a:pt x="1597" y="615"/>
                </a:cubicBezTo>
                <a:cubicBezTo>
                  <a:pt x="1597" y="615"/>
                  <a:pt x="1597" y="615"/>
                  <a:pt x="1597" y="615"/>
                </a:cubicBezTo>
                <a:cubicBezTo>
                  <a:pt x="1597" y="614"/>
                  <a:pt x="1596" y="614"/>
                  <a:pt x="1596" y="614"/>
                </a:cubicBezTo>
                <a:cubicBezTo>
                  <a:pt x="1596" y="613"/>
                  <a:pt x="1595" y="613"/>
                  <a:pt x="1595" y="613"/>
                </a:cubicBezTo>
                <a:cubicBezTo>
                  <a:pt x="1595" y="612"/>
                  <a:pt x="1594" y="612"/>
                  <a:pt x="1594" y="612"/>
                </a:cubicBezTo>
                <a:cubicBezTo>
                  <a:pt x="1594" y="612"/>
                  <a:pt x="1594" y="611"/>
                  <a:pt x="1593" y="611"/>
                </a:cubicBezTo>
                <a:cubicBezTo>
                  <a:pt x="1593" y="611"/>
                  <a:pt x="1592" y="610"/>
                  <a:pt x="1591" y="610"/>
                </a:cubicBezTo>
                <a:cubicBezTo>
                  <a:pt x="1591" y="610"/>
                  <a:pt x="1591" y="609"/>
                  <a:pt x="1591" y="609"/>
                </a:cubicBezTo>
                <a:cubicBezTo>
                  <a:pt x="1592" y="609"/>
                  <a:pt x="1592" y="609"/>
                  <a:pt x="1592" y="609"/>
                </a:cubicBezTo>
                <a:cubicBezTo>
                  <a:pt x="1593" y="609"/>
                  <a:pt x="1593" y="608"/>
                  <a:pt x="1593" y="608"/>
                </a:cubicBezTo>
                <a:cubicBezTo>
                  <a:pt x="1593" y="608"/>
                  <a:pt x="1593" y="608"/>
                  <a:pt x="1593" y="607"/>
                </a:cubicBezTo>
                <a:cubicBezTo>
                  <a:pt x="1592" y="607"/>
                  <a:pt x="1592" y="606"/>
                  <a:pt x="1592" y="605"/>
                </a:cubicBezTo>
                <a:cubicBezTo>
                  <a:pt x="1591" y="605"/>
                  <a:pt x="1591" y="605"/>
                  <a:pt x="1591" y="605"/>
                </a:cubicBezTo>
                <a:cubicBezTo>
                  <a:pt x="1591" y="605"/>
                  <a:pt x="1591" y="605"/>
                  <a:pt x="1591" y="605"/>
                </a:cubicBezTo>
                <a:cubicBezTo>
                  <a:pt x="1590" y="605"/>
                  <a:pt x="1590" y="605"/>
                  <a:pt x="1590" y="605"/>
                </a:cubicBezTo>
                <a:cubicBezTo>
                  <a:pt x="1590" y="604"/>
                  <a:pt x="1590" y="604"/>
                  <a:pt x="1590" y="604"/>
                </a:cubicBezTo>
                <a:cubicBezTo>
                  <a:pt x="1590" y="604"/>
                  <a:pt x="1590" y="603"/>
                  <a:pt x="1590" y="603"/>
                </a:cubicBezTo>
                <a:cubicBezTo>
                  <a:pt x="1589" y="603"/>
                  <a:pt x="1589" y="603"/>
                  <a:pt x="1589" y="603"/>
                </a:cubicBezTo>
                <a:cubicBezTo>
                  <a:pt x="1589" y="602"/>
                  <a:pt x="1589" y="602"/>
                  <a:pt x="1589" y="602"/>
                </a:cubicBezTo>
                <a:cubicBezTo>
                  <a:pt x="1589" y="602"/>
                  <a:pt x="1588" y="602"/>
                  <a:pt x="1588" y="602"/>
                </a:cubicBezTo>
                <a:cubicBezTo>
                  <a:pt x="1588" y="602"/>
                  <a:pt x="1588" y="601"/>
                  <a:pt x="1588" y="601"/>
                </a:cubicBezTo>
                <a:cubicBezTo>
                  <a:pt x="1587" y="601"/>
                  <a:pt x="1587" y="601"/>
                  <a:pt x="1587" y="601"/>
                </a:cubicBezTo>
                <a:cubicBezTo>
                  <a:pt x="1586" y="600"/>
                  <a:pt x="1586" y="600"/>
                  <a:pt x="1586" y="600"/>
                </a:cubicBezTo>
                <a:cubicBezTo>
                  <a:pt x="1586" y="600"/>
                  <a:pt x="1585" y="599"/>
                  <a:pt x="1585" y="599"/>
                </a:cubicBezTo>
                <a:cubicBezTo>
                  <a:pt x="1585" y="599"/>
                  <a:pt x="1584" y="598"/>
                  <a:pt x="1584" y="598"/>
                </a:cubicBezTo>
                <a:cubicBezTo>
                  <a:pt x="1583" y="597"/>
                  <a:pt x="1582" y="597"/>
                  <a:pt x="1581" y="596"/>
                </a:cubicBezTo>
                <a:cubicBezTo>
                  <a:pt x="1581" y="596"/>
                  <a:pt x="1581" y="596"/>
                  <a:pt x="1581" y="596"/>
                </a:cubicBezTo>
                <a:cubicBezTo>
                  <a:pt x="1580" y="596"/>
                  <a:pt x="1580" y="595"/>
                  <a:pt x="1580" y="595"/>
                </a:cubicBezTo>
                <a:cubicBezTo>
                  <a:pt x="1580" y="595"/>
                  <a:pt x="1580" y="595"/>
                  <a:pt x="1580" y="595"/>
                </a:cubicBezTo>
                <a:cubicBezTo>
                  <a:pt x="1580" y="595"/>
                  <a:pt x="1580" y="595"/>
                  <a:pt x="1580" y="595"/>
                </a:cubicBezTo>
                <a:cubicBezTo>
                  <a:pt x="1579" y="594"/>
                  <a:pt x="1579" y="594"/>
                  <a:pt x="1578" y="594"/>
                </a:cubicBezTo>
                <a:cubicBezTo>
                  <a:pt x="1578" y="593"/>
                  <a:pt x="1578" y="593"/>
                  <a:pt x="1578" y="593"/>
                </a:cubicBezTo>
                <a:cubicBezTo>
                  <a:pt x="1577" y="593"/>
                  <a:pt x="1577" y="593"/>
                  <a:pt x="1577" y="592"/>
                </a:cubicBezTo>
                <a:cubicBezTo>
                  <a:pt x="1577" y="592"/>
                  <a:pt x="1576" y="592"/>
                  <a:pt x="1576" y="591"/>
                </a:cubicBezTo>
                <a:cubicBezTo>
                  <a:pt x="1575" y="591"/>
                  <a:pt x="1575" y="591"/>
                  <a:pt x="1575" y="591"/>
                </a:cubicBezTo>
                <a:cubicBezTo>
                  <a:pt x="1575" y="591"/>
                  <a:pt x="1575" y="591"/>
                  <a:pt x="1575" y="591"/>
                </a:cubicBezTo>
                <a:cubicBezTo>
                  <a:pt x="1575" y="591"/>
                  <a:pt x="1574" y="591"/>
                  <a:pt x="1574" y="591"/>
                </a:cubicBezTo>
                <a:cubicBezTo>
                  <a:pt x="1574" y="591"/>
                  <a:pt x="1574" y="591"/>
                  <a:pt x="1574" y="590"/>
                </a:cubicBezTo>
                <a:cubicBezTo>
                  <a:pt x="1574" y="590"/>
                  <a:pt x="1574" y="590"/>
                  <a:pt x="1574" y="590"/>
                </a:cubicBezTo>
                <a:cubicBezTo>
                  <a:pt x="1574" y="590"/>
                  <a:pt x="1574" y="590"/>
                  <a:pt x="1574" y="590"/>
                </a:cubicBezTo>
                <a:cubicBezTo>
                  <a:pt x="1574" y="590"/>
                  <a:pt x="1574" y="589"/>
                  <a:pt x="1574" y="589"/>
                </a:cubicBezTo>
                <a:cubicBezTo>
                  <a:pt x="1573" y="589"/>
                  <a:pt x="1573" y="589"/>
                  <a:pt x="1573" y="589"/>
                </a:cubicBezTo>
                <a:cubicBezTo>
                  <a:pt x="1572" y="589"/>
                  <a:pt x="1572" y="588"/>
                  <a:pt x="1572" y="588"/>
                </a:cubicBezTo>
                <a:cubicBezTo>
                  <a:pt x="1571" y="588"/>
                  <a:pt x="1571" y="588"/>
                  <a:pt x="1571" y="588"/>
                </a:cubicBezTo>
                <a:cubicBezTo>
                  <a:pt x="1571" y="588"/>
                  <a:pt x="1571" y="588"/>
                  <a:pt x="1570" y="588"/>
                </a:cubicBezTo>
                <a:cubicBezTo>
                  <a:pt x="1570" y="587"/>
                  <a:pt x="1569" y="586"/>
                  <a:pt x="1568" y="586"/>
                </a:cubicBezTo>
                <a:cubicBezTo>
                  <a:pt x="1568" y="585"/>
                  <a:pt x="1567" y="585"/>
                  <a:pt x="1567" y="585"/>
                </a:cubicBezTo>
                <a:cubicBezTo>
                  <a:pt x="1567" y="585"/>
                  <a:pt x="1567" y="585"/>
                  <a:pt x="1566" y="585"/>
                </a:cubicBezTo>
                <a:cubicBezTo>
                  <a:pt x="1566" y="584"/>
                  <a:pt x="1566" y="584"/>
                  <a:pt x="1566" y="584"/>
                </a:cubicBezTo>
                <a:cubicBezTo>
                  <a:pt x="1565" y="583"/>
                  <a:pt x="1565" y="583"/>
                  <a:pt x="1564" y="583"/>
                </a:cubicBezTo>
                <a:cubicBezTo>
                  <a:pt x="1564" y="582"/>
                  <a:pt x="1563" y="582"/>
                  <a:pt x="1563" y="582"/>
                </a:cubicBezTo>
                <a:cubicBezTo>
                  <a:pt x="1563" y="581"/>
                  <a:pt x="1563" y="581"/>
                  <a:pt x="1562" y="581"/>
                </a:cubicBezTo>
                <a:cubicBezTo>
                  <a:pt x="1562" y="581"/>
                  <a:pt x="1562" y="581"/>
                  <a:pt x="1561" y="580"/>
                </a:cubicBezTo>
                <a:cubicBezTo>
                  <a:pt x="1561" y="580"/>
                  <a:pt x="1560" y="580"/>
                  <a:pt x="1559" y="580"/>
                </a:cubicBezTo>
                <a:cubicBezTo>
                  <a:pt x="1559" y="581"/>
                  <a:pt x="1559" y="581"/>
                  <a:pt x="1558" y="581"/>
                </a:cubicBezTo>
                <a:cubicBezTo>
                  <a:pt x="1559" y="581"/>
                  <a:pt x="1559" y="581"/>
                  <a:pt x="1559" y="582"/>
                </a:cubicBezTo>
                <a:cubicBezTo>
                  <a:pt x="1558" y="582"/>
                  <a:pt x="1558" y="582"/>
                  <a:pt x="1558" y="582"/>
                </a:cubicBezTo>
                <a:cubicBezTo>
                  <a:pt x="1558" y="582"/>
                  <a:pt x="1557" y="582"/>
                  <a:pt x="1557" y="582"/>
                </a:cubicBezTo>
                <a:cubicBezTo>
                  <a:pt x="1557" y="581"/>
                  <a:pt x="1556" y="581"/>
                  <a:pt x="1556" y="581"/>
                </a:cubicBezTo>
                <a:cubicBezTo>
                  <a:pt x="1556" y="581"/>
                  <a:pt x="1556" y="581"/>
                  <a:pt x="1555" y="581"/>
                </a:cubicBezTo>
                <a:cubicBezTo>
                  <a:pt x="1555" y="581"/>
                  <a:pt x="1555" y="581"/>
                  <a:pt x="1555" y="581"/>
                </a:cubicBezTo>
                <a:cubicBezTo>
                  <a:pt x="1555" y="581"/>
                  <a:pt x="1555" y="581"/>
                  <a:pt x="1555" y="581"/>
                </a:cubicBezTo>
                <a:cubicBezTo>
                  <a:pt x="1554" y="581"/>
                  <a:pt x="1554" y="582"/>
                  <a:pt x="1554" y="582"/>
                </a:cubicBezTo>
                <a:cubicBezTo>
                  <a:pt x="1554" y="582"/>
                  <a:pt x="1553" y="582"/>
                  <a:pt x="1553" y="582"/>
                </a:cubicBezTo>
                <a:cubicBezTo>
                  <a:pt x="1553" y="582"/>
                  <a:pt x="1553" y="582"/>
                  <a:pt x="1552" y="581"/>
                </a:cubicBezTo>
                <a:cubicBezTo>
                  <a:pt x="1552" y="582"/>
                  <a:pt x="1552" y="582"/>
                  <a:pt x="1551" y="582"/>
                </a:cubicBezTo>
                <a:cubicBezTo>
                  <a:pt x="1551" y="582"/>
                  <a:pt x="1551" y="582"/>
                  <a:pt x="1551" y="583"/>
                </a:cubicBezTo>
                <a:cubicBezTo>
                  <a:pt x="1551" y="583"/>
                  <a:pt x="1551" y="583"/>
                  <a:pt x="1550" y="583"/>
                </a:cubicBezTo>
                <a:cubicBezTo>
                  <a:pt x="1550" y="583"/>
                  <a:pt x="1550" y="583"/>
                  <a:pt x="1550" y="583"/>
                </a:cubicBezTo>
                <a:cubicBezTo>
                  <a:pt x="1550" y="583"/>
                  <a:pt x="1549" y="583"/>
                  <a:pt x="1549" y="583"/>
                </a:cubicBezTo>
                <a:cubicBezTo>
                  <a:pt x="1549" y="583"/>
                  <a:pt x="1549" y="583"/>
                  <a:pt x="1548" y="583"/>
                </a:cubicBezTo>
                <a:cubicBezTo>
                  <a:pt x="1548" y="583"/>
                  <a:pt x="1548" y="583"/>
                  <a:pt x="1548" y="583"/>
                </a:cubicBezTo>
                <a:cubicBezTo>
                  <a:pt x="1547" y="583"/>
                  <a:pt x="1547" y="583"/>
                  <a:pt x="1547" y="582"/>
                </a:cubicBezTo>
                <a:cubicBezTo>
                  <a:pt x="1547" y="582"/>
                  <a:pt x="1547" y="582"/>
                  <a:pt x="1546" y="581"/>
                </a:cubicBezTo>
                <a:cubicBezTo>
                  <a:pt x="1546" y="581"/>
                  <a:pt x="1546" y="581"/>
                  <a:pt x="1546" y="581"/>
                </a:cubicBezTo>
                <a:cubicBezTo>
                  <a:pt x="1546" y="581"/>
                  <a:pt x="1546" y="581"/>
                  <a:pt x="1546" y="581"/>
                </a:cubicBezTo>
                <a:cubicBezTo>
                  <a:pt x="1546" y="580"/>
                  <a:pt x="1546" y="580"/>
                  <a:pt x="1546" y="580"/>
                </a:cubicBezTo>
                <a:cubicBezTo>
                  <a:pt x="1546" y="580"/>
                  <a:pt x="1546" y="579"/>
                  <a:pt x="1546" y="579"/>
                </a:cubicBezTo>
                <a:cubicBezTo>
                  <a:pt x="1546" y="579"/>
                  <a:pt x="1546" y="579"/>
                  <a:pt x="1546" y="579"/>
                </a:cubicBezTo>
                <a:cubicBezTo>
                  <a:pt x="1546" y="579"/>
                  <a:pt x="1546" y="579"/>
                  <a:pt x="1545" y="579"/>
                </a:cubicBezTo>
                <a:cubicBezTo>
                  <a:pt x="1545" y="579"/>
                  <a:pt x="1545" y="579"/>
                  <a:pt x="1545" y="580"/>
                </a:cubicBezTo>
                <a:cubicBezTo>
                  <a:pt x="1545" y="580"/>
                  <a:pt x="1545" y="580"/>
                  <a:pt x="1545" y="580"/>
                </a:cubicBezTo>
                <a:cubicBezTo>
                  <a:pt x="1545" y="579"/>
                  <a:pt x="1545" y="579"/>
                  <a:pt x="1545" y="579"/>
                </a:cubicBezTo>
                <a:cubicBezTo>
                  <a:pt x="1544" y="579"/>
                  <a:pt x="1544" y="578"/>
                  <a:pt x="1544" y="578"/>
                </a:cubicBezTo>
                <a:cubicBezTo>
                  <a:pt x="1544" y="577"/>
                  <a:pt x="1545" y="577"/>
                  <a:pt x="1545" y="576"/>
                </a:cubicBezTo>
                <a:cubicBezTo>
                  <a:pt x="1545" y="576"/>
                  <a:pt x="1545" y="576"/>
                  <a:pt x="1545" y="575"/>
                </a:cubicBezTo>
                <a:cubicBezTo>
                  <a:pt x="1545" y="575"/>
                  <a:pt x="1545" y="575"/>
                  <a:pt x="1546" y="575"/>
                </a:cubicBezTo>
                <a:cubicBezTo>
                  <a:pt x="1546" y="575"/>
                  <a:pt x="1546" y="575"/>
                  <a:pt x="1547" y="574"/>
                </a:cubicBezTo>
                <a:cubicBezTo>
                  <a:pt x="1546" y="574"/>
                  <a:pt x="1546" y="574"/>
                  <a:pt x="1546" y="574"/>
                </a:cubicBezTo>
                <a:cubicBezTo>
                  <a:pt x="1546" y="573"/>
                  <a:pt x="1546" y="573"/>
                  <a:pt x="1546" y="573"/>
                </a:cubicBezTo>
                <a:cubicBezTo>
                  <a:pt x="1546" y="573"/>
                  <a:pt x="1546" y="572"/>
                  <a:pt x="1546" y="572"/>
                </a:cubicBezTo>
                <a:cubicBezTo>
                  <a:pt x="1546" y="572"/>
                  <a:pt x="1547" y="572"/>
                  <a:pt x="1547" y="572"/>
                </a:cubicBezTo>
                <a:cubicBezTo>
                  <a:pt x="1547" y="572"/>
                  <a:pt x="1547" y="572"/>
                  <a:pt x="1546" y="571"/>
                </a:cubicBezTo>
                <a:cubicBezTo>
                  <a:pt x="1546" y="571"/>
                  <a:pt x="1546" y="571"/>
                  <a:pt x="1545" y="571"/>
                </a:cubicBezTo>
                <a:cubicBezTo>
                  <a:pt x="1545" y="571"/>
                  <a:pt x="1544" y="570"/>
                  <a:pt x="1544" y="570"/>
                </a:cubicBezTo>
                <a:cubicBezTo>
                  <a:pt x="1543" y="570"/>
                  <a:pt x="1543" y="569"/>
                  <a:pt x="1542" y="569"/>
                </a:cubicBezTo>
                <a:close/>
                <a:moveTo>
                  <a:pt x="1635" y="633"/>
                </a:moveTo>
                <a:cubicBezTo>
                  <a:pt x="1634" y="632"/>
                  <a:pt x="1634" y="632"/>
                  <a:pt x="1634" y="631"/>
                </a:cubicBezTo>
                <a:cubicBezTo>
                  <a:pt x="1633" y="631"/>
                  <a:pt x="1633" y="631"/>
                  <a:pt x="1633" y="630"/>
                </a:cubicBezTo>
                <a:cubicBezTo>
                  <a:pt x="1633" y="630"/>
                  <a:pt x="1633" y="629"/>
                  <a:pt x="1633" y="629"/>
                </a:cubicBezTo>
                <a:cubicBezTo>
                  <a:pt x="1633" y="629"/>
                  <a:pt x="1633" y="629"/>
                  <a:pt x="1632" y="628"/>
                </a:cubicBezTo>
                <a:cubicBezTo>
                  <a:pt x="1632" y="628"/>
                  <a:pt x="1632" y="628"/>
                  <a:pt x="1632" y="628"/>
                </a:cubicBezTo>
                <a:cubicBezTo>
                  <a:pt x="1631" y="628"/>
                  <a:pt x="1631" y="628"/>
                  <a:pt x="1631" y="629"/>
                </a:cubicBezTo>
                <a:cubicBezTo>
                  <a:pt x="1631" y="629"/>
                  <a:pt x="1631" y="629"/>
                  <a:pt x="1631" y="629"/>
                </a:cubicBezTo>
                <a:cubicBezTo>
                  <a:pt x="1631" y="630"/>
                  <a:pt x="1631" y="630"/>
                  <a:pt x="1630" y="630"/>
                </a:cubicBezTo>
                <a:cubicBezTo>
                  <a:pt x="1631" y="631"/>
                  <a:pt x="1631" y="631"/>
                  <a:pt x="1631" y="631"/>
                </a:cubicBezTo>
                <a:cubicBezTo>
                  <a:pt x="1631" y="632"/>
                  <a:pt x="1631" y="632"/>
                  <a:pt x="1631" y="633"/>
                </a:cubicBezTo>
                <a:cubicBezTo>
                  <a:pt x="1631" y="633"/>
                  <a:pt x="1631" y="633"/>
                  <a:pt x="1631" y="633"/>
                </a:cubicBezTo>
                <a:cubicBezTo>
                  <a:pt x="1631" y="633"/>
                  <a:pt x="1631" y="633"/>
                  <a:pt x="1631" y="634"/>
                </a:cubicBezTo>
                <a:cubicBezTo>
                  <a:pt x="1631" y="634"/>
                  <a:pt x="1632" y="634"/>
                  <a:pt x="1632" y="634"/>
                </a:cubicBezTo>
                <a:cubicBezTo>
                  <a:pt x="1632" y="634"/>
                  <a:pt x="1632" y="634"/>
                  <a:pt x="1632" y="634"/>
                </a:cubicBezTo>
                <a:cubicBezTo>
                  <a:pt x="1633" y="634"/>
                  <a:pt x="1633" y="635"/>
                  <a:pt x="1633" y="635"/>
                </a:cubicBezTo>
                <a:cubicBezTo>
                  <a:pt x="1634" y="635"/>
                  <a:pt x="1634" y="635"/>
                  <a:pt x="1634" y="635"/>
                </a:cubicBezTo>
                <a:cubicBezTo>
                  <a:pt x="1634" y="635"/>
                  <a:pt x="1634" y="635"/>
                  <a:pt x="1634" y="635"/>
                </a:cubicBezTo>
                <a:cubicBezTo>
                  <a:pt x="1635" y="634"/>
                  <a:pt x="1635" y="634"/>
                  <a:pt x="1635" y="634"/>
                </a:cubicBezTo>
                <a:cubicBezTo>
                  <a:pt x="1635" y="633"/>
                  <a:pt x="1635" y="633"/>
                  <a:pt x="1635" y="633"/>
                </a:cubicBezTo>
                <a:close/>
                <a:moveTo>
                  <a:pt x="1617" y="647"/>
                </a:moveTo>
                <a:cubicBezTo>
                  <a:pt x="1617" y="647"/>
                  <a:pt x="1617" y="647"/>
                  <a:pt x="1617" y="647"/>
                </a:cubicBezTo>
                <a:cubicBezTo>
                  <a:pt x="1617" y="647"/>
                  <a:pt x="1617" y="647"/>
                  <a:pt x="1617" y="647"/>
                </a:cubicBezTo>
                <a:cubicBezTo>
                  <a:pt x="1617" y="647"/>
                  <a:pt x="1617" y="647"/>
                  <a:pt x="1618" y="648"/>
                </a:cubicBezTo>
                <a:cubicBezTo>
                  <a:pt x="1618" y="647"/>
                  <a:pt x="1618" y="647"/>
                  <a:pt x="1618" y="647"/>
                </a:cubicBezTo>
                <a:cubicBezTo>
                  <a:pt x="1618" y="647"/>
                  <a:pt x="1618" y="647"/>
                  <a:pt x="1617" y="647"/>
                </a:cubicBezTo>
                <a:cubicBezTo>
                  <a:pt x="1617" y="647"/>
                  <a:pt x="1617" y="647"/>
                  <a:pt x="1617" y="647"/>
                </a:cubicBezTo>
                <a:close/>
                <a:moveTo>
                  <a:pt x="1626" y="618"/>
                </a:moveTo>
                <a:cubicBezTo>
                  <a:pt x="1626" y="618"/>
                  <a:pt x="1626" y="618"/>
                  <a:pt x="1626" y="617"/>
                </a:cubicBezTo>
                <a:cubicBezTo>
                  <a:pt x="1625" y="617"/>
                  <a:pt x="1625" y="617"/>
                  <a:pt x="1625" y="616"/>
                </a:cubicBezTo>
                <a:cubicBezTo>
                  <a:pt x="1625" y="616"/>
                  <a:pt x="1624" y="616"/>
                  <a:pt x="1624" y="615"/>
                </a:cubicBezTo>
                <a:cubicBezTo>
                  <a:pt x="1624" y="615"/>
                  <a:pt x="1624" y="615"/>
                  <a:pt x="1623" y="615"/>
                </a:cubicBezTo>
                <a:cubicBezTo>
                  <a:pt x="1623" y="614"/>
                  <a:pt x="1622" y="613"/>
                  <a:pt x="1622" y="613"/>
                </a:cubicBezTo>
                <a:cubicBezTo>
                  <a:pt x="1622" y="613"/>
                  <a:pt x="1621" y="612"/>
                  <a:pt x="1621" y="612"/>
                </a:cubicBezTo>
                <a:cubicBezTo>
                  <a:pt x="1620" y="611"/>
                  <a:pt x="1620" y="611"/>
                  <a:pt x="1619" y="610"/>
                </a:cubicBezTo>
                <a:cubicBezTo>
                  <a:pt x="1619" y="610"/>
                  <a:pt x="1619" y="610"/>
                  <a:pt x="1619" y="611"/>
                </a:cubicBezTo>
                <a:cubicBezTo>
                  <a:pt x="1619" y="611"/>
                  <a:pt x="1619" y="611"/>
                  <a:pt x="1620" y="611"/>
                </a:cubicBezTo>
                <a:cubicBezTo>
                  <a:pt x="1620" y="612"/>
                  <a:pt x="1621" y="613"/>
                  <a:pt x="1622" y="614"/>
                </a:cubicBezTo>
                <a:cubicBezTo>
                  <a:pt x="1622" y="615"/>
                  <a:pt x="1623" y="615"/>
                  <a:pt x="1623" y="616"/>
                </a:cubicBezTo>
                <a:cubicBezTo>
                  <a:pt x="1624" y="616"/>
                  <a:pt x="1624" y="616"/>
                  <a:pt x="1624" y="616"/>
                </a:cubicBezTo>
                <a:cubicBezTo>
                  <a:pt x="1625" y="617"/>
                  <a:pt x="1625" y="617"/>
                  <a:pt x="1625" y="618"/>
                </a:cubicBezTo>
                <a:cubicBezTo>
                  <a:pt x="1625" y="619"/>
                  <a:pt x="1625" y="619"/>
                  <a:pt x="1625" y="620"/>
                </a:cubicBezTo>
                <a:cubicBezTo>
                  <a:pt x="1625" y="620"/>
                  <a:pt x="1625" y="620"/>
                  <a:pt x="1624" y="620"/>
                </a:cubicBezTo>
                <a:cubicBezTo>
                  <a:pt x="1624" y="621"/>
                  <a:pt x="1624" y="621"/>
                  <a:pt x="1624" y="621"/>
                </a:cubicBezTo>
                <a:cubicBezTo>
                  <a:pt x="1624" y="622"/>
                  <a:pt x="1625" y="622"/>
                  <a:pt x="1625" y="622"/>
                </a:cubicBezTo>
                <a:cubicBezTo>
                  <a:pt x="1625" y="622"/>
                  <a:pt x="1625" y="622"/>
                  <a:pt x="1625" y="622"/>
                </a:cubicBezTo>
                <a:cubicBezTo>
                  <a:pt x="1626" y="622"/>
                  <a:pt x="1626" y="621"/>
                  <a:pt x="1626" y="621"/>
                </a:cubicBezTo>
                <a:cubicBezTo>
                  <a:pt x="1626" y="621"/>
                  <a:pt x="1626" y="621"/>
                  <a:pt x="1626" y="621"/>
                </a:cubicBezTo>
                <a:cubicBezTo>
                  <a:pt x="1626" y="621"/>
                  <a:pt x="1626" y="620"/>
                  <a:pt x="1626" y="620"/>
                </a:cubicBezTo>
                <a:cubicBezTo>
                  <a:pt x="1626" y="620"/>
                  <a:pt x="1626" y="619"/>
                  <a:pt x="1626" y="619"/>
                </a:cubicBezTo>
                <a:cubicBezTo>
                  <a:pt x="1626" y="619"/>
                  <a:pt x="1626" y="619"/>
                  <a:pt x="1626" y="618"/>
                </a:cubicBezTo>
                <a:close/>
                <a:moveTo>
                  <a:pt x="1616" y="637"/>
                </a:moveTo>
                <a:cubicBezTo>
                  <a:pt x="1616" y="637"/>
                  <a:pt x="1616" y="637"/>
                  <a:pt x="1616" y="637"/>
                </a:cubicBezTo>
                <a:cubicBezTo>
                  <a:pt x="1616" y="637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7"/>
                  <a:pt x="1616" y="637"/>
                  <a:pt x="1616" y="637"/>
                </a:cubicBezTo>
                <a:close/>
                <a:moveTo>
                  <a:pt x="1613" y="645"/>
                </a:moveTo>
                <a:cubicBezTo>
                  <a:pt x="1613" y="645"/>
                  <a:pt x="1613" y="645"/>
                  <a:pt x="1613" y="645"/>
                </a:cubicBezTo>
                <a:cubicBezTo>
                  <a:pt x="1613" y="646"/>
                  <a:pt x="1613" y="646"/>
                  <a:pt x="1614" y="647"/>
                </a:cubicBezTo>
                <a:cubicBezTo>
                  <a:pt x="1614" y="647"/>
                  <a:pt x="1614" y="647"/>
                  <a:pt x="1614" y="647"/>
                </a:cubicBezTo>
                <a:cubicBezTo>
                  <a:pt x="1614" y="647"/>
                  <a:pt x="1614" y="647"/>
                  <a:pt x="1614" y="647"/>
                </a:cubicBezTo>
                <a:cubicBezTo>
                  <a:pt x="1615" y="647"/>
                  <a:pt x="1615" y="647"/>
                  <a:pt x="1615" y="647"/>
                </a:cubicBezTo>
                <a:cubicBezTo>
                  <a:pt x="1615" y="647"/>
                  <a:pt x="1615" y="647"/>
                  <a:pt x="1615" y="647"/>
                </a:cubicBezTo>
                <a:cubicBezTo>
                  <a:pt x="1615" y="647"/>
                  <a:pt x="1614" y="647"/>
                  <a:pt x="1614" y="646"/>
                </a:cubicBezTo>
                <a:cubicBezTo>
                  <a:pt x="1614" y="646"/>
                  <a:pt x="1614" y="646"/>
                  <a:pt x="1613" y="645"/>
                </a:cubicBezTo>
                <a:close/>
                <a:moveTo>
                  <a:pt x="1617" y="610"/>
                </a:moveTo>
                <a:cubicBezTo>
                  <a:pt x="1617" y="610"/>
                  <a:pt x="1617" y="609"/>
                  <a:pt x="1617" y="609"/>
                </a:cubicBezTo>
                <a:cubicBezTo>
                  <a:pt x="1617" y="609"/>
                  <a:pt x="1617" y="609"/>
                  <a:pt x="1617" y="609"/>
                </a:cubicBezTo>
                <a:cubicBezTo>
                  <a:pt x="1617" y="609"/>
                  <a:pt x="1616" y="609"/>
                  <a:pt x="1616" y="608"/>
                </a:cubicBezTo>
                <a:cubicBezTo>
                  <a:pt x="1616" y="609"/>
                  <a:pt x="1616" y="609"/>
                  <a:pt x="1616" y="609"/>
                </a:cubicBezTo>
                <a:cubicBezTo>
                  <a:pt x="1616" y="609"/>
                  <a:pt x="1616" y="609"/>
                  <a:pt x="1616" y="610"/>
                </a:cubicBezTo>
                <a:cubicBezTo>
                  <a:pt x="1617" y="610"/>
                  <a:pt x="1617" y="610"/>
                  <a:pt x="1617" y="610"/>
                </a:cubicBezTo>
                <a:close/>
                <a:moveTo>
                  <a:pt x="1584" y="617"/>
                </a:moveTo>
                <a:cubicBezTo>
                  <a:pt x="1584" y="617"/>
                  <a:pt x="1584" y="616"/>
                  <a:pt x="1584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7"/>
                  <a:pt x="1584" y="617"/>
                  <a:pt x="1584" y="617"/>
                </a:cubicBezTo>
                <a:close/>
                <a:moveTo>
                  <a:pt x="1613" y="617"/>
                </a:moveTo>
                <a:cubicBezTo>
                  <a:pt x="1613" y="617"/>
                  <a:pt x="1612" y="617"/>
                  <a:pt x="1612" y="616"/>
                </a:cubicBezTo>
                <a:cubicBezTo>
                  <a:pt x="1612" y="616"/>
                  <a:pt x="1612" y="616"/>
                  <a:pt x="1612" y="616"/>
                </a:cubicBezTo>
                <a:cubicBezTo>
                  <a:pt x="1612" y="616"/>
                  <a:pt x="1611" y="616"/>
                  <a:pt x="1611" y="616"/>
                </a:cubicBezTo>
                <a:cubicBezTo>
                  <a:pt x="1612" y="617"/>
                  <a:pt x="1612" y="617"/>
                  <a:pt x="1612" y="618"/>
                </a:cubicBezTo>
                <a:cubicBezTo>
                  <a:pt x="1612" y="617"/>
                  <a:pt x="1612" y="617"/>
                  <a:pt x="1613" y="617"/>
                </a:cubicBezTo>
                <a:close/>
                <a:moveTo>
                  <a:pt x="1609" y="632"/>
                </a:moveTo>
                <a:cubicBezTo>
                  <a:pt x="1609" y="632"/>
                  <a:pt x="1609" y="632"/>
                  <a:pt x="1610" y="632"/>
                </a:cubicBezTo>
                <a:cubicBezTo>
                  <a:pt x="1610" y="632"/>
                  <a:pt x="1610" y="632"/>
                  <a:pt x="1610" y="632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1"/>
                  <a:pt x="1609" y="631"/>
                  <a:pt x="1609" y="631"/>
                </a:cubicBezTo>
                <a:cubicBezTo>
                  <a:pt x="1609" y="631"/>
                  <a:pt x="1609" y="631"/>
                  <a:pt x="1609" y="631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2"/>
                  <a:pt x="1610" y="632"/>
                  <a:pt x="1610" y="632"/>
                </a:cubicBezTo>
                <a:cubicBezTo>
                  <a:pt x="1609" y="632"/>
                  <a:pt x="1609" y="632"/>
                  <a:pt x="1609" y="632"/>
                </a:cubicBezTo>
                <a:close/>
                <a:moveTo>
                  <a:pt x="1594" y="608"/>
                </a:moveTo>
                <a:cubicBezTo>
                  <a:pt x="1594" y="608"/>
                  <a:pt x="1594" y="608"/>
                  <a:pt x="1594" y="608"/>
                </a:cubicBezTo>
                <a:cubicBezTo>
                  <a:pt x="1595" y="608"/>
                  <a:pt x="1595" y="608"/>
                  <a:pt x="1595" y="608"/>
                </a:cubicBezTo>
                <a:cubicBezTo>
                  <a:pt x="1594" y="607"/>
                  <a:pt x="1594" y="607"/>
                  <a:pt x="1594" y="607"/>
                </a:cubicBezTo>
                <a:cubicBezTo>
                  <a:pt x="1594" y="608"/>
                  <a:pt x="1594" y="608"/>
                  <a:pt x="1594" y="608"/>
                </a:cubicBezTo>
                <a:close/>
                <a:moveTo>
                  <a:pt x="1617" y="604"/>
                </a:moveTo>
                <a:cubicBezTo>
                  <a:pt x="1617" y="603"/>
                  <a:pt x="1616" y="603"/>
                  <a:pt x="1616" y="603"/>
                </a:cubicBezTo>
                <a:cubicBezTo>
                  <a:pt x="1616" y="603"/>
                  <a:pt x="1616" y="602"/>
                  <a:pt x="1616" y="602"/>
                </a:cubicBezTo>
                <a:cubicBezTo>
                  <a:pt x="1616" y="603"/>
                  <a:pt x="1616" y="603"/>
                  <a:pt x="1616" y="603"/>
                </a:cubicBezTo>
                <a:cubicBezTo>
                  <a:pt x="1616" y="603"/>
                  <a:pt x="1616" y="604"/>
                  <a:pt x="1616" y="604"/>
                </a:cubicBezTo>
                <a:cubicBezTo>
                  <a:pt x="1616" y="604"/>
                  <a:pt x="1617" y="604"/>
                  <a:pt x="1617" y="604"/>
                </a:cubicBezTo>
                <a:close/>
                <a:moveTo>
                  <a:pt x="1605" y="601"/>
                </a:moveTo>
                <a:cubicBezTo>
                  <a:pt x="1605" y="601"/>
                  <a:pt x="1605" y="601"/>
                  <a:pt x="1604" y="601"/>
                </a:cubicBezTo>
                <a:cubicBezTo>
                  <a:pt x="1604" y="601"/>
                  <a:pt x="1604" y="601"/>
                  <a:pt x="1604" y="601"/>
                </a:cubicBezTo>
                <a:cubicBezTo>
                  <a:pt x="1604" y="600"/>
                  <a:pt x="1603" y="600"/>
                  <a:pt x="1603" y="600"/>
                </a:cubicBezTo>
                <a:cubicBezTo>
                  <a:pt x="1603" y="600"/>
                  <a:pt x="1603" y="600"/>
                  <a:pt x="1603" y="600"/>
                </a:cubicBezTo>
                <a:cubicBezTo>
                  <a:pt x="1602" y="600"/>
                  <a:pt x="1602" y="600"/>
                  <a:pt x="1602" y="600"/>
                </a:cubicBezTo>
                <a:cubicBezTo>
                  <a:pt x="1602" y="600"/>
                  <a:pt x="1602" y="600"/>
                  <a:pt x="1601" y="600"/>
                </a:cubicBezTo>
                <a:cubicBezTo>
                  <a:pt x="1601" y="600"/>
                  <a:pt x="1602" y="600"/>
                  <a:pt x="1602" y="600"/>
                </a:cubicBezTo>
                <a:cubicBezTo>
                  <a:pt x="1602" y="600"/>
                  <a:pt x="1602" y="600"/>
                  <a:pt x="1602" y="601"/>
                </a:cubicBezTo>
                <a:cubicBezTo>
                  <a:pt x="1602" y="601"/>
                  <a:pt x="1602" y="601"/>
                  <a:pt x="1602" y="601"/>
                </a:cubicBezTo>
                <a:cubicBezTo>
                  <a:pt x="1603" y="601"/>
                  <a:pt x="1603" y="601"/>
                  <a:pt x="1604" y="601"/>
                </a:cubicBezTo>
                <a:cubicBezTo>
                  <a:pt x="1604" y="601"/>
                  <a:pt x="1604" y="601"/>
                  <a:pt x="1605" y="601"/>
                </a:cubicBezTo>
                <a:close/>
                <a:moveTo>
                  <a:pt x="1606" y="637"/>
                </a:moveTo>
                <a:cubicBezTo>
                  <a:pt x="1606" y="637"/>
                  <a:pt x="1607" y="637"/>
                  <a:pt x="1607" y="637"/>
                </a:cubicBezTo>
                <a:cubicBezTo>
                  <a:pt x="1607" y="637"/>
                  <a:pt x="1607" y="637"/>
                  <a:pt x="1607" y="637"/>
                </a:cubicBezTo>
                <a:cubicBezTo>
                  <a:pt x="1607" y="637"/>
                  <a:pt x="1607" y="637"/>
                  <a:pt x="1608" y="637"/>
                </a:cubicBezTo>
                <a:cubicBezTo>
                  <a:pt x="1608" y="636"/>
                  <a:pt x="1608" y="636"/>
                  <a:pt x="1608" y="636"/>
                </a:cubicBezTo>
                <a:cubicBezTo>
                  <a:pt x="1608" y="636"/>
                  <a:pt x="1607" y="636"/>
                  <a:pt x="1607" y="636"/>
                </a:cubicBezTo>
                <a:cubicBezTo>
                  <a:pt x="1607" y="636"/>
                  <a:pt x="1607" y="636"/>
                  <a:pt x="1607" y="636"/>
                </a:cubicBezTo>
                <a:cubicBezTo>
                  <a:pt x="1607" y="636"/>
                  <a:pt x="1607" y="636"/>
                  <a:pt x="1607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5" y="635"/>
                </a:cubicBezTo>
                <a:cubicBezTo>
                  <a:pt x="1605" y="635"/>
                  <a:pt x="1605" y="635"/>
                  <a:pt x="1605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6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6"/>
                  <a:pt x="1606" y="637"/>
                  <a:pt x="1606" y="637"/>
                </a:cubicBezTo>
                <a:close/>
                <a:moveTo>
                  <a:pt x="1600" y="615"/>
                </a:moveTo>
                <a:cubicBezTo>
                  <a:pt x="1600" y="615"/>
                  <a:pt x="1601" y="615"/>
                  <a:pt x="1601" y="616"/>
                </a:cubicBezTo>
                <a:cubicBezTo>
                  <a:pt x="1601" y="615"/>
                  <a:pt x="1601" y="615"/>
                  <a:pt x="1601" y="615"/>
                </a:cubicBezTo>
                <a:cubicBezTo>
                  <a:pt x="1601" y="615"/>
                  <a:pt x="1601" y="615"/>
                  <a:pt x="1601" y="615"/>
                </a:cubicBezTo>
                <a:cubicBezTo>
                  <a:pt x="1601" y="614"/>
                  <a:pt x="1601" y="614"/>
                  <a:pt x="1601" y="614"/>
                </a:cubicBezTo>
                <a:cubicBezTo>
                  <a:pt x="1600" y="614"/>
                  <a:pt x="1600" y="614"/>
                  <a:pt x="1600" y="614"/>
                </a:cubicBezTo>
                <a:cubicBezTo>
                  <a:pt x="1600" y="614"/>
                  <a:pt x="1600" y="615"/>
                  <a:pt x="1600" y="615"/>
                </a:cubicBezTo>
                <a:close/>
                <a:moveTo>
                  <a:pt x="1604" y="632"/>
                </a:moveTo>
                <a:cubicBezTo>
                  <a:pt x="1604" y="632"/>
                  <a:pt x="1604" y="632"/>
                  <a:pt x="1604" y="632"/>
                </a:cubicBezTo>
                <a:cubicBezTo>
                  <a:pt x="1604" y="632"/>
                  <a:pt x="1604" y="632"/>
                  <a:pt x="1604" y="632"/>
                </a:cubicBezTo>
                <a:cubicBezTo>
                  <a:pt x="1604" y="632"/>
                  <a:pt x="1604" y="633"/>
                  <a:pt x="1604" y="633"/>
                </a:cubicBezTo>
                <a:cubicBezTo>
                  <a:pt x="1604" y="633"/>
                  <a:pt x="1604" y="633"/>
                  <a:pt x="1604" y="633"/>
                </a:cubicBezTo>
                <a:cubicBezTo>
                  <a:pt x="1604" y="633"/>
                  <a:pt x="1604" y="633"/>
                  <a:pt x="1605" y="633"/>
                </a:cubicBezTo>
                <a:cubicBezTo>
                  <a:pt x="1605" y="633"/>
                  <a:pt x="1605" y="633"/>
                  <a:pt x="1605" y="633"/>
                </a:cubicBezTo>
                <a:cubicBezTo>
                  <a:pt x="1605" y="633"/>
                  <a:pt x="1605" y="632"/>
                  <a:pt x="1605" y="632"/>
                </a:cubicBezTo>
                <a:cubicBezTo>
                  <a:pt x="1604" y="632"/>
                  <a:pt x="1604" y="632"/>
                  <a:pt x="1604" y="632"/>
                </a:cubicBezTo>
                <a:close/>
                <a:moveTo>
                  <a:pt x="1606" y="634"/>
                </a:moveTo>
                <a:cubicBezTo>
                  <a:pt x="1606" y="634"/>
                  <a:pt x="1606" y="633"/>
                  <a:pt x="1606" y="633"/>
                </a:cubicBezTo>
                <a:cubicBezTo>
                  <a:pt x="1606" y="633"/>
                  <a:pt x="1606" y="633"/>
                  <a:pt x="1605" y="633"/>
                </a:cubicBezTo>
                <a:cubicBezTo>
                  <a:pt x="1605" y="633"/>
                  <a:pt x="1605" y="633"/>
                  <a:pt x="1605" y="633"/>
                </a:cubicBezTo>
                <a:cubicBezTo>
                  <a:pt x="1605" y="633"/>
                  <a:pt x="1605" y="634"/>
                  <a:pt x="1605" y="634"/>
                </a:cubicBezTo>
                <a:cubicBezTo>
                  <a:pt x="1605" y="634"/>
                  <a:pt x="1605" y="634"/>
                  <a:pt x="1605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5"/>
                  <a:pt x="1606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lose/>
                <a:moveTo>
                  <a:pt x="1597" y="612"/>
                </a:moveTo>
                <a:cubicBezTo>
                  <a:pt x="1598" y="612"/>
                  <a:pt x="1598" y="612"/>
                  <a:pt x="1598" y="613"/>
                </a:cubicBezTo>
                <a:cubicBezTo>
                  <a:pt x="1598" y="613"/>
                  <a:pt x="1598" y="613"/>
                  <a:pt x="1598" y="613"/>
                </a:cubicBezTo>
                <a:cubicBezTo>
                  <a:pt x="1598" y="613"/>
                  <a:pt x="1598" y="612"/>
                  <a:pt x="1598" y="612"/>
                </a:cubicBezTo>
                <a:cubicBezTo>
                  <a:pt x="1598" y="612"/>
                  <a:pt x="1598" y="612"/>
                  <a:pt x="1598" y="612"/>
                </a:cubicBezTo>
                <a:cubicBezTo>
                  <a:pt x="1598" y="612"/>
                  <a:pt x="1598" y="612"/>
                  <a:pt x="1597" y="612"/>
                </a:cubicBezTo>
                <a:close/>
                <a:moveTo>
                  <a:pt x="1621" y="621"/>
                </a:moveTo>
                <a:cubicBezTo>
                  <a:pt x="1621" y="621"/>
                  <a:pt x="1621" y="621"/>
                  <a:pt x="1621" y="621"/>
                </a:cubicBezTo>
                <a:cubicBezTo>
                  <a:pt x="1622" y="621"/>
                  <a:pt x="1622" y="621"/>
                  <a:pt x="1623" y="621"/>
                </a:cubicBezTo>
                <a:cubicBezTo>
                  <a:pt x="1623" y="621"/>
                  <a:pt x="1623" y="620"/>
                  <a:pt x="1623" y="620"/>
                </a:cubicBezTo>
                <a:cubicBezTo>
                  <a:pt x="1623" y="619"/>
                  <a:pt x="1623" y="619"/>
                  <a:pt x="1623" y="618"/>
                </a:cubicBezTo>
                <a:cubicBezTo>
                  <a:pt x="1622" y="618"/>
                  <a:pt x="1622" y="618"/>
                  <a:pt x="1622" y="618"/>
                </a:cubicBezTo>
                <a:cubicBezTo>
                  <a:pt x="1622" y="619"/>
                  <a:pt x="1622" y="619"/>
                  <a:pt x="1622" y="619"/>
                </a:cubicBezTo>
                <a:cubicBezTo>
                  <a:pt x="1621" y="618"/>
                  <a:pt x="1621" y="618"/>
                  <a:pt x="1621" y="618"/>
                </a:cubicBezTo>
                <a:cubicBezTo>
                  <a:pt x="1621" y="618"/>
                  <a:pt x="1620" y="618"/>
                  <a:pt x="1620" y="617"/>
                </a:cubicBezTo>
                <a:cubicBezTo>
                  <a:pt x="1620" y="618"/>
                  <a:pt x="1620" y="618"/>
                  <a:pt x="1619" y="618"/>
                </a:cubicBezTo>
                <a:cubicBezTo>
                  <a:pt x="1619" y="618"/>
                  <a:pt x="1619" y="619"/>
                  <a:pt x="1619" y="619"/>
                </a:cubicBezTo>
                <a:cubicBezTo>
                  <a:pt x="1619" y="620"/>
                  <a:pt x="1619" y="620"/>
                  <a:pt x="1619" y="620"/>
                </a:cubicBezTo>
                <a:cubicBezTo>
                  <a:pt x="1619" y="620"/>
                  <a:pt x="1619" y="620"/>
                  <a:pt x="1619" y="620"/>
                </a:cubicBezTo>
                <a:cubicBezTo>
                  <a:pt x="1618" y="620"/>
                  <a:pt x="1618" y="620"/>
                  <a:pt x="1618" y="620"/>
                </a:cubicBezTo>
                <a:cubicBezTo>
                  <a:pt x="1617" y="620"/>
                  <a:pt x="1616" y="620"/>
                  <a:pt x="1616" y="620"/>
                </a:cubicBezTo>
                <a:cubicBezTo>
                  <a:pt x="1615" y="620"/>
                  <a:pt x="1615" y="620"/>
                  <a:pt x="1615" y="620"/>
                </a:cubicBezTo>
                <a:cubicBezTo>
                  <a:pt x="1615" y="620"/>
                  <a:pt x="1615" y="620"/>
                  <a:pt x="1614" y="620"/>
                </a:cubicBezTo>
                <a:cubicBezTo>
                  <a:pt x="1614" y="620"/>
                  <a:pt x="1614" y="620"/>
                  <a:pt x="1614" y="620"/>
                </a:cubicBezTo>
                <a:cubicBezTo>
                  <a:pt x="1614" y="620"/>
                  <a:pt x="1613" y="620"/>
                  <a:pt x="1613" y="620"/>
                </a:cubicBezTo>
                <a:cubicBezTo>
                  <a:pt x="1613" y="620"/>
                  <a:pt x="1613" y="620"/>
                  <a:pt x="1613" y="619"/>
                </a:cubicBezTo>
                <a:cubicBezTo>
                  <a:pt x="1613" y="619"/>
                  <a:pt x="1612" y="619"/>
                  <a:pt x="1612" y="619"/>
                </a:cubicBezTo>
                <a:cubicBezTo>
                  <a:pt x="1612" y="619"/>
                  <a:pt x="1612" y="619"/>
                  <a:pt x="1611" y="619"/>
                </a:cubicBezTo>
                <a:cubicBezTo>
                  <a:pt x="1611" y="619"/>
                  <a:pt x="1611" y="619"/>
                  <a:pt x="1611" y="619"/>
                </a:cubicBezTo>
                <a:cubicBezTo>
                  <a:pt x="1611" y="619"/>
                  <a:pt x="1611" y="618"/>
                  <a:pt x="1611" y="618"/>
                </a:cubicBezTo>
                <a:cubicBezTo>
                  <a:pt x="1611" y="618"/>
                  <a:pt x="1611" y="618"/>
                  <a:pt x="1611" y="618"/>
                </a:cubicBezTo>
                <a:cubicBezTo>
                  <a:pt x="1611" y="617"/>
                  <a:pt x="1611" y="617"/>
                  <a:pt x="1611" y="617"/>
                </a:cubicBezTo>
                <a:cubicBezTo>
                  <a:pt x="1611" y="617"/>
                  <a:pt x="1611" y="617"/>
                  <a:pt x="1610" y="617"/>
                </a:cubicBezTo>
                <a:cubicBezTo>
                  <a:pt x="1610" y="617"/>
                  <a:pt x="1610" y="618"/>
                  <a:pt x="1610" y="618"/>
                </a:cubicBezTo>
                <a:cubicBezTo>
                  <a:pt x="1610" y="618"/>
                  <a:pt x="1610" y="618"/>
                  <a:pt x="1609" y="618"/>
                </a:cubicBezTo>
                <a:cubicBezTo>
                  <a:pt x="1609" y="618"/>
                  <a:pt x="1609" y="617"/>
                  <a:pt x="1609" y="617"/>
                </a:cubicBezTo>
                <a:cubicBezTo>
                  <a:pt x="1608" y="617"/>
                  <a:pt x="1608" y="617"/>
                  <a:pt x="1607" y="617"/>
                </a:cubicBezTo>
                <a:cubicBezTo>
                  <a:pt x="1607" y="617"/>
                  <a:pt x="1607" y="617"/>
                  <a:pt x="1607" y="617"/>
                </a:cubicBezTo>
                <a:cubicBezTo>
                  <a:pt x="1606" y="617"/>
                  <a:pt x="1606" y="616"/>
                  <a:pt x="1606" y="616"/>
                </a:cubicBezTo>
                <a:cubicBezTo>
                  <a:pt x="1606" y="616"/>
                  <a:pt x="1606" y="616"/>
                  <a:pt x="1605" y="616"/>
                </a:cubicBezTo>
                <a:cubicBezTo>
                  <a:pt x="1605" y="616"/>
                  <a:pt x="1605" y="616"/>
                  <a:pt x="1604" y="616"/>
                </a:cubicBezTo>
                <a:cubicBezTo>
                  <a:pt x="1604" y="615"/>
                  <a:pt x="1604" y="615"/>
                  <a:pt x="1603" y="615"/>
                </a:cubicBezTo>
                <a:cubicBezTo>
                  <a:pt x="1603" y="615"/>
                  <a:pt x="1603" y="615"/>
                  <a:pt x="1602" y="615"/>
                </a:cubicBezTo>
                <a:cubicBezTo>
                  <a:pt x="1603" y="616"/>
                  <a:pt x="1603" y="616"/>
                  <a:pt x="1603" y="616"/>
                </a:cubicBezTo>
                <a:cubicBezTo>
                  <a:pt x="1603" y="617"/>
                  <a:pt x="1603" y="617"/>
                  <a:pt x="1604" y="617"/>
                </a:cubicBezTo>
                <a:cubicBezTo>
                  <a:pt x="1604" y="617"/>
                  <a:pt x="1604" y="618"/>
                  <a:pt x="1605" y="618"/>
                </a:cubicBezTo>
                <a:cubicBezTo>
                  <a:pt x="1605" y="619"/>
                  <a:pt x="1605" y="619"/>
                  <a:pt x="1605" y="619"/>
                </a:cubicBezTo>
                <a:cubicBezTo>
                  <a:pt x="1605" y="619"/>
                  <a:pt x="1605" y="619"/>
                  <a:pt x="1605" y="619"/>
                </a:cubicBezTo>
                <a:cubicBezTo>
                  <a:pt x="1606" y="619"/>
                  <a:pt x="1606" y="619"/>
                  <a:pt x="1607" y="620"/>
                </a:cubicBezTo>
                <a:cubicBezTo>
                  <a:pt x="1607" y="620"/>
                  <a:pt x="1607" y="620"/>
                  <a:pt x="1607" y="620"/>
                </a:cubicBezTo>
                <a:cubicBezTo>
                  <a:pt x="1607" y="621"/>
                  <a:pt x="1608" y="621"/>
                  <a:pt x="1608" y="621"/>
                </a:cubicBezTo>
                <a:cubicBezTo>
                  <a:pt x="1608" y="621"/>
                  <a:pt x="1609" y="621"/>
                  <a:pt x="1609" y="621"/>
                </a:cubicBezTo>
                <a:cubicBezTo>
                  <a:pt x="1609" y="621"/>
                  <a:pt x="1610" y="622"/>
                  <a:pt x="1611" y="622"/>
                </a:cubicBezTo>
                <a:cubicBezTo>
                  <a:pt x="1611" y="622"/>
                  <a:pt x="1611" y="622"/>
                  <a:pt x="1611" y="622"/>
                </a:cubicBezTo>
                <a:cubicBezTo>
                  <a:pt x="1612" y="622"/>
                  <a:pt x="1612" y="622"/>
                  <a:pt x="1612" y="622"/>
                </a:cubicBezTo>
                <a:cubicBezTo>
                  <a:pt x="1612" y="623"/>
                  <a:pt x="1613" y="623"/>
                  <a:pt x="1613" y="623"/>
                </a:cubicBezTo>
                <a:cubicBezTo>
                  <a:pt x="1613" y="623"/>
                  <a:pt x="1613" y="623"/>
                  <a:pt x="1614" y="623"/>
                </a:cubicBezTo>
                <a:cubicBezTo>
                  <a:pt x="1614" y="623"/>
                  <a:pt x="1614" y="623"/>
                  <a:pt x="1614" y="623"/>
                </a:cubicBezTo>
                <a:cubicBezTo>
                  <a:pt x="1614" y="623"/>
                  <a:pt x="1615" y="623"/>
                  <a:pt x="1615" y="623"/>
                </a:cubicBezTo>
                <a:cubicBezTo>
                  <a:pt x="1616" y="623"/>
                  <a:pt x="1616" y="623"/>
                  <a:pt x="1617" y="622"/>
                </a:cubicBezTo>
                <a:cubicBezTo>
                  <a:pt x="1617" y="622"/>
                  <a:pt x="1617" y="622"/>
                  <a:pt x="1617" y="622"/>
                </a:cubicBezTo>
                <a:cubicBezTo>
                  <a:pt x="1618" y="622"/>
                  <a:pt x="1618" y="622"/>
                  <a:pt x="1618" y="622"/>
                </a:cubicBezTo>
                <a:cubicBezTo>
                  <a:pt x="1618" y="622"/>
                  <a:pt x="1618" y="622"/>
                  <a:pt x="1619" y="623"/>
                </a:cubicBezTo>
                <a:cubicBezTo>
                  <a:pt x="1619" y="623"/>
                  <a:pt x="1619" y="623"/>
                  <a:pt x="1620" y="623"/>
                </a:cubicBezTo>
                <a:cubicBezTo>
                  <a:pt x="1620" y="623"/>
                  <a:pt x="1620" y="623"/>
                  <a:pt x="1621" y="622"/>
                </a:cubicBezTo>
                <a:cubicBezTo>
                  <a:pt x="1620" y="622"/>
                  <a:pt x="1620" y="622"/>
                  <a:pt x="1620" y="621"/>
                </a:cubicBezTo>
                <a:cubicBezTo>
                  <a:pt x="1620" y="621"/>
                  <a:pt x="1620" y="621"/>
                  <a:pt x="1620" y="621"/>
                </a:cubicBezTo>
                <a:cubicBezTo>
                  <a:pt x="1620" y="621"/>
                  <a:pt x="1621" y="621"/>
                  <a:pt x="1621" y="621"/>
                </a:cubicBezTo>
                <a:close/>
                <a:moveTo>
                  <a:pt x="1576" y="617"/>
                </a:moveTo>
                <a:cubicBezTo>
                  <a:pt x="1576" y="617"/>
                  <a:pt x="1575" y="616"/>
                  <a:pt x="1575" y="616"/>
                </a:cubicBezTo>
                <a:cubicBezTo>
                  <a:pt x="1575" y="616"/>
                  <a:pt x="1576" y="617"/>
                  <a:pt x="1576" y="618"/>
                </a:cubicBezTo>
                <a:cubicBezTo>
                  <a:pt x="1576" y="617"/>
                  <a:pt x="1576" y="617"/>
                  <a:pt x="1576" y="617"/>
                </a:cubicBezTo>
                <a:close/>
                <a:moveTo>
                  <a:pt x="1579" y="615"/>
                </a:moveTo>
                <a:cubicBezTo>
                  <a:pt x="1579" y="614"/>
                  <a:pt x="1579" y="614"/>
                  <a:pt x="1579" y="614"/>
                </a:cubicBezTo>
                <a:cubicBezTo>
                  <a:pt x="1579" y="614"/>
                  <a:pt x="1579" y="615"/>
                  <a:pt x="1579" y="615"/>
                </a:cubicBezTo>
                <a:cubicBezTo>
                  <a:pt x="1579" y="615"/>
                  <a:pt x="1579" y="615"/>
                  <a:pt x="1579" y="615"/>
                </a:cubicBezTo>
                <a:cubicBezTo>
                  <a:pt x="1579" y="615"/>
                  <a:pt x="1579" y="615"/>
                  <a:pt x="1579" y="615"/>
                </a:cubicBezTo>
                <a:close/>
                <a:moveTo>
                  <a:pt x="1575" y="616"/>
                </a:moveTo>
                <a:cubicBezTo>
                  <a:pt x="1575" y="616"/>
                  <a:pt x="1575" y="616"/>
                  <a:pt x="1576" y="616"/>
                </a:cubicBezTo>
                <a:cubicBezTo>
                  <a:pt x="1576" y="616"/>
                  <a:pt x="1576" y="616"/>
                  <a:pt x="1576" y="616"/>
                </a:cubicBezTo>
                <a:cubicBezTo>
                  <a:pt x="1576" y="616"/>
                  <a:pt x="1575" y="616"/>
                  <a:pt x="1575" y="616"/>
                </a:cubicBezTo>
                <a:close/>
                <a:moveTo>
                  <a:pt x="1582" y="615"/>
                </a:moveTo>
                <a:cubicBezTo>
                  <a:pt x="1582" y="615"/>
                  <a:pt x="1582" y="615"/>
                  <a:pt x="1582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2" y="615"/>
                </a:cubicBezTo>
                <a:close/>
                <a:moveTo>
                  <a:pt x="1578" y="615"/>
                </a:moveTo>
                <a:cubicBezTo>
                  <a:pt x="1578" y="615"/>
                  <a:pt x="1579" y="614"/>
                  <a:pt x="1579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lose/>
                <a:moveTo>
                  <a:pt x="1576" y="617"/>
                </a:moveTo>
                <a:cubicBezTo>
                  <a:pt x="1576" y="617"/>
                  <a:pt x="1576" y="617"/>
                  <a:pt x="1576" y="617"/>
                </a:cubicBezTo>
                <a:cubicBezTo>
                  <a:pt x="1576" y="617"/>
                  <a:pt x="1576" y="617"/>
                  <a:pt x="1576" y="617"/>
                </a:cubicBezTo>
                <a:cubicBezTo>
                  <a:pt x="1576" y="617"/>
                  <a:pt x="1576" y="617"/>
                  <a:pt x="1576" y="617"/>
                </a:cubicBezTo>
                <a:close/>
                <a:moveTo>
                  <a:pt x="1577" y="615"/>
                </a:move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lose/>
                <a:moveTo>
                  <a:pt x="1578" y="616"/>
                </a:moveTo>
                <a:cubicBezTo>
                  <a:pt x="1577" y="616"/>
                  <a:pt x="1577" y="616"/>
                  <a:pt x="1577" y="616"/>
                </a:cubicBezTo>
                <a:cubicBezTo>
                  <a:pt x="1577" y="616"/>
                  <a:pt x="1577" y="616"/>
                  <a:pt x="1576" y="616"/>
                </a:cubicBezTo>
                <a:cubicBezTo>
                  <a:pt x="1576" y="616"/>
                  <a:pt x="1577" y="616"/>
                  <a:pt x="1577" y="616"/>
                </a:cubicBezTo>
                <a:cubicBezTo>
                  <a:pt x="1577" y="616"/>
                  <a:pt x="1578" y="616"/>
                  <a:pt x="1578" y="616"/>
                </a:cubicBezTo>
                <a:close/>
                <a:moveTo>
                  <a:pt x="1582" y="615"/>
                </a:moveTo>
                <a:cubicBezTo>
                  <a:pt x="1582" y="615"/>
                  <a:pt x="1582" y="615"/>
                  <a:pt x="1582" y="616"/>
                </a:cubicBezTo>
                <a:cubicBezTo>
                  <a:pt x="1582" y="615"/>
                  <a:pt x="1582" y="615"/>
                  <a:pt x="1582" y="615"/>
                </a:cubicBezTo>
                <a:cubicBezTo>
                  <a:pt x="1582" y="615"/>
                  <a:pt x="1582" y="615"/>
                  <a:pt x="1583" y="615"/>
                </a:cubicBezTo>
                <a:cubicBezTo>
                  <a:pt x="1582" y="615"/>
                  <a:pt x="1582" y="615"/>
                  <a:pt x="1582" y="615"/>
                </a:cubicBezTo>
                <a:cubicBezTo>
                  <a:pt x="1582" y="615"/>
                  <a:pt x="1582" y="615"/>
                  <a:pt x="1582" y="615"/>
                </a:cubicBezTo>
                <a:close/>
                <a:moveTo>
                  <a:pt x="1583" y="615"/>
                </a:moveTo>
                <a:cubicBezTo>
                  <a:pt x="1583" y="615"/>
                  <a:pt x="1583" y="615"/>
                  <a:pt x="1582" y="615"/>
                </a:cubicBezTo>
                <a:cubicBezTo>
                  <a:pt x="1582" y="615"/>
                  <a:pt x="1582" y="616"/>
                  <a:pt x="1582" y="616"/>
                </a:cubicBezTo>
                <a:cubicBezTo>
                  <a:pt x="1583" y="616"/>
                  <a:pt x="1583" y="616"/>
                  <a:pt x="1583" y="615"/>
                </a:cubicBezTo>
                <a:close/>
                <a:moveTo>
                  <a:pt x="1524" y="514"/>
                </a:move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lose/>
                <a:moveTo>
                  <a:pt x="1495" y="505"/>
                </a:moveTo>
                <a:cubicBezTo>
                  <a:pt x="1495" y="505"/>
                  <a:pt x="1495" y="505"/>
                  <a:pt x="1495" y="505"/>
                </a:cubicBezTo>
                <a:cubicBezTo>
                  <a:pt x="1495" y="505"/>
                  <a:pt x="1495" y="505"/>
                  <a:pt x="1494" y="505"/>
                </a:cubicBezTo>
                <a:cubicBezTo>
                  <a:pt x="1494" y="505"/>
                  <a:pt x="1494" y="505"/>
                  <a:pt x="1494" y="505"/>
                </a:cubicBezTo>
                <a:cubicBezTo>
                  <a:pt x="1494" y="505"/>
                  <a:pt x="1494" y="505"/>
                  <a:pt x="1495" y="505"/>
                </a:cubicBezTo>
                <a:cubicBezTo>
                  <a:pt x="1495" y="506"/>
                  <a:pt x="1495" y="506"/>
                  <a:pt x="1495" y="506"/>
                </a:cubicBezTo>
                <a:cubicBezTo>
                  <a:pt x="1495" y="506"/>
                  <a:pt x="1496" y="505"/>
                  <a:pt x="1496" y="505"/>
                </a:cubicBezTo>
                <a:cubicBezTo>
                  <a:pt x="1495" y="505"/>
                  <a:pt x="1495" y="505"/>
                  <a:pt x="1495" y="505"/>
                </a:cubicBezTo>
                <a:cubicBezTo>
                  <a:pt x="1495" y="505"/>
                  <a:pt x="1495" y="505"/>
                  <a:pt x="1495" y="505"/>
                </a:cubicBezTo>
                <a:close/>
                <a:moveTo>
                  <a:pt x="1510" y="522"/>
                </a:moveTo>
                <a:cubicBezTo>
                  <a:pt x="1510" y="522"/>
                  <a:pt x="1510" y="523"/>
                  <a:pt x="1510" y="523"/>
                </a:cubicBezTo>
                <a:cubicBezTo>
                  <a:pt x="1511" y="523"/>
                  <a:pt x="1511" y="523"/>
                  <a:pt x="1511" y="523"/>
                </a:cubicBezTo>
                <a:cubicBezTo>
                  <a:pt x="1511" y="524"/>
                  <a:pt x="1512" y="524"/>
                  <a:pt x="1512" y="524"/>
                </a:cubicBezTo>
                <a:cubicBezTo>
                  <a:pt x="1512" y="524"/>
                  <a:pt x="1512" y="525"/>
                  <a:pt x="1512" y="525"/>
                </a:cubicBezTo>
                <a:cubicBezTo>
                  <a:pt x="1512" y="525"/>
                  <a:pt x="1512" y="525"/>
                  <a:pt x="1512" y="526"/>
                </a:cubicBezTo>
                <a:cubicBezTo>
                  <a:pt x="1512" y="525"/>
                  <a:pt x="1512" y="525"/>
                  <a:pt x="1511" y="525"/>
                </a:cubicBezTo>
                <a:cubicBezTo>
                  <a:pt x="1511" y="525"/>
                  <a:pt x="1511" y="525"/>
                  <a:pt x="1511" y="525"/>
                </a:cubicBezTo>
                <a:cubicBezTo>
                  <a:pt x="1511" y="525"/>
                  <a:pt x="1511" y="525"/>
                  <a:pt x="1511" y="525"/>
                </a:cubicBezTo>
                <a:cubicBezTo>
                  <a:pt x="1511" y="526"/>
                  <a:pt x="1511" y="526"/>
                  <a:pt x="1510" y="526"/>
                </a:cubicBezTo>
                <a:cubicBezTo>
                  <a:pt x="1510" y="526"/>
                  <a:pt x="1511" y="526"/>
                  <a:pt x="1511" y="526"/>
                </a:cubicBezTo>
                <a:cubicBezTo>
                  <a:pt x="1511" y="526"/>
                  <a:pt x="1511" y="527"/>
                  <a:pt x="1511" y="527"/>
                </a:cubicBezTo>
                <a:cubicBezTo>
                  <a:pt x="1510" y="527"/>
                  <a:pt x="1510" y="527"/>
                  <a:pt x="1510" y="527"/>
                </a:cubicBezTo>
                <a:cubicBezTo>
                  <a:pt x="1510" y="528"/>
                  <a:pt x="1510" y="528"/>
                  <a:pt x="1511" y="528"/>
                </a:cubicBezTo>
                <a:cubicBezTo>
                  <a:pt x="1511" y="528"/>
                  <a:pt x="1511" y="529"/>
                  <a:pt x="1511" y="529"/>
                </a:cubicBezTo>
                <a:cubicBezTo>
                  <a:pt x="1511" y="529"/>
                  <a:pt x="1511" y="529"/>
                  <a:pt x="1511" y="530"/>
                </a:cubicBezTo>
                <a:cubicBezTo>
                  <a:pt x="1511" y="530"/>
                  <a:pt x="1512" y="530"/>
                  <a:pt x="1512" y="530"/>
                </a:cubicBezTo>
                <a:cubicBezTo>
                  <a:pt x="1512" y="530"/>
                  <a:pt x="1513" y="531"/>
                  <a:pt x="1513" y="531"/>
                </a:cubicBezTo>
                <a:cubicBezTo>
                  <a:pt x="1513" y="531"/>
                  <a:pt x="1513" y="531"/>
                  <a:pt x="1514" y="532"/>
                </a:cubicBezTo>
                <a:cubicBezTo>
                  <a:pt x="1514" y="532"/>
                  <a:pt x="1514" y="532"/>
                  <a:pt x="1514" y="532"/>
                </a:cubicBezTo>
                <a:cubicBezTo>
                  <a:pt x="1515" y="532"/>
                  <a:pt x="1515" y="531"/>
                  <a:pt x="1515" y="531"/>
                </a:cubicBezTo>
                <a:cubicBezTo>
                  <a:pt x="1515" y="531"/>
                  <a:pt x="1515" y="531"/>
                  <a:pt x="1515" y="531"/>
                </a:cubicBezTo>
                <a:cubicBezTo>
                  <a:pt x="1515" y="531"/>
                  <a:pt x="1515" y="531"/>
                  <a:pt x="1516" y="532"/>
                </a:cubicBezTo>
                <a:cubicBezTo>
                  <a:pt x="1515" y="532"/>
                  <a:pt x="1515" y="532"/>
                  <a:pt x="1515" y="532"/>
                </a:cubicBezTo>
                <a:cubicBezTo>
                  <a:pt x="1515" y="532"/>
                  <a:pt x="1515" y="532"/>
                  <a:pt x="1515" y="533"/>
                </a:cubicBezTo>
                <a:cubicBezTo>
                  <a:pt x="1515" y="533"/>
                  <a:pt x="1515" y="533"/>
                  <a:pt x="1515" y="533"/>
                </a:cubicBezTo>
                <a:cubicBezTo>
                  <a:pt x="1516" y="533"/>
                  <a:pt x="1516" y="533"/>
                  <a:pt x="1516" y="533"/>
                </a:cubicBezTo>
                <a:cubicBezTo>
                  <a:pt x="1517" y="533"/>
                  <a:pt x="1517" y="532"/>
                  <a:pt x="1518" y="532"/>
                </a:cubicBezTo>
                <a:cubicBezTo>
                  <a:pt x="1518" y="532"/>
                  <a:pt x="1518" y="532"/>
                  <a:pt x="1518" y="531"/>
                </a:cubicBezTo>
                <a:cubicBezTo>
                  <a:pt x="1518" y="531"/>
                  <a:pt x="1518" y="531"/>
                  <a:pt x="1518" y="531"/>
                </a:cubicBezTo>
                <a:cubicBezTo>
                  <a:pt x="1518" y="531"/>
                  <a:pt x="1518" y="530"/>
                  <a:pt x="1518" y="530"/>
                </a:cubicBezTo>
                <a:cubicBezTo>
                  <a:pt x="1518" y="530"/>
                  <a:pt x="1517" y="529"/>
                  <a:pt x="1517" y="529"/>
                </a:cubicBezTo>
                <a:cubicBezTo>
                  <a:pt x="1517" y="529"/>
                  <a:pt x="1517" y="529"/>
                  <a:pt x="1518" y="529"/>
                </a:cubicBezTo>
                <a:cubicBezTo>
                  <a:pt x="1518" y="528"/>
                  <a:pt x="1519" y="528"/>
                  <a:pt x="1519" y="528"/>
                </a:cubicBezTo>
                <a:cubicBezTo>
                  <a:pt x="1520" y="527"/>
                  <a:pt x="1520" y="527"/>
                  <a:pt x="1520" y="527"/>
                </a:cubicBezTo>
                <a:cubicBezTo>
                  <a:pt x="1520" y="528"/>
                  <a:pt x="1520" y="528"/>
                  <a:pt x="1520" y="528"/>
                </a:cubicBezTo>
                <a:cubicBezTo>
                  <a:pt x="1520" y="529"/>
                  <a:pt x="1520" y="529"/>
                  <a:pt x="1520" y="529"/>
                </a:cubicBezTo>
                <a:cubicBezTo>
                  <a:pt x="1520" y="529"/>
                  <a:pt x="1520" y="530"/>
                  <a:pt x="1521" y="530"/>
                </a:cubicBezTo>
                <a:cubicBezTo>
                  <a:pt x="1520" y="530"/>
                  <a:pt x="1520" y="530"/>
                  <a:pt x="1520" y="530"/>
                </a:cubicBezTo>
                <a:cubicBezTo>
                  <a:pt x="1520" y="531"/>
                  <a:pt x="1520" y="531"/>
                  <a:pt x="1520" y="532"/>
                </a:cubicBezTo>
                <a:cubicBezTo>
                  <a:pt x="1520" y="532"/>
                  <a:pt x="1520" y="532"/>
                  <a:pt x="1520" y="532"/>
                </a:cubicBezTo>
                <a:cubicBezTo>
                  <a:pt x="1520" y="532"/>
                  <a:pt x="1521" y="532"/>
                  <a:pt x="1521" y="532"/>
                </a:cubicBezTo>
                <a:cubicBezTo>
                  <a:pt x="1521" y="532"/>
                  <a:pt x="1521" y="531"/>
                  <a:pt x="1521" y="531"/>
                </a:cubicBezTo>
                <a:cubicBezTo>
                  <a:pt x="1521" y="531"/>
                  <a:pt x="1521" y="530"/>
                  <a:pt x="1521" y="530"/>
                </a:cubicBezTo>
                <a:cubicBezTo>
                  <a:pt x="1521" y="530"/>
                  <a:pt x="1521" y="530"/>
                  <a:pt x="1521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3" y="530"/>
                  <a:pt x="1523" y="530"/>
                </a:cubicBezTo>
                <a:cubicBezTo>
                  <a:pt x="1523" y="530"/>
                  <a:pt x="1523" y="530"/>
                  <a:pt x="1523" y="529"/>
                </a:cubicBezTo>
                <a:cubicBezTo>
                  <a:pt x="1524" y="529"/>
                  <a:pt x="1524" y="528"/>
                  <a:pt x="1524" y="528"/>
                </a:cubicBezTo>
                <a:cubicBezTo>
                  <a:pt x="1524" y="528"/>
                  <a:pt x="1524" y="528"/>
                  <a:pt x="1523" y="527"/>
                </a:cubicBezTo>
                <a:cubicBezTo>
                  <a:pt x="1523" y="527"/>
                  <a:pt x="1523" y="527"/>
                  <a:pt x="1523" y="526"/>
                </a:cubicBezTo>
                <a:cubicBezTo>
                  <a:pt x="1523" y="526"/>
                  <a:pt x="1523" y="526"/>
                  <a:pt x="1524" y="526"/>
                </a:cubicBezTo>
                <a:cubicBezTo>
                  <a:pt x="1524" y="525"/>
                  <a:pt x="1524" y="525"/>
                  <a:pt x="1524" y="525"/>
                </a:cubicBezTo>
                <a:cubicBezTo>
                  <a:pt x="1524" y="525"/>
                  <a:pt x="1523" y="525"/>
                  <a:pt x="1523" y="525"/>
                </a:cubicBezTo>
                <a:cubicBezTo>
                  <a:pt x="1523" y="525"/>
                  <a:pt x="1523" y="525"/>
                  <a:pt x="1524" y="524"/>
                </a:cubicBezTo>
                <a:cubicBezTo>
                  <a:pt x="1524" y="524"/>
                  <a:pt x="1524" y="524"/>
                  <a:pt x="1524" y="524"/>
                </a:cubicBezTo>
                <a:cubicBezTo>
                  <a:pt x="1524" y="524"/>
                  <a:pt x="1523" y="524"/>
                  <a:pt x="1523" y="524"/>
                </a:cubicBezTo>
                <a:cubicBezTo>
                  <a:pt x="1523" y="523"/>
                  <a:pt x="1523" y="523"/>
                  <a:pt x="1523" y="523"/>
                </a:cubicBezTo>
                <a:cubicBezTo>
                  <a:pt x="1523" y="523"/>
                  <a:pt x="1523" y="523"/>
                  <a:pt x="1523" y="523"/>
                </a:cubicBezTo>
                <a:cubicBezTo>
                  <a:pt x="1524" y="523"/>
                  <a:pt x="1524" y="523"/>
                  <a:pt x="1524" y="523"/>
                </a:cubicBezTo>
                <a:cubicBezTo>
                  <a:pt x="1524" y="523"/>
                  <a:pt x="1524" y="522"/>
                  <a:pt x="1524" y="522"/>
                </a:cubicBezTo>
                <a:cubicBezTo>
                  <a:pt x="1524" y="522"/>
                  <a:pt x="1524" y="521"/>
                  <a:pt x="1524" y="521"/>
                </a:cubicBezTo>
                <a:cubicBezTo>
                  <a:pt x="1524" y="521"/>
                  <a:pt x="1524" y="521"/>
                  <a:pt x="1524" y="521"/>
                </a:cubicBezTo>
                <a:cubicBezTo>
                  <a:pt x="1524" y="521"/>
                  <a:pt x="1524" y="521"/>
                  <a:pt x="1523" y="521"/>
                </a:cubicBezTo>
                <a:cubicBezTo>
                  <a:pt x="1523" y="520"/>
                  <a:pt x="1523" y="520"/>
                  <a:pt x="1523" y="520"/>
                </a:cubicBezTo>
                <a:cubicBezTo>
                  <a:pt x="1522" y="519"/>
                  <a:pt x="1522" y="519"/>
                  <a:pt x="1522" y="519"/>
                </a:cubicBezTo>
                <a:cubicBezTo>
                  <a:pt x="1522" y="518"/>
                  <a:pt x="1522" y="518"/>
                  <a:pt x="1522" y="518"/>
                </a:cubicBezTo>
                <a:cubicBezTo>
                  <a:pt x="1522" y="518"/>
                  <a:pt x="1522" y="518"/>
                  <a:pt x="1521" y="518"/>
                </a:cubicBezTo>
                <a:cubicBezTo>
                  <a:pt x="1521" y="518"/>
                  <a:pt x="1521" y="518"/>
                  <a:pt x="1521" y="517"/>
                </a:cubicBezTo>
                <a:cubicBezTo>
                  <a:pt x="1521" y="518"/>
                  <a:pt x="1521" y="518"/>
                  <a:pt x="1520" y="518"/>
                </a:cubicBezTo>
                <a:cubicBezTo>
                  <a:pt x="1520" y="519"/>
                  <a:pt x="1520" y="519"/>
                  <a:pt x="1520" y="520"/>
                </a:cubicBezTo>
                <a:cubicBezTo>
                  <a:pt x="1520" y="520"/>
                  <a:pt x="1520" y="520"/>
                  <a:pt x="1520" y="520"/>
                </a:cubicBezTo>
                <a:cubicBezTo>
                  <a:pt x="1520" y="520"/>
                  <a:pt x="1520" y="520"/>
                  <a:pt x="1520" y="519"/>
                </a:cubicBezTo>
                <a:cubicBezTo>
                  <a:pt x="1519" y="519"/>
                  <a:pt x="1519" y="519"/>
                  <a:pt x="1519" y="519"/>
                </a:cubicBezTo>
                <a:cubicBezTo>
                  <a:pt x="1519" y="520"/>
                  <a:pt x="1519" y="520"/>
                  <a:pt x="1519" y="520"/>
                </a:cubicBezTo>
                <a:cubicBezTo>
                  <a:pt x="1519" y="520"/>
                  <a:pt x="1519" y="520"/>
                  <a:pt x="1518" y="520"/>
                </a:cubicBezTo>
                <a:cubicBezTo>
                  <a:pt x="1518" y="520"/>
                  <a:pt x="1518" y="520"/>
                  <a:pt x="1518" y="520"/>
                </a:cubicBezTo>
                <a:cubicBezTo>
                  <a:pt x="1518" y="520"/>
                  <a:pt x="1517" y="519"/>
                  <a:pt x="1517" y="519"/>
                </a:cubicBezTo>
                <a:cubicBezTo>
                  <a:pt x="1517" y="520"/>
                  <a:pt x="1516" y="520"/>
                  <a:pt x="1516" y="520"/>
                </a:cubicBezTo>
                <a:cubicBezTo>
                  <a:pt x="1516" y="521"/>
                  <a:pt x="1516" y="521"/>
                  <a:pt x="1516" y="521"/>
                </a:cubicBezTo>
                <a:cubicBezTo>
                  <a:pt x="1516" y="521"/>
                  <a:pt x="1516" y="521"/>
                  <a:pt x="1516" y="521"/>
                </a:cubicBezTo>
                <a:cubicBezTo>
                  <a:pt x="1516" y="521"/>
                  <a:pt x="1516" y="521"/>
                  <a:pt x="1515" y="521"/>
                </a:cubicBezTo>
                <a:cubicBezTo>
                  <a:pt x="1515" y="521"/>
                  <a:pt x="1515" y="521"/>
                  <a:pt x="1515" y="520"/>
                </a:cubicBezTo>
                <a:cubicBezTo>
                  <a:pt x="1515" y="520"/>
                  <a:pt x="1515" y="520"/>
                  <a:pt x="1514" y="520"/>
                </a:cubicBezTo>
                <a:cubicBezTo>
                  <a:pt x="1514" y="521"/>
                  <a:pt x="1514" y="521"/>
                  <a:pt x="1513" y="521"/>
                </a:cubicBezTo>
                <a:cubicBezTo>
                  <a:pt x="1513" y="521"/>
                  <a:pt x="1512" y="521"/>
                  <a:pt x="1512" y="521"/>
                </a:cubicBezTo>
                <a:cubicBezTo>
                  <a:pt x="1512" y="521"/>
                  <a:pt x="1511" y="521"/>
                  <a:pt x="1511" y="521"/>
                </a:cubicBezTo>
                <a:cubicBezTo>
                  <a:pt x="1511" y="521"/>
                  <a:pt x="1510" y="521"/>
                  <a:pt x="1510" y="521"/>
                </a:cubicBezTo>
                <a:cubicBezTo>
                  <a:pt x="1510" y="521"/>
                  <a:pt x="1511" y="521"/>
                  <a:pt x="1511" y="521"/>
                </a:cubicBezTo>
                <a:cubicBezTo>
                  <a:pt x="1511" y="520"/>
                  <a:pt x="1512" y="520"/>
                  <a:pt x="1512" y="519"/>
                </a:cubicBezTo>
                <a:cubicBezTo>
                  <a:pt x="1511" y="519"/>
                  <a:pt x="1511" y="519"/>
                  <a:pt x="1511" y="518"/>
                </a:cubicBezTo>
                <a:cubicBezTo>
                  <a:pt x="1511" y="518"/>
                  <a:pt x="1510" y="518"/>
                  <a:pt x="1510" y="518"/>
                </a:cubicBezTo>
                <a:cubicBezTo>
                  <a:pt x="1510" y="518"/>
                  <a:pt x="1510" y="518"/>
                  <a:pt x="1509" y="518"/>
                </a:cubicBezTo>
                <a:cubicBezTo>
                  <a:pt x="1509" y="518"/>
                  <a:pt x="1508" y="518"/>
                  <a:pt x="1508" y="518"/>
                </a:cubicBezTo>
                <a:cubicBezTo>
                  <a:pt x="1508" y="519"/>
                  <a:pt x="1508" y="519"/>
                  <a:pt x="1507" y="519"/>
                </a:cubicBezTo>
                <a:cubicBezTo>
                  <a:pt x="1507" y="519"/>
                  <a:pt x="1507" y="519"/>
                  <a:pt x="1508" y="520"/>
                </a:cubicBezTo>
                <a:cubicBezTo>
                  <a:pt x="1507" y="520"/>
                  <a:pt x="1507" y="519"/>
                  <a:pt x="1506" y="519"/>
                </a:cubicBezTo>
                <a:cubicBezTo>
                  <a:pt x="1506" y="519"/>
                  <a:pt x="1506" y="519"/>
                  <a:pt x="1505" y="519"/>
                </a:cubicBezTo>
                <a:cubicBezTo>
                  <a:pt x="1505" y="519"/>
                  <a:pt x="1505" y="519"/>
                  <a:pt x="1504" y="519"/>
                </a:cubicBezTo>
                <a:cubicBezTo>
                  <a:pt x="1504" y="519"/>
                  <a:pt x="1504" y="519"/>
                  <a:pt x="1503" y="519"/>
                </a:cubicBezTo>
                <a:cubicBezTo>
                  <a:pt x="1503" y="519"/>
                  <a:pt x="1503" y="519"/>
                  <a:pt x="1502" y="519"/>
                </a:cubicBezTo>
                <a:cubicBezTo>
                  <a:pt x="1502" y="520"/>
                  <a:pt x="1502" y="520"/>
                  <a:pt x="1502" y="520"/>
                </a:cubicBezTo>
                <a:cubicBezTo>
                  <a:pt x="1502" y="520"/>
                  <a:pt x="1502" y="521"/>
                  <a:pt x="1502" y="521"/>
                </a:cubicBezTo>
                <a:cubicBezTo>
                  <a:pt x="1501" y="521"/>
                  <a:pt x="1501" y="521"/>
                  <a:pt x="1501" y="522"/>
                </a:cubicBezTo>
                <a:cubicBezTo>
                  <a:pt x="1501" y="522"/>
                  <a:pt x="1501" y="522"/>
                  <a:pt x="1501" y="523"/>
                </a:cubicBezTo>
                <a:cubicBezTo>
                  <a:pt x="1502" y="523"/>
                  <a:pt x="1502" y="523"/>
                  <a:pt x="1502" y="522"/>
                </a:cubicBezTo>
                <a:cubicBezTo>
                  <a:pt x="1502" y="522"/>
                  <a:pt x="1503" y="522"/>
                  <a:pt x="1503" y="521"/>
                </a:cubicBezTo>
                <a:cubicBezTo>
                  <a:pt x="1504" y="521"/>
                  <a:pt x="1504" y="521"/>
                  <a:pt x="1504" y="521"/>
                </a:cubicBezTo>
                <a:cubicBezTo>
                  <a:pt x="1504" y="521"/>
                  <a:pt x="1505" y="521"/>
                  <a:pt x="1505" y="520"/>
                </a:cubicBezTo>
                <a:cubicBezTo>
                  <a:pt x="1505" y="520"/>
                  <a:pt x="1505" y="520"/>
                  <a:pt x="1505" y="520"/>
                </a:cubicBezTo>
                <a:cubicBezTo>
                  <a:pt x="1506" y="521"/>
                  <a:pt x="1506" y="521"/>
                  <a:pt x="1506" y="521"/>
                </a:cubicBezTo>
                <a:cubicBezTo>
                  <a:pt x="1506" y="521"/>
                  <a:pt x="1506" y="521"/>
                  <a:pt x="1505" y="522"/>
                </a:cubicBezTo>
                <a:cubicBezTo>
                  <a:pt x="1505" y="522"/>
                  <a:pt x="1506" y="522"/>
                  <a:pt x="1506" y="522"/>
                </a:cubicBezTo>
                <a:cubicBezTo>
                  <a:pt x="1506" y="522"/>
                  <a:pt x="1506" y="522"/>
                  <a:pt x="1506" y="522"/>
                </a:cubicBezTo>
                <a:cubicBezTo>
                  <a:pt x="1506" y="522"/>
                  <a:pt x="1506" y="522"/>
                  <a:pt x="1506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7" y="522"/>
                  <a:pt x="1508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8" y="522"/>
                  <a:pt x="1508" y="522"/>
                </a:cubicBezTo>
                <a:cubicBezTo>
                  <a:pt x="1508" y="523"/>
                  <a:pt x="1508" y="523"/>
                  <a:pt x="1508" y="523"/>
                </a:cubicBezTo>
                <a:cubicBezTo>
                  <a:pt x="1508" y="523"/>
                  <a:pt x="1509" y="523"/>
                  <a:pt x="1509" y="523"/>
                </a:cubicBezTo>
                <a:cubicBezTo>
                  <a:pt x="1509" y="523"/>
                  <a:pt x="1508" y="523"/>
                  <a:pt x="1508" y="523"/>
                </a:cubicBezTo>
                <a:cubicBezTo>
                  <a:pt x="1509" y="523"/>
                  <a:pt x="1509" y="522"/>
                  <a:pt x="1509" y="522"/>
                </a:cubicBezTo>
                <a:cubicBezTo>
                  <a:pt x="1509" y="522"/>
                  <a:pt x="1509" y="522"/>
                  <a:pt x="1509" y="522"/>
                </a:cubicBezTo>
                <a:cubicBezTo>
                  <a:pt x="1509" y="522"/>
                  <a:pt x="1509" y="522"/>
                  <a:pt x="1509" y="522"/>
                </a:cubicBezTo>
                <a:cubicBezTo>
                  <a:pt x="1509" y="522"/>
                  <a:pt x="1510" y="522"/>
                  <a:pt x="1510" y="522"/>
                </a:cubicBezTo>
                <a:close/>
                <a:moveTo>
                  <a:pt x="1524" y="515"/>
                </a:moveTo>
                <a:cubicBezTo>
                  <a:pt x="1524" y="515"/>
                  <a:pt x="1523" y="514"/>
                  <a:pt x="1523" y="514"/>
                </a:cubicBezTo>
                <a:cubicBezTo>
                  <a:pt x="1523" y="514"/>
                  <a:pt x="1523" y="514"/>
                  <a:pt x="1523" y="515"/>
                </a:cubicBezTo>
                <a:cubicBezTo>
                  <a:pt x="1523" y="515"/>
                  <a:pt x="1523" y="515"/>
                  <a:pt x="1523" y="515"/>
                </a:cubicBezTo>
                <a:cubicBezTo>
                  <a:pt x="1524" y="515"/>
                  <a:pt x="1524" y="515"/>
                  <a:pt x="1524" y="515"/>
                </a:cubicBezTo>
                <a:close/>
                <a:moveTo>
                  <a:pt x="1496" y="500"/>
                </a:moveTo>
                <a:cubicBezTo>
                  <a:pt x="1496" y="500"/>
                  <a:pt x="1496" y="500"/>
                  <a:pt x="1496" y="501"/>
                </a:cubicBezTo>
                <a:cubicBezTo>
                  <a:pt x="1496" y="501"/>
                  <a:pt x="1496" y="501"/>
                  <a:pt x="1496" y="501"/>
                </a:cubicBezTo>
                <a:cubicBezTo>
                  <a:pt x="1496" y="501"/>
                  <a:pt x="1496" y="501"/>
                  <a:pt x="1496" y="501"/>
                </a:cubicBezTo>
                <a:cubicBezTo>
                  <a:pt x="1497" y="501"/>
                  <a:pt x="1497" y="501"/>
                  <a:pt x="1497" y="501"/>
                </a:cubicBezTo>
                <a:cubicBezTo>
                  <a:pt x="1497" y="500"/>
                  <a:pt x="1497" y="500"/>
                  <a:pt x="1497" y="500"/>
                </a:cubicBezTo>
                <a:cubicBezTo>
                  <a:pt x="1496" y="500"/>
                  <a:pt x="1496" y="500"/>
                  <a:pt x="1496" y="499"/>
                </a:cubicBezTo>
                <a:cubicBezTo>
                  <a:pt x="1496" y="500"/>
                  <a:pt x="1496" y="500"/>
                  <a:pt x="1496" y="500"/>
                </a:cubicBezTo>
                <a:close/>
                <a:moveTo>
                  <a:pt x="1510" y="473"/>
                </a:moveTo>
                <a:cubicBezTo>
                  <a:pt x="1510" y="473"/>
                  <a:pt x="1510" y="474"/>
                  <a:pt x="1510" y="474"/>
                </a:cubicBezTo>
                <a:cubicBezTo>
                  <a:pt x="1510" y="473"/>
                  <a:pt x="1510" y="473"/>
                  <a:pt x="1510" y="473"/>
                </a:cubicBezTo>
                <a:cubicBezTo>
                  <a:pt x="1510" y="473"/>
                  <a:pt x="1510" y="473"/>
                  <a:pt x="1510" y="473"/>
                </a:cubicBezTo>
                <a:close/>
                <a:moveTo>
                  <a:pt x="1506" y="506"/>
                </a:moveTo>
                <a:cubicBezTo>
                  <a:pt x="1506" y="506"/>
                  <a:pt x="1506" y="506"/>
                  <a:pt x="1506" y="507"/>
                </a:cubicBezTo>
                <a:cubicBezTo>
                  <a:pt x="1506" y="507"/>
                  <a:pt x="1506" y="507"/>
                  <a:pt x="1505" y="508"/>
                </a:cubicBezTo>
                <a:cubicBezTo>
                  <a:pt x="1505" y="508"/>
                  <a:pt x="1505" y="508"/>
                  <a:pt x="1505" y="509"/>
                </a:cubicBezTo>
                <a:cubicBezTo>
                  <a:pt x="1505" y="509"/>
                  <a:pt x="1506" y="509"/>
                  <a:pt x="1506" y="509"/>
                </a:cubicBezTo>
                <a:cubicBezTo>
                  <a:pt x="1506" y="509"/>
                  <a:pt x="1506" y="509"/>
                  <a:pt x="1506" y="509"/>
                </a:cubicBezTo>
                <a:cubicBezTo>
                  <a:pt x="1507" y="509"/>
                  <a:pt x="1507" y="509"/>
                  <a:pt x="1507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9" y="509"/>
                  <a:pt x="1509" y="509"/>
                </a:cubicBezTo>
                <a:cubicBezTo>
                  <a:pt x="1509" y="509"/>
                  <a:pt x="1509" y="509"/>
                  <a:pt x="1509" y="509"/>
                </a:cubicBezTo>
                <a:cubicBezTo>
                  <a:pt x="1510" y="508"/>
                  <a:pt x="1510" y="508"/>
                  <a:pt x="1511" y="508"/>
                </a:cubicBezTo>
                <a:cubicBezTo>
                  <a:pt x="1511" y="508"/>
                  <a:pt x="1511" y="508"/>
                  <a:pt x="1511" y="508"/>
                </a:cubicBezTo>
                <a:cubicBezTo>
                  <a:pt x="1512" y="508"/>
                  <a:pt x="1512" y="508"/>
                  <a:pt x="1512" y="508"/>
                </a:cubicBezTo>
                <a:cubicBezTo>
                  <a:pt x="1512" y="507"/>
                  <a:pt x="1512" y="507"/>
                  <a:pt x="1512" y="507"/>
                </a:cubicBezTo>
                <a:cubicBezTo>
                  <a:pt x="1512" y="507"/>
                  <a:pt x="1512" y="507"/>
                  <a:pt x="1512" y="506"/>
                </a:cubicBezTo>
                <a:cubicBezTo>
                  <a:pt x="1512" y="506"/>
                  <a:pt x="1512" y="506"/>
                  <a:pt x="1512" y="506"/>
                </a:cubicBezTo>
                <a:cubicBezTo>
                  <a:pt x="1511" y="507"/>
                  <a:pt x="1511" y="507"/>
                  <a:pt x="1511" y="507"/>
                </a:cubicBezTo>
                <a:cubicBezTo>
                  <a:pt x="1511" y="507"/>
                  <a:pt x="1510" y="506"/>
                  <a:pt x="1510" y="506"/>
                </a:cubicBezTo>
                <a:cubicBezTo>
                  <a:pt x="1510" y="506"/>
                  <a:pt x="1510" y="506"/>
                  <a:pt x="1510" y="506"/>
                </a:cubicBezTo>
                <a:cubicBezTo>
                  <a:pt x="1509" y="505"/>
                  <a:pt x="1509" y="505"/>
                  <a:pt x="1509" y="505"/>
                </a:cubicBezTo>
                <a:cubicBezTo>
                  <a:pt x="1509" y="505"/>
                  <a:pt x="1508" y="505"/>
                  <a:pt x="1508" y="505"/>
                </a:cubicBezTo>
                <a:cubicBezTo>
                  <a:pt x="1508" y="505"/>
                  <a:pt x="1508" y="505"/>
                  <a:pt x="1509" y="505"/>
                </a:cubicBezTo>
                <a:cubicBezTo>
                  <a:pt x="1508" y="505"/>
                  <a:pt x="1508" y="505"/>
                  <a:pt x="1508" y="504"/>
                </a:cubicBezTo>
                <a:cubicBezTo>
                  <a:pt x="1508" y="504"/>
                  <a:pt x="1507" y="504"/>
                  <a:pt x="1507" y="503"/>
                </a:cubicBezTo>
                <a:cubicBezTo>
                  <a:pt x="1507" y="503"/>
                  <a:pt x="1507" y="503"/>
                  <a:pt x="1506" y="503"/>
                </a:cubicBezTo>
                <a:cubicBezTo>
                  <a:pt x="1506" y="503"/>
                  <a:pt x="1506" y="503"/>
                  <a:pt x="1506" y="504"/>
                </a:cubicBezTo>
                <a:cubicBezTo>
                  <a:pt x="1506" y="504"/>
                  <a:pt x="1506" y="504"/>
                  <a:pt x="1507" y="504"/>
                </a:cubicBezTo>
                <a:cubicBezTo>
                  <a:pt x="1507" y="504"/>
                  <a:pt x="1507" y="504"/>
                  <a:pt x="1507" y="504"/>
                </a:cubicBezTo>
                <a:cubicBezTo>
                  <a:pt x="1507" y="505"/>
                  <a:pt x="1507" y="505"/>
                  <a:pt x="1507" y="505"/>
                </a:cubicBezTo>
                <a:cubicBezTo>
                  <a:pt x="1507" y="505"/>
                  <a:pt x="1507" y="505"/>
                  <a:pt x="1506" y="506"/>
                </a:cubicBezTo>
                <a:close/>
                <a:moveTo>
                  <a:pt x="1511" y="503"/>
                </a:moveTo>
                <a:cubicBezTo>
                  <a:pt x="1511" y="502"/>
                  <a:pt x="1511" y="502"/>
                  <a:pt x="1510" y="502"/>
                </a:cubicBezTo>
                <a:cubicBezTo>
                  <a:pt x="1510" y="502"/>
                  <a:pt x="1510" y="502"/>
                  <a:pt x="1510" y="502"/>
                </a:cubicBezTo>
                <a:cubicBezTo>
                  <a:pt x="1510" y="502"/>
                  <a:pt x="1510" y="502"/>
                  <a:pt x="1510" y="503"/>
                </a:cubicBezTo>
                <a:cubicBezTo>
                  <a:pt x="1510" y="503"/>
                  <a:pt x="1510" y="503"/>
                  <a:pt x="1511" y="503"/>
                </a:cubicBezTo>
                <a:cubicBezTo>
                  <a:pt x="1511" y="503"/>
                  <a:pt x="1511" y="503"/>
                  <a:pt x="1511" y="503"/>
                </a:cubicBezTo>
                <a:close/>
                <a:moveTo>
                  <a:pt x="1522" y="518"/>
                </a:moveTo>
                <a:cubicBezTo>
                  <a:pt x="1522" y="518"/>
                  <a:pt x="1522" y="518"/>
                  <a:pt x="1522" y="518"/>
                </a:cubicBezTo>
                <a:cubicBezTo>
                  <a:pt x="1522" y="518"/>
                  <a:pt x="1523" y="517"/>
                  <a:pt x="1523" y="517"/>
                </a:cubicBezTo>
                <a:cubicBezTo>
                  <a:pt x="1523" y="517"/>
                  <a:pt x="1523" y="517"/>
                  <a:pt x="1522" y="516"/>
                </a:cubicBezTo>
                <a:cubicBezTo>
                  <a:pt x="1522" y="516"/>
                  <a:pt x="1523" y="516"/>
                  <a:pt x="1523" y="516"/>
                </a:cubicBezTo>
                <a:cubicBezTo>
                  <a:pt x="1523" y="516"/>
                  <a:pt x="1523" y="516"/>
                  <a:pt x="1523" y="516"/>
                </a:cubicBezTo>
                <a:cubicBezTo>
                  <a:pt x="1523" y="516"/>
                  <a:pt x="1523" y="515"/>
                  <a:pt x="1523" y="515"/>
                </a:cubicBezTo>
                <a:cubicBezTo>
                  <a:pt x="1523" y="515"/>
                  <a:pt x="1523" y="515"/>
                  <a:pt x="1522" y="515"/>
                </a:cubicBezTo>
                <a:cubicBezTo>
                  <a:pt x="1522" y="515"/>
                  <a:pt x="1522" y="516"/>
                  <a:pt x="1522" y="516"/>
                </a:cubicBezTo>
                <a:cubicBezTo>
                  <a:pt x="1522" y="516"/>
                  <a:pt x="1522" y="517"/>
                  <a:pt x="1522" y="517"/>
                </a:cubicBezTo>
                <a:cubicBezTo>
                  <a:pt x="1522" y="517"/>
                  <a:pt x="1522" y="517"/>
                  <a:pt x="1522" y="517"/>
                </a:cubicBezTo>
                <a:cubicBezTo>
                  <a:pt x="1522" y="518"/>
                  <a:pt x="1522" y="518"/>
                  <a:pt x="1522" y="518"/>
                </a:cubicBezTo>
                <a:close/>
                <a:moveTo>
                  <a:pt x="1513" y="505"/>
                </a:moveTo>
                <a:cubicBezTo>
                  <a:pt x="1513" y="505"/>
                  <a:pt x="1514" y="505"/>
                  <a:pt x="1514" y="505"/>
                </a:cubicBezTo>
                <a:cubicBezTo>
                  <a:pt x="1514" y="505"/>
                  <a:pt x="1514" y="505"/>
                  <a:pt x="1515" y="505"/>
                </a:cubicBezTo>
                <a:cubicBezTo>
                  <a:pt x="1515" y="505"/>
                  <a:pt x="1515" y="506"/>
                  <a:pt x="1515" y="506"/>
                </a:cubicBezTo>
                <a:cubicBezTo>
                  <a:pt x="1516" y="506"/>
                  <a:pt x="1516" y="507"/>
                  <a:pt x="1516" y="507"/>
                </a:cubicBezTo>
                <a:cubicBezTo>
                  <a:pt x="1517" y="507"/>
                  <a:pt x="1517" y="507"/>
                  <a:pt x="1517" y="507"/>
                </a:cubicBezTo>
                <a:cubicBezTo>
                  <a:pt x="1517" y="507"/>
                  <a:pt x="1517" y="507"/>
                  <a:pt x="1517" y="507"/>
                </a:cubicBezTo>
                <a:cubicBezTo>
                  <a:pt x="1517" y="507"/>
                  <a:pt x="1517" y="506"/>
                  <a:pt x="1517" y="506"/>
                </a:cubicBezTo>
                <a:cubicBezTo>
                  <a:pt x="1516" y="506"/>
                  <a:pt x="1516" y="505"/>
                  <a:pt x="1516" y="505"/>
                </a:cubicBezTo>
                <a:cubicBezTo>
                  <a:pt x="1515" y="505"/>
                  <a:pt x="1515" y="505"/>
                  <a:pt x="1515" y="505"/>
                </a:cubicBezTo>
                <a:cubicBezTo>
                  <a:pt x="1515" y="504"/>
                  <a:pt x="1515" y="504"/>
                  <a:pt x="1514" y="504"/>
                </a:cubicBezTo>
                <a:cubicBezTo>
                  <a:pt x="1514" y="504"/>
                  <a:pt x="1514" y="504"/>
                  <a:pt x="1514" y="504"/>
                </a:cubicBezTo>
                <a:cubicBezTo>
                  <a:pt x="1514" y="503"/>
                  <a:pt x="1514" y="503"/>
                  <a:pt x="1514" y="503"/>
                </a:cubicBezTo>
                <a:cubicBezTo>
                  <a:pt x="1514" y="503"/>
                  <a:pt x="1514" y="503"/>
                  <a:pt x="1514" y="503"/>
                </a:cubicBezTo>
                <a:cubicBezTo>
                  <a:pt x="1514" y="503"/>
                  <a:pt x="1513" y="503"/>
                  <a:pt x="1513" y="504"/>
                </a:cubicBezTo>
                <a:cubicBezTo>
                  <a:pt x="1513" y="504"/>
                  <a:pt x="1513" y="504"/>
                  <a:pt x="1513" y="504"/>
                </a:cubicBezTo>
                <a:cubicBezTo>
                  <a:pt x="1513" y="504"/>
                  <a:pt x="1513" y="504"/>
                  <a:pt x="1513" y="504"/>
                </a:cubicBezTo>
                <a:cubicBezTo>
                  <a:pt x="1513" y="505"/>
                  <a:pt x="1513" y="505"/>
                  <a:pt x="1513" y="505"/>
                </a:cubicBezTo>
                <a:cubicBezTo>
                  <a:pt x="1513" y="505"/>
                  <a:pt x="1513" y="505"/>
                  <a:pt x="1513" y="505"/>
                </a:cubicBezTo>
                <a:close/>
                <a:moveTo>
                  <a:pt x="1507" y="503"/>
                </a:moveTo>
                <a:cubicBezTo>
                  <a:pt x="1507" y="503"/>
                  <a:pt x="1508" y="503"/>
                  <a:pt x="1508" y="503"/>
                </a:cubicBezTo>
                <a:cubicBezTo>
                  <a:pt x="1508" y="503"/>
                  <a:pt x="1508" y="502"/>
                  <a:pt x="1508" y="502"/>
                </a:cubicBezTo>
                <a:cubicBezTo>
                  <a:pt x="1508" y="502"/>
                  <a:pt x="1508" y="502"/>
                  <a:pt x="1508" y="501"/>
                </a:cubicBezTo>
                <a:cubicBezTo>
                  <a:pt x="1508" y="501"/>
                  <a:pt x="1509" y="501"/>
                  <a:pt x="1509" y="501"/>
                </a:cubicBezTo>
                <a:cubicBezTo>
                  <a:pt x="1509" y="501"/>
                  <a:pt x="1509" y="501"/>
                  <a:pt x="1508" y="501"/>
                </a:cubicBezTo>
                <a:cubicBezTo>
                  <a:pt x="1508" y="501"/>
                  <a:pt x="1508" y="501"/>
                  <a:pt x="1508" y="501"/>
                </a:cubicBezTo>
                <a:cubicBezTo>
                  <a:pt x="1507" y="501"/>
                  <a:pt x="1507" y="502"/>
                  <a:pt x="1507" y="502"/>
                </a:cubicBezTo>
                <a:cubicBezTo>
                  <a:pt x="1507" y="502"/>
                  <a:pt x="1507" y="502"/>
                  <a:pt x="1507" y="503"/>
                </a:cubicBezTo>
                <a:close/>
                <a:moveTo>
                  <a:pt x="1516" y="505"/>
                </a:moveTo>
                <a:cubicBezTo>
                  <a:pt x="1516" y="504"/>
                  <a:pt x="1516" y="504"/>
                  <a:pt x="1516" y="504"/>
                </a:cubicBezTo>
                <a:cubicBezTo>
                  <a:pt x="1516" y="504"/>
                  <a:pt x="1515" y="504"/>
                  <a:pt x="1515" y="503"/>
                </a:cubicBezTo>
                <a:cubicBezTo>
                  <a:pt x="1515" y="504"/>
                  <a:pt x="1515" y="504"/>
                  <a:pt x="1515" y="504"/>
                </a:cubicBezTo>
                <a:cubicBezTo>
                  <a:pt x="1516" y="504"/>
                  <a:pt x="1516" y="504"/>
                  <a:pt x="1516" y="505"/>
                </a:cubicBezTo>
                <a:cubicBezTo>
                  <a:pt x="1516" y="505"/>
                  <a:pt x="1516" y="505"/>
                  <a:pt x="1516" y="505"/>
                </a:cubicBezTo>
                <a:close/>
                <a:moveTo>
                  <a:pt x="1509" y="509"/>
                </a:moveTo>
                <a:cubicBezTo>
                  <a:pt x="1509" y="509"/>
                  <a:pt x="1509" y="509"/>
                  <a:pt x="1509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7" y="509"/>
                  <a:pt x="1507" y="510"/>
                </a:cubicBezTo>
                <a:cubicBezTo>
                  <a:pt x="1507" y="510"/>
                  <a:pt x="1508" y="510"/>
                  <a:pt x="1508" y="510"/>
                </a:cubicBezTo>
                <a:cubicBezTo>
                  <a:pt x="1508" y="510"/>
                  <a:pt x="1508" y="510"/>
                  <a:pt x="1509" y="510"/>
                </a:cubicBezTo>
                <a:cubicBezTo>
                  <a:pt x="1509" y="510"/>
                  <a:pt x="1509" y="510"/>
                  <a:pt x="1509" y="509"/>
                </a:cubicBezTo>
                <a:close/>
                <a:moveTo>
                  <a:pt x="1503" y="495"/>
                </a:moveTo>
                <a:cubicBezTo>
                  <a:pt x="1503" y="495"/>
                  <a:pt x="1503" y="495"/>
                  <a:pt x="1502" y="495"/>
                </a:cubicBezTo>
                <a:cubicBezTo>
                  <a:pt x="1502" y="495"/>
                  <a:pt x="1502" y="495"/>
                  <a:pt x="1501" y="494"/>
                </a:cubicBezTo>
                <a:cubicBezTo>
                  <a:pt x="1501" y="494"/>
                  <a:pt x="1501" y="494"/>
                  <a:pt x="1500" y="494"/>
                </a:cubicBezTo>
                <a:cubicBezTo>
                  <a:pt x="1500" y="495"/>
                  <a:pt x="1500" y="495"/>
                  <a:pt x="1500" y="495"/>
                </a:cubicBezTo>
                <a:cubicBezTo>
                  <a:pt x="1501" y="495"/>
                  <a:pt x="1501" y="495"/>
                  <a:pt x="1501" y="495"/>
                </a:cubicBezTo>
                <a:cubicBezTo>
                  <a:pt x="1501" y="495"/>
                  <a:pt x="1501" y="496"/>
                  <a:pt x="1501" y="496"/>
                </a:cubicBezTo>
                <a:cubicBezTo>
                  <a:pt x="1501" y="496"/>
                  <a:pt x="1501" y="496"/>
                  <a:pt x="1502" y="496"/>
                </a:cubicBezTo>
                <a:cubicBezTo>
                  <a:pt x="1502" y="497"/>
                  <a:pt x="1502" y="497"/>
                  <a:pt x="1502" y="497"/>
                </a:cubicBezTo>
                <a:cubicBezTo>
                  <a:pt x="1502" y="498"/>
                  <a:pt x="1502" y="498"/>
                  <a:pt x="1502" y="498"/>
                </a:cubicBezTo>
                <a:cubicBezTo>
                  <a:pt x="1502" y="498"/>
                  <a:pt x="1502" y="499"/>
                  <a:pt x="1502" y="499"/>
                </a:cubicBezTo>
                <a:cubicBezTo>
                  <a:pt x="1502" y="499"/>
                  <a:pt x="1502" y="499"/>
                  <a:pt x="1502" y="500"/>
                </a:cubicBezTo>
                <a:cubicBezTo>
                  <a:pt x="1502" y="500"/>
                  <a:pt x="1502" y="500"/>
                  <a:pt x="1503" y="501"/>
                </a:cubicBezTo>
                <a:cubicBezTo>
                  <a:pt x="1503" y="501"/>
                  <a:pt x="1503" y="501"/>
                  <a:pt x="1503" y="501"/>
                </a:cubicBezTo>
                <a:cubicBezTo>
                  <a:pt x="1504" y="501"/>
                  <a:pt x="1504" y="501"/>
                  <a:pt x="1504" y="501"/>
                </a:cubicBezTo>
                <a:cubicBezTo>
                  <a:pt x="1504" y="501"/>
                  <a:pt x="1505" y="500"/>
                  <a:pt x="1505" y="500"/>
                </a:cubicBezTo>
                <a:cubicBezTo>
                  <a:pt x="1505" y="500"/>
                  <a:pt x="1505" y="500"/>
                  <a:pt x="1505" y="500"/>
                </a:cubicBezTo>
                <a:cubicBezTo>
                  <a:pt x="1505" y="500"/>
                  <a:pt x="1505" y="500"/>
                  <a:pt x="1505" y="500"/>
                </a:cubicBezTo>
                <a:cubicBezTo>
                  <a:pt x="1505" y="499"/>
                  <a:pt x="1505" y="499"/>
                  <a:pt x="1505" y="499"/>
                </a:cubicBezTo>
                <a:cubicBezTo>
                  <a:pt x="1505" y="499"/>
                  <a:pt x="1505" y="499"/>
                  <a:pt x="1506" y="499"/>
                </a:cubicBezTo>
                <a:cubicBezTo>
                  <a:pt x="1506" y="498"/>
                  <a:pt x="1506" y="498"/>
                  <a:pt x="1506" y="498"/>
                </a:cubicBezTo>
                <a:cubicBezTo>
                  <a:pt x="1506" y="498"/>
                  <a:pt x="1505" y="498"/>
                  <a:pt x="1505" y="497"/>
                </a:cubicBezTo>
                <a:cubicBezTo>
                  <a:pt x="1504" y="497"/>
                  <a:pt x="1504" y="496"/>
                  <a:pt x="1503" y="495"/>
                </a:cubicBezTo>
                <a:close/>
                <a:moveTo>
                  <a:pt x="1514" y="513"/>
                </a:moveTo>
                <a:cubicBezTo>
                  <a:pt x="1515" y="512"/>
                  <a:pt x="1515" y="512"/>
                  <a:pt x="1515" y="512"/>
                </a:cubicBezTo>
                <a:cubicBezTo>
                  <a:pt x="1515" y="512"/>
                  <a:pt x="1515" y="512"/>
                  <a:pt x="1515" y="511"/>
                </a:cubicBezTo>
                <a:cubicBezTo>
                  <a:pt x="1515" y="511"/>
                  <a:pt x="1515" y="511"/>
                  <a:pt x="1516" y="511"/>
                </a:cubicBezTo>
                <a:cubicBezTo>
                  <a:pt x="1516" y="511"/>
                  <a:pt x="1516" y="510"/>
                  <a:pt x="1516" y="510"/>
                </a:cubicBezTo>
                <a:cubicBezTo>
                  <a:pt x="1516" y="510"/>
                  <a:pt x="1516" y="510"/>
                  <a:pt x="1515" y="510"/>
                </a:cubicBezTo>
                <a:cubicBezTo>
                  <a:pt x="1515" y="510"/>
                  <a:pt x="1515" y="510"/>
                  <a:pt x="1515" y="511"/>
                </a:cubicBezTo>
                <a:cubicBezTo>
                  <a:pt x="1514" y="511"/>
                  <a:pt x="1514" y="511"/>
                  <a:pt x="1513" y="512"/>
                </a:cubicBezTo>
                <a:cubicBezTo>
                  <a:pt x="1513" y="512"/>
                  <a:pt x="1513" y="512"/>
                  <a:pt x="1513" y="512"/>
                </a:cubicBezTo>
                <a:cubicBezTo>
                  <a:pt x="1513" y="513"/>
                  <a:pt x="1512" y="513"/>
                  <a:pt x="1512" y="513"/>
                </a:cubicBezTo>
                <a:cubicBezTo>
                  <a:pt x="1512" y="513"/>
                  <a:pt x="1511" y="513"/>
                  <a:pt x="1511" y="514"/>
                </a:cubicBezTo>
                <a:cubicBezTo>
                  <a:pt x="1511" y="514"/>
                  <a:pt x="1511" y="514"/>
                  <a:pt x="1511" y="514"/>
                </a:cubicBezTo>
                <a:cubicBezTo>
                  <a:pt x="1511" y="515"/>
                  <a:pt x="1511" y="515"/>
                  <a:pt x="1511" y="515"/>
                </a:cubicBezTo>
                <a:cubicBezTo>
                  <a:pt x="1511" y="515"/>
                  <a:pt x="1511" y="515"/>
                  <a:pt x="1512" y="515"/>
                </a:cubicBezTo>
                <a:cubicBezTo>
                  <a:pt x="1512" y="514"/>
                  <a:pt x="1512" y="514"/>
                  <a:pt x="1513" y="513"/>
                </a:cubicBezTo>
                <a:cubicBezTo>
                  <a:pt x="1513" y="513"/>
                  <a:pt x="1514" y="513"/>
                  <a:pt x="1514" y="513"/>
                </a:cubicBezTo>
                <a:close/>
                <a:moveTo>
                  <a:pt x="1523" y="519"/>
                </a:moveTo>
                <a:cubicBezTo>
                  <a:pt x="1523" y="519"/>
                  <a:pt x="1523" y="519"/>
                  <a:pt x="1524" y="519"/>
                </a:cubicBezTo>
                <a:cubicBezTo>
                  <a:pt x="1523" y="519"/>
                  <a:pt x="1523" y="519"/>
                  <a:pt x="1523" y="519"/>
                </a:cubicBezTo>
                <a:cubicBezTo>
                  <a:pt x="1523" y="519"/>
                  <a:pt x="1523" y="519"/>
                  <a:pt x="1523" y="519"/>
                </a:cubicBezTo>
                <a:cubicBezTo>
                  <a:pt x="1523" y="519"/>
                  <a:pt x="1523" y="519"/>
                  <a:pt x="1523" y="519"/>
                </a:cubicBezTo>
                <a:close/>
                <a:moveTo>
                  <a:pt x="1512" y="510"/>
                </a:moveTo>
                <a:cubicBezTo>
                  <a:pt x="1512" y="509"/>
                  <a:pt x="1512" y="509"/>
                  <a:pt x="1511" y="509"/>
                </a:cubicBezTo>
                <a:cubicBezTo>
                  <a:pt x="1511" y="509"/>
                  <a:pt x="1511" y="509"/>
                  <a:pt x="1511" y="509"/>
                </a:cubicBezTo>
                <a:cubicBezTo>
                  <a:pt x="1510" y="509"/>
                  <a:pt x="1510" y="510"/>
                  <a:pt x="1510" y="510"/>
                </a:cubicBezTo>
                <a:cubicBezTo>
                  <a:pt x="1510" y="510"/>
                  <a:pt x="1510" y="510"/>
                  <a:pt x="1510" y="510"/>
                </a:cubicBezTo>
                <a:cubicBezTo>
                  <a:pt x="1509" y="511"/>
                  <a:pt x="1509" y="511"/>
                  <a:pt x="1509" y="511"/>
                </a:cubicBezTo>
                <a:cubicBezTo>
                  <a:pt x="1509" y="512"/>
                  <a:pt x="1509" y="512"/>
                  <a:pt x="1509" y="512"/>
                </a:cubicBezTo>
                <a:cubicBezTo>
                  <a:pt x="1508" y="512"/>
                  <a:pt x="1507" y="512"/>
                  <a:pt x="1507" y="512"/>
                </a:cubicBezTo>
                <a:cubicBezTo>
                  <a:pt x="1507" y="512"/>
                  <a:pt x="1507" y="512"/>
                  <a:pt x="1506" y="512"/>
                </a:cubicBezTo>
                <a:cubicBezTo>
                  <a:pt x="1506" y="512"/>
                  <a:pt x="1506" y="513"/>
                  <a:pt x="1506" y="513"/>
                </a:cubicBezTo>
                <a:cubicBezTo>
                  <a:pt x="1506" y="513"/>
                  <a:pt x="1507" y="513"/>
                  <a:pt x="1507" y="513"/>
                </a:cubicBezTo>
                <a:cubicBezTo>
                  <a:pt x="1507" y="514"/>
                  <a:pt x="1507" y="514"/>
                  <a:pt x="1508" y="514"/>
                </a:cubicBezTo>
                <a:cubicBezTo>
                  <a:pt x="1508" y="514"/>
                  <a:pt x="1508" y="515"/>
                  <a:pt x="1509" y="515"/>
                </a:cubicBezTo>
                <a:cubicBezTo>
                  <a:pt x="1509" y="515"/>
                  <a:pt x="1508" y="515"/>
                  <a:pt x="1508" y="516"/>
                </a:cubicBezTo>
                <a:cubicBezTo>
                  <a:pt x="1509" y="516"/>
                  <a:pt x="1509" y="516"/>
                  <a:pt x="1509" y="516"/>
                </a:cubicBezTo>
                <a:cubicBezTo>
                  <a:pt x="1509" y="516"/>
                  <a:pt x="1510" y="516"/>
                  <a:pt x="1510" y="516"/>
                </a:cubicBezTo>
                <a:cubicBezTo>
                  <a:pt x="1510" y="516"/>
                  <a:pt x="1510" y="516"/>
                  <a:pt x="1510" y="515"/>
                </a:cubicBezTo>
                <a:cubicBezTo>
                  <a:pt x="1510" y="515"/>
                  <a:pt x="1510" y="515"/>
                  <a:pt x="1510" y="514"/>
                </a:cubicBezTo>
                <a:cubicBezTo>
                  <a:pt x="1510" y="514"/>
                  <a:pt x="1510" y="513"/>
                  <a:pt x="1510" y="513"/>
                </a:cubicBezTo>
                <a:cubicBezTo>
                  <a:pt x="1511" y="512"/>
                  <a:pt x="1511" y="512"/>
                  <a:pt x="1512" y="511"/>
                </a:cubicBezTo>
                <a:cubicBezTo>
                  <a:pt x="1512" y="511"/>
                  <a:pt x="1512" y="511"/>
                  <a:pt x="1513" y="511"/>
                </a:cubicBezTo>
                <a:cubicBezTo>
                  <a:pt x="1513" y="511"/>
                  <a:pt x="1513" y="510"/>
                  <a:pt x="1513" y="510"/>
                </a:cubicBezTo>
                <a:cubicBezTo>
                  <a:pt x="1513" y="510"/>
                  <a:pt x="1513" y="510"/>
                  <a:pt x="1513" y="510"/>
                </a:cubicBezTo>
                <a:cubicBezTo>
                  <a:pt x="1512" y="510"/>
                  <a:pt x="1512" y="510"/>
                  <a:pt x="1512" y="510"/>
                </a:cubicBezTo>
                <a:close/>
                <a:moveTo>
                  <a:pt x="1517" y="519"/>
                </a:moveTo>
                <a:cubicBezTo>
                  <a:pt x="1517" y="519"/>
                  <a:pt x="1517" y="519"/>
                  <a:pt x="1517" y="518"/>
                </a:cubicBezTo>
                <a:cubicBezTo>
                  <a:pt x="1517" y="518"/>
                  <a:pt x="1517" y="518"/>
                  <a:pt x="1517" y="518"/>
                </a:cubicBezTo>
                <a:cubicBezTo>
                  <a:pt x="1516" y="518"/>
                  <a:pt x="1516" y="518"/>
                  <a:pt x="1516" y="518"/>
                </a:cubicBezTo>
                <a:cubicBezTo>
                  <a:pt x="1516" y="518"/>
                  <a:pt x="1516" y="518"/>
                  <a:pt x="1516" y="518"/>
                </a:cubicBezTo>
                <a:cubicBezTo>
                  <a:pt x="1516" y="519"/>
                  <a:pt x="1517" y="519"/>
                  <a:pt x="1517" y="519"/>
                </a:cubicBezTo>
                <a:close/>
                <a:moveTo>
                  <a:pt x="1511" y="516"/>
                </a:moveTo>
                <a:cubicBezTo>
                  <a:pt x="1511" y="516"/>
                  <a:pt x="1511" y="517"/>
                  <a:pt x="1511" y="517"/>
                </a:cubicBezTo>
                <a:cubicBezTo>
                  <a:pt x="1511" y="517"/>
                  <a:pt x="1512" y="517"/>
                  <a:pt x="1512" y="517"/>
                </a:cubicBezTo>
                <a:cubicBezTo>
                  <a:pt x="1512" y="517"/>
                  <a:pt x="1512" y="517"/>
                  <a:pt x="1512" y="517"/>
                </a:cubicBezTo>
                <a:cubicBezTo>
                  <a:pt x="1512" y="516"/>
                  <a:pt x="1512" y="516"/>
                  <a:pt x="1512" y="516"/>
                </a:cubicBezTo>
                <a:cubicBezTo>
                  <a:pt x="1512" y="516"/>
                  <a:pt x="1511" y="516"/>
                  <a:pt x="1511" y="516"/>
                </a:cubicBezTo>
                <a:cubicBezTo>
                  <a:pt x="1511" y="516"/>
                  <a:pt x="1511" y="516"/>
                  <a:pt x="1511" y="516"/>
                </a:cubicBezTo>
                <a:close/>
                <a:moveTo>
                  <a:pt x="1525" y="517"/>
                </a:moveTo>
                <a:cubicBezTo>
                  <a:pt x="1524" y="517"/>
                  <a:pt x="1524" y="518"/>
                  <a:pt x="1524" y="518"/>
                </a:cubicBezTo>
                <a:cubicBezTo>
                  <a:pt x="1524" y="518"/>
                  <a:pt x="1524" y="518"/>
                  <a:pt x="1524" y="518"/>
                </a:cubicBezTo>
                <a:cubicBezTo>
                  <a:pt x="1524" y="518"/>
                  <a:pt x="1524" y="519"/>
                  <a:pt x="1524" y="519"/>
                </a:cubicBezTo>
                <a:cubicBezTo>
                  <a:pt x="1524" y="519"/>
                  <a:pt x="1525" y="519"/>
                  <a:pt x="1525" y="519"/>
                </a:cubicBezTo>
                <a:cubicBezTo>
                  <a:pt x="1525" y="519"/>
                  <a:pt x="1525" y="518"/>
                  <a:pt x="1525" y="518"/>
                </a:cubicBezTo>
                <a:cubicBezTo>
                  <a:pt x="1525" y="518"/>
                  <a:pt x="1525" y="518"/>
                  <a:pt x="1525" y="517"/>
                </a:cubicBezTo>
                <a:close/>
                <a:moveTo>
                  <a:pt x="1481" y="510"/>
                </a:moveTo>
                <a:cubicBezTo>
                  <a:pt x="1481" y="510"/>
                  <a:pt x="1480" y="510"/>
                  <a:pt x="1480" y="509"/>
                </a:cubicBezTo>
                <a:cubicBezTo>
                  <a:pt x="1480" y="509"/>
                  <a:pt x="1480" y="509"/>
                  <a:pt x="1480" y="509"/>
                </a:cubicBezTo>
                <a:cubicBezTo>
                  <a:pt x="1480" y="510"/>
                  <a:pt x="1480" y="510"/>
                  <a:pt x="1481" y="510"/>
                </a:cubicBezTo>
                <a:close/>
                <a:moveTo>
                  <a:pt x="1500" y="523"/>
                </a:moveTo>
                <a:cubicBezTo>
                  <a:pt x="1500" y="524"/>
                  <a:pt x="1500" y="524"/>
                  <a:pt x="1500" y="524"/>
                </a:cubicBezTo>
                <a:cubicBezTo>
                  <a:pt x="1500" y="524"/>
                  <a:pt x="1500" y="524"/>
                  <a:pt x="1500" y="525"/>
                </a:cubicBezTo>
                <a:cubicBezTo>
                  <a:pt x="1501" y="524"/>
                  <a:pt x="1501" y="524"/>
                  <a:pt x="1502" y="524"/>
                </a:cubicBezTo>
                <a:cubicBezTo>
                  <a:pt x="1502" y="524"/>
                  <a:pt x="1502" y="524"/>
                  <a:pt x="1502" y="524"/>
                </a:cubicBezTo>
                <a:cubicBezTo>
                  <a:pt x="1502" y="524"/>
                  <a:pt x="1502" y="524"/>
                  <a:pt x="1502" y="524"/>
                </a:cubicBezTo>
                <a:cubicBezTo>
                  <a:pt x="1501" y="524"/>
                  <a:pt x="1501" y="523"/>
                  <a:pt x="1501" y="523"/>
                </a:cubicBezTo>
                <a:cubicBezTo>
                  <a:pt x="1501" y="523"/>
                  <a:pt x="1501" y="523"/>
                  <a:pt x="1501" y="523"/>
                </a:cubicBezTo>
                <a:cubicBezTo>
                  <a:pt x="1500" y="523"/>
                  <a:pt x="1500" y="523"/>
                  <a:pt x="1500" y="523"/>
                </a:cubicBezTo>
                <a:cubicBezTo>
                  <a:pt x="1500" y="523"/>
                  <a:pt x="1500" y="523"/>
                  <a:pt x="1500" y="523"/>
                </a:cubicBezTo>
                <a:close/>
                <a:moveTo>
                  <a:pt x="1478" y="510"/>
                </a:moveTo>
                <a:cubicBezTo>
                  <a:pt x="1478" y="510"/>
                  <a:pt x="1478" y="510"/>
                  <a:pt x="1478" y="510"/>
                </a:cubicBezTo>
                <a:cubicBezTo>
                  <a:pt x="1478" y="510"/>
                  <a:pt x="1478" y="511"/>
                  <a:pt x="1478" y="511"/>
                </a:cubicBezTo>
                <a:cubicBezTo>
                  <a:pt x="1478" y="511"/>
                  <a:pt x="1478" y="511"/>
                  <a:pt x="1478" y="511"/>
                </a:cubicBezTo>
                <a:cubicBezTo>
                  <a:pt x="1479" y="511"/>
                  <a:pt x="1479" y="511"/>
                  <a:pt x="1479" y="510"/>
                </a:cubicBezTo>
                <a:cubicBezTo>
                  <a:pt x="1479" y="510"/>
                  <a:pt x="1479" y="510"/>
                  <a:pt x="1479" y="510"/>
                </a:cubicBezTo>
                <a:cubicBezTo>
                  <a:pt x="1479" y="510"/>
                  <a:pt x="1479" y="510"/>
                  <a:pt x="1479" y="510"/>
                </a:cubicBezTo>
                <a:cubicBezTo>
                  <a:pt x="1479" y="510"/>
                  <a:pt x="1478" y="510"/>
                  <a:pt x="1478" y="510"/>
                </a:cubicBezTo>
                <a:close/>
                <a:moveTo>
                  <a:pt x="1480" y="509"/>
                </a:moveTo>
                <a:cubicBezTo>
                  <a:pt x="1480" y="509"/>
                  <a:pt x="1480" y="509"/>
                  <a:pt x="1480" y="509"/>
                </a:cubicBezTo>
                <a:cubicBezTo>
                  <a:pt x="1480" y="509"/>
                  <a:pt x="1480" y="509"/>
                  <a:pt x="1479" y="509"/>
                </a:cubicBezTo>
                <a:cubicBezTo>
                  <a:pt x="1480" y="509"/>
                  <a:pt x="1480" y="509"/>
                  <a:pt x="1480" y="509"/>
                </a:cubicBezTo>
                <a:close/>
                <a:moveTo>
                  <a:pt x="1500" y="489"/>
                </a:moveTo>
                <a:cubicBezTo>
                  <a:pt x="1501" y="489"/>
                  <a:pt x="1501" y="489"/>
                  <a:pt x="1501" y="489"/>
                </a:cubicBezTo>
                <a:cubicBezTo>
                  <a:pt x="1501" y="489"/>
                  <a:pt x="1501" y="489"/>
                  <a:pt x="1501" y="489"/>
                </a:cubicBezTo>
                <a:cubicBezTo>
                  <a:pt x="1501" y="489"/>
                  <a:pt x="1501" y="489"/>
                  <a:pt x="1501" y="490"/>
                </a:cubicBezTo>
                <a:cubicBezTo>
                  <a:pt x="1501" y="490"/>
                  <a:pt x="1501" y="490"/>
                  <a:pt x="1502" y="491"/>
                </a:cubicBezTo>
                <a:cubicBezTo>
                  <a:pt x="1502" y="491"/>
                  <a:pt x="1502" y="491"/>
                  <a:pt x="1502" y="491"/>
                </a:cubicBezTo>
                <a:cubicBezTo>
                  <a:pt x="1502" y="491"/>
                  <a:pt x="1503" y="491"/>
                  <a:pt x="1503" y="491"/>
                </a:cubicBezTo>
                <a:cubicBezTo>
                  <a:pt x="1503" y="491"/>
                  <a:pt x="1503" y="490"/>
                  <a:pt x="1503" y="490"/>
                </a:cubicBezTo>
                <a:cubicBezTo>
                  <a:pt x="1503" y="490"/>
                  <a:pt x="1503" y="490"/>
                  <a:pt x="1503" y="490"/>
                </a:cubicBezTo>
                <a:cubicBezTo>
                  <a:pt x="1503" y="490"/>
                  <a:pt x="1503" y="490"/>
                  <a:pt x="1504" y="490"/>
                </a:cubicBezTo>
                <a:cubicBezTo>
                  <a:pt x="1504" y="490"/>
                  <a:pt x="1504" y="491"/>
                  <a:pt x="1504" y="491"/>
                </a:cubicBezTo>
                <a:cubicBezTo>
                  <a:pt x="1504" y="491"/>
                  <a:pt x="1504" y="491"/>
                  <a:pt x="1503" y="492"/>
                </a:cubicBezTo>
                <a:cubicBezTo>
                  <a:pt x="1503" y="492"/>
                  <a:pt x="1503" y="492"/>
                  <a:pt x="1502" y="492"/>
                </a:cubicBezTo>
                <a:cubicBezTo>
                  <a:pt x="1502" y="492"/>
                  <a:pt x="1502" y="492"/>
                  <a:pt x="1502" y="492"/>
                </a:cubicBezTo>
                <a:cubicBezTo>
                  <a:pt x="1502" y="492"/>
                  <a:pt x="1502" y="493"/>
                  <a:pt x="1502" y="493"/>
                </a:cubicBezTo>
                <a:cubicBezTo>
                  <a:pt x="1502" y="493"/>
                  <a:pt x="1502" y="494"/>
                  <a:pt x="1502" y="494"/>
                </a:cubicBezTo>
                <a:cubicBezTo>
                  <a:pt x="1502" y="494"/>
                  <a:pt x="1503" y="494"/>
                  <a:pt x="1503" y="493"/>
                </a:cubicBezTo>
                <a:cubicBezTo>
                  <a:pt x="1503" y="493"/>
                  <a:pt x="1503" y="493"/>
                  <a:pt x="1503" y="493"/>
                </a:cubicBezTo>
                <a:cubicBezTo>
                  <a:pt x="1503" y="494"/>
                  <a:pt x="1503" y="494"/>
                  <a:pt x="1504" y="494"/>
                </a:cubicBezTo>
                <a:cubicBezTo>
                  <a:pt x="1503" y="494"/>
                  <a:pt x="1503" y="494"/>
                  <a:pt x="1503" y="495"/>
                </a:cubicBezTo>
                <a:cubicBezTo>
                  <a:pt x="1503" y="495"/>
                  <a:pt x="1503" y="495"/>
                  <a:pt x="1504" y="495"/>
                </a:cubicBezTo>
                <a:cubicBezTo>
                  <a:pt x="1504" y="495"/>
                  <a:pt x="1504" y="495"/>
                  <a:pt x="1504" y="495"/>
                </a:cubicBezTo>
                <a:cubicBezTo>
                  <a:pt x="1505" y="495"/>
                  <a:pt x="1505" y="495"/>
                  <a:pt x="1505" y="496"/>
                </a:cubicBezTo>
                <a:cubicBezTo>
                  <a:pt x="1506" y="496"/>
                  <a:pt x="1506" y="496"/>
                  <a:pt x="1506" y="496"/>
                </a:cubicBezTo>
                <a:cubicBezTo>
                  <a:pt x="1506" y="495"/>
                  <a:pt x="1506" y="495"/>
                  <a:pt x="1506" y="495"/>
                </a:cubicBezTo>
                <a:cubicBezTo>
                  <a:pt x="1506" y="495"/>
                  <a:pt x="1507" y="495"/>
                  <a:pt x="1507" y="495"/>
                </a:cubicBezTo>
                <a:cubicBezTo>
                  <a:pt x="1507" y="495"/>
                  <a:pt x="1508" y="495"/>
                  <a:pt x="1508" y="495"/>
                </a:cubicBezTo>
                <a:cubicBezTo>
                  <a:pt x="1509" y="496"/>
                  <a:pt x="1509" y="496"/>
                  <a:pt x="1510" y="496"/>
                </a:cubicBezTo>
                <a:cubicBezTo>
                  <a:pt x="1510" y="497"/>
                  <a:pt x="1510" y="497"/>
                  <a:pt x="1510" y="497"/>
                </a:cubicBezTo>
                <a:cubicBezTo>
                  <a:pt x="1510" y="497"/>
                  <a:pt x="1511" y="498"/>
                  <a:pt x="1511" y="498"/>
                </a:cubicBezTo>
                <a:cubicBezTo>
                  <a:pt x="1511" y="498"/>
                  <a:pt x="1511" y="499"/>
                  <a:pt x="1511" y="499"/>
                </a:cubicBezTo>
                <a:cubicBezTo>
                  <a:pt x="1511" y="499"/>
                  <a:pt x="1512" y="499"/>
                  <a:pt x="1512" y="500"/>
                </a:cubicBezTo>
                <a:cubicBezTo>
                  <a:pt x="1512" y="499"/>
                  <a:pt x="1512" y="499"/>
                  <a:pt x="1512" y="498"/>
                </a:cubicBezTo>
                <a:cubicBezTo>
                  <a:pt x="1512" y="498"/>
                  <a:pt x="1511" y="497"/>
                  <a:pt x="1511" y="497"/>
                </a:cubicBezTo>
                <a:cubicBezTo>
                  <a:pt x="1511" y="497"/>
                  <a:pt x="1511" y="496"/>
                  <a:pt x="1512" y="496"/>
                </a:cubicBezTo>
                <a:cubicBezTo>
                  <a:pt x="1512" y="496"/>
                  <a:pt x="1512" y="497"/>
                  <a:pt x="1512" y="497"/>
                </a:cubicBezTo>
                <a:cubicBezTo>
                  <a:pt x="1512" y="497"/>
                  <a:pt x="1512" y="497"/>
                  <a:pt x="1512" y="497"/>
                </a:cubicBezTo>
                <a:cubicBezTo>
                  <a:pt x="1513" y="497"/>
                  <a:pt x="1513" y="497"/>
                  <a:pt x="1513" y="498"/>
                </a:cubicBezTo>
                <a:cubicBezTo>
                  <a:pt x="1513" y="498"/>
                  <a:pt x="1513" y="498"/>
                  <a:pt x="1513" y="499"/>
                </a:cubicBezTo>
                <a:cubicBezTo>
                  <a:pt x="1514" y="499"/>
                  <a:pt x="1514" y="499"/>
                  <a:pt x="1515" y="500"/>
                </a:cubicBezTo>
                <a:cubicBezTo>
                  <a:pt x="1515" y="500"/>
                  <a:pt x="1515" y="500"/>
                  <a:pt x="1515" y="500"/>
                </a:cubicBezTo>
                <a:cubicBezTo>
                  <a:pt x="1515" y="501"/>
                  <a:pt x="1514" y="501"/>
                  <a:pt x="1514" y="501"/>
                </a:cubicBezTo>
                <a:cubicBezTo>
                  <a:pt x="1515" y="501"/>
                  <a:pt x="1515" y="501"/>
                  <a:pt x="1515" y="501"/>
                </a:cubicBezTo>
                <a:cubicBezTo>
                  <a:pt x="1515" y="502"/>
                  <a:pt x="1515" y="502"/>
                  <a:pt x="1516" y="503"/>
                </a:cubicBezTo>
                <a:cubicBezTo>
                  <a:pt x="1516" y="503"/>
                  <a:pt x="1516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6" y="503"/>
                </a:cubicBezTo>
                <a:cubicBezTo>
                  <a:pt x="1517" y="504"/>
                  <a:pt x="1517" y="504"/>
                  <a:pt x="1517" y="504"/>
                </a:cubicBezTo>
                <a:cubicBezTo>
                  <a:pt x="1517" y="505"/>
                  <a:pt x="1517" y="505"/>
                  <a:pt x="1518" y="505"/>
                </a:cubicBezTo>
                <a:cubicBezTo>
                  <a:pt x="1518" y="505"/>
                  <a:pt x="1518" y="504"/>
                  <a:pt x="1518" y="504"/>
                </a:cubicBezTo>
                <a:cubicBezTo>
                  <a:pt x="1518" y="504"/>
                  <a:pt x="1518" y="504"/>
                  <a:pt x="1518" y="504"/>
                </a:cubicBezTo>
                <a:cubicBezTo>
                  <a:pt x="1519" y="504"/>
                  <a:pt x="1519" y="503"/>
                  <a:pt x="1519" y="503"/>
                </a:cubicBezTo>
                <a:cubicBezTo>
                  <a:pt x="1519" y="503"/>
                  <a:pt x="1519" y="503"/>
                  <a:pt x="1519" y="503"/>
                </a:cubicBezTo>
                <a:cubicBezTo>
                  <a:pt x="1518" y="503"/>
                  <a:pt x="1518" y="503"/>
                  <a:pt x="1518" y="503"/>
                </a:cubicBezTo>
                <a:cubicBezTo>
                  <a:pt x="1518" y="502"/>
                  <a:pt x="1517" y="502"/>
                  <a:pt x="1517" y="502"/>
                </a:cubicBezTo>
                <a:cubicBezTo>
                  <a:pt x="1517" y="502"/>
                  <a:pt x="1517" y="502"/>
                  <a:pt x="1516" y="502"/>
                </a:cubicBezTo>
                <a:cubicBezTo>
                  <a:pt x="1516" y="502"/>
                  <a:pt x="1516" y="501"/>
                  <a:pt x="1517" y="501"/>
                </a:cubicBezTo>
                <a:cubicBezTo>
                  <a:pt x="1516" y="501"/>
                  <a:pt x="1516" y="500"/>
                  <a:pt x="1516" y="500"/>
                </a:cubicBezTo>
                <a:cubicBezTo>
                  <a:pt x="1516" y="500"/>
                  <a:pt x="1516" y="499"/>
                  <a:pt x="1516" y="499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7" y="499"/>
                  <a:pt x="1517" y="500"/>
                </a:cubicBezTo>
                <a:cubicBezTo>
                  <a:pt x="1518" y="500"/>
                  <a:pt x="1518" y="500"/>
                  <a:pt x="1518" y="500"/>
                </a:cubicBezTo>
                <a:cubicBezTo>
                  <a:pt x="1518" y="500"/>
                  <a:pt x="1518" y="500"/>
                  <a:pt x="1518" y="499"/>
                </a:cubicBezTo>
                <a:cubicBezTo>
                  <a:pt x="1518" y="499"/>
                  <a:pt x="1517" y="499"/>
                  <a:pt x="1517" y="499"/>
                </a:cubicBezTo>
                <a:cubicBezTo>
                  <a:pt x="1517" y="498"/>
                  <a:pt x="1516" y="498"/>
                  <a:pt x="1516" y="498"/>
                </a:cubicBezTo>
                <a:cubicBezTo>
                  <a:pt x="1516" y="498"/>
                  <a:pt x="1516" y="498"/>
                  <a:pt x="1516" y="497"/>
                </a:cubicBezTo>
                <a:cubicBezTo>
                  <a:pt x="1516" y="497"/>
                  <a:pt x="1515" y="497"/>
                  <a:pt x="1515" y="497"/>
                </a:cubicBezTo>
                <a:cubicBezTo>
                  <a:pt x="1515" y="498"/>
                  <a:pt x="1515" y="498"/>
                  <a:pt x="1515" y="498"/>
                </a:cubicBezTo>
                <a:cubicBezTo>
                  <a:pt x="1515" y="498"/>
                  <a:pt x="1515" y="498"/>
                  <a:pt x="1514" y="498"/>
                </a:cubicBezTo>
                <a:cubicBezTo>
                  <a:pt x="1514" y="498"/>
                  <a:pt x="1514" y="498"/>
                  <a:pt x="1514" y="498"/>
                </a:cubicBezTo>
                <a:cubicBezTo>
                  <a:pt x="1514" y="497"/>
                  <a:pt x="1514" y="497"/>
                  <a:pt x="1514" y="497"/>
                </a:cubicBezTo>
                <a:cubicBezTo>
                  <a:pt x="1514" y="497"/>
                  <a:pt x="1514" y="496"/>
                  <a:pt x="1514" y="496"/>
                </a:cubicBezTo>
                <a:cubicBezTo>
                  <a:pt x="1514" y="496"/>
                  <a:pt x="1513" y="495"/>
                  <a:pt x="1513" y="495"/>
                </a:cubicBezTo>
                <a:cubicBezTo>
                  <a:pt x="1513" y="495"/>
                  <a:pt x="1512" y="495"/>
                  <a:pt x="1512" y="494"/>
                </a:cubicBezTo>
                <a:cubicBezTo>
                  <a:pt x="1512" y="495"/>
                  <a:pt x="1511" y="495"/>
                  <a:pt x="1511" y="495"/>
                </a:cubicBezTo>
                <a:cubicBezTo>
                  <a:pt x="1510" y="495"/>
                  <a:pt x="1510" y="495"/>
                  <a:pt x="1510" y="495"/>
                </a:cubicBezTo>
                <a:cubicBezTo>
                  <a:pt x="1510" y="495"/>
                  <a:pt x="1510" y="495"/>
                  <a:pt x="1509" y="495"/>
                </a:cubicBezTo>
                <a:cubicBezTo>
                  <a:pt x="1509" y="495"/>
                  <a:pt x="1509" y="495"/>
                  <a:pt x="1508" y="495"/>
                </a:cubicBezTo>
                <a:cubicBezTo>
                  <a:pt x="1508" y="494"/>
                  <a:pt x="1508" y="494"/>
                  <a:pt x="1508" y="494"/>
                </a:cubicBezTo>
                <a:cubicBezTo>
                  <a:pt x="1508" y="493"/>
                  <a:pt x="1508" y="493"/>
                  <a:pt x="1508" y="493"/>
                </a:cubicBezTo>
                <a:cubicBezTo>
                  <a:pt x="1508" y="493"/>
                  <a:pt x="1508" y="492"/>
                  <a:pt x="1508" y="492"/>
                </a:cubicBezTo>
                <a:cubicBezTo>
                  <a:pt x="1508" y="492"/>
                  <a:pt x="1508" y="492"/>
                  <a:pt x="1508" y="492"/>
                </a:cubicBezTo>
                <a:cubicBezTo>
                  <a:pt x="1508" y="492"/>
                  <a:pt x="1508" y="491"/>
                  <a:pt x="1508" y="491"/>
                </a:cubicBezTo>
                <a:cubicBezTo>
                  <a:pt x="1508" y="491"/>
                  <a:pt x="1508" y="491"/>
                  <a:pt x="1508" y="490"/>
                </a:cubicBezTo>
                <a:cubicBezTo>
                  <a:pt x="1508" y="490"/>
                  <a:pt x="1508" y="490"/>
                  <a:pt x="1507" y="490"/>
                </a:cubicBezTo>
                <a:cubicBezTo>
                  <a:pt x="1508" y="489"/>
                  <a:pt x="1508" y="489"/>
                  <a:pt x="1508" y="489"/>
                </a:cubicBezTo>
                <a:cubicBezTo>
                  <a:pt x="1508" y="489"/>
                  <a:pt x="1508" y="489"/>
                  <a:pt x="1509" y="489"/>
                </a:cubicBezTo>
                <a:cubicBezTo>
                  <a:pt x="1509" y="488"/>
                  <a:pt x="1509" y="488"/>
                  <a:pt x="1509" y="488"/>
                </a:cubicBezTo>
                <a:cubicBezTo>
                  <a:pt x="1509" y="488"/>
                  <a:pt x="1509" y="487"/>
                  <a:pt x="1509" y="487"/>
                </a:cubicBezTo>
                <a:cubicBezTo>
                  <a:pt x="1510" y="487"/>
                  <a:pt x="1511" y="487"/>
                  <a:pt x="1511" y="487"/>
                </a:cubicBezTo>
                <a:cubicBezTo>
                  <a:pt x="1511" y="487"/>
                  <a:pt x="1512" y="487"/>
                  <a:pt x="1512" y="487"/>
                </a:cubicBezTo>
                <a:cubicBezTo>
                  <a:pt x="1512" y="487"/>
                  <a:pt x="1512" y="487"/>
                  <a:pt x="1511" y="487"/>
                </a:cubicBezTo>
                <a:cubicBezTo>
                  <a:pt x="1511" y="487"/>
                  <a:pt x="1511" y="487"/>
                  <a:pt x="1511" y="487"/>
                </a:cubicBezTo>
                <a:cubicBezTo>
                  <a:pt x="1512" y="487"/>
                  <a:pt x="1512" y="487"/>
                  <a:pt x="1512" y="487"/>
                </a:cubicBezTo>
                <a:cubicBezTo>
                  <a:pt x="1512" y="487"/>
                  <a:pt x="1512" y="486"/>
                  <a:pt x="1513" y="486"/>
                </a:cubicBezTo>
                <a:cubicBezTo>
                  <a:pt x="1513" y="486"/>
                  <a:pt x="1513" y="485"/>
                  <a:pt x="1513" y="485"/>
                </a:cubicBezTo>
                <a:cubicBezTo>
                  <a:pt x="1514" y="485"/>
                  <a:pt x="1514" y="484"/>
                  <a:pt x="1515" y="484"/>
                </a:cubicBezTo>
                <a:cubicBezTo>
                  <a:pt x="1514" y="483"/>
                  <a:pt x="1514" y="483"/>
                  <a:pt x="1514" y="483"/>
                </a:cubicBezTo>
                <a:cubicBezTo>
                  <a:pt x="1514" y="483"/>
                  <a:pt x="1514" y="482"/>
                  <a:pt x="1514" y="482"/>
                </a:cubicBezTo>
                <a:cubicBezTo>
                  <a:pt x="1514" y="482"/>
                  <a:pt x="1514" y="482"/>
                  <a:pt x="1514" y="482"/>
                </a:cubicBezTo>
                <a:cubicBezTo>
                  <a:pt x="1514" y="481"/>
                  <a:pt x="1513" y="481"/>
                  <a:pt x="1513" y="480"/>
                </a:cubicBezTo>
                <a:cubicBezTo>
                  <a:pt x="1514" y="480"/>
                  <a:pt x="1514" y="479"/>
                  <a:pt x="1514" y="479"/>
                </a:cubicBezTo>
                <a:cubicBezTo>
                  <a:pt x="1514" y="479"/>
                  <a:pt x="1514" y="479"/>
                  <a:pt x="1515" y="479"/>
                </a:cubicBezTo>
                <a:cubicBezTo>
                  <a:pt x="1515" y="479"/>
                  <a:pt x="1515" y="478"/>
                  <a:pt x="1515" y="478"/>
                </a:cubicBezTo>
                <a:cubicBezTo>
                  <a:pt x="1515" y="478"/>
                  <a:pt x="1515" y="478"/>
                  <a:pt x="1515" y="477"/>
                </a:cubicBezTo>
                <a:cubicBezTo>
                  <a:pt x="1514" y="477"/>
                  <a:pt x="1514" y="477"/>
                  <a:pt x="1514" y="477"/>
                </a:cubicBezTo>
                <a:cubicBezTo>
                  <a:pt x="1514" y="478"/>
                  <a:pt x="1514" y="478"/>
                  <a:pt x="1514" y="478"/>
                </a:cubicBezTo>
                <a:cubicBezTo>
                  <a:pt x="1514" y="478"/>
                  <a:pt x="1513" y="478"/>
                  <a:pt x="1513" y="478"/>
                </a:cubicBezTo>
                <a:cubicBezTo>
                  <a:pt x="1513" y="478"/>
                  <a:pt x="1512" y="478"/>
                  <a:pt x="1512" y="477"/>
                </a:cubicBezTo>
                <a:cubicBezTo>
                  <a:pt x="1512" y="478"/>
                  <a:pt x="1511" y="478"/>
                  <a:pt x="1511" y="478"/>
                </a:cubicBezTo>
                <a:cubicBezTo>
                  <a:pt x="1511" y="477"/>
                  <a:pt x="1511" y="477"/>
                  <a:pt x="1511" y="477"/>
                </a:cubicBezTo>
                <a:cubicBezTo>
                  <a:pt x="1511" y="477"/>
                  <a:pt x="1510" y="477"/>
                  <a:pt x="1510" y="476"/>
                </a:cubicBezTo>
                <a:cubicBezTo>
                  <a:pt x="1510" y="476"/>
                  <a:pt x="1509" y="476"/>
                  <a:pt x="1508" y="475"/>
                </a:cubicBezTo>
                <a:cubicBezTo>
                  <a:pt x="1508" y="475"/>
                  <a:pt x="1507" y="475"/>
                  <a:pt x="1507" y="475"/>
                </a:cubicBezTo>
                <a:cubicBezTo>
                  <a:pt x="1507" y="475"/>
                  <a:pt x="1507" y="476"/>
                  <a:pt x="1507" y="476"/>
                </a:cubicBezTo>
                <a:cubicBezTo>
                  <a:pt x="1506" y="476"/>
                  <a:pt x="1506" y="477"/>
                  <a:pt x="1505" y="477"/>
                </a:cubicBezTo>
                <a:cubicBezTo>
                  <a:pt x="1505" y="477"/>
                  <a:pt x="1505" y="478"/>
                  <a:pt x="1505" y="478"/>
                </a:cubicBezTo>
                <a:cubicBezTo>
                  <a:pt x="1505" y="478"/>
                  <a:pt x="1505" y="479"/>
                  <a:pt x="1504" y="479"/>
                </a:cubicBezTo>
                <a:cubicBezTo>
                  <a:pt x="1504" y="480"/>
                  <a:pt x="1504" y="480"/>
                  <a:pt x="1503" y="481"/>
                </a:cubicBezTo>
                <a:cubicBezTo>
                  <a:pt x="1503" y="481"/>
                  <a:pt x="1503" y="481"/>
                  <a:pt x="1502" y="482"/>
                </a:cubicBezTo>
                <a:cubicBezTo>
                  <a:pt x="1503" y="482"/>
                  <a:pt x="1503" y="482"/>
                  <a:pt x="1503" y="483"/>
                </a:cubicBezTo>
                <a:cubicBezTo>
                  <a:pt x="1503" y="483"/>
                  <a:pt x="1503" y="483"/>
                  <a:pt x="1503" y="483"/>
                </a:cubicBezTo>
                <a:cubicBezTo>
                  <a:pt x="1502" y="483"/>
                  <a:pt x="1502" y="483"/>
                  <a:pt x="1502" y="483"/>
                </a:cubicBezTo>
                <a:cubicBezTo>
                  <a:pt x="1502" y="483"/>
                  <a:pt x="1501" y="483"/>
                  <a:pt x="1501" y="483"/>
                </a:cubicBezTo>
                <a:cubicBezTo>
                  <a:pt x="1501" y="483"/>
                  <a:pt x="1501" y="483"/>
                  <a:pt x="1501" y="482"/>
                </a:cubicBezTo>
                <a:cubicBezTo>
                  <a:pt x="1500" y="483"/>
                  <a:pt x="1500" y="483"/>
                  <a:pt x="1500" y="483"/>
                </a:cubicBezTo>
                <a:cubicBezTo>
                  <a:pt x="1500" y="483"/>
                  <a:pt x="1500" y="484"/>
                  <a:pt x="1500" y="484"/>
                </a:cubicBezTo>
                <a:cubicBezTo>
                  <a:pt x="1500" y="484"/>
                  <a:pt x="1500" y="484"/>
                  <a:pt x="1501" y="484"/>
                </a:cubicBezTo>
                <a:cubicBezTo>
                  <a:pt x="1501" y="484"/>
                  <a:pt x="1501" y="484"/>
                  <a:pt x="1501" y="484"/>
                </a:cubicBezTo>
                <a:cubicBezTo>
                  <a:pt x="1501" y="485"/>
                  <a:pt x="1500" y="485"/>
                  <a:pt x="1500" y="485"/>
                </a:cubicBezTo>
                <a:cubicBezTo>
                  <a:pt x="1500" y="485"/>
                  <a:pt x="1500" y="486"/>
                  <a:pt x="1500" y="486"/>
                </a:cubicBezTo>
                <a:cubicBezTo>
                  <a:pt x="1500" y="486"/>
                  <a:pt x="1500" y="487"/>
                  <a:pt x="1501" y="487"/>
                </a:cubicBezTo>
                <a:cubicBezTo>
                  <a:pt x="1500" y="488"/>
                  <a:pt x="1500" y="488"/>
                  <a:pt x="1500" y="488"/>
                </a:cubicBezTo>
                <a:cubicBezTo>
                  <a:pt x="1500" y="488"/>
                  <a:pt x="1500" y="489"/>
                  <a:pt x="1500" y="489"/>
                </a:cubicBezTo>
                <a:close/>
                <a:moveTo>
                  <a:pt x="1515" y="516"/>
                </a:moveTo>
                <a:cubicBezTo>
                  <a:pt x="1515" y="516"/>
                  <a:pt x="1516" y="516"/>
                  <a:pt x="1516" y="516"/>
                </a:cubicBezTo>
                <a:cubicBezTo>
                  <a:pt x="1516" y="516"/>
                  <a:pt x="1517" y="516"/>
                  <a:pt x="1517" y="516"/>
                </a:cubicBezTo>
                <a:cubicBezTo>
                  <a:pt x="1517" y="515"/>
                  <a:pt x="1517" y="515"/>
                  <a:pt x="1517" y="515"/>
                </a:cubicBezTo>
                <a:cubicBezTo>
                  <a:pt x="1517" y="515"/>
                  <a:pt x="1517" y="514"/>
                  <a:pt x="1517" y="514"/>
                </a:cubicBezTo>
                <a:cubicBezTo>
                  <a:pt x="1516" y="514"/>
                  <a:pt x="1516" y="514"/>
                  <a:pt x="1516" y="514"/>
                </a:cubicBezTo>
                <a:cubicBezTo>
                  <a:pt x="1515" y="514"/>
                  <a:pt x="1515" y="514"/>
                  <a:pt x="1514" y="514"/>
                </a:cubicBezTo>
                <a:cubicBezTo>
                  <a:pt x="1514" y="514"/>
                  <a:pt x="1514" y="514"/>
                  <a:pt x="1513" y="515"/>
                </a:cubicBezTo>
                <a:cubicBezTo>
                  <a:pt x="1513" y="515"/>
                  <a:pt x="1514" y="515"/>
                  <a:pt x="1514" y="515"/>
                </a:cubicBezTo>
                <a:cubicBezTo>
                  <a:pt x="1514" y="515"/>
                  <a:pt x="1514" y="515"/>
                  <a:pt x="1513" y="516"/>
                </a:cubicBezTo>
                <a:cubicBezTo>
                  <a:pt x="1514" y="516"/>
                  <a:pt x="1514" y="516"/>
                  <a:pt x="1515" y="516"/>
                </a:cubicBezTo>
                <a:close/>
                <a:moveTo>
                  <a:pt x="1518" y="512"/>
                </a:moveTo>
                <a:cubicBezTo>
                  <a:pt x="1518" y="512"/>
                  <a:pt x="1518" y="512"/>
                  <a:pt x="1518" y="512"/>
                </a:cubicBezTo>
                <a:cubicBezTo>
                  <a:pt x="1518" y="512"/>
                  <a:pt x="1519" y="512"/>
                  <a:pt x="1519" y="512"/>
                </a:cubicBezTo>
                <a:cubicBezTo>
                  <a:pt x="1519" y="512"/>
                  <a:pt x="1518" y="513"/>
                  <a:pt x="1518" y="513"/>
                </a:cubicBezTo>
                <a:cubicBezTo>
                  <a:pt x="1518" y="513"/>
                  <a:pt x="1518" y="514"/>
                  <a:pt x="1519" y="514"/>
                </a:cubicBezTo>
                <a:cubicBezTo>
                  <a:pt x="1518" y="514"/>
                  <a:pt x="1518" y="515"/>
                  <a:pt x="1518" y="515"/>
                </a:cubicBezTo>
                <a:cubicBezTo>
                  <a:pt x="1519" y="515"/>
                  <a:pt x="1519" y="515"/>
                  <a:pt x="1519" y="516"/>
                </a:cubicBezTo>
                <a:cubicBezTo>
                  <a:pt x="1519" y="515"/>
                  <a:pt x="1519" y="515"/>
                  <a:pt x="1519" y="515"/>
                </a:cubicBezTo>
                <a:cubicBezTo>
                  <a:pt x="1519" y="515"/>
                  <a:pt x="1520" y="515"/>
                  <a:pt x="1520" y="515"/>
                </a:cubicBezTo>
                <a:cubicBezTo>
                  <a:pt x="1520" y="515"/>
                  <a:pt x="1520" y="515"/>
                  <a:pt x="1521" y="515"/>
                </a:cubicBezTo>
                <a:cubicBezTo>
                  <a:pt x="1521" y="515"/>
                  <a:pt x="1521" y="515"/>
                  <a:pt x="1521" y="515"/>
                </a:cubicBezTo>
                <a:cubicBezTo>
                  <a:pt x="1521" y="515"/>
                  <a:pt x="1521" y="514"/>
                  <a:pt x="1520" y="514"/>
                </a:cubicBezTo>
                <a:cubicBezTo>
                  <a:pt x="1520" y="513"/>
                  <a:pt x="1520" y="513"/>
                  <a:pt x="1520" y="513"/>
                </a:cubicBezTo>
                <a:cubicBezTo>
                  <a:pt x="1520" y="513"/>
                  <a:pt x="1520" y="512"/>
                  <a:pt x="1520" y="512"/>
                </a:cubicBezTo>
                <a:cubicBezTo>
                  <a:pt x="1520" y="512"/>
                  <a:pt x="1520" y="511"/>
                  <a:pt x="1520" y="511"/>
                </a:cubicBezTo>
                <a:cubicBezTo>
                  <a:pt x="1520" y="511"/>
                  <a:pt x="1520" y="511"/>
                  <a:pt x="1520" y="511"/>
                </a:cubicBezTo>
                <a:cubicBezTo>
                  <a:pt x="1520" y="511"/>
                  <a:pt x="1519" y="510"/>
                  <a:pt x="1519" y="510"/>
                </a:cubicBezTo>
                <a:cubicBezTo>
                  <a:pt x="1519" y="510"/>
                  <a:pt x="1518" y="510"/>
                  <a:pt x="1518" y="510"/>
                </a:cubicBezTo>
                <a:cubicBezTo>
                  <a:pt x="1518" y="510"/>
                  <a:pt x="1518" y="510"/>
                  <a:pt x="1518" y="510"/>
                </a:cubicBezTo>
                <a:cubicBezTo>
                  <a:pt x="1518" y="510"/>
                  <a:pt x="1518" y="510"/>
                  <a:pt x="1518" y="510"/>
                </a:cubicBezTo>
                <a:cubicBezTo>
                  <a:pt x="1518" y="511"/>
                  <a:pt x="1517" y="511"/>
                  <a:pt x="1517" y="511"/>
                </a:cubicBezTo>
                <a:cubicBezTo>
                  <a:pt x="1517" y="511"/>
                  <a:pt x="1518" y="512"/>
                  <a:pt x="1518" y="512"/>
                </a:cubicBezTo>
                <a:close/>
                <a:moveTo>
                  <a:pt x="1520" y="517"/>
                </a:moveTo>
                <a:cubicBezTo>
                  <a:pt x="1520" y="517"/>
                  <a:pt x="1520" y="517"/>
                  <a:pt x="1521" y="517"/>
                </a:cubicBezTo>
                <a:cubicBezTo>
                  <a:pt x="1520" y="516"/>
                  <a:pt x="1520" y="516"/>
                  <a:pt x="1520" y="516"/>
                </a:cubicBezTo>
                <a:cubicBezTo>
                  <a:pt x="1520" y="516"/>
                  <a:pt x="1520" y="516"/>
                  <a:pt x="1520" y="516"/>
                </a:cubicBezTo>
                <a:cubicBezTo>
                  <a:pt x="1520" y="517"/>
                  <a:pt x="1520" y="517"/>
                  <a:pt x="1520" y="517"/>
                </a:cubicBezTo>
                <a:close/>
                <a:moveTo>
                  <a:pt x="1516" y="512"/>
                </a:moveTo>
                <a:cubicBezTo>
                  <a:pt x="1516" y="512"/>
                  <a:pt x="1516" y="512"/>
                  <a:pt x="1516" y="512"/>
                </a:cubicBezTo>
                <a:cubicBezTo>
                  <a:pt x="1517" y="512"/>
                  <a:pt x="1517" y="512"/>
                  <a:pt x="1517" y="512"/>
                </a:cubicBezTo>
                <a:cubicBezTo>
                  <a:pt x="1517" y="512"/>
                  <a:pt x="1516" y="512"/>
                  <a:pt x="1516" y="512"/>
                </a:cubicBezTo>
                <a:close/>
                <a:moveTo>
                  <a:pt x="1491" y="504"/>
                </a:moveTo>
                <a:cubicBezTo>
                  <a:pt x="1491" y="504"/>
                  <a:pt x="1491" y="504"/>
                  <a:pt x="1490" y="504"/>
                </a:cubicBezTo>
                <a:cubicBezTo>
                  <a:pt x="1490" y="504"/>
                  <a:pt x="1490" y="504"/>
                  <a:pt x="1489" y="505"/>
                </a:cubicBezTo>
                <a:cubicBezTo>
                  <a:pt x="1489" y="505"/>
                  <a:pt x="1489" y="505"/>
                  <a:pt x="1489" y="505"/>
                </a:cubicBezTo>
                <a:cubicBezTo>
                  <a:pt x="1489" y="505"/>
                  <a:pt x="1488" y="505"/>
                  <a:pt x="1488" y="505"/>
                </a:cubicBezTo>
                <a:cubicBezTo>
                  <a:pt x="1487" y="505"/>
                  <a:pt x="1487" y="506"/>
                  <a:pt x="1486" y="506"/>
                </a:cubicBezTo>
                <a:cubicBezTo>
                  <a:pt x="1486" y="506"/>
                  <a:pt x="1485" y="507"/>
                  <a:pt x="1485" y="507"/>
                </a:cubicBezTo>
                <a:cubicBezTo>
                  <a:pt x="1484" y="507"/>
                  <a:pt x="1484" y="507"/>
                  <a:pt x="1484" y="507"/>
                </a:cubicBezTo>
                <a:cubicBezTo>
                  <a:pt x="1483" y="507"/>
                  <a:pt x="1483" y="507"/>
                  <a:pt x="1483" y="507"/>
                </a:cubicBezTo>
                <a:cubicBezTo>
                  <a:pt x="1483" y="507"/>
                  <a:pt x="1482" y="507"/>
                  <a:pt x="1482" y="507"/>
                </a:cubicBezTo>
                <a:cubicBezTo>
                  <a:pt x="1482" y="508"/>
                  <a:pt x="1481" y="508"/>
                  <a:pt x="1480" y="508"/>
                </a:cubicBezTo>
                <a:cubicBezTo>
                  <a:pt x="1480" y="508"/>
                  <a:pt x="1480" y="508"/>
                  <a:pt x="1480" y="508"/>
                </a:cubicBezTo>
                <a:cubicBezTo>
                  <a:pt x="1480" y="508"/>
                  <a:pt x="1480" y="509"/>
                  <a:pt x="1480" y="509"/>
                </a:cubicBezTo>
                <a:cubicBezTo>
                  <a:pt x="1480" y="509"/>
                  <a:pt x="1481" y="508"/>
                  <a:pt x="1481" y="508"/>
                </a:cubicBezTo>
                <a:cubicBezTo>
                  <a:pt x="1481" y="508"/>
                  <a:pt x="1482" y="509"/>
                  <a:pt x="1482" y="509"/>
                </a:cubicBezTo>
                <a:cubicBezTo>
                  <a:pt x="1482" y="508"/>
                  <a:pt x="1482" y="508"/>
                  <a:pt x="1483" y="508"/>
                </a:cubicBezTo>
                <a:cubicBezTo>
                  <a:pt x="1483" y="508"/>
                  <a:pt x="1483" y="508"/>
                  <a:pt x="1484" y="508"/>
                </a:cubicBezTo>
                <a:cubicBezTo>
                  <a:pt x="1484" y="508"/>
                  <a:pt x="1485" y="508"/>
                  <a:pt x="1485" y="508"/>
                </a:cubicBezTo>
                <a:cubicBezTo>
                  <a:pt x="1486" y="508"/>
                  <a:pt x="1486" y="508"/>
                  <a:pt x="1486" y="508"/>
                </a:cubicBezTo>
                <a:cubicBezTo>
                  <a:pt x="1487" y="508"/>
                  <a:pt x="1487" y="507"/>
                  <a:pt x="1487" y="507"/>
                </a:cubicBezTo>
                <a:cubicBezTo>
                  <a:pt x="1487" y="507"/>
                  <a:pt x="1487" y="507"/>
                  <a:pt x="1488" y="507"/>
                </a:cubicBezTo>
                <a:cubicBezTo>
                  <a:pt x="1488" y="507"/>
                  <a:pt x="1488" y="507"/>
                  <a:pt x="1488" y="507"/>
                </a:cubicBezTo>
                <a:cubicBezTo>
                  <a:pt x="1488" y="506"/>
                  <a:pt x="1489" y="506"/>
                  <a:pt x="1489" y="506"/>
                </a:cubicBezTo>
                <a:cubicBezTo>
                  <a:pt x="1489" y="506"/>
                  <a:pt x="1489" y="505"/>
                  <a:pt x="1489" y="505"/>
                </a:cubicBezTo>
                <a:cubicBezTo>
                  <a:pt x="1490" y="506"/>
                  <a:pt x="1490" y="506"/>
                  <a:pt x="1491" y="506"/>
                </a:cubicBezTo>
                <a:cubicBezTo>
                  <a:pt x="1491" y="506"/>
                  <a:pt x="1491" y="505"/>
                  <a:pt x="1492" y="505"/>
                </a:cubicBezTo>
                <a:cubicBezTo>
                  <a:pt x="1492" y="505"/>
                  <a:pt x="1492" y="505"/>
                  <a:pt x="1492" y="505"/>
                </a:cubicBezTo>
                <a:cubicBezTo>
                  <a:pt x="1493" y="505"/>
                  <a:pt x="1493" y="505"/>
                  <a:pt x="1493" y="505"/>
                </a:cubicBezTo>
                <a:cubicBezTo>
                  <a:pt x="1493" y="505"/>
                  <a:pt x="1494" y="505"/>
                  <a:pt x="1494" y="505"/>
                </a:cubicBezTo>
                <a:cubicBezTo>
                  <a:pt x="1494" y="504"/>
                  <a:pt x="1494" y="504"/>
                  <a:pt x="1494" y="504"/>
                </a:cubicBezTo>
                <a:cubicBezTo>
                  <a:pt x="1493" y="503"/>
                  <a:pt x="1493" y="503"/>
                  <a:pt x="1493" y="503"/>
                </a:cubicBezTo>
                <a:cubicBezTo>
                  <a:pt x="1493" y="503"/>
                  <a:pt x="1493" y="502"/>
                  <a:pt x="1493" y="502"/>
                </a:cubicBezTo>
                <a:cubicBezTo>
                  <a:pt x="1494" y="502"/>
                  <a:pt x="1494" y="501"/>
                  <a:pt x="1494" y="501"/>
                </a:cubicBezTo>
                <a:cubicBezTo>
                  <a:pt x="1494" y="501"/>
                  <a:pt x="1493" y="501"/>
                  <a:pt x="1493" y="501"/>
                </a:cubicBezTo>
                <a:cubicBezTo>
                  <a:pt x="1493" y="501"/>
                  <a:pt x="1493" y="502"/>
                  <a:pt x="1493" y="502"/>
                </a:cubicBezTo>
                <a:cubicBezTo>
                  <a:pt x="1493" y="502"/>
                  <a:pt x="1493" y="503"/>
                  <a:pt x="1492" y="503"/>
                </a:cubicBezTo>
                <a:cubicBezTo>
                  <a:pt x="1492" y="503"/>
                  <a:pt x="1492" y="503"/>
                  <a:pt x="1492" y="503"/>
                </a:cubicBezTo>
                <a:cubicBezTo>
                  <a:pt x="1492" y="503"/>
                  <a:pt x="1492" y="503"/>
                  <a:pt x="1492" y="503"/>
                </a:cubicBezTo>
                <a:cubicBezTo>
                  <a:pt x="1492" y="504"/>
                  <a:pt x="1492" y="504"/>
                  <a:pt x="1492" y="504"/>
                </a:cubicBezTo>
                <a:cubicBezTo>
                  <a:pt x="1492" y="504"/>
                  <a:pt x="1491" y="504"/>
                  <a:pt x="1491" y="504"/>
                </a:cubicBezTo>
                <a:close/>
                <a:moveTo>
                  <a:pt x="1519" y="510"/>
                </a:moveTo>
                <a:cubicBezTo>
                  <a:pt x="1519" y="509"/>
                  <a:pt x="1519" y="509"/>
                  <a:pt x="1519" y="509"/>
                </a:cubicBezTo>
                <a:cubicBezTo>
                  <a:pt x="1519" y="509"/>
                  <a:pt x="1518" y="509"/>
                  <a:pt x="1518" y="509"/>
                </a:cubicBezTo>
                <a:cubicBezTo>
                  <a:pt x="1518" y="509"/>
                  <a:pt x="1518" y="509"/>
                  <a:pt x="1517" y="509"/>
                </a:cubicBezTo>
                <a:cubicBezTo>
                  <a:pt x="1518" y="509"/>
                  <a:pt x="1518" y="509"/>
                  <a:pt x="1518" y="509"/>
                </a:cubicBezTo>
                <a:cubicBezTo>
                  <a:pt x="1518" y="510"/>
                  <a:pt x="1518" y="510"/>
                  <a:pt x="1519" y="510"/>
                </a:cubicBezTo>
                <a:close/>
                <a:moveTo>
                  <a:pt x="1514" y="502"/>
                </a:moveTo>
                <a:cubicBezTo>
                  <a:pt x="1514" y="502"/>
                  <a:pt x="1514" y="502"/>
                  <a:pt x="1514" y="501"/>
                </a:cubicBezTo>
                <a:cubicBezTo>
                  <a:pt x="1514" y="501"/>
                  <a:pt x="1514" y="501"/>
                  <a:pt x="1513" y="500"/>
                </a:cubicBezTo>
                <a:cubicBezTo>
                  <a:pt x="1513" y="500"/>
                  <a:pt x="1513" y="500"/>
                  <a:pt x="1513" y="500"/>
                </a:cubicBezTo>
                <a:cubicBezTo>
                  <a:pt x="1513" y="500"/>
                  <a:pt x="1513" y="501"/>
                  <a:pt x="1513" y="501"/>
                </a:cubicBezTo>
                <a:cubicBezTo>
                  <a:pt x="1513" y="501"/>
                  <a:pt x="1513" y="502"/>
                  <a:pt x="1514" y="502"/>
                </a:cubicBezTo>
                <a:cubicBezTo>
                  <a:pt x="1514" y="502"/>
                  <a:pt x="1514" y="502"/>
                  <a:pt x="1514" y="502"/>
                </a:cubicBezTo>
                <a:close/>
                <a:moveTo>
                  <a:pt x="1521" y="506"/>
                </a:moveTo>
                <a:cubicBezTo>
                  <a:pt x="1521" y="506"/>
                  <a:pt x="1521" y="506"/>
                  <a:pt x="1521" y="506"/>
                </a:cubicBezTo>
                <a:cubicBezTo>
                  <a:pt x="1521" y="506"/>
                  <a:pt x="1520" y="505"/>
                  <a:pt x="1520" y="505"/>
                </a:cubicBezTo>
                <a:cubicBezTo>
                  <a:pt x="1520" y="505"/>
                  <a:pt x="1519" y="505"/>
                  <a:pt x="1519" y="505"/>
                </a:cubicBezTo>
                <a:cubicBezTo>
                  <a:pt x="1519" y="505"/>
                  <a:pt x="1519" y="505"/>
                  <a:pt x="1519" y="505"/>
                </a:cubicBezTo>
                <a:cubicBezTo>
                  <a:pt x="1519" y="505"/>
                  <a:pt x="1519" y="505"/>
                  <a:pt x="1519" y="505"/>
                </a:cubicBezTo>
                <a:cubicBezTo>
                  <a:pt x="1519" y="506"/>
                  <a:pt x="1519" y="506"/>
                  <a:pt x="1519" y="507"/>
                </a:cubicBezTo>
                <a:cubicBezTo>
                  <a:pt x="1519" y="507"/>
                  <a:pt x="1520" y="507"/>
                  <a:pt x="1520" y="508"/>
                </a:cubicBezTo>
                <a:cubicBezTo>
                  <a:pt x="1520" y="508"/>
                  <a:pt x="1520" y="509"/>
                  <a:pt x="1521" y="509"/>
                </a:cubicBezTo>
                <a:cubicBezTo>
                  <a:pt x="1521" y="509"/>
                  <a:pt x="1521" y="509"/>
                  <a:pt x="1521" y="510"/>
                </a:cubicBezTo>
                <a:cubicBezTo>
                  <a:pt x="1521" y="510"/>
                  <a:pt x="1521" y="510"/>
                  <a:pt x="1521" y="510"/>
                </a:cubicBezTo>
                <a:cubicBezTo>
                  <a:pt x="1521" y="510"/>
                  <a:pt x="1520" y="510"/>
                  <a:pt x="1520" y="510"/>
                </a:cubicBezTo>
                <a:cubicBezTo>
                  <a:pt x="1520" y="510"/>
                  <a:pt x="1520" y="510"/>
                  <a:pt x="1520" y="510"/>
                </a:cubicBezTo>
                <a:cubicBezTo>
                  <a:pt x="1520" y="510"/>
                  <a:pt x="1520" y="510"/>
                  <a:pt x="1520" y="510"/>
                </a:cubicBezTo>
                <a:cubicBezTo>
                  <a:pt x="1520" y="510"/>
                  <a:pt x="1520" y="510"/>
                  <a:pt x="1521" y="510"/>
                </a:cubicBezTo>
                <a:cubicBezTo>
                  <a:pt x="1521" y="511"/>
                  <a:pt x="1521" y="511"/>
                  <a:pt x="1521" y="511"/>
                </a:cubicBezTo>
                <a:cubicBezTo>
                  <a:pt x="1521" y="511"/>
                  <a:pt x="1521" y="511"/>
                  <a:pt x="1521" y="511"/>
                </a:cubicBezTo>
                <a:cubicBezTo>
                  <a:pt x="1521" y="512"/>
                  <a:pt x="1521" y="512"/>
                  <a:pt x="1521" y="512"/>
                </a:cubicBezTo>
                <a:cubicBezTo>
                  <a:pt x="1522" y="512"/>
                  <a:pt x="1522" y="512"/>
                  <a:pt x="1523" y="513"/>
                </a:cubicBezTo>
                <a:cubicBezTo>
                  <a:pt x="1523" y="513"/>
                  <a:pt x="1523" y="513"/>
                  <a:pt x="1523" y="513"/>
                </a:cubicBezTo>
                <a:cubicBezTo>
                  <a:pt x="1523" y="513"/>
                  <a:pt x="1523" y="513"/>
                  <a:pt x="1523" y="513"/>
                </a:cubicBezTo>
                <a:cubicBezTo>
                  <a:pt x="1524" y="513"/>
                  <a:pt x="1524" y="513"/>
                  <a:pt x="1524" y="513"/>
                </a:cubicBezTo>
                <a:cubicBezTo>
                  <a:pt x="1524" y="513"/>
                  <a:pt x="1524" y="513"/>
                  <a:pt x="1524" y="512"/>
                </a:cubicBezTo>
                <a:cubicBezTo>
                  <a:pt x="1524" y="512"/>
                  <a:pt x="1524" y="512"/>
                  <a:pt x="1524" y="512"/>
                </a:cubicBezTo>
                <a:cubicBezTo>
                  <a:pt x="1523" y="511"/>
                  <a:pt x="1523" y="511"/>
                  <a:pt x="1523" y="511"/>
                </a:cubicBezTo>
                <a:cubicBezTo>
                  <a:pt x="1523" y="511"/>
                  <a:pt x="1523" y="510"/>
                  <a:pt x="1524" y="510"/>
                </a:cubicBezTo>
                <a:cubicBezTo>
                  <a:pt x="1524" y="510"/>
                  <a:pt x="1524" y="509"/>
                  <a:pt x="1524" y="509"/>
                </a:cubicBezTo>
                <a:cubicBezTo>
                  <a:pt x="1524" y="509"/>
                  <a:pt x="1524" y="509"/>
                  <a:pt x="1524" y="509"/>
                </a:cubicBezTo>
                <a:cubicBezTo>
                  <a:pt x="1524" y="508"/>
                  <a:pt x="1524" y="508"/>
                  <a:pt x="1524" y="508"/>
                </a:cubicBezTo>
                <a:cubicBezTo>
                  <a:pt x="1524" y="508"/>
                  <a:pt x="1524" y="507"/>
                  <a:pt x="1523" y="507"/>
                </a:cubicBezTo>
                <a:cubicBezTo>
                  <a:pt x="1523" y="507"/>
                  <a:pt x="1523" y="507"/>
                  <a:pt x="1523" y="506"/>
                </a:cubicBezTo>
                <a:cubicBezTo>
                  <a:pt x="1523" y="506"/>
                  <a:pt x="1523" y="506"/>
                  <a:pt x="1523" y="506"/>
                </a:cubicBezTo>
                <a:cubicBezTo>
                  <a:pt x="1522" y="506"/>
                  <a:pt x="1522" y="506"/>
                  <a:pt x="1522" y="506"/>
                </a:cubicBezTo>
                <a:cubicBezTo>
                  <a:pt x="1522" y="506"/>
                  <a:pt x="1522" y="506"/>
                  <a:pt x="1522" y="506"/>
                </a:cubicBezTo>
                <a:cubicBezTo>
                  <a:pt x="1522" y="506"/>
                  <a:pt x="1521" y="506"/>
                  <a:pt x="1521" y="506"/>
                </a:cubicBezTo>
                <a:close/>
                <a:moveTo>
                  <a:pt x="1520" y="499"/>
                </a:moveTo>
                <a:cubicBezTo>
                  <a:pt x="1520" y="499"/>
                  <a:pt x="1520" y="499"/>
                  <a:pt x="1520" y="499"/>
                </a:cubicBezTo>
                <a:cubicBezTo>
                  <a:pt x="1520" y="499"/>
                  <a:pt x="1520" y="499"/>
                  <a:pt x="1519" y="500"/>
                </a:cubicBezTo>
                <a:cubicBezTo>
                  <a:pt x="1519" y="500"/>
                  <a:pt x="1519" y="500"/>
                  <a:pt x="1519" y="500"/>
                </a:cubicBezTo>
                <a:cubicBezTo>
                  <a:pt x="1519" y="500"/>
                  <a:pt x="1519" y="500"/>
                  <a:pt x="1519" y="500"/>
                </a:cubicBezTo>
                <a:cubicBezTo>
                  <a:pt x="1519" y="500"/>
                  <a:pt x="1519" y="501"/>
                  <a:pt x="1519" y="501"/>
                </a:cubicBezTo>
                <a:cubicBezTo>
                  <a:pt x="1519" y="501"/>
                  <a:pt x="1520" y="501"/>
                  <a:pt x="1520" y="501"/>
                </a:cubicBezTo>
                <a:cubicBezTo>
                  <a:pt x="1520" y="501"/>
                  <a:pt x="1521" y="501"/>
                  <a:pt x="1521" y="500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20" y="499"/>
                  <a:pt x="1520" y="499"/>
                  <a:pt x="1520" y="499"/>
                </a:cubicBezTo>
                <a:close/>
                <a:moveTo>
                  <a:pt x="1511" y="492"/>
                </a:moveTo>
                <a:cubicBezTo>
                  <a:pt x="1511" y="492"/>
                  <a:pt x="1511" y="491"/>
                  <a:pt x="1511" y="491"/>
                </a:cubicBezTo>
                <a:cubicBezTo>
                  <a:pt x="1511" y="491"/>
                  <a:pt x="1511" y="491"/>
                  <a:pt x="1511" y="491"/>
                </a:cubicBezTo>
                <a:cubicBezTo>
                  <a:pt x="1510" y="491"/>
                  <a:pt x="1510" y="491"/>
                  <a:pt x="1509" y="491"/>
                </a:cubicBezTo>
                <a:cubicBezTo>
                  <a:pt x="1509" y="491"/>
                  <a:pt x="1509" y="492"/>
                  <a:pt x="1509" y="492"/>
                </a:cubicBezTo>
                <a:cubicBezTo>
                  <a:pt x="1509" y="492"/>
                  <a:pt x="1509" y="492"/>
                  <a:pt x="1509" y="492"/>
                </a:cubicBezTo>
                <a:cubicBezTo>
                  <a:pt x="1509" y="492"/>
                  <a:pt x="1509" y="493"/>
                  <a:pt x="1509" y="493"/>
                </a:cubicBezTo>
                <a:cubicBezTo>
                  <a:pt x="1510" y="493"/>
                  <a:pt x="1510" y="493"/>
                  <a:pt x="1510" y="493"/>
                </a:cubicBezTo>
                <a:cubicBezTo>
                  <a:pt x="1510" y="492"/>
                  <a:pt x="1510" y="492"/>
                  <a:pt x="1511" y="492"/>
                </a:cubicBezTo>
                <a:close/>
                <a:moveTo>
                  <a:pt x="1509" y="495"/>
                </a:moveTo>
                <a:cubicBezTo>
                  <a:pt x="1509" y="495"/>
                  <a:pt x="1510" y="495"/>
                  <a:pt x="1510" y="495"/>
                </a:cubicBezTo>
                <a:cubicBezTo>
                  <a:pt x="1510" y="495"/>
                  <a:pt x="1510" y="495"/>
                  <a:pt x="1510" y="494"/>
                </a:cubicBezTo>
                <a:cubicBezTo>
                  <a:pt x="1510" y="494"/>
                  <a:pt x="1509" y="494"/>
                  <a:pt x="1509" y="494"/>
                </a:cubicBezTo>
                <a:cubicBezTo>
                  <a:pt x="1509" y="494"/>
                  <a:pt x="1509" y="494"/>
                  <a:pt x="1509" y="495"/>
                </a:cubicBezTo>
                <a:close/>
                <a:moveTo>
                  <a:pt x="1513" y="476"/>
                </a:moveTo>
                <a:cubicBezTo>
                  <a:pt x="1514" y="476"/>
                  <a:pt x="1514" y="476"/>
                  <a:pt x="1514" y="476"/>
                </a:cubicBezTo>
                <a:cubicBezTo>
                  <a:pt x="1514" y="476"/>
                  <a:pt x="1514" y="475"/>
                  <a:pt x="1514" y="475"/>
                </a:cubicBezTo>
                <a:cubicBezTo>
                  <a:pt x="1514" y="475"/>
                  <a:pt x="1513" y="475"/>
                  <a:pt x="1513" y="475"/>
                </a:cubicBezTo>
                <a:cubicBezTo>
                  <a:pt x="1513" y="476"/>
                  <a:pt x="1513" y="476"/>
                  <a:pt x="1513" y="476"/>
                </a:cubicBezTo>
                <a:close/>
                <a:moveTo>
                  <a:pt x="1509" y="498"/>
                </a:moveTo>
                <a:cubicBezTo>
                  <a:pt x="1509" y="498"/>
                  <a:pt x="1509" y="498"/>
                  <a:pt x="1509" y="498"/>
                </a:cubicBezTo>
                <a:cubicBezTo>
                  <a:pt x="1509" y="498"/>
                  <a:pt x="1509" y="497"/>
                  <a:pt x="1509" y="497"/>
                </a:cubicBezTo>
                <a:cubicBezTo>
                  <a:pt x="1509" y="497"/>
                  <a:pt x="1509" y="497"/>
                  <a:pt x="1508" y="497"/>
                </a:cubicBezTo>
                <a:cubicBezTo>
                  <a:pt x="1508" y="497"/>
                  <a:pt x="1508" y="497"/>
                  <a:pt x="1508" y="497"/>
                </a:cubicBezTo>
                <a:cubicBezTo>
                  <a:pt x="1508" y="497"/>
                  <a:pt x="1508" y="497"/>
                  <a:pt x="1508" y="497"/>
                </a:cubicBezTo>
                <a:cubicBezTo>
                  <a:pt x="1508" y="498"/>
                  <a:pt x="1508" y="498"/>
                  <a:pt x="1508" y="498"/>
                </a:cubicBezTo>
                <a:cubicBezTo>
                  <a:pt x="1509" y="498"/>
                  <a:pt x="1509" y="498"/>
                  <a:pt x="1509" y="498"/>
                </a:cubicBezTo>
                <a:close/>
                <a:moveTo>
                  <a:pt x="1512" y="473"/>
                </a:moveTo>
                <a:cubicBezTo>
                  <a:pt x="1512" y="473"/>
                  <a:pt x="1512" y="473"/>
                  <a:pt x="1512" y="473"/>
                </a:cubicBezTo>
                <a:cubicBezTo>
                  <a:pt x="1512" y="473"/>
                  <a:pt x="1512" y="473"/>
                  <a:pt x="1512" y="473"/>
                </a:cubicBezTo>
                <a:cubicBezTo>
                  <a:pt x="1512" y="473"/>
                  <a:pt x="1512" y="473"/>
                  <a:pt x="1512" y="473"/>
                </a:cubicBezTo>
                <a:close/>
                <a:moveTo>
                  <a:pt x="1499" y="492"/>
                </a:moveTo>
                <a:cubicBezTo>
                  <a:pt x="1499" y="493"/>
                  <a:pt x="1499" y="493"/>
                  <a:pt x="1499" y="493"/>
                </a:cubicBezTo>
                <a:cubicBezTo>
                  <a:pt x="1500" y="493"/>
                  <a:pt x="1500" y="493"/>
                  <a:pt x="1500" y="494"/>
                </a:cubicBezTo>
                <a:cubicBezTo>
                  <a:pt x="1500" y="494"/>
                  <a:pt x="1500" y="494"/>
                  <a:pt x="1501" y="494"/>
                </a:cubicBezTo>
                <a:cubicBezTo>
                  <a:pt x="1500" y="493"/>
                  <a:pt x="1500" y="493"/>
                  <a:pt x="1500" y="493"/>
                </a:cubicBezTo>
                <a:cubicBezTo>
                  <a:pt x="1500" y="493"/>
                  <a:pt x="1499" y="492"/>
                  <a:pt x="1499" y="492"/>
                </a:cubicBezTo>
                <a:close/>
                <a:moveTo>
                  <a:pt x="1511" y="475"/>
                </a:moveTo>
                <a:cubicBezTo>
                  <a:pt x="1511" y="475"/>
                  <a:pt x="1510" y="475"/>
                  <a:pt x="1510" y="475"/>
                </a:cubicBezTo>
                <a:cubicBezTo>
                  <a:pt x="1510" y="475"/>
                  <a:pt x="1510" y="475"/>
                  <a:pt x="1510" y="475"/>
                </a:cubicBezTo>
                <a:cubicBezTo>
                  <a:pt x="1511" y="475"/>
                  <a:pt x="1511" y="475"/>
                  <a:pt x="1511" y="475"/>
                </a:cubicBezTo>
                <a:close/>
                <a:moveTo>
                  <a:pt x="1498" y="499"/>
                </a:moveTo>
                <a:cubicBezTo>
                  <a:pt x="1497" y="499"/>
                  <a:pt x="1497" y="499"/>
                  <a:pt x="1497" y="498"/>
                </a:cubicBezTo>
                <a:cubicBezTo>
                  <a:pt x="1497" y="498"/>
                  <a:pt x="1497" y="498"/>
                  <a:pt x="1496" y="498"/>
                </a:cubicBezTo>
                <a:cubicBezTo>
                  <a:pt x="1496" y="498"/>
                  <a:pt x="1496" y="498"/>
                  <a:pt x="1496" y="498"/>
                </a:cubicBezTo>
                <a:cubicBezTo>
                  <a:pt x="1496" y="498"/>
                  <a:pt x="1496" y="499"/>
                  <a:pt x="1496" y="499"/>
                </a:cubicBezTo>
                <a:cubicBezTo>
                  <a:pt x="1496" y="499"/>
                  <a:pt x="1496" y="499"/>
                  <a:pt x="1497" y="499"/>
                </a:cubicBezTo>
                <a:cubicBezTo>
                  <a:pt x="1497" y="499"/>
                  <a:pt x="1497" y="500"/>
                  <a:pt x="1497" y="500"/>
                </a:cubicBezTo>
                <a:cubicBezTo>
                  <a:pt x="1498" y="500"/>
                  <a:pt x="1498" y="500"/>
                  <a:pt x="1498" y="500"/>
                </a:cubicBezTo>
                <a:cubicBezTo>
                  <a:pt x="1498" y="500"/>
                  <a:pt x="1498" y="500"/>
                  <a:pt x="1499" y="500"/>
                </a:cubicBezTo>
                <a:cubicBezTo>
                  <a:pt x="1499" y="500"/>
                  <a:pt x="1499" y="500"/>
                  <a:pt x="1499" y="499"/>
                </a:cubicBezTo>
                <a:cubicBezTo>
                  <a:pt x="1498" y="499"/>
                  <a:pt x="1498" y="499"/>
                  <a:pt x="1498" y="499"/>
                </a:cubicBezTo>
                <a:close/>
                <a:moveTo>
                  <a:pt x="1477" y="528"/>
                </a:moveTo>
                <a:cubicBezTo>
                  <a:pt x="1476" y="527"/>
                  <a:pt x="1476" y="527"/>
                  <a:pt x="1476" y="527"/>
                </a:cubicBezTo>
                <a:cubicBezTo>
                  <a:pt x="1476" y="527"/>
                  <a:pt x="1476" y="528"/>
                  <a:pt x="1476" y="528"/>
                </a:cubicBezTo>
                <a:cubicBezTo>
                  <a:pt x="1477" y="528"/>
                  <a:pt x="1477" y="528"/>
                  <a:pt x="1477" y="528"/>
                </a:cubicBezTo>
                <a:close/>
                <a:moveTo>
                  <a:pt x="1477" y="526"/>
                </a:move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lose/>
                <a:moveTo>
                  <a:pt x="1521" y="589"/>
                </a:moveTo>
                <a:cubicBezTo>
                  <a:pt x="1521" y="589"/>
                  <a:pt x="1521" y="590"/>
                  <a:pt x="1521" y="590"/>
                </a:cubicBezTo>
                <a:cubicBezTo>
                  <a:pt x="1521" y="590"/>
                  <a:pt x="1521" y="589"/>
                  <a:pt x="1521" y="589"/>
                </a:cubicBezTo>
                <a:cubicBezTo>
                  <a:pt x="1521" y="589"/>
                  <a:pt x="1521" y="589"/>
                  <a:pt x="1521" y="589"/>
                </a:cubicBezTo>
                <a:close/>
                <a:moveTo>
                  <a:pt x="1478" y="526"/>
                </a:moveTo>
                <a:cubicBezTo>
                  <a:pt x="1478" y="526"/>
                  <a:pt x="1478" y="526"/>
                  <a:pt x="1478" y="526"/>
                </a:cubicBezTo>
                <a:cubicBezTo>
                  <a:pt x="1478" y="526"/>
                  <a:pt x="1477" y="526"/>
                  <a:pt x="1477" y="525"/>
                </a:cubicBezTo>
                <a:cubicBezTo>
                  <a:pt x="1477" y="525"/>
                  <a:pt x="1477" y="525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8" y="526"/>
                  <a:pt x="1478" y="526"/>
                </a:cubicBezTo>
                <a:close/>
                <a:moveTo>
                  <a:pt x="1521" y="541"/>
                </a:moveTo>
                <a:cubicBezTo>
                  <a:pt x="1521" y="540"/>
                  <a:pt x="1521" y="540"/>
                  <a:pt x="1521" y="540"/>
                </a:cubicBezTo>
                <a:cubicBezTo>
                  <a:pt x="1521" y="540"/>
                  <a:pt x="1520" y="540"/>
                  <a:pt x="1520" y="539"/>
                </a:cubicBezTo>
                <a:cubicBezTo>
                  <a:pt x="1520" y="539"/>
                  <a:pt x="1520" y="540"/>
                  <a:pt x="1520" y="540"/>
                </a:cubicBezTo>
                <a:cubicBezTo>
                  <a:pt x="1520" y="540"/>
                  <a:pt x="1520" y="540"/>
                  <a:pt x="1520" y="540"/>
                </a:cubicBezTo>
                <a:cubicBezTo>
                  <a:pt x="1520" y="541"/>
                  <a:pt x="1520" y="541"/>
                  <a:pt x="1519" y="541"/>
                </a:cubicBezTo>
                <a:cubicBezTo>
                  <a:pt x="1520" y="541"/>
                  <a:pt x="1520" y="541"/>
                  <a:pt x="1520" y="541"/>
                </a:cubicBezTo>
                <a:cubicBezTo>
                  <a:pt x="1520" y="541"/>
                  <a:pt x="1520" y="541"/>
                  <a:pt x="1521" y="541"/>
                </a:cubicBezTo>
                <a:close/>
                <a:moveTo>
                  <a:pt x="1486" y="526"/>
                </a:moveTo>
                <a:cubicBezTo>
                  <a:pt x="1486" y="526"/>
                  <a:pt x="1486" y="526"/>
                  <a:pt x="1486" y="525"/>
                </a:cubicBezTo>
                <a:cubicBezTo>
                  <a:pt x="1486" y="526"/>
                  <a:pt x="1486" y="526"/>
                  <a:pt x="1486" y="526"/>
                </a:cubicBezTo>
                <a:cubicBezTo>
                  <a:pt x="1486" y="526"/>
                  <a:pt x="1486" y="526"/>
                  <a:pt x="1486" y="527"/>
                </a:cubicBezTo>
                <a:cubicBezTo>
                  <a:pt x="1486" y="526"/>
                  <a:pt x="1486" y="526"/>
                  <a:pt x="1486" y="526"/>
                </a:cubicBezTo>
                <a:close/>
                <a:moveTo>
                  <a:pt x="1500" y="583"/>
                </a:moveTo>
                <a:cubicBezTo>
                  <a:pt x="1500" y="583"/>
                  <a:pt x="1500" y="583"/>
                  <a:pt x="1500" y="584"/>
                </a:cubicBezTo>
                <a:cubicBezTo>
                  <a:pt x="1500" y="583"/>
                  <a:pt x="1500" y="583"/>
                  <a:pt x="1501" y="583"/>
                </a:cubicBezTo>
                <a:cubicBezTo>
                  <a:pt x="1501" y="583"/>
                  <a:pt x="1501" y="583"/>
                  <a:pt x="1501" y="583"/>
                </a:cubicBezTo>
                <a:cubicBezTo>
                  <a:pt x="1502" y="583"/>
                  <a:pt x="1502" y="583"/>
                  <a:pt x="1502" y="583"/>
                </a:cubicBezTo>
                <a:cubicBezTo>
                  <a:pt x="1502" y="583"/>
                  <a:pt x="1502" y="583"/>
                  <a:pt x="1502" y="583"/>
                </a:cubicBezTo>
                <a:cubicBezTo>
                  <a:pt x="1502" y="583"/>
                  <a:pt x="1502" y="582"/>
                  <a:pt x="1502" y="582"/>
                </a:cubicBezTo>
                <a:cubicBezTo>
                  <a:pt x="1501" y="582"/>
                  <a:pt x="1501" y="582"/>
                  <a:pt x="1501" y="582"/>
                </a:cubicBezTo>
                <a:cubicBezTo>
                  <a:pt x="1500" y="582"/>
                  <a:pt x="1500" y="582"/>
                  <a:pt x="1499" y="582"/>
                </a:cubicBezTo>
                <a:cubicBezTo>
                  <a:pt x="1499" y="582"/>
                  <a:pt x="1499" y="582"/>
                  <a:pt x="1499" y="581"/>
                </a:cubicBezTo>
                <a:cubicBezTo>
                  <a:pt x="1498" y="581"/>
                  <a:pt x="1498" y="581"/>
                  <a:pt x="1498" y="581"/>
                </a:cubicBezTo>
                <a:cubicBezTo>
                  <a:pt x="1498" y="582"/>
                  <a:pt x="1498" y="582"/>
                  <a:pt x="1497" y="582"/>
                </a:cubicBezTo>
                <a:cubicBezTo>
                  <a:pt x="1497" y="582"/>
                  <a:pt x="1497" y="582"/>
                  <a:pt x="1497" y="582"/>
                </a:cubicBezTo>
                <a:cubicBezTo>
                  <a:pt x="1498" y="582"/>
                  <a:pt x="1498" y="582"/>
                  <a:pt x="1499" y="582"/>
                </a:cubicBezTo>
                <a:cubicBezTo>
                  <a:pt x="1499" y="583"/>
                  <a:pt x="1499" y="583"/>
                  <a:pt x="1500" y="583"/>
                </a:cubicBezTo>
                <a:close/>
                <a:moveTo>
                  <a:pt x="1489" y="526"/>
                </a:moveTo>
                <a:cubicBezTo>
                  <a:pt x="1489" y="526"/>
                  <a:pt x="1490" y="526"/>
                  <a:pt x="1490" y="526"/>
                </a:cubicBezTo>
                <a:cubicBezTo>
                  <a:pt x="1490" y="525"/>
                  <a:pt x="1490" y="525"/>
                  <a:pt x="1490" y="525"/>
                </a:cubicBezTo>
                <a:cubicBezTo>
                  <a:pt x="1490" y="525"/>
                  <a:pt x="1490" y="525"/>
                  <a:pt x="1490" y="525"/>
                </a:cubicBezTo>
                <a:cubicBezTo>
                  <a:pt x="1489" y="525"/>
                  <a:pt x="1488" y="525"/>
                  <a:pt x="1488" y="525"/>
                </a:cubicBezTo>
                <a:cubicBezTo>
                  <a:pt x="1488" y="525"/>
                  <a:pt x="1488" y="525"/>
                  <a:pt x="1488" y="526"/>
                </a:cubicBezTo>
                <a:cubicBezTo>
                  <a:pt x="1488" y="526"/>
                  <a:pt x="1489" y="526"/>
                  <a:pt x="1489" y="526"/>
                </a:cubicBezTo>
                <a:close/>
                <a:moveTo>
                  <a:pt x="1510" y="569"/>
                </a:moveTo>
                <a:cubicBezTo>
                  <a:pt x="1510" y="570"/>
                  <a:pt x="1510" y="570"/>
                  <a:pt x="1511" y="570"/>
                </a:cubicBezTo>
                <a:cubicBezTo>
                  <a:pt x="1511" y="570"/>
                  <a:pt x="1511" y="569"/>
                  <a:pt x="1511" y="569"/>
                </a:cubicBezTo>
                <a:cubicBezTo>
                  <a:pt x="1511" y="569"/>
                  <a:pt x="1511" y="569"/>
                  <a:pt x="1510" y="568"/>
                </a:cubicBezTo>
                <a:cubicBezTo>
                  <a:pt x="1510" y="568"/>
                  <a:pt x="1511" y="568"/>
                  <a:pt x="1511" y="568"/>
                </a:cubicBezTo>
                <a:cubicBezTo>
                  <a:pt x="1510" y="568"/>
                  <a:pt x="1510" y="567"/>
                  <a:pt x="1509" y="567"/>
                </a:cubicBezTo>
                <a:cubicBezTo>
                  <a:pt x="1509" y="567"/>
                  <a:pt x="1508" y="567"/>
                  <a:pt x="1508" y="566"/>
                </a:cubicBezTo>
                <a:cubicBezTo>
                  <a:pt x="1507" y="566"/>
                  <a:pt x="1507" y="566"/>
                  <a:pt x="1507" y="567"/>
                </a:cubicBezTo>
                <a:cubicBezTo>
                  <a:pt x="1507" y="566"/>
                  <a:pt x="1506" y="566"/>
                  <a:pt x="1506" y="566"/>
                </a:cubicBezTo>
                <a:cubicBezTo>
                  <a:pt x="1506" y="566"/>
                  <a:pt x="1505" y="566"/>
                  <a:pt x="1505" y="566"/>
                </a:cubicBezTo>
                <a:cubicBezTo>
                  <a:pt x="1505" y="566"/>
                  <a:pt x="1505" y="567"/>
                  <a:pt x="1505" y="567"/>
                </a:cubicBezTo>
                <a:cubicBezTo>
                  <a:pt x="1505" y="567"/>
                  <a:pt x="1505" y="568"/>
                  <a:pt x="1505" y="568"/>
                </a:cubicBezTo>
                <a:cubicBezTo>
                  <a:pt x="1506" y="568"/>
                  <a:pt x="1506" y="568"/>
                  <a:pt x="1506" y="569"/>
                </a:cubicBezTo>
                <a:cubicBezTo>
                  <a:pt x="1506" y="569"/>
                  <a:pt x="1507" y="569"/>
                  <a:pt x="1507" y="569"/>
                </a:cubicBezTo>
                <a:cubicBezTo>
                  <a:pt x="1507" y="569"/>
                  <a:pt x="1507" y="569"/>
                  <a:pt x="1508" y="569"/>
                </a:cubicBezTo>
                <a:cubicBezTo>
                  <a:pt x="1508" y="569"/>
                  <a:pt x="1508" y="570"/>
                  <a:pt x="1509" y="570"/>
                </a:cubicBezTo>
                <a:cubicBezTo>
                  <a:pt x="1509" y="570"/>
                  <a:pt x="1510" y="570"/>
                  <a:pt x="1510" y="569"/>
                </a:cubicBezTo>
                <a:close/>
                <a:moveTo>
                  <a:pt x="1513" y="540"/>
                </a:moveTo>
                <a:cubicBezTo>
                  <a:pt x="1513" y="540"/>
                  <a:pt x="1513" y="540"/>
                  <a:pt x="1513" y="540"/>
                </a:cubicBezTo>
                <a:cubicBezTo>
                  <a:pt x="1513" y="541"/>
                  <a:pt x="1513" y="541"/>
                  <a:pt x="1512" y="541"/>
                </a:cubicBezTo>
                <a:cubicBezTo>
                  <a:pt x="1513" y="542"/>
                  <a:pt x="1513" y="542"/>
                  <a:pt x="1513" y="542"/>
                </a:cubicBezTo>
                <a:cubicBezTo>
                  <a:pt x="1513" y="542"/>
                  <a:pt x="1513" y="542"/>
                  <a:pt x="1514" y="542"/>
                </a:cubicBezTo>
                <a:cubicBezTo>
                  <a:pt x="1514" y="542"/>
                  <a:pt x="1514" y="541"/>
                  <a:pt x="1514" y="541"/>
                </a:cubicBezTo>
                <a:cubicBezTo>
                  <a:pt x="1513" y="541"/>
                  <a:pt x="1513" y="540"/>
                  <a:pt x="1513" y="540"/>
                </a:cubicBezTo>
                <a:close/>
                <a:moveTo>
                  <a:pt x="1519" y="542"/>
                </a:moveTo>
                <a:cubicBezTo>
                  <a:pt x="1519" y="541"/>
                  <a:pt x="1519" y="541"/>
                  <a:pt x="1519" y="541"/>
                </a:cubicBezTo>
                <a:cubicBezTo>
                  <a:pt x="1519" y="542"/>
                  <a:pt x="1519" y="542"/>
                  <a:pt x="1519" y="542"/>
                </a:cubicBezTo>
                <a:cubicBezTo>
                  <a:pt x="1519" y="542"/>
                  <a:pt x="1519" y="542"/>
                  <a:pt x="1519" y="542"/>
                </a:cubicBezTo>
                <a:cubicBezTo>
                  <a:pt x="1519" y="542"/>
                  <a:pt x="1519" y="542"/>
                  <a:pt x="1519" y="542"/>
                </a:cubicBezTo>
                <a:close/>
                <a:moveTo>
                  <a:pt x="1515" y="558"/>
                </a:moveTo>
                <a:cubicBezTo>
                  <a:pt x="1515" y="558"/>
                  <a:pt x="1515" y="558"/>
                  <a:pt x="1515" y="558"/>
                </a:cubicBezTo>
                <a:cubicBezTo>
                  <a:pt x="1515" y="558"/>
                  <a:pt x="1515" y="558"/>
                  <a:pt x="1515" y="558"/>
                </a:cubicBezTo>
                <a:cubicBezTo>
                  <a:pt x="1515" y="558"/>
                  <a:pt x="1515" y="558"/>
                  <a:pt x="1514" y="558"/>
                </a:cubicBezTo>
                <a:cubicBezTo>
                  <a:pt x="1515" y="559"/>
                  <a:pt x="1515" y="559"/>
                  <a:pt x="1515" y="559"/>
                </a:cubicBezTo>
                <a:cubicBezTo>
                  <a:pt x="1515" y="559"/>
                  <a:pt x="1515" y="559"/>
                  <a:pt x="1515" y="558"/>
                </a:cubicBezTo>
                <a:close/>
                <a:moveTo>
                  <a:pt x="1556" y="605"/>
                </a:moveTo>
                <a:cubicBezTo>
                  <a:pt x="1556" y="605"/>
                  <a:pt x="1556" y="605"/>
                  <a:pt x="1557" y="605"/>
                </a:cubicBezTo>
                <a:cubicBezTo>
                  <a:pt x="1557" y="605"/>
                  <a:pt x="1557" y="605"/>
                  <a:pt x="1557" y="604"/>
                </a:cubicBezTo>
                <a:cubicBezTo>
                  <a:pt x="1557" y="604"/>
                  <a:pt x="1557" y="604"/>
                  <a:pt x="1557" y="604"/>
                </a:cubicBezTo>
                <a:cubicBezTo>
                  <a:pt x="1557" y="604"/>
                  <a:pt x="1557" y="604"/>
                  <a:pt x="1557" y="604"/>
                </a:cubicBezTo>
                <a:cubicBezTo>
                  <a:pt x="1557" y="603"/>
                  <a:pt x="1557" y="603"/>
                  <a:pt x="1557" y="603"/>
                </a:cubicBezTo>
                <a:cubicBezTo>
                  <a:pt x="1556" y="603"/>
                  <a:pt x="1556" y="603"/>
                  <a:pt x="1555" y="602"/>
                </a:cubicBezTo>
                <a:cubicBezTo>
                  <a:pt x="1555" y="602"/>
                  <a:pt x="1554" y="602"/>
                  <a:pt x="1554" y="602"/>
                </a:cubicBezTo>
                <a:cubicBezTo>
                  <a:pt x="1554" y="603"/>
                  <a:pt x="1553" y="603"/>
                  <a:pt x="1553" y="603"/>
                </a:cubicBezTo>
                <a:cubicBezTo>
                  <a:pt x="1553" y="603"/>
                  <a:pt x="1552" y="604"/>
                  <a:pt x="1552" y="604"/>
                </a:cubicBezTo>
                <a:cubicBezTo>
                  <a:pt x="1551" y="604"/>
                  <a:pt x="1551" y="604"/>
                  <a:pt x="1550" y="604"/>
                </a:cubicBezTo>
                <a:cubicBezTo>
                  <a:pt x="1550" y="604"/>
                  <a:pt x="1551" y="605"/>
                  <a:pt x="1551" y="605"/>
                </a:cubicBezTo>
                <a:cubicBezTo>
                  <a:pt x="1552" y="605"/>
                  <a:pt x="1552" y="605"/>
                  <a:pt x="1552" y="605"/>
                </a:cubicBezTo>
                <a:cubicBezTo>
                  <a:pt x="1552" y="605"/>
                  <a:pt x="1553" y="605"/>
                  <a:pt x="1553" y="606"/>
                </a:cubicBezTo>
                <a:cubicBezTo>
                  <a:pt x="1553" y="606"/>
                  <a:pt x="1554" y="606"/>
                  <a:pt x="1554" y="606"/>
                </a:cubicBezTo>
                <a:cubicBezTo>
                  <a:pt x="1554" y="606"/>
                  <a:pt x="1555" y="605"/>
                  <a:pt x="1555" y="605"/>
                </a:cubicBezTo>
                <a:cubicBezTo>
                  <a:pt x="1555" y="605"/>
                  <a:pt x="1555" y="605"/>
                  <a:pt x="1556" y="605"/>
                </a:cubicBezTo>
                <a:cubicBezTo>
                  <a:pt x="1556" y="605"/>
                  <a:pt x="1556" y="605"/>
                  <a:pt x="1556" y="605"/>
                </a:cubicBezTo>
                <a:cubicBezTo>
                  <a:pt x="1556" y="605"/>
                  <a:pt x="1556" y="605"/>
                  <a:pt x="1556" y="605"/>
                </a:cubicBezTo>
                <a:close/>
                <a:moveTo>
                  <a:pt x="1468" y="575"/>
                </a:moveTo>
                <a:cubicBezTo>
                  <a:pt x="1468" y="575"/>
                  <a:pt x="1468" y="575"/>
                  <a:pt x="1468" y="575"/>
                </a:cubicBezTo>
                <a:cubicBezTo>
                  <a:pt x="1468" y="575"/>
                  <a:pt x="1468" y="575"/>
                  <a:pt x="1467" y="575"/>
                </a:cubicBezTo>
                <a:cubicBezTo>
                  <a:pt x="1468" y="575"/>
                  <a:pt x="1468" y="575"/>
                  <a:pt x="1468" y="575"/>
                </a:cubicBezTo>
                <a:cubicBezTo>
                  <a:pt x="1468" y="575"/>
                  <a:pt x="1468" y="575"/>
                  <a:pt x="1468" y="575"/>
                </a:cubicBezTo>
                <a:close/>
                <a:moveTo>
                  <a:pt x="1494" y="522"/>
                </a:moveTo>
                <a:cubicBezTo>
                  <a:pt x="1494" y="522"/>
                  <a:pt x="1494" y="522"/>
                  <a:pt x="1494" y="522"/>
                </a:cubicBezTo>
                <a:cubicBezTo>
                  <a:pt x="1494" y="522"/>
                  <a:pt x="1494" y="522"/>
                  <a:pt x="1493" y="522"/>
                </a:cubicBezTo>
                <a:cubicBezTo>
                  <a:pt x="1493" y="522"/>
                  <a:pt x="1494" y="522"/>
                  <a:pt x="1494" y="522"/>
                </a:cubicBezTo>
                <a:cubicBezTo>
                  <a:pt x="1494" y="522"/>
                  <a:pt x="1494" y="522"/>
                  <a:pt x="1494" y="522"/>
                </a:cubicBezTo>
                <a:close/>
                <a:moveTo>
                  <a:pt x="1466" y="574"/>
                </a:moveTo>
                <a:cubicBezTo>
                  <a:pt x="1466" y="575"/>
                  <a:pt x="1467" y="575"/>
                  <a:pt x="1467" y="575"/>
                </a:cubicBezTo>
                <a:cubicBezTo>
                  <a:pt x="1467" y="575"/>
                  <a:pt x="1467" y="575"/>
                  <a:pt x="1467" y="574"/>
                </a:cubicBezTo>
                <a:cubicBezTo>
                  <a:pt x="1467" y="574"/>
                  <a:pt x="1468" y="574"/>
                  <a:pt x="1468" y="574"/>
                </a:cubicBezTo>
                <a:cubicBezTo>
                  <a:pt x="1467" y="574"/>
                  <a:pt x="1467" y="574"/>
                  <a:pt x="1467" y="574"/>
                </a:cubicBezTo>
                <a:cubicBezTo>
                  <a:pt x="1467" y="574"/>
                  <a:pt x="1467" y="574"/>
                  <a:pt x="1466" y="574"/>
                </a:cubicBezTo>
                <a:close/>
                <a:moveTo>
                  <a:pt x="1495" y="525"/>
                </a:moveTo>
                <a:cubicBezTo>
                  <a:pt x="1495" y="525"/>
                  <a:pt x="1495" y="525"/>
                  <a:pt x="1496" y="525"/>
                </a:cubicBezTo>
                <a:cubicBezTo>
                  <a:pt x="1496" y="525"/>
                  <a:pt x="1496" y="525"/>
                  <a:pt x="1496" y="525"/>
                </a:cubicBezTo>
                <a:cubicBezTo>
                  <a:pt x="1496" y="525"/>
                  <a:pt x="1496" y="525"/>
                  <a:pt x="1497" y="525"/>
                </a:cubicBezTo>
                <a:cubicBezTo>
                  <a:pt x="1497" y="525"/>
                  <a:pt x="1497" y="525"/>
                  <a:pt x="1497" y="525"/>
                </a:cubicBezTo>
                <a:cubicBezTo>
                  <a:pt x="1496" y="524"/>
                  <a:pt x="1496" y="524"/>
                  <a:pt x="1496" y="524"/>
                </a:cubicBezTo>
                <a:cubicBezTo>
                  <a:pt x="1495" y="524"/>
                  <a:pt x="1495" y="524"/>
                  <a:pt x="1495" y="524"/>
                </a:cubicBezTo>
                <a:cubicBezTo>
                  <a:pt x="1494" y="524"/>
                  <a:pt x="1494" y="524"/>
                  <a:pt x="1494" y="524"/>
                </a:cubicBezTo>
                <a:cubicBezTo>
                  <a:pt x="1494" y="524"/>
                  <a:pt x="1494" y="524"/>
                  <a:pt x="1494" y="524"/>
                </a:cubicBezTo>
                <a:cubicBezTo>
                  <a:pt x="1495" y="524"/>
                  <a:pt x="1495" y="525"/>
                  <a:pt x="1495" y="525"/>
                </a:cubicBezTo>
                <a:close/>
                <a:moveTo>
                  <a:pt x="1476" y="568"/>
                </a:moveTo>
                <a:cubicBezTo>
                  <a:pt x="1476" y="568"/>
                  <a:pt x="1476" y="567"/>
                  <a:pt x="1477" y="567"/>
                </a:cubicBezTo>
                <a:cubicBezTo>
                  <a:pt x="1477" y="567"/>
                  <a:pt x="1476" y="566"/>
                  <a:pt x="1476" y="566"/>
                </a:cubicBezTo>
                <a:cubicBezTo>
                  <a:pt x="1476" y="566"/>
                  <a:pt x="1476" y="566"/>
                  <a:pt x="1476" y="566"/>
                </a:cubicBezTo>
                <a:cubicBezTo>
                  <a:pt x="1476" y="566"/>
                  <a:pt x="1476" y="567"/>
                  <a:pt x="1476" y="567"/>
                </a:cubicBezTo>
                <a:cubicBezTo>
                  <a:pt x="1476" y="567"/>
                  <a:pt x="1475" y="567"/>
                  <a:pt x="1475" y="567"/>
                </a:cubicBezTo>
                <a:cubicBezTo>
                  <a:pt x="1475" y="567"/>
                  <a:pt x="1475" y="568"/>
                  <a:pt x="1475" y="568"/>
                </a:cubicBezTo>
                <a:cubicBezTo>
                  <a:pt x="1475" y="568"/>
                  <a:pt x="1475" y="568"/>
                  <a:pt x="1475" y="568"/>
                </a:cubicBezTo>
                <a:cubicBezTo>
                  <a:pt x="1476" y="568"/>
                  <a:pt x="1476" y="568"/>
                  <a:pt x="1476" y="568"/>
                </a:cubicBezTo>
                <a:close/>
                <a:moveTo>
                  <a:pt x="1496" y="554"/>
                </a:moveTo>
                <a:cubicBezTo>
                  <a:pt x="1496" y="554"/>
                  <a:pt x="1495" y="554"/>
                  <a:pt x="1495" y="554"/>
                </a:cubicBezTo>
                <a:cubicBezTo>
                  <a:pt x="1494" y="554"/>
                  <a:pt x="1494" y="554"/>
                  <a:pt x="1494" y="554"/>
                </a:cubicBezTo>
                <a:cubicBezTo>
                  <a:pt x="1493" y="554"/>
                  <a:pt x="1493" y="554"/>
                  <a:pt x="1493" y="555"/>
                </a:cubicBezTo>
                <a:cubicBezTo>
                  <a:pt x="1494" y="555"/>
                  <a:pt x="1494" y="555"/>
                  <a:pt x="1494" y="555"/>
                </a:cubicBezTo>
                <a:cubicBezTo>
                  <a:pt x="1494" y="555"/>
                  <a:pt x="1494" y="555"/>
                  <a:pt x="1495" y="555"/>
                </a:cubicBezTo>
                <a:cubicBezTo>
                  <a:pt x="1495" y="555"/>
                  <a:pt x="1495" y="556"/>
                  <a:pt x="1495" y="556"/>
                </a:cubicBezTo>
                <a:cubicBezTo>
                  <a:pt x="1495" y="556"/>
                  <a:pt x="1496" y="556"/>
                  <a:pt x="1496" y="556"/>
                </a:cubicBezTo>
                <a:cubicBezTo>
                  <a:pt x="1496" y="556"/>
                  <a:pt x="1496" y="556"/>
                  <a:pt x="1496" y="556"/>
                </a:cubicBezTo>
                <a:cubicBezTo>
                  <a:pt x="1496" y="556"/>
                  <a:pt x="1497" y="556"/>
                  <a:pt x="1497" y="556"/>
                </a:cubicBezTo>
                <a:cubicBezTo>
                  <a:pt x="1497" y="556"/>
                  <a:pt x="1497" y="556"/>
                  <a:pt x="1497" y="556"/>
                </a:cubicBezTo>
                <a:cubicBezTo>
                  <a:pt x="1497" y="555"/>
                  <a:pt x="1497" y="555"/>
                  <a:pt x="1497" y="555"/>
                </a:cubicBezTo>
                <a:cubicBezTo>
                  <a:pt x="1497" y="555"/>
                  <a:pt x="1496" y="555"/>
                  <a:pt x="1496" y="555"/>
                </a:cubicBezTo>
                <a:cubicBezTo>
                  <a:pt x="1496" y="555"/>
                  <a:pt x="1496" y="555"/>
                  <a:pt x="1495" y="555"/>
                </a:cubicBezTo>
                <a:cubicBezTo>
                  <a:pt x="1496" y="555"/>
                  <a:pt x="1496" y="555"/>
                  <a:pt x="1496" y="555"/>
                </a:cubicBezTo>
                <a:cubicBezTo>
                  <a:pt x="1496" y="555"/>
                  <a:pt x="1496" y="555"/>
                  <a:pt x="1496" y="554"/>
                </a:cubicBezTo>
                <a:close/>
                <a:moveTo>
                  <a:pt x="1494" y="557"/>
                </a:moveTo>
                <a:cubicBezTo>
                  <a:pt x="1494" y="557"/>
                  <a:pt x="1494" y="557"/>
                  <a:pt x="1494" y="557"/>
                </a:cubicBezTo>
                <a:cubicBezTo>
                  <a:pt x="1494" y="557"/>
                  <a:pt x="1494" y="557"/>
                  <a:pt x="1494" y="557"/>
                </a:cubicBezTo>
                <a:cubicBezTo>
                  <a:pt x="1494" y="557"/>
                  <a:pt x="1494" y="557"/>
                  <a:pt x="1494" y="557"/>
                </a:cubicBezTo>
                <a:close/>
                <a:moveTo>
                  <a:pt x="1485" y="581"/>
                </a:moveTo>
                <a:cubicBezTo>
                  <a:pt x="1486" y="581"/>
                  <a:pt x="1486" y="581"/>
                  <a:pt x="1486" y="581"/>
                </a:cubicBezTo>
                <a:cubicBezTo>
                  <a:pt x="1486" y="581"/>
                  <a:pt x="1487" y="581"/>
                  <a:pt x="1487" y="581"/>
                </a:cubicBezTo>
                <a:cubicBezTo>
                  <a:pt x="1487" y="581"/>
                  <a:pt x="1488" y="581"/>
                  <a:pt x="1488" y="581"/>
                </a:cubicBezTo>
                <a:cubicBezTo>
                  <a:pt x="1488" y="580"/>
                  <a:pt x="1488" y="580"/>
                  <a:pt x="1488" y="580"/>
                </a:cubicBezTo>
                <a:cubicBezTo>
                  <a:pt x="1487" y="580"/>
                  <a:pt x="1487" y="580"/>
                  <a:pt x="1487" y="580"/>
                </a:cubicBezTo>
                <a:cubicBezTo>
                  <a:pt x="1487" y="580"/>
                  <a:pt x="1487" y="580"/>
                  <a:pt x="1486" y="580"/>
                </a:cubicBezTo>
                <a:cubicBezTo>
                  <a:pt x="1486" y="580"/>
                  <a:pt x="1486" y="580"/>
                  <a:pt x="1486" y="580"/>
                </a:cubicBezTo>
                <a:cubicBezTo>
                  <a:pt x="1486" y="580"/>
                  <a:pt x="1486" y="580"/>
                  <a:pt x="1486" y="580"/>
                </a:cubicBezTo>
                <a:cubicBezTo>
                  <a:pt x="1486" y="580"/>
                  <a:pt x="1485" y="580"/>
                  <a:pt x="1485" y="580"/>
                </a:cubicBezTo>
                <a:cubicBezTo>
                  <a:pt x="1485" y="581"/>
                  <a:pt x="1485" y="581"/>
                  <a:pt x="1485" y="581"/>
                </a:cubicBezTo>
                <a:close/>
                <a:moveTo>
                  <a:pt x="1488" y="581"/>
                </a:moveTo>
                <a:cubicBezTo>
                  <a:pt x="1488" y="581"/>
                  <a:pt x="1488" y="581"/>
                  <a:pt x="1488" y="581"/>
                </a:cubicBezTo>
                <a:cubicBezTo>
                  <a:pt x="1488" y="581"/>
                  <a:pt x="1488" y="582"/>
                  <a:pt x="1488" y="582"/>
                </a:cubicBezTo>
                <a:cubicBezTo>
                  <a:pt x="1488" y="582"/>
                  <a:pt x="1489" y="582"/>
                  <a:pt x="1489" y="582"/>
                </a:cubicBezTo>
                <a:cubicBezTo>
                  <a:pt x="1489" y="582"/>
                  <a:pt x="1489" y="582"/>
                  <a:pt x="1490" y="582"/>
                </a:cubicBezTo>
                <a:cubicBezTo>
                  <a:pt x="1490" y="581"/>
                  <a:pt x="1490" y="581"/>
                  <a:pt x="1490" y="581"/>
                </a:cubicBezTo>
                <a:cubicBezTo>
                  <a:pt x="1489" y="581"/>
                  <a:pt x="1489" y="581"/>
                  <a:pt x="1489" y="581"/>
                </a:cubicBezTo>
                <a:cubicBezTo>
                  <a:pt x="1489" y="581"/>
                  <a:pt x="1489" y="581"/>
                  <a:pt x="1488" y="581"/>
                </a:cubicBezTo>
                <a:close/>
                <a:moveTo>
                  <a:pt x="1491" y="549"/>
                </a:moveTo>
                <a:cubicBezTo>
                  <a:pt x="1491" y="549"/>
                  <a:pt x="1490" y="549"/>
                  <a:pt x="1490" y="549"/>
                </a:cubicBezTo>
                <a:cubicBezTo>
                  <a:pt x="1490" y="549"/>
                  <a:pt x="1490" y="549"/>
                  <a:pt x="1491" y="549"/>
                </a:cubicBezTo>
                <a:cubicBezTo>
                  <a:pt x="1491" y="549"/>
                  <a:pt x="1491" y="549"/>
                  <a:pt x="1491" y="549"/>
                </a:cubicBezTo>
                <a:close/>
                <a:moveTo>
                  <a:pt x="1497" y="546"/>
                </a:moveTo>
                <a:cubicBezTo>
                  <a:pt x="1497" y="546"/>
                  <a:pt x="1497" y="546"/>
                  <a:pt x="1497" y="546"/>
                </a:cubicBezTo>
                <a:cubicBezTo>
                  <a:pt x="1497" y="546"/>
                  <a:pt x="1497" y="546"/>
                  <a:pt x="1496" y="546"/>
                </a:cubicBezTo>
                <a:cubicBezTo>
                  <a:pt x="1496" y="546"/>
                  <a:pt x="1496" y="546"/>
                  <a:pt x="1496" y="545"/>
                </a:cubicBezTo>
                <a:cubicBezTo>
                  <a:pt x="1495" y="545"/>
                  <a:pt x="1495" y="545"/>
                  <a:pt x="1495" y="545"/>
                </a:cubicBezTo>
                <a:cubicBezTo>
                  <a:pt x="1495" y="545"/>
                  <a:pt x="1495" y="545"/>
                  <a:pt x="1494" y="545"/>
                </a:cubicBezTo>
                <a:cubicBezTo>
                  <a:pt x="1494" y="545"/>
                  <a:pt x="1494" y="544"/>
                  <a:pt x="1493" y="544"/>
                </a:cubicBezTo>
                <a:cubicBezTo>
                  <a:pt x="1493" y="544"/>
                  <a:pt x="1493" y="544"/>
                  <a:pt x="1492" y="544"/>
                </a:cubicBezTo>
                <a:cubicBezTo>
                  <a:pt x="1492" y="544"/>
                  <a:pt x="1492" y="544"/>
                  <a:pt x="1492" y="544"/>
                </a:cubicBezTo>
                <a:cubicBezTo>
                  <a:pt x="1491" y="544"/>
                  <a:pt x="1491" y="543"/>
                  <a:pt x="1491" y="543"/>
                </a:cubicBezTo>
                <a:cubicBezTo>
                  <a:pt x="1491" y="543"/>
                  <a:pt x="1491" y="543"/>
                  <a:pt x="1490" y="542"/>
                </a:cubicBezTo>
                <a:cubicBezTo>
                  <a:pt x="1490" y="542"/>
                  <a:pt x="1489" y="542"/>
                  <a:pt x="1489" y="542"/>
                </a:cubicBezTo>
                <a:cubicBezTo>
                  <a:pt x="1489" y="542"/>
                  <a:pt x="1488" y="541"/>
                  <a:pt x="1488" y="541"/>
                </a:cubicBezTo>
                <a:cubicBezTo>
                  <a:pt x="1488" y="542"/>
                  <a:pt x="1488" y="542"/>
                  <a:pt x="1488" y="542"/>
                </a:cubicBezTo>
                <a:cubicBezTo>
                  <a:pt x="1488" y="542"/>
                  <a:pt x="1487" y="542"/>
                  <a:pt x="1487" y="542"/>
                </a:cubicBezTo>
                <a:cubicBezTo>
                  <a:pt x="1487" y="542"/>
                  <a:pt x="1487" y="543"/>
                  <a:pt x="1486" y="543"/>
                </a:cubicBezTo>
                <a:cubicBezTo>
                  <a:pt x="1486" y="543"/>
                  <a:pt x="1486" y="543"/>
                  <a:pt x="1486" y="543"/>
                </a:cubicBezTo>
                <a:cubicBezTo>
                  <a:pt x="1485" y="543"/>
                  <a:pt x="1485" y="542"/>
                  <a:pt x="1485" y="542"/>
                </a:cubicBezTo>
                <a:cubicBezTo>
                  <a:pt x="1484" y="542"/>
                  <a:pt x="1484" y="542"/>
                  <a:pt x="1483" y="542"/>
                </a:cubicBezTo>
                <a:cubicBezTo>
                  <a:pt x="1483" y="542"/>
                  <a:pt x="1483" y="542"/>
                  <a:pt x="1483" y="542"/>
                </a:cubicBezTo>
                <a:cubicBezTo>
                  <a:pt x="1483" y="542"/>
                  <a:pt x="1483" y="542"/>
                  <a:pt x="1483" y="543"/>
                </a:cubicBezTo>
                <a:cubicBezTo>
                  <a:pt x="1482" y="543"/>
                  <a:pt x="1482" y="543"/>
                  <a:pt x="1481" y="543"/>
                </a:cubicBezTo>
                <a:cubicBezTo>
                  <a:pt x="1481" y="543"/>
                  <a:pt x="1481" y="544"/>
                  <a:pt x="1481" y="544"/>
                </a:cubicBezTo>
                <a:cubicBezTo>
                  <a:pt x="1481" y="544"/>
                  <a:pt x="1481" y="544"/>
                  <a:pt x="1481" y="545"/>
                </a:cubicBezTo>
                <a:cubicBezTo>
                  <a:pt x="1481" y="545"/>
                  <a:pt x="1481" y="545"/>
                  <a:pt x="1481" y="546"/>
                </a:cubicBezTo>
                <a:cubicBezTo>
                  <a:pt x="1480" y="546"/>
                  <a:pt x="1480" y="546"/>
                  <a:pt x="1480" y="546"/>
                </a:cubicBezTo>
                <a:cubicBezTo>
                  <a:pt x="1480" y="546"/>
                  <a:pt x="1480" y="547"/>
                  <a:pt x="1480" y="547"/>
                </a:cubicBezTo>
                <a:cubicBezTo>
                  <a:pt x="1480" y="547"/>
                  <a:pt x="1480" y="548"/>
                  <a:pt x="1480" y="548"/>
                </a:cubicBezTo>
                <a:cubicBezTo>
                  <a:pt x="1480" y="548"/>
                  <a:pt x="1480" y="547"/>
                  <a:pt x="1480" y="547"/>
                </a:cubicBezTo>
                <a:cubicBezTo>
                  <a:pt x="1480" y="547"/>
                  <a:pt x="1480" y="547"/>
                  <a:pt x="1480" y="547"/>
                </a:cubicBezTo>
                <a:cubicBezTo>
                  <a:pt x="1480" y="547"/>
                  <a:pt x="1479" y="547"/>
                  <a:pt x="1479" y="547"/>
                </a:cubicBezTo>
                <a:cubicBezTo>
                  <a:pt x="1479" y="547"/>
                  <a:pt x="1479" y="547"/>
                  <a:pt x="1478" y="547"/>
                </a:cubicBezTo>
                <a:cubicBezTo>
                  <a:pt x="1478" y="547"/>
                  <a:pt x="1478" y="547"/>
                  <a:pt x="1478" y="547"/>
                </a:cubicBezTo>
                <a:cubicBezTo>
                  <a:pt x="1477" y="547"/>
                  <a:pt x="1477" y="547"/>
                  <a:pt x="1477" y="548"/>
                </a:cubicBezTo>
                <a:cubicBezTo>
                  <a:pt x="1477" y="548"/>
                  <a:pt x="1477" y="548"/>
                  <a:pt x="1477" y="548"/>
                </a:cubicBezTo>
                <a:cubicBezTo>
                  <a:pt x="1477" y="549"/>
                  <a:pt x="1477" y="549"/>
                  <a:pt x="1476" y="549"/>
                </a:cubicBezTo>
                <a:cubicBezTo>
                  <a:pt x="1476" y="549"/>
                  <a:pt x="1476" y="550"/>
                  <a:pt x="1476" y="550"/>
                </a:cubicBezTo>
                <a:cubicBezTo>
                  <a:pt x="1476" y="550"/>
                  <a:pt x="1476" y="551"/>
                  <a:pt x="1476" y="551"/>
                </a:cubicBezTo>
                <a:cubicBezTo>
                  <a:pt x="1476" y="551"/>
                  <a:pt x="1476" y="551"/>
                  <a:pt x="1475" y="551"/>
                </a:cubicBezTo>
                <a:cubicBezTo>
                  <a:pt x="1475" y="551"/>
                  <a:pt x="1475" y="551"/>
                  <a:pt x="1475" y="551"/>
                </a:cubicBezTo>
                <a:cubicBezTo>
                  <a:pt x="1475" y="551"/>
                  <a:pt x="1475" y="552"/>
                  <a:pt x="1474" y="552"/>
                </a:cubicBezTo>
                <a:cubicBezTo>
                  <a:pt x="1474" y="552"/>
                  <a:pt x="1474" y="552"/>
                  <a:pt x="1473" y="552"/>
                </a:cubicBezTo>
                <a:cubicBezTo>
                  <a:pt x="1473" y="553"/>
                  <a:pt x="1473" y="553"/>
                  <a:pt x="1473" y="553"/>
                </a:cubicBezTo>
                <a:cubicBezTo>
                  <a:pt x="1473" y="553"/>
                  <a:pt x="1473" y="553"/>
                  <a:pt x="1473" y="553"/>
                </a:cubicBezTo>
                <a:cubicBezTo>
                  <a:pt x="1472" y="554"/>
                  <a:pt x="1472" y="554"/>
                  <a:pt x="1472" y="554"/>
                </a:cubicBezTo>
                <a:cubicBezTo>
                  <a:pt x="1472" y="554"/>
                  <a:pt x="1472" y="555"/>
                  <a:pt x="1472" y="555"/>
                </a:cubicBezTo>
                <a:cubicBezTo>
                  <a:pt x="1472" y="555"/>
                  <a:pt x="1472" y="556"/>
                  <a:pt x="1472" y="556"/>
                </a:cubicBezTo>
                <a:cubicBezTo>
                  <a:pt x="1473" y="556"/>
                  <a:pt x="1473" y="556"/>
                  <a:pt x="1473" y="556"/>
                </a:cubicBezTo>
                <a:cubicBezTo>
                  <a:pt x="1473" y="556"/>
                  <a:pt x="1473" y="556"/>
                  <a:pt x="1473" y="556"/>
                </a:cubicBezTo>
                <a:cubicBezTo>
                  <a:pt x="1474" y="556"/>
                  <a:pt x="1474" y="556"/>
                  <a:pt x="1474" y="556"/>
                </a:cubicBezTo>
                <a:cubicBezTo>
                  <a:pt x="1474" y="556"/>
                  <a:pt x="1474" y="556"/>
                  <a:pt x="1474" y="556"/>
                </a:cubicBezTo>
                <a:cubicBezTo>
                  <a:pt x="1474" y="557"/>
                  <a:pt x="1474" y="557"/>
                  <a:pt x="1474" y="557"/>
                </a:cubicBezTo>
                <a:cubicBezTo>
                  <a:pt x="1475" y="558"/>
                  <a:pt x="1475" y="558"/>
                  <a:pt x="1475" y="559"/>
                </a:cubicBezTo>
                <a:cubicBezTo>
                  <a:pt x="1474" y="559"/>
                  <a:pt x="1474" y="559"/>
                  <a:pt x="1474" y="559"/>
                </a:cubicBezTo>
                <a:cubicBezTo>
                  <a:pt x="1474" y="560"/>
                  <a:pt x="1474" y="560"/>
                  <a:pt x="1474" y="560"/>
                </a:cubicBezTo>
                <a:cubicBezTo>
                  <a:pt x="1473" y="560"/>
                  <a:pt x="1473" y="561"/>
                  <a:pt x="1473" y="561"/>
                </a:cubicBezTo>
                <a:cubicBezTo>
                  <a:pt x="1472" y="561"/>
                  <a:pt x="1472" y="562"/>
                  <a:pt x="1472" y="562"/>
                </a:cubicBezTo>
                <a:cubicBezTo>
                  <a:pt x="1472" y="563"/>
                  <a:pt x="1472" y="563"/>
                  <a:pt x="1472" y="563"/>
                </a:cubicBezTo>
                <a:cubicBezTo>
                  <a:pt x="1472" y="563"/>
                  <a:pt x="1472" y="564"/>
                  <a:pt x="1472" y="564"/>
                </a:cubicBezTo>
                <a:cubicBezTo>
                  <a:pt x="1472" y="564"/>
                  <a:pt x="1473" y="564"/>
                  <a:pt x="1473" y="564"/>
                </a:cubicBezTo>
                <a:cubicBezTo>
                  <a:pt x="1473" y="564"/>
                  <a:pt x="1473" y="564"/>
                  <a:pt x="1474" y="564"/>
                </a:cubicBezTo>
                <a:cubicBezTo>
                  <a:pt x="1474" y="564"/>
                  <a:pt x="1474" y="564"/>
                  <a:pt x="1474" y="564"/>
                </a:cubicBezTo>
                <a:cubicBezTo>
                  <a:pt x="1474" y="564"/>
                  <a:pt x="1475" y="564"/>
                  <a:pt x="1475" y="565"/>
                </a:cubicBezTo>
                <a:cubicBezTo>
                  <a:pt x="1475" y="565"/>
                  <a:pt x="1476" y="565"/>
                  <a:pt x="1476" y="565"/>
                </a:cubicBezTo>
                <a:cubicBezTo>
                  <a:pt x="1476" y="565"/>
                  <a:pt x="1476" y="565"/>
                  <a:pt x="1476" y="565"/>
                </a:cubicBezTo>
                <a:cubicBezTo>
                  <a:pt x="1476" y="565"/>
                  <a:pt x="1476" y="565"/>
                  <a:pt x="1477" y="565"/>
                </a:cubicBezTo>
                <a:cubicBezTo>
                  <a:pt x="1477" y="565"/>
                  <a:pt x="1477" y="564"/>
                  <a:pt x="1477" y="564"/>
                </a:cubicBezTo>
                <a:cubicBezTo>
                  <a:pt x="1477" y="564"/>
                  <a:pt x="1476" y="564"/>
                  <a:pt x="1476" y="564"/>
                </a:cubicBezTo>
                <a:cubicBezTo>
                  <a:pt x="1476" y="563"/>
                  <a:pt x="1476" y="563"/>
                  <a:pt x="1476" y="563"/>
                </a:cubicBezTo>
                <a:cubicBezTo>
                  <a:pt x="1477" y="562"/>
                  <a:pt x="1477" y="562"/>
                  <a:pt x="1477" y="562"/>
                </a:cubicBezTo>
                <a:cubicBezTo>
                  <a:pt x="1477" y="562"/>
                  <a:pt x="1478" y="561"/>
                  <a:pt x="1478" y="561"/>
                </a:cubicBezTo>
                <a:cubicBezTo>
                  <a:pt x="1478" y="561"/>
                  <a:pt x="1478" y="560"/>
                  <a:pt x="1478" y="560"/>
                </a:cubicBezTo>
                <a:cubicBezTo>
                  <a:pt x="1478" y="560"/>
                  <a:pt x="1478" y="560"/>
                  <a:pt x="1478" y="559"/>
                </a:cubicBezTo>
                <a:cubicBezTo>
                  <a:pt x="1478" y="559"/>
                  <a:pt x="1479" y="559"/>
                  <a:pt x="1479" y="559"/>
                </a:cubicBezTo>
                <a:cubicBezTo>
                  <a:pt x="1479" y="559"/>
                  <a:pt x="1480" y="558"/>
                  <a:pt x="1480" y="558"/>
                </a:cubicBezTo>
                <a:cubicBezTo>
                  <a:pt x="1480" y="558"/>
                  <a:pt x="1480" y="557"/>
                  <a:pt x="1480" y="557"/>
                </a:cubicBezTo>
                <a:cubicBezTo>
                  <a:pt x="1480" y="557"/>
                  <a:pt x="1480" y="556"/>
                  <a:pt x="1479" y="556"/>
                </a:cubicBezTo>
                <a:cubicBezTo>
                  <a:pt x="1479" y="556"/>
                  <a:pt x="1479" y="556"/>
                  <a:pt x="1480" y="556"/>
                </a:cubicBezTo>
                <a:cubicBezTo>
                  <a:pt x="1480" y="556"/>
                  <a:pt x="1480" y="556"/>
                  <a:pt x="1481" y="556"/>
                </a:cubicBezTo>
                <a:cubicBezTo>
                  <a:pt x="1481" y="556"/>
                  <a:pt x="1481" y="556"/>
                  <a:pt x="1481" y="555"/>
                </a:cubicBezTo>
                <a:cubicBezTo>
                  <a:pt x="1482" y="555"/>
                  <a:pt x="1482" y="556"/>
                  <a:pt x="1482" y="556"/>
                </a:cubicBezTo>
                <a:cubicBezTo>
                  <a:pt x="1483" y="556"/>
                  <a:pt x="1483" y="556"/>
                  <a:pt x="1483" y="556"/>
                </a:cubicBezTo>
                <a:cubicBezTo>
                  <a:pt x="1483" y="556"/>
                  <a:pt x="1483" y="556"/>
                  <a:pt x="1483" y="556"/>
                </a:cubicBezTo>
                <a:cubicBezTo>
                  <a:pt x="1483" y="557"/>
                  <a:pt x="1483" y="557"/>
                  <a:pt x="1483" y="557"/>
                </a:cubicBezTo>
                <a:cubicBezTo>
                  <a:pt x="1483" y="557"/>
                  <a:pt x="1483" y="558"/>
                  <a:pt x="1483" y="558"/>
                </a:cubicBezTo>
                <a:cubicBezTo>
                  <a:pt x="1482" y="558"/>
                  <a:pt x="1482" y="558"/>
                  <a:pt x="1482" y="558"/>
                </a:cubicBezTo>
                <a:cubicBezTo>
                  <a:pt x="1482" y="558"/>
                  <a:pt x="1482" y="559"/>
                  <a:pt x="1481" y="559"/>
                </a:cubicBezTo>
                <a:cubicBezTo>
                  <a:pt x="1481" y="559"/>
                  <a:pt x="1482" y="559"/>
                  <a:pt x="1482" y="560"/>
                </a:cubicBezTo>
                <a:cubicBezTo>
                  <a:pt x="1482" y="560"/>
                  <a:pt x="1482" y="560"/>
                  <a:pt x="1482" y="560"/>
                </a:cubicBezTo>
                <a:cubicBezTo>
                  <a:pt x="1482" y="560"/>
                  <a:pt x="1482" y="560"/>
                  <a:pt x="1483" y="561"/>
                </a:cubicBezTo>
                <a:cubicBezTo>
                  <a:pt x="1483" y="561"/>
                  <a:pt x="1483" y="561"/>
                  <a:pt x="1483" y="562"/>
                </a:cubicBezTo>
                <a:cubicBezTo>
                  <a:pt x="1483" y="562"/>
                  <a:pt x="1483" y="562"/>
                  <a:pt x="1483" y="562"/>
                </a:cubicBezTo>
                <a:cubicBezTo>
                  <a:pt x="1483" y="562"/>
                  <a:pt x="1483" y="562"/>
                  <a:pt x="1483" y="562"/>
                </a:cubicBezTo>
                <a:cubicBezTo>
                  <a:pt x="1483" y="562"/>
                  <a:pt x="1483" y="563"/>
                  <a:pt x="1482" y="563"/>
                </a:cubicBezTo>
                <a:cubicBezTo>
                  <a:pt x="1482" y="564"/>
                  <a:pt x="1482" y="564"/>
                  <a:pt x="1482" y="564"/>
                </a:cubicBezTo>
                <a:cubicBezTo>
                  <a:pt x="1483" y="564"/>
                  <a:pt x="1483" y="564"/>
                  <a:pt x="1483" y="565"/>
                </a:cubicBezTo>
                <a:cubicBezTo>
                  <a:pt x="1483" y="565"/>
                  <a:pt x="1483" y="565"/>
                  <a:pt x="1484" y="565"/>
                </a:cubicBezTo>
                <a:cubicBezTo>
                  <a:pt x="1484" y="565"/>
                  <a:pt x="1484" y="565"/>
                  <a:pt x="1484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4"/>
                  <a:pt x="1486" y="564"/>
                  <a:pt x="1486" y="564"/>
                </a:cubicBezTo>
                <a:cubicBezTo>
                  <a:pt x="1486" y="564"/>
                  <a:pt x="1487" y="564"/>
                  <a:pt x="1487" y="564"/>
                </a:cubicBezTo>
                <a:cubicBezTo>
                  <a:pt x="1487" y="564"/>
                  <a:pt x="1488" y="564"/>
                  <a:pt x="1488" y="564"/>
                </a:cubicBezTo>
                <a:cubicBezTo>
                  <a:pt x="1489" y="565"/>
                  <a:pt x="1489" y="565"/>
                  <a:pt x="1490" y="565"/>
                </a:cubicBezTo>
                <a:cubicBezTo>
                  <a:pt x="1490" y="565"/>
                  <a:pt x="1490" y="565"/>
                  <a:pt x="1490" y="565"/>
                </a:cubicBezTo>
                <a:cubicBezTo>
                  <a:pt x="1490" y="565"/>
                  <a:pt x="1490" y="565"/>
                  <a:pt x="1491" y="565"/>
                </a:cubicBezTo>
                <a:cubicBezTo>
                  <a:pt x="1491" y="565"/>
                  <a:pt x="1491" y="565"/>
                  <a:pt x="1491" y="565"/>
                </a:cubicBezTo>
                <a:cubicBezTo>
                  <a:pt x="1491" y="565"/>
                  <a:pt x="1492" y="565"/>
                  <a:pt x="1492" y="565"/>
                </a:cubicBezTo>
                <a:cubicBezTo>
                  <a:pt x="1492" y="565"/>
                  <a:pt x="1492" y="565"/>
                  <a:pt x="1492" y="564"/>
                </a:cubicBezTo>
                <a:cubicBezTo>
                  <a:pt x="1491" y="564"/>
                  <a:pt x="1491" y="564"/>
                  <a:pt x="1491" y="564"/>
                </a:cubicBezTo>
                <a:cubicBezTo>
                  <a:pt x="1490" y="564"/>
                  <a:pt x="1490" y="564"/>
                  <a:pt x="1490" y="564"/>
                </a:cubicBezTo>
                <a:cubicBezTo>
                  <a:pt x="1490" y="564"/>
                  <a:pt x="1490" y="564"/>
                  <a:pt x="1490" y="564"/>
                </a:cubicBezTo>
                <a:cubicBezTo>
                  <a:pt x="1490" y="564"/>
                  <a:pt x="1489" y="564"/>
                  <a:pt x="1489" y="563"/>
                </a:cubicBezTo>
                <a:cubicBezTo>
                  <a:pt x="1489" y="563"/>
                  <a:pt x="1489" y="563"/>
                  <a:pt x="1489" y="563"/>
                </a:cubicBezTo>
                <a:cubicBezTo>
                  <a:pt x="1489" y="563"/>
                  <a:pt x="1489" y="563"/>
                  <a:pt x="1489" y="563"/>
                </a:cubicBezTo>
                <a:cubicBezTo>
                  <a:pt x="1489" y="563"/>
                  <a:pt x="1489" y="563"/>
                  <a:pt x="1489" y="562"/>
                </a:cubicBezTo>
                <a:cubicBezTo>
                  <a:pt x="1489" y="562"/>
                  <a:pt x="1489" y="562"/>
                  <a:pt x="1488" y="562"/>
                </a:cubicBezTo>
                <a:cubicBezTo>
                  <a:pt x="1488" y="562"/>
                  <a:pt x="1488" y="562"/>
                  <a:pt x="1488" y="562"/>
                </a:cubicBezTo>
                <a:cubicBezTo>
                  <a:pt x="1488" y="562"/>
                  <a:pt x="1488" y="562"/>
                  <a:pt x="1488" y="562"/>
                </a:cubicBezTo>
                <a:cubicBezTo>
                  <a:pt x="1488" y="562"/>
                  <a:pt x="1488" y="562"/>
                  <a:pt x="1487" y="561"/>
                </a:cubicBezTo>
                <a:cubicBezTo>
                  <a:pt x="1487" y="561"/>
                  <a:pt x="1487" y="561"/>
                  <a:pt x="1487" y="561"/>
                </a:cubicBezTo>
                <a:cubicBezTo>
                  <a:pt x="1488" y="561"/>
                  <a:pt x="1488" y="561"/>
                  <a:pt x="1488" y="561"/>
                </a:cubicBezTo>
                <a:cubicBezTo>
                  <a:pt x="1488" y="561"/>
                  <a:pt x="1488" y="561"/>
                  <a:pt x="1488" y="560"/>
                </a:cubicBezTo>
                <a:cubicBezTo>
                  <a:pt x="1488" y="561"/>
                  <a:pt x="1488" y="561"/>
                  <a:pt x="1489" y="561"/>
                </a:cubicBezTo>
                <a:cubicBezTo>
                  <a:pt x="1489" y="560"/>
                  <a:pt x="1489" y="560"/>
                  <a:pt x="1488" y="560"/>
                </a:cubicBezTo>
                <a:cubicBezTo>
                  <a:pt x="1489" y="560"/>
                  <a:pt x="1489" y="560"/>
                  <a:pt x="1489" y="560"/>
                </a:cubicBezTo>
                <a:cubicBezTo>
                  <a:pt x="1489" y="560"/>
                  <a:pt x="1489" y="560"/>
                  <a:pt x="1489" y="560"/>
                </a:cubicBezTo>
                <a:cubicBezTo>
                  <a:pt x="1489" y="560"/>
                  <a:pt x="1489" y="560"/>
                  <a:pt x="1489" y="559"/>
                </a:cubicBezTo>
                <a:cubicBezTo>
                  <a:pt x="1489" y="559"/>
                  <a:pt x="1489" y="559"/>
                  <a:pt x="1488" y="559"/>
                </a:cubicBezTo>
                <a:cubicBezTo>
                  <a:pt x="1488" y="559"/>
                  <a:pt x="1489" y="559"/>
                  <a:pt x="1489" y="559"/>
                </a:cubicBezTo>
                <a:cubicBezTo>
                  <a:pt x="1489" y="559"/>
                  <a:pt x="1489" y="559"/>
                  <a:pt x="1489" y="558"/>
                </a:cubicBezTo>
                <a:cubicBezTo>
                  <a:pt x="1489" y="558"/>
                  <a:pt x="1488" y="558"/>
                  <a:pt x="1488" y="558"/>
                </a:cubicBezTo>
                <a:cubicBezTo>
                  <a:pt x="1488" y="558"/>
                  <a:pt x="1488" y="558"/>
                  <a:pt x="1488" y="558"/>
                </a:cubicBezTo>
                <a:cubicBezTo>
                  <a:pt x="1488" y="557"/>
                  <a:pt x="1488" y="557"/>
                  <a:pt x="1488" y="557"/>
                </a:cubicBezTo>
                <a:cubicBezTo>
                  <a:pt x="1487" y="556"/>
                  <a:pt x="1487" y="556"/>
                  <a:pt x="1487" y="555"/>
                </a:cubicBezTo>
                <a:cubicBezTo>
                  <a:pt x="1487" y="555"/>
                  <a:pt x="1486" y="555"/>
                  <a:pt x="1486" y="555"/>
                </a:cubicBezTo>
                <a:cubicBezTo>
                  <a:pt x="1486" y="554"/>
                  <a:pt x="1486" y="554"/>
                  <a:pt x="1486" y="554"/>
                </a:cubicBezTo>
                <a:cubicBezTo>
                  <a:pt x="1486" y="554"/>
                  <a:pt x="1486" y="554"/>
                  <a:pt x="1486" y="554"/>
                </a:cubicBezTo>
                <a:cubicBezTo>
                  <a:pt x="1486" y="554"/>
                  <a:pt x="1486" y="554"/>
                  <a:pt x="1487" y="554"/>
                </a:cubicBezTo>
                <a:cubicBezTo>
                  <a:pt x="1487" y="554"/>
                  <a:pt x="1487" y="554"/>
                  <a:pt x="1487" y="554"/>
                </a:cubicBezTo>
                <a:cubicBezTo>
                  <a:pt x="1487" y="554"/>
                  <a:pt x="1487" y="554"/>
                  <a:pt x="1487" y="555"/>
                </a:cubicBezTo>
                <a:cubicBezTo>
                  <a:pt x="1488" y="554"/>
                  <a:pt x="1488" y="554"/>
                  <a:pt x="1488" y="554"/>
                </a:cubicBezTo>
                <a:cubicBezTo>
                  <a:pt x="1488" y="554"/>
                  <a:pt x="1489" y="554"/>
                  <a:pt x="1489" y="554"/>
                </a:cubicBezTo>
                <a:cubicBezTo>
                  <a:pt x="1489" y="554"/>
                  <a:pt x="1490" y="554"/>
                  <a:pt x="1491" y="554"/>
                </a:cubicBezTo>
                <a:cubicBezTo>
                  <a:pt x="1491" y="554"/>
                  <a:pt x="1492" y="554"/>
                  <a:pt x="1492" y="554"/>
                </a:cubicBezTo>
                <a:cubicBezTo>
                  <a:pt x="1493" y="554"/>
                  <a:pt x="1493" y="553"/>
                  <a:pt x="1493" y="553"/>
                </a:cubicBezTo>
                <a:cubicBezTo>
                  <a:pt x="1494" y="553"/>
                  <a:pt x="1494" y="553"/>
                  <a:pt x="1494" y="553"/>
                </a:cubicBezTo>
                <a:cubicBezTo>
                  <a:pt x="1494" y="553"/>
                  <a:pt x="1494" y="553"/>
                  <a:pt x="1494" y="553"/>
                </a:cubicBezTo>
                <a:cubicBezTo>
                  <a:pt x="1495" y="553"/>
                  <a:pt x="1495" y="553"/>
                  <a:pt x="1495" y="553"/>
                </a:cubicBezTo>
                <a:cubicBezTo>
                  <a:pt x="1496" y="553"/>
                  <a:pt x="1496" y="553"/>
                  <a:pt x="1496" y="554"/>
                </a:cubicBezTo>
                <a:cubicBezTo>
                  <a:pt x="1496" y="554"/>
                  <a:pt x="1497" y="554"/>
                  <a:pt x="1497" y="554"/>
                </a:cubicBezTo>
                <a:cubicBezTo>
                  <a:pt x="1497" y="554"/>
                  <a:pt x="1498" y="554"/>
                  <a:pt x="1498" y="553"/>
                </a:cubicBezTo>
                <a:cubicBezTo>
                  <a:pt x="1498" y="553"/>
                  <a:pt x="1498" y="553"/>
                  <a:pt x="1498" y="553"/>
                </a:cubicBezTo>
                <a:cubicBezTo>
                  <a:pt x="1498" y="553"/>
                  <a:pt x="1498" y="552"/>
                  <a:pt x="1497" y="552"/>
                </a:cubicBezTo>
                <a:cubicBezTo>
                  <a:pt x="1497" y="552"/>
                  <a:pt x="1496" y="552"/>
                  <a:pt x="1495" y="552"/>
                </a:cubicBezTo>
                <a:cubicBezTo>
                  <a:pt x="1495" y="552"/>
                  <a:pt x="1494" y="552"/>
                  <a:pt x="1494" y="552"/>
                </a:cubicBezTo>
                <a:cubicBezTo>
                  <a:pt x="1494" y="552"/>
                  <a:pt x="1493" y="551"/>
                  <a:pt x="1493" y="551"/>
                </a:cubicBezTo>
                <a:cubicBezTo>
                  <a:pt x="1493" y="551"/>
                  <a:pt x="1492" y="551"/>
                  <a:pt x="1492" y="551"/>
                </a:cubicBezTo>
                <a:cubicBezTo>
                  <a:pt x="1492" y="551"/>
                  <a:pt x="1491" y="551"/>
                  <a:pt x="1491" y="551"/>
                </a:cubicBezTo>
                <a:cubicBezTo>
                  <a:pt x="1491" y="551"/>
                  <a:pt x="1490" y="551"/>
                  <a:pt x="1490" y="551"/>
                </a:cubicBezTo>
                <a:cubicBezTo>
                  <a:pt x="1490" y="551"/>
                  <a:pt x="1490" y="551"/>
                  <a:pt x="1489" y="551"/>
                </a:cubicBezTo>
                <a:cubicBezTo>
                  <a:pt x="1489" y="551"/>
                  <a:pt x="1489" y="551"/>
                  <a:pt x="1489" y="550"/>
                </a:cubicBezTo>
                <a:cubicBezTo>
                  <a:pt x="1488" y="550"/>
                  <a:pt x="1488" y="550"/>
                  <a:pt x="1488" y="550"/>
                </a:cubicBezTo>
                <a:cubicBezTo>
                  <a:pt x="1488" y="550"/>
                  <a:pt x="1487" y="550"/>
                  <a:pt x="1487" y="550"/>
                </a:cubicBezTo>
                <a:cubicBezTo>
                  <a:pt x="1486" y="551"/>
                  <a:pt x="1486" y="551"/>
                  <a:pt x="1486" y="551"/>
                </a:cubicBezTo>
                <a:cubicBezTo>
                  <a:pt x="1485" y="551"/>
                  <a:pt x="1485" y="551"/>
                  <a:pt x="1485" y="551"/>
                </a:cubicBezTo>
                <a:cubicBezTo>
                  <a:pt x="1484" y="551"/>
                  <a:pt x="1484" y="551"/>
                  <a:pt x="1484" y="551"/>
                </a:cubicBezTo>
                <a:cubicBezTo>
                  <a:pt x="1484" y="551"/>
                  <a:pt x="1484" y="551"/>
                  <a:pt x="1484" y="551"/>
                </a:cubicBezTo>
                <a:cubicBezTo>
                  <a:pt x="1483" y="550"/>
                  <a:pt x="1483" y="550"/>
                  <a:pt x="1483" y="549"/>
                </a:cubicBezTo>
                <a:cubicBezTo>
                  <a:pt x="1483" y="549"/>
                  <a:pt x="1482" y="548"/>
                  <a:pt x="1482" y="548"/>
                </a:cubicBezTo>
                <a:cubicBezTo>
                  <a:pt x="1482" y="547"/>
                  <a:pt x="1482" y="547"/>
                  <a:pt x="1482" y="546"/>
                </a:cubicBezTo>
                <a:cubicBezTo>
                  <a:pt x="1482" y="546"/>
                  <a:pt x="1482" y="546"/>
                  <a:pt x="1482" y="545"/>
                </a:cubicBezTo>
                <a:cubicBezTo>
                  <a:pt x="1483" y="545"/>
                  <a:pt x="1483" y="544"/>
                  <a:pt x="1484" y="544"/>
                </a:cubicBezTo>
                <a:cubicBezTo>
                  <a:pt x="1484" y="544"/>
                  <a:pt x="1484" y="544"/>
                  <a:pt x="1485" y="544"/>
                </a:cubicBezTo>
                <a:cubicBezTo>
                  <a:pt x="1485" y="544"/>
                  <a:pt x="1485" y="544"/>
                  <a:pt x="1486" y="544"/>
                </a:cubicBezTo>
                <a:cubicBezTo>
                  <a:pt x="1486" y="544"/>
                  <a:pt x="1487" y="544"/>
                  <a:pt x="1487" y="545"/>
                </a:cubicBezTo>
                <a:cubicBezTo>
                  <a:pt x="1487" y="545"/>
                  <a:pt x="1488" y="545"/>
                  <a:pt x="1488" y="545"/>
                </a:cubicBezTo>
                <a:cubicBezTo>
                  <a:pt x="1489" y="545"/>
                  <a:pt x="1490" y="545"/>
                  <a:pt x="1490" y="545"/>
                </a:cubicBezTo>
                <a:cubicBezTo>
                  <a:pt x="1491" y="545"/>
                  <a:pt x="1491" y="546"/>
                  <a:pt x="1491" y="546"/>
                </a:cubicBezTo>
                <a:cubicBezTo>
                  <a:pt x="1491" y="546"/>
                  <a:pt x="1492" y="546"/>
                  <a:pt x="1492" y="546"/>
                </a:cubicBezTo>
                <a:cubicBezTo>
                  <a:pt x="1492" y="546"/>
                  <a:pt x="1492" y="547"/>
                  <a:pt x="1493" y="547"/>
                </a:cubicBezTo>
                <a:cubicBezTo>
                  <a:pt x="1493" y="547"/>
                  <a:pt x="1493" y="547"/>
                  <a:pt x="1493" y="547"/>
                </a:cubicBezTo>
                <a:cubicBezTo>
                  <a:pt x="1494" y="547"/>
                  <a:pt x="1494" y="547"/>
                  <a:pt x="1495" y="548"/>
                </a:cubicBezTo>
                <a:cubicBezTo>
                  <a:pt x="1495" y="548"/>
                  <a:pt x="1496" y="548"/>
                  <a:pt x="1496" y="548"/>
                </a:cubicBezTo>
                <a:cubicBezTo>
                  <a:pt x="1496" y="548"/>
                  <a:pt x="1496" y="548"/>
                  <a:pt x="1496" y="548"/>
                </a:cubicBezTo>
                <a:cubicBezTo>
                  <a:pt x="1497" y="548"/>
                  <a:pt x="1497" y="548"/>
                  <a:pt x="1498" y="548"/>
                </a:cubicBezTo>
                <a:cubicBezTo>
                  <a:pt x="1498" y="548"/>
                  <a:pt x="1498" y="548"/>
                  <a:pt x="1498" y="549"/>
                </a:cubicBezTo>
                <a:cubicBezTo>
                  <a:pt x="1498" y="549"/>
                  <a:pt x="1498" y="549"/>
                  <a:pt x="1498" y="549"/>
                </a:cubicBezTo>
                <a:cubicBezTo>
                  <a:pt x="1499" y="549"/>
                  <a:pt x="1499" y="549"/>
                  <a:pt x="1499" y="550"/>
                </a:cubicBezTo>
                <a:cubicBezTo>
                  <a:pt x="1500" y="550"/>
                  <a:pt x="1502" y="550"/>
                  <a:pt x="1503" y="550"/>
                </a:cubicBezTo>
                <a:cubicBezTo>
                  <a:pt x="1503" y="550"/>
                  <a:pt x="1504" y="550"/>
                  <a:pt x="1505" y="550"/>
                </a:cubicBezTo>
                <a:cubicBezTo>
                  <a:pt x="1505" y="550"/>
                  <a:pt x="1505" y="550"/>
                  <a:pt x="1505" y="550"/>
                </a:cubicBezTo>
                <a:cubicBezTo>
                  <a:pt x="1505" y="550"/>
                  <a:pt x="1506" y="550"/>
                  <a:pt x="1506" y="550"/>
                </a:cubicBezTo>
                <a:cubicBezTo>
                  <a:pt x="1506" y="550"/>
                  <a:pt x="1506" y="550"/>
                  <a:pt x="1506" y="550"/>
                </a:cubicBezTo>
                <a:cubicBezTo>
                  <a:pt x="1507" y="550"/>
                  <a:pt x="1507" y="550"/>
                  <a:pt x="1507" y="550"/>
                </a:cubicBezTo>
                <a:cubicBezTo>
                  <a:pt x="1507" y="549"/>
                  <a:pt x="1508" y="549"/>
                  <a:pt x="1508" y="549"/>
                </a:cubicBezTo>
                <a:cubicBezTo>
                  <a:pt x="1508" y="549"/>
                  <a:pt x="1508" y="549"/>
                  <a:pt x="1508" y="549"/>
                </a:cubicBezTo>
                <a:cubicBezTo>
                  <a:pt x="1509" y="549"/>
                  <a:pt x="1509" y="549"/>
                  <a:pt x="1509" y="549"/>
                </a:cubicBezTo>
                <a:cubicBezTo>
                  <a:pt x="1509" y="548"/>
                  <a:pt x="1509" y="548"/>
                  <a:pt x="1509" y="548"/>
                </a:cubicBezTo>
                <a:cubicBezTo>
                  <a:pt x="1509" y="548"/>
                  <a:pt x="1509" y="548"/>
                  <a:pt x="1509" y="548"/>
                </a:cubicBezTo>
                <a:cubicBezTo>
                  <a:pt x="1508" y="547"/>
                  <a:pt x="1508" y="547"/>
                  <a:pt x="1507" y="547"/>
                </a:cubicBezTo>
                <a:cubicBezTo>
                  <a:pt x="1507" y="547"/>
                  <a:pt x="1507" y="547"/>
                  <a:pt x="1506" y="547"/>
                </a:cubicBezTo>
                <a:cubicBezTo>
                  <a:pt x="1506" y="547"/>
                  <a:pt x="1506" y="547"/>
                  <a:pt x="1506" y="547"/>
                </a:cubicBezTo>
                <a:cubicBezTo>
                  <a:pt x="1506" y="547"/>
                  <a:pt x="1505" y="548"/>
                  <a:pt x="1505" y="548"/>
                </a:cubicBezTo>
                <a:cubicBezTo>
                  <a:pt x="1505" y="548"/>
                  <a:pt x="1505" y="548"/>
                  <a:pt x="1505" y="548"/>
                </a:cubicBezTo>
                <a:cubicBezTo>
                  <a:pt x="1505" y="548"/>
                  <a:pt x="1504" y="548"/>
                  <a:pt x="1504" y="548"/>
                </a:cubicBezTo>
                <a:cubicBezTo>
                  <a:pt x="1504" y="548"/>
                  <a:pt x="1503" y="548"/>
                  <a:pt x="1503" y="548"/>
                </a:cubicBezTo>
                <a:cubicBezTo>
                  <a:pt x="1503" y="548"/>
                  <a:pt x="1503" y="548"/>
                  <a:pt x="1502" y="548"/>
                </a:cubicBezTo>
                <a:cubicBezTo>
                  <a:pt x="1502" y="548"/>
                  <a:pt x="1502" y="548"/>
                  <a:pt x="1501" y="548"/>
                </a:cubicBezTo>
                <a:cubicBezTo>
                  <a:pt x="1501" y="548"/>
                  <a:pt x="1500" y="547"/>
                  <a:pt x="1499" y="547"/>
                </a:cubicBezTo>
                <a:cubicBezTo>
                  <a:pt x="1499" y="547"/>
                  <a:pt x="1498" y="546"/>
                  <a:pt x="1497" y="546"/>
                </a:cubicBezTo>
                <a:close/>
                <a:moveTo>
                  <a:pt x="1496" y="557"/>
                </a:moveTo>
                <a:cubicBezTo>
                  <a:pt x="1495" y="557"/>
                  <a:pt x="1495" y="557"/>
                  <a:pt x="1495" y="557"/>
                </a:cubicBezTo>
                <a:cubicBezTo>
                  <a:pt x="1495" y="557"/>
                  <a:pt x="1496" y="557"/>
                  <a:pt x="1496" y="557"/>
                </a:cubicBezTo>
                <a:cubicBezTo>
                  <a:pt x="1496" y="557"/>
                  <a:pt x="1496" y="557"/>
                  <a:pt x="1496" y="557"/>
                </a:cubicBezTo>
                <a:close/>
                <a:moveTo>
                  <a:pt x="1497" y="557"/>
                </a:moveTo>
                <a:cubicBezTo>
                  <a:pt x="1497" y="557"/>
                  <a:pt x="1497" y="556"/>
                  <a:pt x="1497" y="556"/>
                </a:cubicBezTo>
                <a:cubicBezTo>
                  <a:pt x="1497" y="556"/>
                  <a:pt x="1497" y="556"/>
                  <a:pt x="1496" y="556"/>
                </a:cubicBezTo>
                <a:cubicBezTo>
                  <a:pt x="1497" y="556"/>
                  <a:pt x="1497" y="557"/>
                  <a:pt x="1497" y="557"/>
                </a:cubicBezTo>
                <a:close/>
                <a:moveTo>
                  <a:pt x="1525" y="568"/>
                </a:moveTo>
                <a:cubicBezTo>
                  <a:pt x="1525" y="568"/>
                  <a:pt x="1525" y="568"/>
                  <a:pt x="1525" y="568"/>
                </a:cubicBezTo>
                <a:cubicBezTo>
                  <a:pt x="1525" y="568"/>
                  <a:pt x="1526" y="569"/>
                  <a:pt x="1526" y="569"/>
                </a:cubicBezTo>
                <a:cubicBezTo>
                  <a:pt x="1527" y="569"/>
                  <a:pt x="1527" y="569"/>
                  <a:pt x="1528" y="569"/>
                </a:cubicBezTo>
                <a:cubicBezTo>
                  <a:pt x="1528" y="569"/>
                  <a:pt x="1528" y="569"/>
                  <a:pt x="1527" y="569"/>
                </a:cubicBezTo>
                <a:cubicBezTo>
                  <a:pt x="1527" y="569"/>
                  <a:pt x="1528" y="569"/>
                  <a:pt x="1528" y="568"/>
                </a:cubicBezTo>
                <a:cubicBezTo>
                  <a:pt x="1527" y="568"/>
                  <a:pt x="1527" y="568"/>
                  <a:pt x="1527" y="568"/>
                </a:cubicBezTo>
                <a:cubicBezTo>
                  <a:pt x="1527" y="568"/>
                  <a:pt x="1526" y="568"/>
                  <a:pt x="1525" y="568"/>
                </a:cubicBezTo>
                <a:cubicBezTo>
                  <a:pt x="1525" y="568"/>
                  <a:pt x="1525" y="568"/>
                  <a:pt x="1525" y="568"/>
                </a:cubicBezTo>
                <a:close/>
                <a:moveTo>
                  <a:pt x="1517" y="559"/>
                </a:moveTo>
                <a:cubicBezTo>
                  <a:pt x="1516" y="559"/>
                  <a:pt x="1516" y="559"/>
                  <a:pt x="1516" y="559"/>
                </a:cubicBezTo>
                <a:cubicBezTo>
                  <a:pt x="1516" y="559"/>
                  <a:pt x="1516" y="559"/>
                  <a:pt x="1516" y="559"/>
                </a:cubicBezTo>
                <a:cubicBezTo>
                  <a:pt x="1516" y="559"/>
                  <a:pt x="1516" y="559"/>
                  <a:pt x="1516" y="559"/>
                </a:cubicBezTo>
                <a:cubicBezTo>
                  <a:pt x="1516" y="560"/>
                  <a:pt x="1516" y="560"/>
                  <a:pt x="1516" y="560"/>
                </a:cubicBezTo>
                <a:cubicBezTo>
                  <a:pt x="1516" y="560"/>
                  <a:pt x="1516" y="560"/>
                  <a:pt x="1517" y="560"/>
                </a:cubicBezTo>
                <a:cubicBezTo>
                  <a:pt x="1517" y="560"/>
                  <a:pt x="1517" y="561"/>
                  <a:pt x="1517" y="561"/>
                </a:cubicBezTo>
                <a:cubicBezTo>
                  <a:pt x="1517" y="561"/>
                  <a:pt x="1517" y="561"/>
                  <a:pt x="1518" y="561"/>
                </a:cubicBezTo>
                <a:cubicBezTo>
                  <a:pt x="1517" y="561"/>
                  <a:pt x="1517" y="560"/>
                  <a:pt x="1517" y="560"/>
                </a:cubicBezTo>
                <a:cubicBezTo>
                  <a:pt x="1517" y="560"/>
                  <a:pt x="1517" y="560"/>
                  <a:pt x="1517" y="560"/>
                </a:cubicBezTo>
                <a:cubicBezTo>
                  <a:pt x="1517" y="560"/>
                  <a:pt x="1517" y="560"/>
                  <a:pt x="1517" y="559"/>
                </a:cubicBezTo>
                <a:cubicBezTo>
                  <a:pt x="1517" y="559"/>
                  <a:pt x="1517" y="559"/>
                  <a:pt x="1517" y="559"/>
                </a:cubicBezTo>
                <a:close/>
                <a:moveTo>
                  <a:pt x="1484" y="567"/>
                </a:moveTo>
                <a:cubicBezTo>
                  <a:pt x="1484" y="567"/>
                  <a:pt x="1484" y="567"/>
                  <a:pt x="1484" y="566"/>
                </a:cubicBezTo>
                <a:cubicBezTo>
                  <a:pt x="1484" y="566"/>
                  <a:pt x="1484" y="566"/>
                  <a:pt x="1484" y="566"/>
                </a:cubicBezTo>
                <a:cubicBezTo>
                  <a:pt x="1484" y="566"/>
                  <a:pt x="1483" y="566"/>
                  <a:pt x="1483" y="566"/>
                </a:cubicBezTo>
                <a:cubicBezTo>
                  <a:pt x="1483" y="566"/>
                  <a:pt x="1483" y="566"/>
                  <a:pt x="1483" y="566"/>
                </a:cubicBezTo>
                <a:cubicBezTo>
                  <a:pt x="1483" y="566"/>
                  <a:pt x="1483" y="566"/>
                  <a:pt x="1483" y="566"/>
                </a:cubicBezTo>
                <a:cubicBezTo>
                  <a:pt x="1483" y="566"/>
                  <a:pt x="1483" y="567"/>
                  <a:pt x="1483" y="567"/>
                </a:cubicBezTo>
                <a:cubicBezTo>
                  <a:pt x="1483" y="567"/>
                  <a:pt x="1483" y="567"/>
                  <a:pt x="1483" y="567"/>
                </a:cubicBezTo>
                <a:cubicBezTo>
                  <a:pt x="1484" y="567"/>
                  <a:pt x="1484" y="567"/>
                  <a:pt x="1484" y="567"/>
                </a:cubicBezTo>
                <a:close/>
                <a:moveTo>
                  <a:pt x="1474" y="571"/>
                </a:move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4" y="571"/>
                </a:cubicBezTo>
                <a:close/>
                <a:moveTo>
                  <a:pt x="1492" y="582"/>
                </a:moveTo>
                <a:cubicBezTo>
                  <a:pt x="1492" y="581"/>
                  <a:pt x="1492" y="581"/>
                  <a:pt x="1492" y="581"/>
                </a:cubicBezTo>
                <a:cubicBezTo>
                  <a:pt x="1491" y="581"/>
                  <a:pt x="1491" y="581"/>
                  <a:pt x="1491" y="581"/>
                </a:cubicBezTo>
                <a:cubicBezTo>
                  <a:pt x="1491" y="581"/>
                  <a:pt x="1491" y="581"/>
                  <a:pt x="1491" y="582"/>
                </a:cubicBezTo>
                <a:cubicBezTo>
                  <a:pt x="1491" y="582"/>
                  <a:pt x="1491" y="582"/>
                  <a:pt x="1490" y="582"/>
                </a:cubicBezTo>
                <a:cubicBezTo>
                  <a:pt x="1490" y="582"/>
                  <a:pt x="1490" y="582"/>
                  <a:pt x="1490" y="582"/>
                </a:cubicBezTo>
                <a:cubicBezTo>
                  <a:pt x="1491" y="582"/>
                  <a:pt x="1491" y="582"/>
                  <a:pt x="1491" y="582"/>
                </a:cubicBezTo>
                <a:cubicBezTo>
                  <a:pt x="1492" y="582"/>
                  <a:pt x="1492" y="582"/>
                  <a:pt x="1493" y="583"/>
                </a:cubicBezTo>
                <a:cubicBezTo>
                  <a:pt x="1493" y="582"/>
                  <a:pt x="1493" y="582"/>
                  <a:pt x="1493" y="582"/>
                </a:cubicBezTo>
                <a:cubicBezTo>
                  <a:pt x="1493" y="582"/>
                  <a:pt x="1493" y="582"/>
                  <a:pt x="1493" y="582"/>
                </a:cubicBezTo>
                <a:cubicBezTo>
                  <a:pt x="1493" y="582"/>
                  <a:pt x="1492" y="582"/>
                  <a:pt x="1492" y="582"/>
                </a:cubicBezTo>
                <a:close/>
                <a:moveTo>
                  <a:pt x="1489" y="549"/>
                </a:moveTo>
                <a:cubicBezTo>
                  <a:pt x="1489" y="549"/>
                  <a:pt x="1489" y="549"/>
                  <a:pt x="1490" y="549"/>
                </a:cubicBezTo>
                <a:cubicBezTo>
                  <a:pt x="1490" y="549"/>
                  <a:pt x="1490" y="549"/>
                  <a:pt x="1490" y="550"/>
                </a:cubicBezTo>
                <a:cubicBezTo>
                  <a:pt x="1490" y="549"/>
                  <a:pt x="1490" y="549"/>
                  <a:pt x="1490" y="549"/>
                </a:cubicBezTo>
                <a:cubicBezTo>
                  <a:pt x="1490" y="549"/>
                  <a:pt x="1489" y="549"/>
                  <a:pt x="1489" y="549"/>
                </a:cubicBezTo>
                <a:close/>
                <a:moveTo>
                  <a:pt x="1525" y="550"/>
                </a:moveTo>
                <a:cubicBezTo>
                  <a:pt x="1525" y="550"/>
                  <a:pt x="1525" y="550"/>
                  <a:pt x="1525" y="550"/>
                </a:cubicBezTo>
                <a:cubicBezTo>
                  <a:pt x="1524" y="550"/>
                  <a:pt x="1524" y="550"/>
                  <a:pt x="1524" y="550"/>
                </a:cubicBezTo>
                <a:cubicBezTo>
                  <a:pt x="1524" y="551"/>
                  <a:pt x="1524" y="551"/>
                  <a:pt x="1524" y="552"/>
                </a:cubicBezTo>
                <a:cubicBezTo>
                  <a:pt x="1524" y="552"/>
                  <a:pt x="1524" y="551"/>
                  <a:pt x="1524" y="551"/>
                </a:cubicBezTo>
                <a:cubicBezTo>
                  <a:pt x="1525" y="552"/>
                  <a:pt x="1525" y="552"/>
                  <a:pt x="1525" y="552"/>
                </a:cubicBezTo>
                <a:cubicBezTo>
                  <a:pt x="1525" y="552"/>
                  <a:pt x="1526" y="552"/>
                  <a:pt x="1526" y="552"/>
                </a:cubicBezTo>
                <a:cubicBezTo>
                  <a:pt x="1526" y="551"/>
                  <a:pt x="1526" y="551"/>
                  <a:pt x="1526" y="551"/>
                </a:cubicBezTo>
                <a:cubicBezTo>
                  <a:pt x="1526" y="551"/>
                  <a:pt x="1525" y="551"/>
                  <a:pt x="1525" y="550"/>
                </a:cubicBezTo>
                <a:close/>
                <a:moveTo>
                  <a:pt x="1485" y="567"/>
                </a:moveTo>
                <a:cubicBezTo>
                  <a:pt x="1485" y="567"/>
                  <a:pt x="1485" y="567"/>
                  <a:pt x="1485" y="567"/>
                </a:cubicBezTo>
                <a:cubicBezTo>
                  <a:pt x="1486" y="568"/>
                  <a:pt x="1486" y="568"/>
                  <a:pt x="1486" y="568"/>
                </a:cubicBezTo>
                <a:cubicBezTo>
                  <a:pt x="1486" y="568"/>
                  <a:pt x="1486" y="568"/>
                  <a:pt x="1486" y="567"/>
                </a:cubicBezTo>
                <a:cubicBezTo>
                  <a:pt x="1487" y="567"/>
                  <a:pt x="1487" y="567"/>
                  <a:pt x="1487" y="567"/>
                </a:cubicBezTo>
                <a:cubicBezTo>
                  <a:pt x="1487" y="567"/>
                  <a:pt x="1487" y="567"/>
                  <a:pt x="1487" y="567"/>
                </a:cubicBezTo>
                <a:cubicBezTo>
                  <a:pt x="1487" y="567"/>
                  <a:pt x="1488" y="567"/>
                  <a:pt x="1488" y="567"/>
                </a:cubicBezTo>
                <a:cubicBezTo>
                  <a:pt x="1488" y="567"/>
                  <a:pt x="1488" y="566"/>
                  <a:pt x="1488" y="566"/>
                </a:cubicBezTo>
                <a:cubicBezTo>
                  <a:pt x="1488" y="566"/>
                  <a:pt x="1488" y="566"/>
                  <a:pt x="1488" y="566"/>
                </a:cubicBezTo>
                <a:cubicBezTo>
                  <a:pt x="1488" y="566"/>
                  <a:pt x="1487" y="566"/>
                  <a:pt x="1487" y="566"/>
                </a:cubicBezTo>
                <a:cubicBezTo>
                  <a:pt x="1487" y="566"/>
                  <a:pt x="1486" y="566"/>
                  <a:pt x="1486" y="566"/>
                </a:cubicBezTo>
                <a:cubicBezTo>
                  <a:pt x="1486" y="566"/>
                  <a:pt x="1486" y="566"/>
                  <a:pt x="1486" y="566"/>
                </a:cubicBezTo>
                <a:cubicBezTo>
                  <a:pt x="1486" y="567"/>
                  <a:pt x="1486" y="567"/>
                  <a:pt x="1485" y="567"/>
                </a:cubicBezTo>
                <a:cubicBezTo>
                  <a:pt x="1485" y="567"/>
                  <a:pt x="1485" y="567"/>
                  <a:pt x="1485" y="567"/>
                </a:cubicBezTo>
                <a:close/>
                <a:moveTo>
                  <a:pt x="1433" y="534"/>
                </a:moveTo>
                <a:cubicBezTo>
                  <a:pt x="1434" y="534"/>
                  <a:pt x="1434" y="534"/>
                  <a:pt x="1434" y="534"/>
                </a:cubicBezTo>
                <a:cubicBezTo>
                  <a:pt x="1434" y="533"/>
                  <a:pt x="1434" y="533"/>
                  <a:pt x="1434" y="533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2" y="533"/>
                  <a:pt x="1432" y="533"/>
                  <a:pt x="1432" y="533"/>
                </a:cubicBezTo>
                <a:cubicBezTo>
                  <a:pt x="1432" y="534"/>
                  <a:pt x="1432" y="534"/>
                  <a:pt x="1432" y="534"/>
                </a:cubicBezTo>
                <a:cubicBezTo>
                  <a:pt x="1433" y="534"/>
                  <a:pt x="1433" y="534"/>
                  <a:pt x="1433" y="534"/>
                </a:cubicBezTo>
                <a:close/>
                <a:moveTo>
                  <a:pt x="1443" y="559"/>
                </a:moveTo>
                <a:cubicBezTo>
                  <a:pt x="1442" y="559"/>
                  <a:pt x="1441" y="559"/>
                  <a:pt x="1440" y="558"/>
                </a:cubicBezTo>
                <a:cubicBezTo>
                  <a:pt x="1440" y="558"/>
                  <a:pt x="1440" y="558"/>
                  <a:pt x="1440" y="558"/>
                </a:cubicBezTo>
                <a:cubicBezTo>
                  <a:pt x="1440" y="558"/>
                  <a:pt x="1439" y="558"/>
                  <a:pt x="1439" y="559"/>
                </a:cubicBezTo>
                <a:cubicBezTo>
                  <a:pt x="1439" y="559"/>
                  <a:pt x="1440" y="559"/>
                  <a:pt x="1440" y="560"/>
                </a:cubicBezTo>
                <a:cubicBezTo>
                  <a:pt x="1440" y="560"/>
                  <a:pt x="1440" y="560"/>
                  <a:pt x="1440" y="560"/>
                </a:cubicBezTo>
                <a:cubicBezTo>
                  <a:pt x="1441" y="560"/>
                  <a:pt x="1441" y="560"/>
                  <a:pt x="1441" y="560"/>
                </a:cubicBezTo>
                <a:cubicBezTo>
                  <a:pt x="1442" y="560"/>
                  <a:pt x="1442" y="560"/>
                  <a:pt x="1443" y="560"/>
                </a:cubicBezTo>
                <a:cubicBezTo>
                  <a:pt x="1443" y="560"/>
                  <a:pt x="1443" y="560"/>
                  <a:pt x="1444" y="560"/>
                </a:cubicBezTo>
                <a:cubicBezTo>
                  <a:pt x="1444" y="560"/>
                  <a:pt x="1444" y="561"/>
                  <a:pt x="1445" y="561"/>
                </a:cubicBezTo>
                <a:cubicBezTo>
                  <a:pt x="1445" y="561"/>
                  <a:pt x="1445" y="560"/>
                  <a:pt x="1445" y="560"/>
                </a:cubicBezTo>
                <a:cubicBezTo>
                  <a:pt x="1445" y="560"/>
                  <a:pt x="1445" y="560"/>
                  <a:pt x="1445" y="560"/>
                </a:cubicBezTo>
                <a:cubicBezTo>
                  <a:pt x="1444" y="560"/>
                  <a:pt x="1444" y="560"/>
                  <a:pt x="1444" y="560"/>
                </a:cubicBezTo>
                <a:cubicBezTo>
                  <a:pt x="1443" y="560"/>
                  <a:pt x="1443" y="559"/>
                  <a:pt x="1443" y="559"/>
                </a:cubicBezTo>
                <a:close/>
                <a:moveTo>
                  <a:pt x="1451" y="562"/>
                </a:moveTo>
                <a:cubicBezTo>
                  <a:pt x="1451" y="562"/>
                  <a:pt x="1452" y="562"/>
                  <a:pt x="1452" y="562"/>
                </a:cubicBezTo>
                <a:cubicBezTo>
                  <a:pt x="1452" y="562"/>
                  <a:pt x="1452" y="562"/>
                  <a:pt x="1452" y="562"/>
                </a:cubicBezTo>
                <a:cubicBezTo>
                  <a:pt x="1452" y="562"/>
                  <a:pt x="1452" y="562"/>
                  <a:pt x="1452" y="562"/>
                </a:cubicBezTo>
                <a:cubicBezTo>
                  <a:pt x="1452" y="562"/>
                  <a:pt x="1452" y="562"/>
                  <a:pt x="1451" y="562"/>
                </a:cubicBezTo>
                <a:cubicBezTo>
                  <a:pt x="1451" y="562"/>
                  <a:pt x="1451" y="562"/>
                  <a:pt x="1451" y="561"/>
                </a:cubicBezTo>
                <a:cubicBezTo>
                  <a:pt x="1450" y="562"/>
                  <a:pt x="1450" y="562"/>
                  <a:pt x="1450" y="562"/>
                </a:cubicBezTo>
                <a:cubicBezTo>
                  <a:pt x="1450" y="562"/>
                  <a:pt x="1450" y="562"/>
                  <a:pt x="1450" y="562"/>
                </a:cubicBezTo>
                <a:cubicBezTo>
                  <a:pt x="1450" y="562"/>
                  <a:pt x="1450" y="562"/>
                  <a:pt x="1451" y="562"/>
                </a:cubicBezTo>
                <a:cubicBezTo>
                  <a:pt x="1451" y="562"/>
                  <a:pt x="1451" y="562"/>
                  <a:pt x="1451" y="562"/>
                </a:cubicBezTo>
                <a:close/>
                <a:moveTo>
                  <a:pt x="1452" y="570"/>
                </a:moveTo>
                <a:cubicBezTo>
                  <a:pt x="1452" y="570"/>
                  <a:pt x="1453" y="570"/>
                  <a:pt x="1453" y="570"/>
                </a:cubicBezTo>
                <a:cubicBezTo>
                  <a:pt x="1453" y="571"/>
                  <a:pt x="1453" y="571"/>
                  <a:pt x="1453" y="571"/>
                </a:cubicBezTo>
                <a:cubicBezTo>
                  <a:pt x="1454" y="571"/>
                  <a:pt x="1454" y="570"/>
                  <a:pt x="1454" y="570"/>
                </a:cubicBezTo>
                <a:cubicBezTo>
                  <a:pt x="1454" y="570"/>
                  <a:pt x="1454" y="570"/>
                  <a:pt x="1454" y="570"/>
                </a:cubicBezTo>
                <a:cubicBezTo>
                  <a:pt x="1454" y="570"/>
                  <a:pt x="1455" y="569"/>
                  <a:pt x="1455" y="569"/>
                </a:cubicBezTo>
                <a:cubicBezTo>
                  <a:pt x="1454" y="569"/>
                  <a:pt x="1454" y="569"/>
                  <a:pt x="1453" y="568"/>
                </a:cubicBezTo>
                <a:cubicBezTo>
                  <a:pt x="1453" y="568"/>
                  <a:pt x="1453" y="568"/>
                  <a:pt x="1452" y="568"/>
                </a:cubicBezTo>
                <a:cubicBezTo>
                  <a:pt x="1452" y="569"/>
                  <a:pt x="1452" y="569"/>
                  <a:pt x="1452" y="569"/>
                </a:cubicBezTo>
                <a:cubicBezTo>
                  <a:pt x="1451" y="569"/>
                  <a:pt x="1451" y="569"/>
                  <a:pt x="1451" y="569"/>
                </a:cubicBezTo>
                <a:cubicBezTo>
                  <a:pt x="1451" y="569"/>
                  <a:pt x="1451" y="569"/>
                  <a:pt x="1450" y="569"/>
                </a:cubicBezTo>
                <a:cubicBezTo>
                  <a:pt x="1451" y="569"/>
                  <a:pt x="1451" y="569"/>
                  <a:pt x="1451" y="570"/>
                </a:cubicBezTo>
                <a:cubicBezTo>
                  <a:pt x="1451" y="570"/>
                  <a:pt x="1452" y="570"/>
                  <a:pt x="1452" y="570"/>
                </a:cubicBezTo>
                <a:close/>
                <a:moveTo>
                  <a:pt x="1433" y="530"/>
                </a:moveTo>
                <a:cubicBezTo>
                  <a:pt x="1433" y="530"/>
                  <a:pt x="1433" y="530"/>
                  <a:pt x="1433" y="530"/>
                </a:cubicBezTo>
                <a:cubicBezTo>
                  <a:pt x="1433" y="530"/>
                  <a:pt x="1432" y="530"/>
                  <a:pt x="1432" y="530"/>
                </a:cubicBezTo>
                <a:cubicBezTo>
                  <a:pt x="1432" y="530"/>
                  <a:pt x="1432" y="530"/>
                  <a:pt x="1432" y="530"/>
                </a:cubicBezTo>
                <a:cubicBezTo>
                  <a:pt x="1432" y="530"/>
                  <a:pt x="1432" y="530"/>
                  <a:pt x="1432" y="530"/>
                </a:cubicBezTo>
                <a:cubicBezTo>
                  <a:pt x="1432" y="530"/>
                  <a:pt x="1432" y="530"/>
                  <a:pt x="1433" y="530"/>
                </a:cubicBezTo>
                <a:cubicBezTo>
                  <a:pt x="1433" y="530"/>
                  <a:pt x="1433" y="530"/>
                  <a:pt x="1433" y="530"/>
                </a:cubicBezTo>
                <a:close/>
                <a:moveTo>
                  <a:pt x="1429" y="534"/>
                </a:move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30" y="534"/>
                  <a:pt x="1430" y="534"/>
                </a:cubicBezTo>
                <a:cubicBezTo>
                  <a:pt x="1430" y="534"/>
                  <a:pt x="1430" y="534"/>
                  <a:pt x="1429" y="534"/>
                </a:cubicBezTo>
                <a:close/>
                <a:moveTo>
                  <a:pt x="1461" y="551"/>
                </a:moveTo>
                <a:cubicBezTo>
                  <a:pt x="1461" y="551"/>
                  <a:pt x="1461" y="551"/>
                  <a:pt x="1461" y="551"/>
                </a:cubicBezTo>
                <a:cubicBezTo>
                  <a:pt x="1460" y="551"/>
                  <a:pt x="1460" y="551"/>
                  <a:pt x="1460" y="551"/>
                </a:cubicBezTo>
                <a:cubicBezTo>
                  <a:pt x="1460" y="552"/>
                  <a:pt x="1460" y="552"/>
                  <a:pt x="1460" y="552"/>
                </a:cubicBezTo>
                <a:cubicBezTo>
                  <a:pt x="1460" y="552"/>
                  <a:pt x="1460" y="552"/>
                  <a:pt x="1460" y="552"/>
                </a:cubicBezTo>
                <a:cubicBezTo>
                  <a:pt x="1460" y="552"/>
                  <a:pt x="1461" y="552"/>
                  <a:pt x="1461" y="551"/>
                </a:cubicBezTo>
                <a:close/>
                <a:moveTo>
                  <a:pt x="1460" y="551"/>
                </a:moveTo>
                <a:cubicBezTo>
                  <a:pt x="1459" y="551"/>
                  <a:pt x="1459" y="551"/>
                  <a:pt x="1459" y="552"/>
                </a:cubicBezTo>
                <a:cubicBezTo>
                  <a:pt x="1459" y="552"/>
                  <a:pt x="1458" y="552"/>
                  <a:pt x="1458" y="553"/>
                </a:cubicBezTo>
                <a:cubicBezTo>
                  <a:pt x="1458" y="553"/>
                  <a:pt x="1458" y="553"/>
                  <a:pt x="1458" y="553"/>
                </a:cubicBezTo>
                <a:cubicBezTo>
                  <a:pt x="1459" y="553"/>
                  <a:pt x="1459" y="553"/>
                  <a:pt x="1459" y="553"/>
                </a:cubicBezTo>
                <a:cubicBezTo>
                  <a:pt x="1459" y="553"/>
                  <a:pt x="1460" y="552"/>
                  <a:pt x="1460" y="552"/>
                </a:cubicBezTo>
                <a:cubicBezTo>
                  <a:pt x="1460" y="552"/>
                  <a:pt x="1460" y="551"/>
                  <a:pt x="1460" y="551"/>
                </a:cubicBezTo>
                <a:cubicBezTo>
                  <a:pt x="1460" y="551"/>
                  <a:pt x="1460" y="551"/>
                  <a:pt x="1460" y="551"/>
                </a:cubicBezTo>
                <a:cubicBezTo>
                  <a:pt x="1460" y="551"/>
                  <a:pt x="1460" y="551"/>
                  <a:pt x="1460" y="551"/>
                </a:cubicBezTo>
                <a:close/>
                <a:moveTo>
                  <a:pt x="1553" y="574"/>
                </a:moveTo>
                <a:cubicBezTo>
                  <a:pt x="1553" y="574"/>
                  <a:pt x="1553" y="574"/>
                  <a:pt x="1553" y="575"/>
                </a:cubicBezTo>
                <a:cubicBezTo>
                  <a:pt x="1553" y="574"/>
                  <a:pt x="1553" y="574"/>
                  <a:pt x="1553" y="574"/>
                </a:cubicBezTo>
                <a:cubicBezTo>
                  <a:pt x="1553" y="574"/>
                  <a:pt x="1554" y="574"/>
                  <a:pt x="1554" y="574"/>
                </a:cubicBezTo>
                <a:cubicBezTo>
                  <a:pt x="1554" y="575"/>
                  <a:pt x="1554" y="575"/>
                  <a:pt x="1554" y="575"/>
                </a:cubicBezTo>
                <a:cubicBezTo>
                  <a:pt x="1554" y="576"/>
                  <a:pt x="1554" y="576"/>
                  <a:pt x="1554" y="576"/>
                </a:cubicBezTo>
                <a:cubicBezTo>
                  <a:pt x="1554" y="576"/>
                  <a:pt x="1554" y="576"/>
                  <a:pt x="1554" y="576"/>
                </a:cubicBezTo>
                <a:cubicBezTo>
                  <a:pt x="1555" y="576"/>
                  <a:pt x="1555" y="576"/>
                  <a:pt x="1555" y="576"/>
                </a:cubicBezTo>
                <a:cubicBezTo>
                  <a:pt x="1555" y="576"/>
                  <a:pt x="1555" y="577"/>
                  <a:pt x="1555" y="577"/>
                </a:cubicBezTo>
                <a:cubicBezTo>
                  <a:pt x="1555" y="577"/>
                  <a:pt x="1556" y="577"/>
                  <a:pt x="1556" y="577"/>
                </a:cubicBezTo>
                <a:cubicBezTo>
                  <a:pt x="1556" y="577"/>
                  <a:pt x="1556" y="577"/>
                  <a:pt x="1556" y="576"/>
                </a:cubicBezTo>
                <a:cubicBezTo>
                  <a:pt x="1556" y="576"/>
                  <a:pt x="1556" y="576"/>
                  <a:pt x="1555" y="576"/>
                </a:cubicBezTo>
                <a:cubicBezTo>
                  <a:pt x="1555" y="576"/>
                  <a:pt x="1555" y="575"/>
                  <a:pt x="1555" y="575"/>
                </a:cubicBezTo>
                <a:cubicBezTo>
                  <a:pt x="1555" y="575"/>
                  <a:pt x="1555" y="575"/>
                  <a:pt x="1555" y="574"/>
                </a:cubicBezTo>
                <a:cubicBezTo>
                  <a:pt x="1554" y="574"/>
                  <a:pt x="1554" y="574"/>
                  <a:pt x="1554" y="574"/>
                </a:cubicBezTo>
                <a:cubicBezTo>
                  <a:pt x="1553" y="574"/>
                  <a:pt x="1553" y="574"/>
                  <a:pt x="1553" y="573"/>
                </a:cubicBezTo>
                <a:cubicBezTo>
                  <a:pt x="1553" y="573"/>
                  <a:pt x="1553" y="574"/>
                  <a:pt x="1553" y="574"/>
                </a:cubicBezTo>
                <a:close/>
                <a:moveTo>
                  <a:pt x="1449" y="569"/>
                </a:moveTo>
                <a:cubicBezTo>
                  <a:pt x="1449" y="569"/>
                  <a:pt x="1449" y="569"/>
                  <a:pt x="1450" y="569"/>
                </a:cubicBezTo>
                <a:cubicBezTo>
                  <a:pt x="1450" y="569"/>
                  <a:pt x="1450" y="569"/>
                  <a:pt x="1449" y="568"/>
                </a:cubicBezTo>
                <a:cubicBezTo>
                  <a:pt x="1449" y="568"/>
                  <a:pt x="1449" y="569"/>
                  <a:pt x="1449" y="569"/>
                </a:cubicBezTo>
                <a:cubicBezTo>
                  <a:pt x="1449" y="569"/>
                  <a:pt x="1449" y="569"/>
                  <a:pt x="1449" y="569"/>
                </a:cubicBezTo>
                <a:close/>
                <a:moveTo>
                  <a:pt x="1453" y="564"/>
                </a:moveTo>
                <a:cubicBezTo>
                  <a:pt x="1453" y="564"/>
                  <a:pt x="1453" y="564"/>
                  <a:pt x="1453" y="564"/>
                </a:cubicBezTo>
                <a:cubicBezTo>
                  <a:pt x="1453" y="564"/>
                  <a:pt x="1453" y="564"/>
                  <a:pt x="1452" y="564"/>
                </a:cubicBezTo>
                <a:cubicBezTo>
                  <a:pt x="1452" y="564"/>
                  <a:pt x="1452" y="564"/>
                  <a:pt x="1452" y="564"/>
                </a:cubicBezTo>
                <a:cubicBezTo>
                  <a:pt x="1453" y="564"/>
                  <a:pt x="1453" y="564"/>
                  <a:pt x="1453" y="564"/>
                </a:cubicBezTo>
                <a:cubicBezTo>
                  <a:pt x="1453" y="564"/>
                  <a:pt x="1453" y="564"/>
                  <a:pt x="1453" y="564"/>
                </a:cubicBezTo>
                <a:close/>
                <a:moveTo>
                  <a:pt x="1445" y="524"/>
                </a:moveTo>
                <a:cubicBezTo>
                  <a:pt x="1445" y="524"/>
                  <a:pt x="1445" y="524"/>
                  <a:pt x="1444" y="525"/>
                </a:cubicBezTo>
                <a:cubicBezTo>
                  <a:pt x="1444" y="525"/>
                  <a:pt x="1444" y="525"/>
                  <a:pt x="1443" y="525"/>
                </a:cubicBezTo>
                <a:cubicBezTo>
                  <a:pt x="1443" y="525"/>
                  <a:pt x="1443" y="526"/>
                  <a:pt x="1443" y="526"/>
                </a:cubicBezTo>
                <a:cubicBezTo>
                  <a:pt x="1443" y="525"/>
                  <a:pt x="1442" y="525"/>
                  <a:pt x="1442" y="525"/>
                </a:cubicBezTo>
                <a:cubicBezTo>
                  <a:pt x="1441" y="525"/>
                  <a:pt x="1440" y="524"/>
                  <a:pt x="1440" y="524"/>
                </a:cubicBezTo>
                <a:cubicBezTo>
                  <a:pt x="1439" y="524"/>
                  <a:pt x="1439" y="524"/>
                  <a:pt x="1438" y="523"/>
                </a:cubicBezTo>
                <a:cubicBezTo>
                  <a:pt x="1438" y="523"/>
                  <a:pt x="1438" y="523"/>
                  <a:pt x="1438" y="523"/>
                </a:cubicBezTo>
                <a:cubicBezTo>
                  <a:pt x="1438" y="522"/>
                  <a:pt x="1438" y="522"/>
                  <a:pt x="1438" y="522"/>
                </a:cubicBezTo>
                <a:cubicBezTo>
                  <a:pt x="1437" y="522"/>
                  <a:pt x="1437" y="522"/>
                  <a:pt x="1437" y="522"/>
                </a:cubicBezTo>
                <a:cubicBezTo>
                  <a:pt x="1437" y="522"/>
                  <a:pt x="1437" y="522"/>
                  <a:pt x="1436" y="522"/>
                </a:cubicBezTo>
                <a:cubicBezTo>
                  <a:pt x="1436" y="522"/>
                  <a:pt x="1436" y="522"/>
                  <a:pt x="1436" y="522"/>
                </a:cubicBezTo>
                <a:cubicBezTo>
                  <a:pt x="1435" y="522"/>
                  <a:pt x="1435" y="523"/>
                  <a:pt x="1434" y="523"/>
                </a:cubicBezTo>
                <a:cubicBezTo>
                  <a:pt x="1434" y="523"/>
                  <a:pt x="1434" y="523"/>
                  <a:pt x="1433" y="524"/>
                </a:cubicBezTo>
                <a:cubicBezTo>
                  <a:pt x="1433" y="524"/>
                  <a:pt x="1433" y="524"/>
                  <a:pt x="1433" y="524"/>
                </a:cubicBezTo>
                <a:cubicBezTo>
                  <a:pt x="1433" y="524"/>
                  <a:pt x="1433" y="524"/>
                  <a:pt x="1433" y="525"/>
                </a:cubicBezTo>
                <a:cubicBezTo>
                  <a:pt x="1433" y="525"/>
                  <a:pt x="1433" y="525"/>
                  <a:pt x="1433" y="525"/>
                </a:cubicBezTo>
                <a:cubicBezTo>
                  <a:pt x="1433" y="525"/>
                  <a:pt x="1432" y="525"/>
                  <a:pt x="1432" y="525"/>
                </a:cubicBezTo>
                <a:cubicBezTo>
                  <a:pt x="1432" y="525"/>
                  <a:pt x="1432" y="526"/>
                  <a:pt x="1432" y="526"/>
                </a:cubicBezTo>
                <a:cubicBezTo>
                  <a:pt x="1432" y="527"/>
                  <a:pt x="1432" y="528"/>
                  <a:pt x="1433" y="528"/>
                </a:cubicBezTo>
                <a:cubicBezTo>
                  <a:pt x="1433" y="528"/>
                  <a:pt x="1433" y="529"/>
                  <a:pt x="1433" y="529"/>
                </a:cubicBezTo>
                <a:cubicBezTo>
                  <a:pt x="1433" y="529"/>
                  <a:pt x="1433" y="529"/>
                  <a:pt x="1432" y="528"/>
                </a:cubicBezTo>
                <a:cubicBezTo>
                  <a:pt x="1432" y="528"/>
                  <a:pt x="1432" y="529"/>
                  <a:pt x="1432" y="529"/>
                </a:cubicBezTo>
                <a:cubicBezTo>
                  <a:pt x="1432" y="529"/>
                  <a:pt x="1432" y="529"/>
                  <a:pt x="1432" y="530"/>
                </a:cubicBezTo>
                <a:cubicBezTo>
                  <a:pt x="1433" y="530"/>
                  <a:pt x="1433" y="530"/>
                  <a:pt x="1433" y="530"/>
                </a:cubicBezTo>
                <a:cubicBezTo>
                  <a:pt x="1434" y="530"/>
                  <a:pt x="1434" y="530"/>
                  <a:pt x="1434" y="530"/>
                </a:cubicBezTo>
                <a:cubicBezTo>
                  <a:pt x="1434" y="530"/>
                  <a:pt x="1435" y="530"/>
                  <a:pt x="1435" y="530"/>
                </a:cubicBezTo>
                <a:cubicBezTo>
                  <a:pt x="1436" y="530"/>
                  <a:pt x="1436" y="530"/>
                  <a:pt x="1437" y="530"/>
                </a:cubicBezTo>
                <a:cubicBezTo>
                  <a:pt x="1437" y="530"/>
                  <a:pt x="1437" y="531"/>
                  <a:pt x="1438" y="531"/>
                </a:cubicBezTo>
                <a:cubicBezTo>
                  <a:pt x="1437" y="531"/>
                  <a:pt x="1437" y="530"/>
                  <a:pt x="1437" y="530"/>
                </a:cubicBezTo>
                <a:cubicBezTo>
                  <a:pt x="1436" y="530"/>
                  <a:pt x="1436" y="531"/>
                  <a:pt x="1435" y="531"/>
                </a:cubicBezTo>
                <a:cubicBezTo>
                  <a:pt x="1435" y="531"/>
                  <a:pt x="1434" y="531"/>
                  <a:pt x="1434" y="530"/>
                </a:cubicBezTo>
                <a:cubicBezTo>
                  <a:pt x="1433" y="531"/>
                  <a:pt x="1433" y="531"/>
                  <a:pt x="1433" y="531"/>
                </a:cubicBezTo>
                <a:cubicBezTo>
                  <a:pt x="1433" y="531"/>
                  <a:pt x="1432" y="531"/>
                  <a:pt x="1432" y="531"/>
                </a:cubicBezTo>
                <a:cubicBezTo>
                  <a:pt x="1432" y="531"/>
                  <a:pt x="1432" y="531"/>
                  <a:pt x="1432" y="531"/>
                </a:cubicBezTo>
                <a:cubicBezTo>
                  <a:pt x="1432" y="531"/>
                  <a:pt x="1433" y="531"/>
                  <a:pt x="1433" y="531"/>
                </a:cubicBezTo>
                <a:cubicBezTo>
                  <a:pt x="1433" y="532"/>
                  <a:pt x="1434" y="532"/>
                  <a:pt x="1434" y="532"/>
                </a:cubicBezTo>
                <a:cubicBezTo>
                  <a:pt x="1434" y="533"/>
                  <a:pt x="1435" y="533"/>
                  <a:pt x="1435" y="534"/>
                </a:cubicBezTo>
                <a:cubicBezTo>
                  <a:pt x="1435" y="534"/>
                  <a:pt x="1435" y="534"/>
                  <a:pt x="1435" y="534"/>
                </a:cubicBezTo>
                <a:cubicBezTo>
                  <a:pt x="1435" y="535"/>
                  <a:pt x="1435" y="535"/>
                  <a:pt x="1435" y="535"/>
                </a:cubicBezTo>
                <a:cubicBezTo>
                  <a:pt x="1435" y="535"/>
                  <a:pt x="1434" y="535"/>
                  <a:pt x="1434" y="536"/>
                </a:cubicBezTo>
                <a:cubicBezTo>
                  <a:pt x="1434" y="536"/>
                  <a:pt x="1434" y="536"/>
                  <a:pt x="1434" y="536"/>
                </a:cubicBezTo>
                <a:cubicBezTo>
                  <a:pt x="1434" y="536"/>
                  <a:pt x="1434" y="536"/>
                  <a:pt x="1434" y="536"/>
                </a:cubicBezTo>
                <a:cubicBezTo>
                  <a:pt x="1434" y="537"/>
                  <a:pt x="1434" y="537"/>
                  <a:pt x="1434" y="537"/>
                </a:cubicBezTo>
                <a:cubicBezTo>
                  <a:pt x="1434" y="538"/>
                  <a:pt x="1434" y="538"/>
                  <a:pt x="1434" y="539"/>
                </a:cubicBezTo>
                <a:cubicBezTo>
                  <a:pt x="1434" y="539"/>
                  <a:pt x="1434" y="539"/>
                  <a:pt x="1434" y="539"/>
                </a:cubicBezTo>
                <a:cubicBezTo>
                  <a:pt x="1434" y="540"/>
                  <a:pt x="1434" y="540"/>
                  <a:pt x="1434" y="541"/>
                </a:cubicBezTo>
                <a:cubicBezTo>
                  <a:pt x="1434" y="541"/>
                  <a:pt x="1434" y="541"/>
                  <a:pt x="1434" y="541"/>
                </a:cubicBezTo>
                <a:cubicBezTo>
                  <a:pt x="1435" y="541"/>
                  <a:pt x="1435" y="541"/>
                  <a:pt x="1435" y="541"/>
                </a:cubicBezTo>
                <a:cubicBezTo>
                  <a:pt x="1435" y="541"/>
                  <a:pt x="1435" y="541"/>
                  <a:pt x="1435" y="541"/>
                </a:cubicBezTo>
                <a:cubicBezTo>
                  <a:pt x="1436" y="541"/>
                  <a:pt x="1436" y="541"/>
                  <a:pt x="1436" y="541"/>
                </a:cubicBezTo>
                <a:cubicBezTo>
                  <a:pt x="1437" y="542"/>
                  <a:pt x="1437" y="542"/>
                  <a:pt x="1437" y="542"/>
                </a:cubicBezTo>
                <a:cubicBezTo>
                  <a:pt x="1437" y="542"/>
                  <a:pt x="1438" y="542"/>
                  <a:pt x="1438" y="542"/>
                </a:cubicBezTo>
                <a:cubicBezTo>
                  <a:pt x="1439" y="542"/>
                  <a:pt x="1439" y="542"/>
                  <a:pt x="1439" y="542"/>
                </a:cubicBezTo>
                <a:cubicBezTo>
                  <a:pt x="1439" y="542"/>
                  <a:pt x="1439" y="542"/>
                  <a:pt x="1440" y="542"/>
                </a:cubicBezTo>
                <a:cubicBezTo>
                  <a:pt x="1440" y="542"/>
                  <a:pt x="1440" y="542"/>
                  <a:pt x="1440" y="542"/>
                </a:cubicBezTo>
                <a:cubicBezTo>
                  <a:pt x="1440" y="542"/>
                  <a:pt x="1441" y="542"/>
                  <a:pt x="1441" y="542"/>
                </a:cubicBezTo>
                <a:cubicBezTo>
                  <a:pt x="1441" y="542"/>
                  <a:pt x="1441" y="542"/>
                  <a:pt x="1441" y="541"/>
                </a:cubicBezTo>
                <a:cubicBezTo>
                  <a:pt x="1441" y="542"/>
                  <a:pt x="1441" y="542"/>
                  <a:pt x="1441" y="542"/>
                </a:cubicBezTo>
                <a:cubicBezTo>
                  <a:pt x="1441" y="542"/>
                  <a:pt x="1441" y="542"/>
                  <a:pt x="1441" y="543"/>
                </a:cubicBezTo>
                <a:cubicBezTo>
                  <a:pt x="1441" y="543"/>
                  <a:pt x="1441" y="543"/>
                  <a:pt x="1441" y="544"/>
                </a:cubicBezTo>
                <a:cubicBezTo>
                  <a:pt x="1441" y="544"/>
                  <a:pt x="1441" y="544"/>
                  <a:pt x="1441" y="545"/>
                </a:cubicBezTo>
                <a:cubicBezTo>
                  <a:pt x="1440" y="545"/>
                  <a:pt x="1440" y="545"/>
                  <a:pt x="1440" y="545"/>
                </a:cubicBezTo>
                <a:cubicBezTo>
                  <a:pt x="1440" y="545"/>
                  <a:pt x="1441" y="545"/>
                  <a:pt x="1441" y="546"/>
                </a:cubicBezTo>
                <a:cubicBezTo>
                  <a:pt x="1441" y="545"/>
                  <a:pt x="1442" y="545"/>
                  <a:pt x="1442" y="545"/>
                </a:cubicBezTo>
                <a:cubicBezTo>
                  <a:pt x="1442" y="545"/>
                  <a:pt x="1443" y="545"/>
                  <a:pt x="1443" y="545"/>
                </a:cubicBezTo>
                <a:cubicBezTo>
                  <a:pt x="1443" y="545"/>
                  <a:pt x="1443" y="545"/>
                  <a:pt x="1443" y="545"/>
                </a:cubicBezTo>
                <a:cubicBezTo>
                  <a:pt x="1443" y="545"/>
                  <a:pt x="1444" y="545"/>
                  <a:pt x="1444" y="546"/>
                </a:cubicBezTo>
                <a:cubicBezTo>
                  <a:pt x="1444" y="545"/>
                  <a:pt x="1444" y="545"/>
                  <a:pt x="1444" y="545"/>
                </a:cubicBezTo>
                <a:cubicBezTo>
                  <a:pt x="1445" y="545"/>
                  <a:pt x="1445" y="545"/>
                  <a:pt x="1445" y="545"/>
                </a:cubicBezTo>
                <a:cubicBezTo>
                  <a:pt x="1446" y="545"/>
                  <a:pt x="1446" y="545"/>
                  <a:pt x="1446" y="545"/>
                </a:cubicBezTo>
                <a:cubicBezTo>
                  <a:pt x="1446" y="545"/>
                  <a:pt x="1447" y="545"/>
                  <a:pt x="1447" y="545"/>
                </a:cubicBezTo>
                <a:cubicBezTo>
                  <a:pt x="1447" y="545"/>
                  <a:pt x="1447" y="546"/>
                  <a:pt x="1448" y="546"/>
                </a:cubicBezTo>
                <a:cubicBezTo>
                  <a:pt x="1448" y="546"/>
                  <a:pt x="1448" y="546"/>
                  <a:pt x="1448" y="546"/>
                </a:cubicBezTo>
                <a:cubicBezTo>
                  <a:pt x="1448" y="546"/>
                  <a:pt x="1448" y="546"/>
                  <a:pt x="1449" y="546"/>
                </a:cubicBezTo>
                <a:cubicBezTo>
                  <a:pt x="1448" y="547"/>
                  <a:pt x="1448" y="547"/>
                  <a:pt x="1448" y="547"/>
                </a:cubicBezTo>
                <a:cubicBezTo>
                  <a:pt x="1448" y="547"/>
                  <a:pt x="1448" y="547"/>
                  <a:pt x="1449" y="547"/>
                </a:cubicBezTo>
                <a:cubicBezTo>
                  <a:pt x="1449" y="548"/>
                  <a:pt x="1449" y="548"/>
                  <a:pt x="1449" y="548"/>
                </a:cubicBezTo>
                <a:cubicBezTo>
                  <a:pt x="1449" y="548"/>
                  <a:pt x="1449" y="547"/>
                  <a:pt x="1449" y="547"/>
                </a:cubicBezTo>
                <a:cubicBezTo>
                  <a:pt x="1449" y="547"/>
                  <a:pt x="1450" y="547"/>
                  <a:pt x="1450" y="547"/>
                </a:cubicBezTo>
                <a:cubicBezTo>
                  <a:pt x="1450" y="547"/>
                  <a:pt x="1450" y="547"/>
                  <a:pt x="1450" y="547"/>
                </a:cubicBezTo>
                <a:cubicBezTo>
                  <a:pt x="1450" y="548"/>
                  <a:pt x="1450" y="548"/>
                  <a:pt x="1451" y="548"/>
                </a:cubicBezTo>
                <a:cubicBezTo>
                  <a:pt x="1451" y="548"/>
                  <a:pt x="1451" y="548"/>
                  <a:pt x="1451" y="548"/>
                </a:cubicBezTo>
                <a:cubicBezTo>
                  <a:pt x="1451" y="548"/>
                  <a:pt x="1451" y="548"/>
                  <a:pt x="1451" y="549"/>
                </a:cubicBezTo>
                <a:cubicBezTo>
                  <a:pt x="1452" y="549"/>
                  <a:pt x="1452" y="548"/>
                  <a:pt x="1452" y="548"/>
                </a:cubicBezTo>
                <a:cubicBezTo>
                  <a:pt x="1452" y="549"/>
                  <a:pt x="1452" y="549"/>
                  <a:pt x="1452" y="549"/>
                </a:cubicBezTo>
                <a:cubicBezTo>
                  <a:pt x="1452" y="549"/>
                  <a:pt x="1452" y="549"/>
                  <a:pt x="1452" y="549"/>
                </a:cubicBezTo>
                <a:cubicBezTo>
                  <a:pt x="1452" y="550"/>
                  <a:pt x="1452" y="550"/>
                  <a:pt x="1452" y="550"/>
                </a:cubicBezTo>
                <a:cubicBezTo>
                  <a:pt x="1452" y="550"/>
                  <a:pt x="1452" y="551"/>
                  <a:pt x="1452" y="551"/>
                </a:cubicBezTo>
                <a:cubicBezTo>
                  <a:pt x="1452" y="551"/>
                  <a:pt x="1452" y="551"/>
                  <a:pt x="1453" y="551"/>
                </a:cubicBezTo>
                <a:cubicBezTo>
                  <a:pt x="1453" y="551"/>
                  <a:pt x="1454" y="551"/>
                  <a:pt x="1455" y="551"/>
                </a:cubicBezTo>
                <a:cubicBezTo>
                  <a:pt x="1455" y="551"/>
                  <a:pt x="1456" y="551"/>
                  <a:pt x="1456" y="551"/>
                </a:cubicBezTo>
                <a:cubicBezTo>
                  <a:pt x="1457" y="551"/>
                  <a:pt x="1457" y="551"/>
                  <a:pt x="1458" y="551"/>
                </a:cubicBezTo>
                <a:cubicBezTo>
                  <a:pt x="1459" y="551"/>
                  <a:pt x="1459" y="550"/>
                  <a:pt x="1460" y="550"/>
                </a:cubicBezTo>
                <a:cubicBezTo>
                  <a:pt x="1460" y="550"/>
                  <a:pt x="1460" y="550"/>
                  <a:pt x="1460" y="550"/>
                </a:cubicBezTo>
                <a:cubicBezTo>
                  <a:pt x="1460" y="549"/>
                  <a:pt x="1460" y="549"/>
                  <a:pt x="1460" y="549"/>
                </a:cubicBezTo>
                <a:cubicBezTo>
                  <a:pt x="1460" y="549"/>
                  <a:pt x="1460" y="549"/>
                  <a:pt x="1460" y="549"/>
                </a:cubicBezTo>
                <a:cubicBezTo>
                  <a:pt x="1461" y="549"/>
                  <a:pt x="1461" y="549"/>
                  <a:pt x="1461" y="549"/>
                </a:cubicBezTo>
                <a:cubicBezTo>
                  <a:pt x="1461" y="549"/>
                  <a:pt x="1462" y="549"/>
                  <a:pt x="1462" y="548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2" y="548"/>
                  <a:pt x="1462" y="548"/>
                  <a:pt x="1461" y="548"/>
                </a:cubicBezTo>
                <a:cubicBezTo>
                  <a:pt x="1462" y="548"/>
                  <a:pt x="1462" y="548"/>
                  <a:pt x="1462" y="547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3" y="548"/>
                  <a:pt x="1463" y="548"/>
                  <a:pt x="1463" y="548"/>
                </a:cubicBezTo>
                <a:cubicBezTo>
                  <a:pt x="1463" y="547"/>
                  <a:pt x="1463" y="547"/>
                  <a:pt x="1463" y="547"/>
                </a:cubicBezTo>
                <a:cubicBezTo>
                  <a:pt x="1463" y="547"/>
                  <a:pt x="1463" y="547"/>
                  <a:pt x="1462" y="547"/>
                </a:cubicBezTo>
                <a:cubicBezTo>
                  <a:pt x="1462" y="547"/>
                  <a:pt x="1462" y="547"/>
                  <a:pt x="1462" y="547"/>
                </a:cubicBezTo>
                <a:cubicBezTo>
                  <a:pt x="1462" y="547"/>
                  <a:pt x="1463" y="547"/>
                  <a:pt x="1463" y="547"/>
                </a:cubicBezTo>
                <a:cubicBezTo>
                  <a:pt x="1463" y="546"/>
                  <a:pt x="1463" y="546"/>
                  <a:pt x="1463" y="546"/>
                </a:cubicBezTo>
                <a:cubicBezTo>
                  <a:pt x="1463" y="546"/>
                  <a:pt x="1463" y="546"/>
                  <a:pt x="1463" y="546"/>
                </a:cubicBezTo>
                <a:cubicBezTo>
                  <a:pt x="1463" y="546"/>
                  <a:pt x="1462" y="546"/>
                  <a:pt x="1462" y="545"/>
                </a:cubicBezTo>
                <a:cubicBezTo>
                  <a:pt x="1462" y="545"/>
                  <a:pt x="1462" y="545"/>
                  <a:pt x="1462" y="545"/>
                </a:cubicBezTo>
                <a:cubicBezTo>
                  <a:pt x="1462" y="545"/>
                  <a:pt x="1462" y="545"/>
                  <a:pt x="1462" y="545"/>
                </a:cubicBezTo>
                <a:cubicBezTo>
                  <a:pt x="1463" y="545"/>
                  <a:pt x="1463" y="545"/>
                  <a:pt x="1463" y="545"/>
                </a:cubicBezTo>
                <a:cubicBezTo>
                  <a:pt x="1463" y="545"/>
                  <a:pt x="1464" y="545"/>
                  <a:pt x="1464" y="545"/>
                </a:cubicBezTo>
                <a:cubicBezTo>
                  <a:pt x="1464" y="545"/>
                  <a:pt x="1464" y="545"/>
                  <a:pt x="1464" y="545"/>
                </a:cubicBezTo>
                <a:cubicBezTo>
                  <a:pt x="1465" y="544"/>
                  <a:pt x="1465" y="544"/>
                  <a:pt x="1465" y="544"/>
                </a:cubicBezTo>
                <a:cubicBezTo>
                  <a:pt x="1465" y="544"/>
                  <a:pt x="1465" y="544"/>
                  <a:pt x="1466" y="543"/>
                </a:cubicBezTo>
                <a:cubicBezTo>
                  <a:pt x="1466" y="543"/>
                  <a:pt x="1466" y="543"/>
                  <a:pt x="1465" y="543"/>
                </a:cubicBezTo>
                <a:cubicBezTo>
                  <a:pt x="1466" y="543"/>
                  <a:pt x="1466" y="543"/>
                  <a:pt x="1466" y="543"/>
                </a:cubicBezTo>
                <a:cubicBezTo>
                  <a:pt x="1466" y="544"/>
                  <a:pt x="1466" y="544"/>
                  <a:pt x="1466" y="544"/>
                </a:cubicBezTo>
                <a:cubicBezTo>
                  <a:pt x="1466" y="544"/>
                  <a:pt x="1467" y="544"/>
                  <a:pt x="1467" y="544"/>
                </a:cubicBezTo>
                <a:cubicBezTo>
                  <a:pt x="1467" y="544"/>
                  <a:pt x="1468" y="543"/>
                  <a:pt x="1468" y="543"/>
                </a:cubicBezTo>
                <a:cubicBezTo>
                  <a:pt x="1468" y="543"/>
                  <a:pt x="1468" y="543"/>
                  <a:pt x="1468" y="542"/>
                </a:cubicBezTo>
                <a:cubicBezTo>
                  <a:pt x="1468" y="542"/>
                  <a:pt x="1469" y="542"/>
                  <a:pt x="1469" y="542"/>
                </a:cubicBezTo>
                <a:cubicBezTo>
                  <a:pt x="1469" y="541"/>
                  <a:pt x="1470" y="541"/>
                  <a:pt x="1470" y="541"/>
                </a:cubicBezTo>
                <a:cubicBezTo>
                  <a:pt x="1470" y="541"/>
                  <a:pt x="1470" y="541"/>
                  <a:pt x="1471" y="540"/>
                </a:cubicBezTo>
                <a:cubicBezTo>
                  <a:pt x="1471" y="540"/>
                  <a:pt x="1471" y="540"/>
                  <a:pt x="1471" y="539"/>
                </a:cubicBezTo>
                <a:cubicBezTo>
                  <a:pt x="1471" y="539"/>
                  <a:pt x="1472" y="539"/>
                  <a:pt x="1472" y="539"/>
                </a:cubicBezTo>
                <a:cubicBezTo>
                  <a:pt x="1472" y="539"/>
                  <a:pt x="1472" y="539"/>
                  <a:pt x="1472" y="538"/>
                </a:cubicBezTo>
                <a:cubicBezTo>
                  <a:pt x="1472" y="538"/>
                  <a:pt x="1473" y="538"/>
                  <a:pt x="1473" y="538"/>
                </a:cubicBezTo>
                <a:cubicBezTo>
                  <a:pt x="1473" y="538"/>
                  <a:pt x="1473" y="538"/>
                  <a:pt x="1473" y="539"/>
                </a:cubicBezTo>
                <a:cubicBezTo>
                  <a:pt x="1474" y="539"/>
                  <a:pt x="1474" y="538"/>
                  <a:pt x="1474" y="538"/>
                </a:cubicBezTo>
                <a:cubicBezTo>
                  <a:pt x="1474" y="538"/>
                  <a:pt x="1474" y="538"/>
                  <a:pt x="1474" y="537"/>
                </a:cubicBezTo>
                <a:cubicBezTo>
                  <a:pt x="1474" y="538"/>
                  <a:pt x="1475" y="538"/>
                  <a:pt x="1475" y="539"/>
                </a:cubicBezTo>
                <a:cubicBezTo>
                  <a:pt x="1475" y="539"/>
                  <a:pt x="1476" y="539"/>
                  <a:pt x="1476" y="539"/>
                </a:cubicBezTo>
                <a:cubicBezTo>
                  <a:pt x="1476" y="539"/>
                  <a:pt x="1477" y="539"/>
                  <a:pt x="1477" y="539"/>
                </a:cubicBezTo>
                <a:cubicBezTo>
                  <a:pt x="1477" y="539"/>
                  <a:pt x="1477" y="540"/>
                  <a:pt x="1477" y="540"/>
                </a:cubicBezTo>
                <a:cubicBezTo>
                  <a:pt x="1478" y="540"/>
                  <a:pt x="1478" y="540"/>
                  <a:pt x="1478" y="540"/>
                </a:cubicBezTo>
                <a:cubicBezTo>
                  <a:pt x="1478" y="539"/>
                  <a:pt x="1478" y="539"/>
                  <a:pt x="1479" y="539"/>
                </a:cubicBezTo>
                <a:cubicBezTo>
                  <a:pt x="1478" y="539"/>
                  <a:pt x="1478" y="539"/>
                  <a:pt x="1478" y="539"/>
                </a:cubicBezTo>
                <a:cubicBezTo>
                  <a:pt x="1478" y="539"/>
                  <a:pt x="1478" y="538"/>
                  <a:pt x="1478" y="538"/>
                </a:cubicBezTo>
                <a:cubicBezTo>
                  <a:pt x="1478" y="538"/>
                  <a:pt x="1477" y="538"/>
                  <a:pt x="1477" y="537"/>
                </a:cubicBezTo>
                <a:cubicBezTo>
                  <a:pt x="1477" y="537"/>
                  <a:pt x="1477" y="537"/>
                  <a:pt x="1477" y="537"/>
                </a:cubicBezTo>
                <a:cubicBezTo>
                  <a:pt x="1476" y="536"/>
                  <a:pt x="1476" y="536"/>
                  <a:pt x="1475" y="535"/>
                </a:cubicBezTo>
                <a:cubicBezTo>
                  <a:pt x="1475" y="535"/>
                  <a:pt x="1475" y="535"/>
                  <a:pt x="1474" y="534"/>
                </a:cubicBezTo>
                <a:cubicBezTo>
                  <a:pt x="1474" y="534"/>
                  <a:pt x="1474" y="534"/>
                  <a:pt x="1474" y="534"/>
                </a:cubicBezTo>
                <a:cubicBezTo>
                  <a:pt x="1474" y="534"/>
                  <a:pt x="1474" y="534"/>
                  <a:pt x="1474" y="533"/>
                </a:cubicBezTo>
                <a:cubicBezTo>
                  <a:pt x="1474" y="533"/>
                  <a:pt x="1474" y="533"/>
                  <a:pt x="1475" y="533"/>
                </a:cubicBezTo>
                <a:cubicBezTo>
                  <a:pt x="1475" y="533"/>
                  <a:pt x="1475" y="533"/>
                  <a:pt x="1476" y="533"/>
                </a:cubicBezTo>
                <a:cubicBezTo>
                  <a:pt x="1476" y="533"/>
                  <a:pt x="1476" y="533"/>
                  <a:pt x="1476" y="533"/>
                </a:cubicBezTo>
                <a:cubicBezTo>
                  <a:pt x="1476" y="533"/>
                  <a:pt x="1476" y="532"/>
                  <a:pt x="1476" y="532"/>
                </a:cubicBezTo>
                <a:cubicBezTo>
                  <a:pt x="1476" y="531"/>
                  <a:pt x="1475" y="531"/>
                  <a:pt x="1475" y="530"/>
                </a:cubicBezTo>
                <a:cubicBezTo>
                  <a:pt x="1475" y="530"/>
                  <a:pt x="1475" y="530"/>
                  <a:pt x="1475" y="529"/>
                </a:cubicBezTo>
                <a:cubicBezTo>
                  <a:pt x="1475" y="529"/>
                  <a:pt x="1474" y="529"/>
                  <a:pt x="1474" y="529"/>
                </a:cubicBezTo>
                <a:cubicBezTo>
                  <a:pt x="1474" y="529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7"/>
                  <a:pt x="1475" y="527"/>
                  <a:pt x="1474" y="527"/>
                </a:cubicBezTo>
                <a:cubicBezTo>
                  <a:pt x="1475" y="527"/>
                  <a:pt x="1475" y="527"/>
                  <a:pt x="1475" y="527"/>
                </a:cubicBezTo>
                <a:cubicBezTo>
                  <a:pt x="1475" y="527"/>
                  <a:pt x="1476" y="527"/>
                  <a:pt x="1476" y="527"/>
                </a:cubicBezTo>
                <a:cubicBezTo>
                  <a:pt x="1476" y="527"/>
                  <a:pt x="1477" y="527"/>
                  <a:pt x="1477" y="527"/>
                </a:cubicBezTo>
                <a:cubicBezTo>
                  <a:pt x="1477" y="527"/>
                  <a:pt x="1477" y="527"/>
                  <a:pt x="1476" y="526"/>
                </a:cubicBezTo>
                <a:cubicBezTo>
                  <a:pt x="1476" y="526"/>
                  <a:pt x="1476" y="526"/>
                  <a:pt x="1476" y="526"/>
                </a:cubicBezTo>
                <a:cubicBezTo>
                  <a:pt x="1476" y="525"/>
                  <a:pt x="1476" y="525"/>
                  <a:pt x="1476" y="525"/>
                </a:cubicBezTo>
                <a:cubicBezTo>
                  <a:pt x="1476" y="525"/>
                  <a:pt x="1476" y="525"/>
                  <a:pt x="1476" y="525"/>
                </a:cubicBezTo>
                <a:cubicBezTo>
                  <a:pt x="1476" y="525"/>
                  <a:pt x="1476" y="525"/>
                  <a:pt x="1477" y="525"/>
                </a:cubicBezTo>
                <a:cubicBezTo>
                  <a:pt x="1477" y="525"/>
                  <a:pt x="1477" y="525"/>
                  <a:pt x="1477" y="525"/>
                </a:cubicBezTo>
                <a:cubicBezTo>
                  <a:pt x="1477" y="525"/>
                  <a:pt x="1477" y="525"/>
                  <a:pt x="1477" y="525"/>
                </a:cubicBezTo>
                <a:cubicBezTo>
                  <a:pt x="1477" y="525"/>
                  <a:pt x="1477" y="525"/>
                  <a:pt x="1478" y="526"/>
                </a:cubicBezTo>
                <a:cubicBezTo>
                  <a:pt x="1478" y="526"/>
                  <a:pt x="1478" y="526"/>
                  <a:pt x="1478" y="526"/>
                </a:cubicBezTo>
                <a:cubicBezTo>
                  <a:pt x="1479" y="526"/>
                  <a:pt x="1479" y="526"/>
                  <a:pt x="1480" y="526"/>
                </a:cubicBezTo>
                <a:cubicBezTo>
                  <a:pt x="1480" y="526"/>
                  <a:pt x="1480" y="526"/>
                  <a:pt x="1481" y="526"/>
                </a:cubicBezTo>
                <a:cubicBezTo>
                  <a:pt x="1481" y="526"/>
                  <a:pt x="1481" y="526"/>
                  <a:pt x="1481" y="526"/>
                </a:cubicBezTo>
                <a:cubicBezTo>
                  <a:pt x="1481" y="525"/>
                  <a:pt x="1480" y="525"/>
                  <a:pt x="1480" y="525"/>
                </a:cubicBezTo>
                <a:cubicBezTo>
                  <a:pt x="1480" y="524"/>
                  <a:pt x="1480" y="524"/>
                  <a:pt x="1480" y="524"/>
                </a:cubicBezTo>
                <a:cubicBezTo>
                  <a:pt x="1481" y="524"/>
                  <a:pt x="1481" y="524"/>
                  <a:pt x="1481" y="524"/>
                </a:cubicBezTo>
                <a:cubicBezTo>
                  <a:pt x="1482" y="524"/>
                  <a:pt x="1482" y="524"/>
                  <a:pt x="1483" y="524"/>
                </a:cubicBezTo>
                <a:cubicBezTo>
                  <a:pt x="1483" y="524"/>
                  <a:pt x="1484" y="524"/>
                  <a:pt x="1485" y="525"/>
                </a:cubicBezTo>
                <a:cubicBezTo>
                  <a:pt x="1485" y="525"/>
                  <a:pt x="1485" y="524"/>
                  <a:pt x="1486" y="524"/>
                </a:cubicBezTo>
                <a:cubicBezTo>
                  <a:pt x="1486" y="524"/>
                  <a:pt x="1486" y="524"/>
                  <a:pt x="1486" y="524"/>
                </a:cubicBezTo>
                <a:cubicBezTo>
                  <a:pt x="1486" y="524"/>
                  <a:pt x="1485" y="524"/>
                  <a:pt x="1485" y="523"/>
                </a:cubicBezTo>
                <a:cubicBezTo>
                  <a:pt x="1485" y="523"/>
                  <a:pt x="1484" y="523"/>
                  <a:pt x="1484" y="523"/>
                </a:cubicBezTo>
                <a:cubicBezTo>
                  <a:pt x="1484" y="523"/>
                  <a:pt x="1484" y="522"/>
                  <a:pt x="1483" y="522"/>
                </a:cubicBezTo>
                <a:cubicBezTo>
                  <a:pt x="1483" y="522"/>
                  <a:pt x="1483" y="522"/>
                  <a:pt x="1483" y="522"/>
                </a:cubicBezTo>
                <a:cubicBezTo>
                  <a:pt x="1482" y="521"/>
                  <a:pt x="1482" y="521"/>
                  <a:pt x="1482" y="521"/>
                </a:cubicBezTo>
                <a:cubicBezTo>
                  <a:pt x="1481" y="521"/>
                  <a:pt x="1481" y="521"/>
                  <a:pt x="1481" y="520"/>
                </a:cubicBezTo>
                <a:cubicBezTo>
                  <a:pt x="1481" y="521"/>
                  <a:pt x="1480" y="521"/>
                  <a:pt x="1480" y="521"/>
                </a:cubicBezTo>
                <a:cubicBezTo>
                  <a:pt x="1480" y="521"/>
                  <a:pt x="1480" y="520"/>
                  <a:pt x="1480" y="520"/>
                </a:cubicBezTo>
                <a:cubicBezTo>
                  <a:pt x="1480" y="520"/>
                  <a:pt x="1481" y="520"/>
                  <a:pt x="1481" y="520"/>
                </a:cubicBezTo>
                <a:cubicBezTo>
                  <a:pt x="1481" y="520"/>
                  <a:pt x="1481" y="520"/>
                  <a:pt x="1481" y="519"/>
                </a:cubicBezTo>
                <a:cubicBezTo>
                  <a:pt x="1481" y="519"/>
                  <a:pt x="1480" y="519"/>
                  <a:pt x="1480" y="519"/>
                </a:cubicBezTo>
                <a:cubicBezTo>
                  <a:pt x="1480" y="519"/>
                  <a:pt x="1480" y="520"/>
                  <a:pt x="1479" y="520"/>
                </a:cubicBezTo>
                <a:cubicBezTo>
                  <a:pt x="1479" y="520"/>
                  <a:pt x="1479" y="519"/>
                  <a:pt x="1479" y="519"/>
                </a:cubicBezTo>
                <a:cubicBezTo>
                  <a:pt x="1479" y="519"/>
                  <a:pt x="1479" y="519"/>
                  <a:pt x="1479" y="519"/>
                </a:cubicBezTo>
                <a:cubicBezTo>
                  <a:pt x="1479" y="519"/>
                  <a:pt x="1479" y="518"/>
                  <a:pt x="1479" y="518"/>
                </a:cubicBezTo>
                <a:cubicBezTo>
                  <a:pt x="1480" y="518"/>
                  <a:pt x="1480" y="518"/>
                  <a:pt x="1480" y="518"/>
                </a:cubicBezTo>
                <a:cubicBezTo>
                  <a:pt x="1480" y="518"/>
                  <a:pt x="1480" y="518"/>
                  <a:pt x="1480" y="518"/>
                </a:cubicBezTo>
                <a:cubicBezTo>
                  <a:pt x="1480" y="517"/>
                  <a:pt x="1480" y="517"/>
                  <a:pt x="1479" y="517"/>
                </a:cubicBezTo>
                <a:cubicBezTo>
                  <a:pt x="1479" y="517"/>
                  <a:pt x="1479" y="517"/>
                  <a:pt x="1479" y="517"/>
                </a:cubicBezTo>
                <a:cubicBezTo>
                  <a:pt x="1479" y="516"/>
                  <a:pt x="1478" y="516"/>
                  <a:pt x="1478" y="516"/>
                </a:cubicBezTo>
                <a:cubicBezTo>
                  <a:pt x="1478" y="515"/>
                  <a:pt x="1478" y="515"/>
                  <a:pt x="1478" y="515"/>
                </a:cubicBezTo>
                <a:cubicBezTo>
                  <a:pt x="1478" y="515"/>
                  <a:pt x="1478" y="514"/>
                  <a:pt x="1478" y="514"/>
                </a:cubicBezTo>
                <a:cubicBezTo>
                  <a:pt x="1478" y="514"/>
                  <a:pt x="1477" y="514"/>
                  <a:pt x="1477" y="514"/>
                </a:cubicBezTo>
                <a:cubicBezTo>
                  <a:pt x="1477" y="514"/>
                  <a:pt x="1477" y="515"/>
                  <a:pt x="1477" y="515"/>
                </a:cubicBezTo>
                <a:cubicBezTo>
                  <a:pt x="1477" y="515"/>
                  <a:pt x="1476" y="515"/>
                  <a:pt x="1476" y="515"/>
                </a:cubicBezTo>
                <a:cubicBezTo>
                  <a:pt x="1476" y="515"/>
                  <a:pt x="1476" y="515"/>
                  <a:pt x="1476" y="515"/>
                </a:cubicBezTo>
                <a:cubicBezTo>
                  <a:pt x="1476" y="515"/>
                  <a:pt x="1476" y="515"/>
                  <a:pt x="1476" y="514"/>
                </a:cubicBezTo>
                <a:cubicBezTo>
                  <a:pt x="1476" y="514"/>
                  <a:pt x="1476" y="514"/>
                  <a:pt x="1476" y="514"/>
                </a:cubicBezTo>
                <a:cubicBezTo>
                  <a:pt x="1476" y="514"/>
                  <a:pt x="1476" y="514"/>
                  <a:pt x="1476" y="514"/>
                </a:cubicBezTo>
                <a:cubicBezTo>
                  <a:pt x="1475" y="514"/>
                  <a:pt x="1475" y="514"/>
                  <a:pt x="1474" y="515"/>
                </a:cubicBezTo>
                <a:cubicBezTo>
                  <a:pt x="1474" y="515"/>
                  <a:pt x="1474" y="515"/>
                  <a:pt x="1474" y="515"/>
                </a:cubicBezTo>
                <a:cubicBezTo>
                  <a:pt x="1473" y="515"/>
                  <a:pt x="1473" y="516"/>
                  <a:pt x="1472" y="516"/>
                </a:cubicBezTo>
                <a:cubicBezTo>
                  <a:pt x="1472" y="516"/>
                  <a:pt x="1472" y="517"/>
                  <a:pt x="1472" y="517"/>
                </a:cubicBezTo>
                <a:cubicBezTo>
                  <a:pt x="1471" y="517"/>
                  <a:pt x="1470" y="518"/>
                  <a:pt x="1469" y="518"/>
                </a:cubicBezTo>
                <a:cubicBezTo>
                  <a:pt x="1469" y="518"/>
                  <a:pt x="1469" y="518"/>
                  <a:pt x="1469" y="518"/>
                </a:cubicBezTo>
                <a:cubicBezTo>
                  <a:pt x="1468" y="518"/>
                  <a:pt x="1468" y="517"/>
                  <a:pt x="1467" y="517"/>
                </a:cubicBezTo>
                <a:cubicBezTo>
                  <a:pt x="1467" y="518"/>
                  <a:pt x="1467" y="518"/>
                  <a:pt x="1466" y="518"/>
                </a:cubicBezTo>
                <a:cubicBezTo>
                  <a:pt x="1467" y="518"/>
                  <a:pt x="1467" y="518"/>
                  <a:pt x="1467" y="518"/>
                </a:cubicBezTo>
                <a:cubicBezTo>
                  <a:pt x="1467" y="518"/>
                  <a:pt x="1467" y="518"/>
                  <a:pt x="1466" y="518"/>
                </a:cubicBezTo>
                <a:cubicBezTo>
                  <a:pt x="1467" y="518"/>
                  <a:pt x="1467" y="518"/>
                  <a:pt x="1467" y="518"/>
                </a:cubicBezTo>
                <a:cubicBezTo>
                  <a:pt x="1467" y="518"/>
                  <a:pt x="1468" y="519"/>
                  <a:pt x="1468" y="519"/>
                </a:cubicBezTo>
                <a:cubicBezTo>
                  <a:pt x="1468" y="519"/>
                  <a:pt x="1468" y="519"/>
                  <a:pt x="1467" y="519"/>
                </a:cubicBezTo>
                <a:cubicBezTo>
                  <a:pt x="1467" y="519"/>
                  <a:pt x="1467" y="519"/>
                  <a:pt x="1467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5" y="519"/>
                  <a:pt x="1465" y="519"/>
                </a:cubicBezTo>
                <a:cubicBezTo>
                  <a:pt x="1465" y="519"/>
                  <a:pt x="1465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8"/>
                  <a:pt x="1466" y="518"/>
                </a:cubicBezTo>
                <a:cubicBezTo>
                  <a:pt x="1465" y="518"/>
                  <a:pt x="1465" y="518"/>
                  <a:pt x="1465" y="518"/>
                </a:cubicBezTo>
                <a:cubicBezTo>
                  <a:pt x="1464" y="518"/>
                  <a:pt x="1464" y="518"/>
                  <a:pt x="1463" y="518"/>
                </a:cubicBezTo>
                <a:cubicBezTo>
                  <a:pt x="1463" y="518"/>
                  <a:pt x="1462" y="518"/>
                  <a:pt x="1462" y="518"/>
                </a:cubicBezTo>
                <a:cubicBezTo>
                  <a:pt x="1462" y="518"/>
                  <a:pt x="1461" y="518"/>
                  <a:pt x="1461" y="518"/>
                </a:cubicBezTo>
                <a:cubicBezTo>
                  <a:pt x="1461" y="518"/>
                  <a:pt x="1461" y="518"/>
                  <a:pt x="1460" y="519"/>
                </a:cubicBezTo>
                <a:cubicBezTo>
                  <a:pt x="1460" y="519"/>
                  <a:pt x="1460" y="519"/>
                  <a:pt x="1460" y="519"/>
                </a:cubicBezTo>
                <a:cubicBezTo>
                  <a:pt x="1460" y="520"/>
                  <a:pt x="1459" y="520"/>
                  <a:pt x="1459" y="520"/>
                </a:cubicBezTo>
                <a:cubicBezTo>
                  <a:pt x="1458" y="520"/>
                  <a:pt x="1458" y="520"/>
                  <a:pt x="1458" y="520"/>
                </a:cubicBezTo>
                <a:cubicBezTo>
                  <a:pt x="1457" y="520"/>
                  <a:pt x="1457" y="521"/>
                  <a:pt x="1456" y="521"/>
                </a:cubicBezTo>
                <a:cubicBezTo>
                  <a:pt x="1456" y="521"/>
                  <a:pt x="1456" y="521"/>
                  <a:pt x="1456" y="521"/>
                </a:cubicBezTo>
                <a:cubicBezTo>
                  <a:pt x="1455" y="522"/>
                  <a:pt x="1455" y="522"/>
                  <a:pt x="1454" y="522"/>
                </a:cubicBezTo>
                <a:cubicBezTo>
                  <a:pt x="1454" y="522"/>
                  <a:pt x="1453" y="522"/>
                  <a:pt x="1453" y="522"/>
                </a:cubicBezTo>
                <a:cubicBezTo>
                  <a:pt x="1451" y="522"/>
                  <a:pt x="1450" y="522"/>
                  <a:pt x="1449" y="522"/>
                </a:cubicBezTo>
                <a:cubicBezTo>
                  <a:pt x="1449" y="522"/>
                  <a:pt x="1448" y="522"/>
                  <a:pt x="1448" y="522"/>
                </a:cubicBezTo>
                <a:cubicBezTo>
                  <a:pt x="1448" y="522"/>
                  <a:pt x="1448" y="523"/>
                  <a:pt x="1448" y="523"/>
                </a:cubicBezTo>
                <a:cubicBezTo>
                  <a:pt x="1448" y="523"/>
                  <a:pt x="1448" y="523"/>
                  <a:pt x="1448" y="523"/>
                </a:cubicBezTo>
                <a:cubicBezTo>
                  <a:pt x="1448" y="523"/>
                  <a:pt x="1448" y="523"/>
                  <a:pt x="1448" y="523"/>
                </a:cubicBezTo>
                <a:cubicBezTo>
                  <a:pt x="1448" y="523"/>
                  <a:pt x="1447" y="523"/>
                  <a:pt x="1447" y="523"/>
                </a:cubicBezTo>
                <a:cubicBezTo>
                  <a:pt x="1447" y="523"/>
                  <a:pt x="1446" y="523"/>
                  <a:pt x="1446" y="523"/>
                </a:cubicBezTo>
                <a:cubicBezTo>
                  <a:pt x="1446" y="523"/>
                  <a:pt x="1446" y="523"/>
                  <a:pt x="1445" y="523"/>
                </a:cubicBezTo>
                <a:cubicBezTo>
                  <a:pt x="1445" y="523"/>
                  <a:pt x="1445" y="524"/>
                  <a:pt x="1445" y="524"/>
                </a:cubicBezTo>
                <a:close/>
                <a:moveTo>
                  <a:pt x="1451" y="568"/>
                </a:moveTo>
                <a:cubicBezTo>
                  <a:pt x="1450" y="567"/>
                  <a:pt x="1450" y="567"/>
                  <a:pt x="1450" y="566"/>
                </a:cubicBezTo>
                <a:cubicBezTo>
                  <a:pt x="1450" y="566"/>
                  <a:pt x="1449" y="566"/>
                  <a:pt x="1449" y="566"/>
                </a:cubicBezTo>
                <a:cubicBezTo>
                  <a:pt x="1448" y="566"/>
                  <a:pt x="1448" y="566"/>
                  <a:pt x="1447" y="566"/>
                </a:cubicBezTo>
                <a:cubicBezTo>
                  <a:pt x="1447" y="565"/>
                  <a:pt x="1447" y="565"/>
                  <a:pt x="1446" y="565"/>
                </a:cubicBezTo>
                <a:cubicBezTo>
                  <a:pt x="1446" y="565"/>
                  <a:pt x="1446" y="565"/>
                  <a:pt x="1445" y="565"/>
                </a:cubicBezTo>
                <a:cubicBezTo>
                  <a:pt x="1445" y="565"/>
                  <a:pt x="1445" y="565"/>
                  <a:pt x="1445" y="566"/>
                </a:cubicBezTo>
                <a:cubicBezTo>
                  <a:pt x="1445" y="566"/>
                  <a:pt x="1445" y="566"/>
                  <a:pt x="1445" y="566"/>
                </a:cubicBezTo>
                <a:cubicBezTo>
                  <a:pt x="1446" y="566"/>
                  <a:pt x="1446" y="567"/>
                  <a:pt x="1447" y="567"/>
                </a:cubicBezTo>
                <a:cubicBezTo>
                  <a:pt x="1447" y="567"/>
                  <a:pt x="1447" y="567"/>
                  <a:pt x="1447" y="568"/>
                </a:cubicBezTo>
                <a:cubicBezTo>
                  <a:pt x="1448" y="568"/>
                  <a:pt x="1448" y="568"/>
                  <a:pt x="1448" y="568"/>
                </a:cubicBezTo>
                <a:cubicBezTo>
                  <a:pt x="1448" y="568"/>
                  <a:pt x="1448" y="568"/>
                  <a:pt x="1448" y="568"/>
                </a:cubicBezTo>
                <a:cubicBezTo>
                  <a:pt x="1448" y="568"/>
                  <a:pt x="1449" y="568"/>
                  <a:pt x="1449" y="568"/>
                </a:cubicBezTo>
                <a:cubicBezTo>
                  <a:pt x="1449" y="568"/>
                  <a:pt x="1449" y="568"/>
                  <a:pt x="1449" y="568"/>
                </a:cubicBezTo>
                <a:cubicBezTo>
                  <a:pt x="1450" y="568"/>
                  <a:pt x="1450" y="568"/>
                  <a:pt x="1450" y="568"/>
                </a:cubicBezTo>
                <a:cubicBezTo>
                  <a:pt x="1450" y="568"/>
                  <a:pt x="1450" y="568"/>
                  <a:pt x="1451" y="568"/>
                </a:cubicBezTo>
                <a:close/>
                <a:moveTo>
                  <a:pt x="1432" y="532"/>
                </a:moveTo>
                <a:cubicBezTo>
                  <a:pt x="1432" y="532"/>
                  <a:pt x="1433" y="532"/>
                  <a:pt x="1433" y="532"/>
                </a:cubicBezTo>
                <a:cubicBezTo>
                  <a:pt x="1433" y="532"/>
                  <a:pt x="1433" y="533"/>
                  <a:pt x="1434" y="533"/>
                </a:cubicBezTo>
                <a:cubicBezTo>
                  <a:pt x="1434" y="533"/>
                  <a:pt x="1434" y="533"/>
                  <a:pt x="1434" y="532"/>
                </a:cubicBezTo>
                <a:cubicBezTo>
                  <a:pt x="1434" y="532"/>
                  <a:pt x="1434" y="532"/>
                  <a:pt x="1434" y="532"/>
                </a:cubicBezTo>
                <a:cubicBezTo>
                  <a:pt x="1433" y="532"/>
                  <a:pt x="1433" y="532"/>
                  <a:pt x="1433" y="532"/>
                </a:cubicBezTo>
                <a:cubicBezTo>
                  <a:pt x="1433" y="532"/>
                  <a:pt x="1432" y="531"/>
                  <a:pt x="1432" y="531"/>
                </a:cubicBezTo>
                <a:cubicBezTo>
                  <a:pt x="1432" y="531"/>
                  <a:pt x="1432" y="531"/>
                  <a:pt x="1432" y="531"/>
                </a:cubicBezTo>
                <a:cubicBezTo>
                  <a:pt x="1432" y="532"/>
                  <a:pt x="1432" y="532"/>
                  <a:pt x="1432" y="532"/>
                </a:cubicBezTo>
                <a:close/>
                <a:moveTo>
                  <a:pt x="1551" y="576"/>
                </a:moveTo>
                <a:cubicBezTo>
                  <a:pt x="1550" y="576"/>
                  <a:pt x="1550" y="576"/>
                  <a:pt x="1549" y="576"/>
                </a:cubicBezTo>
                <a:cubicBezTo>
                  <a:pt x="1550" y="576"/>
                  <a:pt x="1550" y="576"/>
                  <a:pt x="1550" y="576"/>
                </a:cubicBezTo>
                <a:cubicBezTo>
                  <a:pt x="1550" y="576"/>
                  <a:pt x="1550" y="576"/>
                  <a:pt x="1551" y="576"/>
                </a:cubicBezTo>
                <a:close/>
                <a:moveTo>
                  <a:pt x="1522" y="590"/>
                </a:moveTo>
                <a:cubicBezTo>
                  <a:pt x="1522" y="590"/>
                  <a:pt x="1522" y="590"/>
                  <a:pt x="1523" y="590"/>
                </a:cubicBezTo>
                <a:cubicBezTo>
                  <a:pt x="1522" y="589"/>
                  <a:pt x="1522" y="589"/>
                  <a:pt x="1521" y="589"/>
                </a:cubicBezTo>
                <a:cubicBezTo>
                  <a:pt x="1521" y="589"/>
                  <a:pt x="1522" y="589"/>
                  <a:pt x="1522" y="590"/>
                </a:cubicBezTo>
                <a:cubicBezTo>
                  <a:pt x="1522" y="590"/>
                  <a:pt x="1522" y="590"/>
                  <a:pt x="1522" y="590"/>
                </a:cubicBezTo>
                <a:close/>
                <a:moveTo>
                  <a:pt x="1532" y="568"/>
                </a:moveTo>
                <a:cubicBezTo>
                  <a:pt x="1532" y="568"/>
                  <a:pt x="1532" y="567"/>
                  <a:pt x="1532" y="567"/>
                </a:cubicBezTo>
                <a:cubicBezTo>
                  <a:pt x="1532" y="567"/>
                  <a:pt x="1532" y="567"/>
                  <a:pt x="1532" y="566"/>
                </a:cubicBezTo>
                <a:cubicBezTo>
                  <a:pt x="1531" y="566"/>
                  <a:pt x="1531" y="567"/>
                  <a:pt x="1531" y="567"/>
                </a:cubicBezTo>
                <a:cubicBezTo>
                  <a:pt x="1531" y="567"/>
                  <a:pt x="1530" y="567"/>
                  <a:pt x="1530" y="568"/>
                </a:cubicBezTo>
                <a:cubicBezTo>
                  <a:pt x="1531" y="568"/>
                  <a:pt x="1531" y="568"/>
                  <a:pt x="1531" y="568"/>
                </a:cubicBezTo>
                <a:cubicBezTo>
                  <a:pt x="1531" y="568"/>
                  <a:pt x="1532" y="568"/>
                  <a:pt x="1532" y="568"/>
                </a:cubicBezTo>
                <a:close/>
                <a:moveTo>
                  <a:pt x="1549" y="573"/>
                </a:moveTo>
                <a:cubicBezTo>
                  <a:pt x="1549" y="574"/>
                  <a:pt x="1549" y="574"/>
                  <a:pt x="1549" y="574"/>
                </a:cubicBezTo>
                <a:cubicBezTo>
                  <a:pt x="1550" y="574"/>
                  <a:pt x="1550" y="574"/>
                  <a:pt x="1550" y="574"/>
                </a:cubicBezTo>
                <a:cubicBezTo>
                  <a:pt x="1550" y="574"/>
                  <a:pt x="1550" y="574"/>
                  <a:pt x="1550" y="573"/>
                </a:cubicBezTo>
                <a:cubicBezTo>
                  <a:pt x="1549" y="573"/>
                  <a:pt x="1549" y="573"/>
                  <a:pt x="1549" y="573"/>
                </a:cubicBezTo>
                <a:close/>
                <a:moveTo>
                  <a:pt x="1520" y="592"/>
                </a:moveTo>
                <a:cubicBezTo>
                  <a:pt x="1520" y="592"/>
                  <a:pt x="1520" y="592"/>
                  <a:pt x="1521" y="592"/>
                </a:cubicBezTo>
                <a:cubicBezTo>
                  <a:pt x="1521" y="592"/>
                  <a:pt x="1521" y="592"/>
                  <a:pt x="1521" y="592"/>
                </a:cubicBezTo>
                <a:cubicBezTo>
                  <a:pt x="1521" y="592"/>
                  <a:pt x="1521" y="592"/>
                  <a:pt x="1522" y="592"/>
                </a:cubicBezTo>
                <a:cubicBezTo>
                  <a:pt x="1521" y="592"/>
                  <a:pt x="1521" y="592"/>
                  <a:pt x="1521" y="592"/>
                </a:cubicBezTo>
                <a:cubicBezTo>
                  <a:pt x="1521" y="592"/>
                  <a:pt x="1520" y="592"/>
                  <a:pt x="1520" y="592"/>
                </a:cubicBezTo>
                <a:cubicBezTo>
                  <a:pt x="1520" y="592"/>
                  <a:pt x="1520" y="592"/>
                  <a:pt x="1520" y="592"/>
                </a:cubicBezTo>
                <a:close/>
                <a:moveTo>
                  <a:pt x="1531" y="564"/>
                </a:moveTo>
                <a:cubicBezTo>
                  <a:pt x="1532" y="564"/>
                  <a:pt x="1532" y="564"/>
                  <a:pt x="1532" y="564"/>
                </a:cubicBezTo>
                <a:cubicBezTo>
                  <a:pt x="1532" y="565"/>
                  <a:pt x="1533" y="565"/>
                  <a:pt x="1533" y="565"/>
                </a:cubicBezTo>
                <a:cubicBezTo>
                  <a:pt x="1533" y="565"/>
                  <a:pt x="1533" y="564"/>
                  <a:pt x="1533" y="564"/>
                </a:cubicBezTo>
                <a:cubicBezTo>
                  <a:pt x="1533" y="564"/>
                  <a:pt x="1532" y="564"/>
                  <a:pt x="1532" y="564"/>
                </a:cubicBezTo>
                <a:cubicBezTo>
                  <a:pt x="1532" y="564"/>
                  <a:pt x="1532" y="564"/>
                  <a:pt x="1532" y="564"/>
                </a:cubicBezTo>
                <a:cubicBezTo>
                  <a:pt x="1532" y="564"/>
                  <a:pt x="1532" y="564"/>
                  <a:pt x="1533" y="564"/>
                </a:cubicBezTo>
                <a:cubicBezTo>
                  <a:pt x="1533" y="564"/>
                  <a:pt x="1533" y="564"/>
                  <a:pt x="1534" y="565"/>
                </a:cubicBezTo>
                <a:cubicBezTo>
                  <a:pt x="1534" y="565"/>
                  <a:pt x="1534" y="565"/>
                  <a:pt x="1534" y="565"/>
                </a:cubicBezTo>
                <a:cubicBezTo>
                  <a:pt x="1534" y="565"/>
                  <a:pt x="1535" y="565"/>
                  <a:pt x="1535" y="565"/>
                </a:cubicBezTo>
                <a:cubicBezTo>
                  <a:pt x="1535" y="565"/>
                  <a:pt x="1535" y="565"/>
                  <a:pt x="1535" y="565"/>
                </a:cubicBezTo>
                <a:cubicBezTo>
                  <a:pt x="1535" y="564"/>
                  <a:pt x="1534" y="564"/>
                  <a:pt x="1534" y="564"/>
                </a:cubicBezTo>
                <a:cubicBezTo>
                  <a:pt x="1534" y="564"/>
                  <a:pt x="1533" y="563"/>
                  <a:pt x="1533" y="563"/>
                </a:cubicBezTo>
                <a:cubicBezTo>
                  <a:pt x="1532" y="563"/>
                  <a:pt x="1532" y="563"/>
                  <a:pt x="1532" y="563"/>
                </a:cubicBezTo>
                <a:cubicBezTo>
                  <a:pt x="1531" y="563"/>
                  <a:pt x="1531" y="563"/>
                  <a:pt x="1531" y="563"/>
                </a:cubicBezTo>
                <a:cubicBezTo>
                  <a:pt x="1531" y="563"/>
                  <a:pt x="1531" y="563"/>
                  <a:pt x="1530" y="563"/>
                </a:cubicBezTo>
                <a:cubicBezTo>
                  <a:pt x="1531" y="563"/>
                  <a:pt x="1531" y="563"/>
                  <a:pt x="1531" y="563"/>
                </a:cubicBezTo>
                <a:cubicBezTo>
                  <a:pt x="1530" y="563"/>
                  <a:pt x="1530" y="563"/>
                  <a:pt x="1530" y="563"/>
                </a:cubicBezTo>
                <a:cubicBezTo>
                  <a:pt x="1530" y="563"/>
                  <a:pt x="1531" y="564"/>
                  <a:pt x="1531" y="564"/>
                </a:cubicBezTo>
                <a:close/>
                <a:moveTo>
                  <a:pt x="1526" y="561"/>
                </a:moveTo>
                <a:cubicBezTo>
                  <a:pt x="1526" y="561"/>
                  <a:pt x="1526" y="561"/>
                  <a:pt x="1527" y="562"/>
                </a:cubicBezTo>
                <a:cubicBezTo>
                  <a:pt x="1527" y="561"/>
                  <a:pt x="1527" y="561"/>
                  <a:pt x="1527" y="561"/>
                </a:cubicBezTo>
                <a:cubicBezTo>
                  <a:pt x="1526" y="561"/>
                  <a:pt x="1526" y="560"/>
                  <a:pt x="1525" y="560"/>
                </a:cubicBezTo>
                <a:cubicBezTo>
                  <a:pt x="1525" y="560"/>
                  <a:pt x="1525" y="560"/>
                  <a:pt x="1526" y="561"/>
                </a:cubicBezTo>
                <a:close/>
                <a:moveTo>
                  <a:pt x="1524" y="556"/>
                </a:moveTo>
                <a:cubicBezTo>
                  <a:pt x="1525" y="555"/>
                  <a:pt x="1525" y="555"/>
                  <a:pt x="1526" y="555"/>
                </a:cubicBezTo>
                <a:cubicBezTo>
                  <a:pt x="1526" y="555"/>
                  <a:pt x="1526" y="554"/>
                  <a:pt x="1526" y="554"/>
                </a:cubicBezTo>
                <a:cubicBezTo>
                  <a:pt x="1526" y="554"/>
                  <a:pt x="1525" y="554"/>
                  <a:pt x="1525" y="554"/>
                </a:cubicBezTo>
                <a:cubicBezTo>
                  <a:pt x="1525" y="554"/>
                  <a:pt x="1524" y="553"/>
                  <a:pt x="1524" y="553"/>
                </a:cubicBezTo>
                <a:cubicBezTo>
                  <a:pt x="1523" y="553"/>
                  <a:pt x="1523" y="553"/>
                  <a:pt x="1522" y="553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1" y="554"/>
                  <a:pt x="1521" y="554"/>
                  <a:pt x="1521" y="554"/>
                </a:cubicBezTo>
                <a:cubicBezTo>
                  <a:pt x="1521" y="554"/>
                  <a:pt x="1521" y="554"/>
                  <a:pt x="1520" y="555"/>
                </a:cubicBezTo>
                <a:cubicBezTo>
                  <a:pt x="1520" y="555"/>
                  <a:pt x="1520" y="555"/>
                  <a:pt x="1520" y="555"/>
                </a:cubicBezTo>
                <a:cubicBezTo>
                  <a:pt x="1520" y="554"/>
                  <a:pt x="1520" y="554"/>
                  <a:pt x="1520" y="554"/>
                </a:cubicBezTo>
                <a:cubicBezTo>
                  <a:pt x="1520" y="554"/>
                  <a:pt x="1520" y="554"/>
                  <a:pt x="1520" y="554"/>
                </a:cubicBezTo>
                <a:cubicBezTo>
                  <a:pt x="1521" y="554"/>
                  <a:pt x="1521" y="554"/>
                  <a:pt x="1521" y="554"/>
                </a:cubicBezTo>
                <a:cubicBezTo>
                  <a:pt x="1521" y="554"/>
                  <a:pt x="1522" y="553"/>
                  <a:pt x="1522" y="553"/>
                </a:cubicBezTo>
                <a:cubicBezTo>
                  <a:pt x="1522" y="553"/>
                  <a:pt x="1522" y="552"/>
                  <a:pt x="1522" y="552"/>
                </a:cubicBezTo>
                <a:cubicBezTo>
                  <a:pt x="1522" y="552"/>
                  <a:pt x="1522" y="552"/>
                  <a:pt x="1522" y="551"/>
                </a:cubicBezTo>
                <a:cubicBezTo>
                  <a:pt x="1522" y="551"/>
                  <a:pt x="1522" y="551"/>
                  <a:pt x="1522" y="551"/>
                </a:cubicBezTo>
                <a:cubicBezTo>
                  <a:pt x="1522" y="551"/>
                  <a:pt x="1522" y="551"/>
                  <a:pt x="1523" y="551"/>
                </a:cubicBezTo>
                <a:cubicBezTo>
                  <a:pt x="1523" y="551"/>
                  <a:pt x="1523" y="550"/>
                  <a:pt x="1523" y="550"/>
                </a:cubicBezTo>
                <a:cubicBezTo>
                  <a:pt x="1523" y="550"/>
                  <a:pt x="1523" y="550"/>
                  <a:pt x="1522" y="550"/>
                </a:cubicBezTo>
                <a:cubicBezTo>
                  <a:pt x="1522" y="550"/>
                  <a:pt x="1521" y="550"/>
                  <a:pt x="1521" y="551"/>
                </a:cubicBezTo>
                <a:cubicBezTo>
                  <a:pt x="1520" y="551"/>
                  <a:pt x="1520" y="551"/>
                  <a:pt x="1520" y="551"/>
                </a:cubicBezTo>
                <a:cubicBezTo>
                  <a:pt x="1520" y="552"/>
                  <a:pt x="1520" y="552"/>
                  <a:pt x="1520" y="552"/>
                </a:cubicBezTo>
                <a:cubicBezTo>
                  <a:pt x="1519" y="552"/>
                  <a:pt x="1519" y="552"/>
                  <a:pt x="1519" y="553"/>
                </a:cubicBezTo>
                <a:cubicBezTo>
                  <a:pt x="1519" y="553"/>
                  <a:pt x="1519" y="553"/>
                  <a:pt x="1518" y="553"/>
                </a:cubicBezTo>
                <a:cubicBezTo>
                  <a:pt x="1518" y="553"/>
                  <a:pt x="1518" y="554"/>
                  <a:pt x="1519" y="554"/>
                </a:cubicBezTo>
                <a:cubicBezTo>
                  <a:pt x="1519" y="554"/>
                  <a:pt x="1519" y="555"/>
                  <a:pt x="1519" y="555"/>
                </a:cubicBezTo>
                <a:cubicBezTo>
                  <a:pt x="1519" y="555"/>
                  <a:pt x="1518" y="555"/>
                  <a:pt x="1518" y="555"/>
                </a:cubicBezTo>
                <a:cubicBezTo>
                  <a:pt x="1518" y="555"/>
                  <a:pt x="1518" y="556"/>
                  <a:pt x="1518" y="556"/>
                </a:cubicBezTo>
                <a:cubicBezTo>
                  <a:pt x="1518" y="556"/>
                  <a:pt x="1518" y="556"/>
                  <a:pt x="1518" y="557"/>
                </a:cubicBezTo>
                <a:cubicBezTo>
                  <a:pt x="1518" y="557"/>
                  <a:pt x="1518" y="557"/>
                  <a:pt x="1518" y="557"/>
                </a:cubicBezTo>
                <a:cubicBezTo>
                  <a:pt x="1518" y="557"/>
                  <a:pt x="1518" y="557"/>
                  <a:pt x="1518" y="557"/>
                </a:cubicBezTo>
                <a:cubicBezTo>
                  <a:pt x="1518" y="558"/>
                  <a:pt x="1518" y="558"/>
                  <a:pt x="1518" y="558"/>
                </a:cubicBezTo>
                <a:cubicBezTo>
                  <a:pt x="1518" y="558"/>
                  <a:pt x="1518" y="559"/>
                  <a:pt x="1518" y="559"/>
                </a:cubicBezTo>
                <a:cubicBezTo>
                  <a:pt x="1518" y="559"/>
                  <a:pt x="1518" y="560"/>
                  <a:pt x="1519" y="560"/>
                </a:cubicBezTo>
                <a:cubicBezTo>
                  <a:pt x="1519" y="560"/>
                  <a:pt x="1519" y="561"/>
                  <a:pt x="1519" y="561"/>
                </a:cubicBezTo>
                <a:cubicBezTo>
                  <a:pt x="1519" y="561"/>
                  <a:pt x="1519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1"/>
                  <a:pt x="1519" y="561"/>
                  <a:pt x="1519" y="560"/>
                </a:cubicBezTo>
                <a:cubicBezTo>
                  <a:pt x="1519" y="560"/>
                  <a:pt x="1519" y="560"/>
                  <a:pt x="1519" y="559"/>
                </a:cubicBezTo>
                <a:cubicBezTo>
                  <a:pt x="1519" y="559"/>
                  <a:pt x="1519" y="558"/>
                  <a:pt x="1519" y="558"/>
                </a:cubicBezTo>
                <a:cubicBezTo>
                  <a:pt x="1519" y="557"/>
                  <a:pt x="1519" y="557"/>
                  <a:pt x="1519" y="557"/>
                </a:cubicBezTo>
                <a:cubicBezTo>
                  <a:pt x="1520" y="557"/>
                  <a:pt x="1520" y="557"/>
                  <a:pt x="1520" y="557"/>
                </a:cubicBezTo>
                <a:cubicBezTo>
                  <a:pt x="1520" y="557"/>
                  <a:pt x="1521" y="557"/>
                  <a:pt x="1521" y="557"/>
                </a:cubicBezTo>
                <a:cubicBezTo>
                  <a:pt x="1522" y="557"/>
                  <a:pt x="1522" y="558"/>
                  <a:pt x="1522" y="558"/>
                </a:cubicBezTo>
                <a:cubicBezTo>
                  <a:pt x="1522" y="558"/>
                  <a:pt x="1523" y="558"/>
                  <a:pt x="1523" y="558"/>
                </a:cubicBezTo>
                <a:cubicBezTo>
                  <a:pt x="1523" y="558"/>
                  <a:pt x="1523" y="559"/>
                  <a:pt x="1524" y="559"/>
                </a:cubicBezTo>
                <a:cubicBezTo>
                  <a:pt x="1524" y="559"/>
                  <a:pt x="1523" y="558"/>
                  <a:pt x="1523" y="558"/>
                </a:cubicBezTo>
                <a:cubicBezTo>
                  <a:pt x="1523" y="558"/>
                  <a:pt x="1523" y="558"/>
                  <a:pt x="1523" y="558"/>
                </a:cubicBezTo>
                <a:cubicBezTo>
                  <a:pt x="1523" y="557"/>
                  <a:pt x="1523" y="557"/>
                  <a:pt x="1522" y="557"/>
                </a:cubicBezTo>
                <a:cubicBezTo>
                  <a:pt x="1522" y="557"/>
                  <a:pt x="1522" y="556"/>
                  <a:pt x="1522" y="556"/>
                </a:cubicBezTo>
                <a:cubicBezTo>
                  <a:pt x="1522" y="556"/>
                  <a:pt x="1522" y="556"/>
                  <a:pt x="1522" y="556"/>
                </a:cubicBezTo>
                <a:cubicBezTo>
                  <a:pt x="1522" y="556"/>
                  <a:pt x="1522" y="556"/>
                  <a:pt x="1523" y="555"/>
                </a:cubicBezTo>
                <a:cubicBezTo>
                  <a:pt x="1523" y="556"/>
                  <a:pt x="1524" y="556"/>
                  <a:pt x="1524" y="556"/>
                </a:cubicBezTo>
                <a:close/>
                <a:moveTo>
                  <a:pt x="1551" y="577"/>
                </a:moveTo>
                <a:cubicBezTo>
                  <a:pt x="1552" y="578"/>
                  <a:pt x="1552" y="578"/>
                  <a:pt x="1553" y="578"/>
                </a:cubicBezTo>
                <a:cubicBezTo>
                  <a:pt x="1553" y="579"/>
                  <a:pt x="1554" y="579"/>
                  <a:pt x="1555" y="579"/>
                </a:cubicBezTo>
                <a:cubicBezTo>
                  <a:pt x="1555" y="580"/>
                  <a:pt x="1556" y="580"/>
                  <a:pt x="1557" y="580"/>
                </a:cubicBezTo>
                <a:cubicBezTo>
                  <a:pt x="1557" y="580"/>
                  <a:pt x="1557" y="580"/>
                  <a:pt x="1557" y="580"/>
                </a:cubicBezTo>
                <a:cubicBezTo>
                  <a:pt x="1557" y="580"/>
                  <a:pt x="1556" y="579"/>
                  <a:pt x="1556" y="579"/>
                </a:cubicBezTo>
                <a:cubicBezTo>
                  <a:pt x="1556" y="579"/>
                  <a:pt x="1555" y="579"/>
                  <a:pt x="1555" y="579"/>
                </a:cubicBezTo>
                <a:cubicBezTo>
                  <a:pt x="1555" y="579"/>
                  <a:pt x="1554" y="578"/>
                  <a:pt x="1554" y="578"/>
                </a:cubicBezTo>
                <a:cubicBezTo>
                  <a:pt x="1553" y="578"/>
                  <a:pt x="1553" y="578"/>
                  <a:pt x="1553" y="578"/>
                </a:cubicBezTo>
                <a:cubicBezTo>
                  <a:pt x="1552" y="578"/>
                  <a:pt x="1552" y="577"/>
                  <a:pt x="1551" y="577"/>
                </a:cubicBezTo>
                <a:cubicBezTo>
                  <a:pt x="1551" y="577"/>
                  <a:pt x="1551" y="577"/>
                  <a:pt x="1551" y="577"/>
                </a:cubicBezTo>
                <a:close/>
                <a:moveTo>
                  <a:pt x="1531" y="566"/>
                </a:moveTo>
                <a:cubicBezTo>
                  <a:pt x="1531" y="566"/>
                  <a:pt x="1532" y="566"/>
                  <a:pt x="1532" y="566"/>
                </a:cubicBezTo>
                <a:cubicBezTo>
                  <a:pt x="1532" y="566"/>
                  <a:pt x="1532" y="566"/>
                  <a:pt x="1532" y="566"/>
                </a:cubicBezTo>
                <a:cubicBezTo>
                  <a:pt x="1532" y="566"/>
                  <a:pt x="1532" y="566"/>
                  <a:pt x="1531" y="566"/>
                </a:cubicBezTo>
                <a:close/>
                <a:moveTo>
                  <a:pt x="1530" y="566"/>
                </a:moveTo>
                <a:cubicBezTo>
                  <a:pt x="1530" y="566"/>
                  <a:pt x="1530" y="565"/>
                  <a:pt x="1530" y="565"/>
                </a:cubicBezTo>
                <a:cubicBezTo>
                  <a:pt x="1530" y="566"/>
                  <a:pt x="1530" y="566"/>
                  <a:pt x="1530" y="566"/>
                </a:cubicBezTo>
                <a:cubicBezTo>
                  <a:pt x="1531" y="566"/>
                  <a:pt x="1531" y="566"/>
                  <a:pt x="1531" y="566"/>
                </a:cubicBezTo>
                <a:cubicBezTo>
                  <a:pt x="1531" y="566"/>
                  <a:pt x="1531" y="566"/>
                  <a:pt x="1530" y="566"/>
                </a:cubicBezTo>
                <a:close/>
                <a:moveTo>
                  <a:pt x="1532" y="586"/>
                </a:moveTo>
                <a:cubicBezTo>
                  <a:pt x="1532" y="586"/>
                  <a:pt x="1532" y="586"/>
                  <a:pt x="1532" y="586"/>
                </a:cubicBezTo>
                <a:cubicBezTo>
                  <a:pt x="1532" y="586"/>
                  <a:pt x="1532" y="587"/>
                  <a:pt x="1532" y="587"/>
                </a:cubicBezTo>
                <a:cubicBezTo>
                  <a:pt x="1532" y="587"/>
                  <a:pt x="1532" y="587"/>
                  <a:pt x="1532" y="587"/>
                </a:cubicBezTo>
                <a:cubicBezTo>
                  <a:pt x="1532" y="587"/>
                  <a:pt x="1532" y="587"/>
                  <a:pt x="1533" y="586"/>
                </a:cubicBezTo>
                <a:cubicBezTo>
                  <a:pt x="1532" y="586"/>
                  <a:pt x="1532" y="586"/>
                  <a:pt x="1532" y="586"/>
                </a:cubicBezTo>
                <a:close/>
                <a:moveTo>
                  <a:pt x="1541" y="589"/>
                </a:move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lose/>
                <a:moveTo>
                  <a:pt x="1535" y="586"/>
                </a:moveTo>
                <a:cubicBezTo>
                  <a:pt x="1535" y="586"/>
                  <a:pt x="1534" y="586"/>
                  <a:pt x="1534" y="586"/>
                </a:cubicBezTo>
                <a:cubicBezTo>
                  <a:pt x="1534" y="586"/>
                  <a:pt x="1533" y="587"/>
                  <a:pt x="1533" y="587"/>
                </a:cubicBezTo>
                <a:cubicBezTo>
                  <a:pt x="1533" y="587"/>
                  <a:pt x="1533" y="587"/>
                  <a:pt x="1532" y="587"/>
                </a:cubicBezTo>
                <a:cubicBezTo>
                  <a:pt x="1533" y="587"/>
                  <a:pt x="1533" y="587"/>
                  <a:pt x="1533" y="587"/>
                </a:cubicBezTo>
                <a:cubicBezTo>
                  <a:pt x="1533" y="587"/>
                  <a:pt x="1534" y="587"/>
                  <a:pt x="1534" y="586"/>
                </a:cubicBezTo>
                <a:cubicBezTo>
                  <a:pt x="1534" y="586"/>
                  <a:pt x="1535" y="586"/>
                  <a:pt x="1535" y="586"/>
                </a:cubicBezTo>
                <a:close/>
                <a:moveTo>
                  <a:pt x="1539" y="592"/>
                </a:moveTo>
                <a:cubicBezTo>
                  <a:pt x="1539" y="592"/>
                  <a:pt x="1539" y="592"/>
                  <a:pt x="1539" y="592"/>
                </a:cubicBezTo>
                <a:cubicBezTo>
                  <a:pt x="1539" y="592"/>
                  <a:pt x="1539" y="592"/>
                  <a:pt x="1539" y="592"/>
                </a:cubicBezTo>
                <a:cubicBezTo>
                  <a:pt x="1539" y="592"/>
                  <a:pt x="1539" y="592"/>
                  <a:pt x="1539" y="593"/>
                </a:cubicBezTo>
                <a:cubicBezTo>
                  <a:pt x="1539" y="593"/>
                  <a:pt x="1540" y="593"/>
                  <a:pt x="1540" y="593"/>
                </a:cubicBezTo>
                <a:cubicBezTo>
                  <a:pt x="1540" y="593"/>
                  <a:pt x="1540" y="592"/>
                  <a:pt x="1540" y="592"/>
                </a:cubicBezTo>
                <a:cubicBezTo>
                  <a:pt x="1540" y="592"/>
                  <a:pt x="1539" y="592"/>
                  <a:pt x="1539" y="592"/>
                </a:cubicBezTo>
                <a:close/>
                <a:moveTo>
                  <a:pt x="1540" y="594"/>
                </a:moveTo>
                <a:cubicBezTo>
                  <a:pt x="1540" y="593"/>
                  <a:pt x="1540" y="593"/>
                  <a:pt x="1540" y="593"/>
                </a:cubicBezTo>
                <a:cubicBezTo>
                  <a:pt x="1540" y="593"/>
                  <a:pt x="1540" y="593"/>
                  <a:pt x="1539" y="593"/>
                </a:cubicBezTo>
                <a:cubicBezTo>
                  <a:pt x="1540" y="593"/>
                  <a:pt x="1540" y="594"/>
                  <a:pt x="1540" y="594"/>
                </a:cubicBezTo>
                <a:cubicBezTo>
                  <a:pt x="1540" y="594"/>
                  <a:pt x="1540" y="594"/>
                  <a:pt x="1540" y="594"/>
                </a:cubicBezTo>
                <a:close/>
                <a:moveTo>
                  <a:pt x="1539" y="591"/>
                </a:moveTo>
                <a:cubicBezTo>
                  <a:pt x="1539" y="591"/>
                  <a:pt x="1539" y="591"/>
                  <a:pt x="1540" y="592"/>
                </a:cubicBezTo>
                <a:cubicBezTo>
                  <a:pt x="1540" y="592"/>
                  <a:pt x="1540" y="592"/>
                  <a:pt x="1540" y="592"/>
                </a:cubicBezTo>
                <a:cubicBezTo>
                  <a:pt x="1540" y="592"/>
                  <a:pt x="1540" y="592"/>
                  <a:pt x="1541" y="592"/>
                </a:cubicBezTo>
                <a:cubicBezTo>
                  <a:pt x="1541" y="592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0" y="590"/>
                </a:cubicBezTo>
                <a:cubicBezTo>
                  <a:pt x="1540" y="590"/>
                  <a:pt x="1540" y="590"/>
                  <a:pt x="1540" y="590"/>
                </a:cubicBezTo>
                <a:cubicBezTo>
                  <a:pt x="1539" y="590"/>
                  <a:pt x="1539" y="591"/>
                  <a:pt x="1539" y="591"/>
                </a:cubicBezTo>
                <a:cubicBezTo>
                  <a:pt x="1539" y="591"/>
                  <a:pt x="1539" y="591"/>
                  <a:pt x="1539" y="591"/>
                </a:cubicBezTo>
                <a:close/>
                <a:moveTo>
                  <a:pt x="1539" y="589"/>
                </a:move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lose/>
                <a:moveTo>
                  <a:pt x="1540" y="589"/>
                </a:moveTo>
                <a:cubicBezTo>
                  <a:pt x="1540" y="589"/>
                  <a:pt x="1540" y="589"/>
                  <a:pt x="1540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40" y="589"/>
                </a:cubicBezTo>
                <a:cubicBezTo>
                  <a:pt x="1540" y="589"/>
                  <a:pt x="1540" y="589"/>
                  <a:pt x="1540" y="589"/>
                </a:cubicBezTo>
                <a:cubicBezTo>
                  <a:pt x="1540" y="589"/>
                  <a:pt x="1540" y="590"/>
                  <a:pt x="1540" y="590"/>
                </a:cubicBezTo>
                <a:cubicBezTo>
                  <a:pt x="1540" y="590"/>
                  <a:pt x="1539" y="590"/>
                  <a:pt x="1539" y="590"/>
                </a:cubicBezTo>
                <a:cubicBezTo>
                  <a:pt x="1539" y="590"/>
                  <a:pt x="1539" y="590"/>
                  <a:pt x="1539" y="590"/>
                </a:cubicBezTo>
                <a:cubicBezTo>
                  <a:pt x="1539" y="590"/>
                  <a:pt x="1539" y="590"/>
                  <a:pt x="1540" y="590"/>
                </a:cubicBezTo>
                <a:cubicBezTo>
                  <a:pt x="1540" y="590"/>
                  <a:pt x="1540" y="590"/>
                  <a:pt x="1540" y="590"/>
                </a:cubicBezTo>
                <a:cubicBezTo>
                  <a:pt x="1540" y="590"/>
                  <a:pt x="1541" y="590"/>
                  <a:pt x="1541" y="590"/>
                </a:cubicBezTo>
                <a:cubicBezTo>
                  <a:pt x="1541" y="590"/>
                  <a:pt x="1541" y="590"/>
                  <a:pt x="1541" y="590"/>
                </a:cubicBezTo>
                <a:cubicBezTo>
                  <a:pt x="1541" y="590"/>
                  <a:pt x="1541" y="590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0" y="589"/>
                  <a:pt x="1540" y="589"/>
                  <a:pt x="1540" y="589"/>
                </a:cubicBezTo>
                <a:close/>
                <a:moveTo>
                  <a:pt x="1509" y="562"/>
                </a:moveTo>
                <a:cubicBezTo>
                  <a:pt x="1509" y="562"/>
                  <a:pt x="1508" y="561"/>
                  <a:pt x="1508" y="561"/>
                </a:cubicBezTo>
                <a:cubicBezTo>
                  <a:pt x="1508" y="561"/>
                  <a:pt x="1507" y="561"/>
                  <a:pt x="1506" y="560"/>
                </a:cubicBezTo>
                <a:cubicBezTo>
                  <a:pt x="1506" y="560"/>
                  <a:pt x="1506" y="560"/>
                  <a:pt x="1506" y="560"/>
                </a:cubicBezTo>
                <a:cubicBezTo>
                  <a:pt x="1506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1"/>
                </a:cubicBezTo>
                <a:cubicBezTo>
                  <a:pt x="1505" y="561"/>
                  <a:pt x="1505" y="561"/>
                  <a:pt x="1506" y="561"/>
                </a:cubicBezTo>
                <a:cubicBezTo>
                  <a:pt x="1506" y="561"/>
                  <a:pt x="1507" y="561"/>
                  <a:pt x="1508" y="561"/>
                </a:cubicBezTo>
                <a:cubicBezTo>
                  <a:pt x="1508" y="562"/>
                  <a:pt x="1509" y="562"/>
                  <a:pt x="1509" y="562"/>
                </a:cubicBezTo>
                <a:close/>
                <a:moveTo>
                  <a:pt x="1495" y="583"/>
                </a:moveTo>
                <a:cubicBezTo>
                  <a:pt x="1495" y="583"/>
                  <a:pt x="1496" y="583"/>
                  <a:pt x="1496" y="583"/>
                </a:cubicBezTo>
                <a:cubicBezTo>
                  <a:pt x="1496" y="583"/>
                  <a:pt x="1496" y="583"/>
                  <a:pt x="1496" y="583"/>
                </a:cubicBezTo>
                <a:cubicBezTo>
                  <a:pt x="1495" y="583"/>
                  <a:pt x="1495" y="583"/>
                  <a:pt x="1495" y="583"/>
                </a:cubicBezTo>
                <a:cubicBezTo>
                  <a:pt x="1495" y="583"/>
                  <a:pt x="1495" y="583"/>
                  <a:pt x="1495" y="583"/>
                </a:cubicBezTo>
                <a:close/>
                <a:moveTo>
                  <a:pt x="1506" y="562"/>
                </a:moveTo>
                <a:cubicBezTo>
                  <a:pt x="1506" y="562"/>
                  <a:pt x="1506" y="562"/>
                  <a:pt x="1506" y="562"/>
                </a:cubicBezTo>
                <a:cubicBezTo>
                  <a:pt x="1506" y="563"/>
                  <a:pt x="1506" y="563"/>
                  <a:pt x="1506" y="563"/>
                </a:cubicBezTo>
                <a:cubicBezTo>
                  <a:pt x="1507" y="563"/>
                  <a:pt x="1507" y="563"/>
                  <a:pt x="1507" y="564"/>
                </a:cubicBezTo>
                <a:cubicBezTo>
                  <a:pt x="1507" y="563"/>
                  <a:pt x="1507" y="563"/>
                  <a:pt x="1507" y="563"/>
                </a:cubicBezTo>
                <a:cubicBezTo>
                  <a:pt x="1507" y="563"/>
                  <a:pt x="1507" y="563"/>
                  <a:pt x="1507" y="562"/>
                </a:cubicBezTo>
                <a:cubicBezTo>
                  <a:pt x="1507" y="562"/>
                  <a:pt x="1507" y="562"/>
                  <a:pt x="1507" y="562"/>
                </a:cubicBezTo>
                <a:cubicBezTo>
                  <a:pt x="1507" y="562"/>
                  <a:pt x="1507" y="562"/>
                  <a:pt x="1506" y="562"/>
                </a:cubicBezTo>
                <a:close/>
                <a:moveTo>
                  <a:pt x="1538" y="590"/>
                </a:moveTo>
                <a:cubicBezTo>
                  <a:pt x="1538" y="590"/>
                  <a:pt x="1538" y="590"/>
                  <a:pt x="1538" y="590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8" y="591"/>
                  <a:pt x="1539" y="591"/>
                  <a:pt x="1539" y="592"/>
                </a:cubicBezTo>
                <a:cubicBezTo>
                  <a:pt x="1539" y="592"/>
                  <a:pt x="1539" y="592"/>
                  <a:pt x="1539" y="592"/>
                </a:cubicBezTo>
                <a:cubicBezTo>
                  <a:pt x="1539" y="591"/>
                  <a:pt x="1539" y="591"/>
                  <a:pt x="1539" y="591"/>
                </a:cubicBezTo>
                <a:cubicBezTo>
                  <a:pt x="1539" y="591"/>
                  <a:pt x="1539" y="590"/>
                  <a:pt x="1539" y="590"/>
                </a:cubicBezTo>
                <a:cubicBezTo>
                  <a:pt x="1538" y="590"/>
                  <a:pt x="1538" y="590"/>
                  <a:pt x="1538" y="590"/>
                </a:cubicBezTo>
                <a:close/>
                <a:moveTo>
                  <a:pt x="1504" y="560"/>
                </a:moveTo>
                <a:cubicBezTo>
                  <a:pt x="1504" y="559"/>
                  <a:pt x="1504" y="559"/>
                  <a:pt x="1504" y="559"/>
                </a:cubicBezTo>
                <a:cubicBezTo>
                  <a:pt x="1504" y="559"/>
                  <a:pt x="1503" y="559"/>
                  <a:pt x="1503" y="559"/>
                </a:cubicBezTo>
                <a:cubicBezTo>
                  <a:pt x="1503" y="559"/>
                  <a:pt x="1503" y="559"/>
                  <a:pt x="1503" y="559"/>
                </a:cubicBezTo>
                <a:cubicBezTo>
                  <a:pt x="1502" y="559"/>
                  <a:pt x="1502" y="559"/>
                  <a:pt x="1502" y="558"/>
                </a:cubicBezTo>
                <a:cubicBezTo>
                  <a:pt x="1502" y="558"/>
                  <a:pt x="1501" y="558"/>
                  <a:pt x="1501" y="558"/>
                </a:cubicBezTo>
                <a:cubicBezTo>
                  <a:pt x="1501" y="558"/>
                  <a:pt x="1501" y="558"/>
                  <a:pt x="1501" y="558"/>
                </a:cubicBezTo>
                <a:cubicBezTo>
                  <a:pt x="1501" y="558"/>
                  <a:pt x="1500" y="558"/>
                  <a:pt x="1500" y="558"/>
                </a:cubicBezTo>
                <a:cubicBezTo>
                  <a:pt x="1500" y="558"/>
                  <a:pt x="1500" y="559"/>
                  <a:pt x="1500" y="559"/>
                </a:cubicBezTo>
                <a:cubicBezTo>
                  <a:pt x="1500" y="559"/>
                  <a:pt x="1500" y="559"/>
                  <a:pt x="1500" y="559"/>
                </a:cubicBezTo>
                <a:cubicBezTo>
                  <a:pt x="1500" y="559"/>
                  <a:pt x="1501" y="559"/>
                  <a:pt x="1501" y="560"/>
                </a:cubicBezTo>
                <a:cubicBezTo>
                  <a:pt x="1501" y="560"/>
                  <a:pt x="1502" y="560"/>
                  <a:pt x="1502" y="560"/>
                </a:cubicBezTo>
                <a:cubicBezTo>
                  <a:pt x="1502" y="560"/>
                  <a:pt x="1502" y="560"/>
                  <a:pt x="1503" y="560"/>
                </a:cubicBezTo>
                <a:cubicBezTo>
                  <a:pt x="1503" y="560"/>
                  <a:pt x="1503" y="560"/>
                  <a:pt x="1504" y="560"/>
                </a:cubicBezTo>
                <a:cubicBezTo>
                  <a:pt x="1504" y="560"/>
                  <a:pt x="1504" y="560"/>
                  <a:pt x="1504" y="560"/>
                </a:cubicBezTo>
                <a:cubicBezTo>
                  <a:pt x="1504" y="560"/>
                  <a:pt x="1504" y="560"/>
                  <a:pt x="1504" y="560"/>
                </a:cubicBezTo>
                <a:close/>
                <a:moveTo>
                  <a:pt x="1539" y="593"/>
                </a:moveTo>
                <a:cubicBezTo>
                  <a:pt x="1539" y="593"/>
                  <a:pt x="1539" y="593"/>
                  <a:pt x="1539" y="592"/>
                </a:cubicBezTo>
                <a:cubicBezTo>
                  <a:pt x="1539" y="592"/>
                  <a:pt x="1538" y="592"/>
                  <a:pt x="1538" y="592"/>
                </a:cubicBezTo>
                <a:cubicBezTo>
                  <a:pt x="1538" y="592"/>
                  <a:pt x="1538" y="591"/>
                  <a:pt x="1538" y="591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7" y="591"/>
                  <a:pt x="1537" y="591"/>
                  <a:pt x="1537" y="592"/>
                </a:cubicBezTo>
                <a:cubicBezTo>
                  <a:pt x="1537" y="592"/>
                  <a:pt x="1537" y="592"/>
                  <a:pt x="1538" y="592"/>
                </a:cubicBezTo>
                <a:cubicBezTo>
                  <a:pt x="1538" y="592"/>
                  <a:pt x="1538" y="592"/>
                  <a:pt x="1538" y="593"/>
                </a:cubicBezTo>
                <a:cubicBezTo>
                  <a:pt x="1538" y="592"/>
                  <a:pt x="1537" y="592"/>
                  <a:pt x="1537" y="592"/>
                </a:cubicBezTo>
                <a:cubicBezTo>
                  <a:pt x="1537" y="592"/>
                  <a:pt x="1537" y="592"/>
                  <a:pt x="1537" y="592"/>
                </a:cubicBezTo>
                <a:cubicBezTo>
                  <a:pt x="1537" y="592"/>
                  <a:pt x="1537" y="592"/>
                  <a:pt x="1537" y="593"/>
                </a:cubicBezTo>
                <a:cubicBezTo>
                  <a:pt x="1537" y="593"/>
                  <a:pt x="1537" y="593"/>
                  <a:pt x="1537" y="593"/>
                </a:cubicBezTo>
                <a:cubicBezTo>
                  <a:pt x="1537" y="593"/>
                  <a:pt x="1537" y="593"/>
                  <a:pt x="1537" y="593"/>
                </a:cubicBezTo>
                <a:cubicBezTo>
                  <a:pt x="1538" y="593"/>
                  <a:pt x="1538" y="593"/>
                  <a:pt x="1539" y="593"/>
                </a:cubicBezTo>
                <a:cubicBezTo>
                  <a:pt x="1539" y="593"/>
                  <a:pt x="1539" y="593"/>
                  <a:pt x="1539" y="593"/>
                </a:cubicBezTo>
                <a:close/>
                <a:moveTo>
                  <a:pt x="1525" y="591"/>
                </a:moveTo>
                <a:cubicBezTo>
                  <a:pt x="1525" y="591"/>
                  <a:pt x="1525" y="590"/>
                  <a:pt x="1525" y="590"/>
                </a:cubicBezTo>
                <a:cubicBezTo>
                  <a:pt x="1525" y="590"/>
                  <a:pt x="1525" y="590"/>
                  <a:pt x="1525" y="590"/>
                </a:cubicBezTo>
                <a:cubicBezTo>
                  <a:pt x="1525" y="590"/>
                  <a:pt x="1525" y="590"/>
                  <a:pt x="1525" y="590"/>
                </a:cubicBezTo>
                <a:cubicBezTo>
                  <a:pt x="1525" y="590"/>
                  <a:pt x="1525" y="590"/>
                  <a:pt x="1525" y="589"/>
                </a:cubicBezTo>
                <a:cubicBezTo>
                  <a:pt x="1525" y="589"/>
                  <a:pt x="1524" y="589"/>
                  <a:pt x="1524" y="590"/>
                </a:cubicBezTo>
                <a:cubicBezTo>
                  <a:pt x="1524" y="590"/>
                  <a:pt x="1524" y="590"/>
                  <a:pt x="1524" y="590"/>
                </a:cubicBezTo>
                <a:cubicBezTo>
                  <a:pt x="1524" y="590"/>
                  <a:pt x="1523" y="590"/>
                  <a:pt x="1523" y="590"/>
                </a:cubicBezTo>
                <a:cubicBezTo>
                  <a:pt x="1523" y="590"/>
                  <a:pt x="1522" y="590"/>
                  <a:pt x="1522" y="590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2"/>
                  <a:pt x="1522" y="592"/>
                  <a:pt x="1522" y="592"/>
                </a:cubicBezTo>
                <a:cubicBezTo>
                  <a:pt x="1522" y="592"/>
                  <a:pt x="1523" y="592"/>
                  <a:pt x="1523" y="592"/>
                </a:cubicBezTo>
                <a:cubicBezTo>
                  <a:pt x="1523" y="592"/>
                  <a:pt x="1524" y="592"/>
                  <a:pt x="1524" y="592"/>
                </a:cubicBezTo>
                <a:cubicBezTo>
                  <a:pt x="1524" y="591"/>
                  <a:pt x="1525" y="591"/>
                  <a:pt x="1525" y="591"/>
                </a:cubicBezTo>
                <a:close/>
                <a:moveTo>
                  <a:pt x="1555" y="606"/>
                </a:moveTo>
                <a:cubicBezTo>
                  <a:pt x="1555" y="606"/>
                  <a:pt x="1554" y="606"/>
                  <a:pt x="1554" y="606"/>
                </a:cubicBezTo>
                <a:cubicBezTo>
                  <a:pt x="1554" y="606"/>
                  <a:pt x="1554" y="606"/>
                  <a:pt x="1555" y="606"/>
                </a:cubicBezTo>
                <a:cubicBezTo>
                  <a:pt x="1555" y="606"/>
                  <a:pt x="1555" y="607"/>
                  <a:pt x="1555" y="607"/>
                </a:cubicBezTo>
                <a:cubicBezTo>
                  <a:pt x="1555" y="607"/>
                  <a:pt x="1556" y="607"/>
                  <a:pt x="1556" y="607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6" y="606"/>
                  <a:pt x="1555" y="606"/>
                  <a:pt x="1555" y="606"/>
                </a:cubicBezTo>
                <a:cubicBezTo>
                  <a:pt x="1555" y="606"/>
                  <a:pt x="1555" y="606"/>
                  <a:pt x="1555" y="606"/>
                </a:cubicBezTo>
                <a:close/>
                <a:moveTo>
                  <a:pt x="1486" y="588"/>
                </a:moveTo>
                <a:cubicBezTo>
                  <a:pt x="1486" y="588"/>
                  <a:pt x="1486" y="588"/>
                  <a:pt x="1487" y="588"/>
                </a:cubicBezTo>
                <a:cubicBezTo>
                  <a:pt x="1487" y="588"/>
                  <a:pt x="1487" y="588"/>
                  <a:pt x="1487" y="588"/>
                </a:cubicBezTo>
                <a:cubicBezTo>
                  <a:pt x="1488" y="588"/>
                  <a:pt x="1488" y="588"/>
                  <a:pt x="1488" y="588"/>
                </a:cubicBezTo>
                <a:cubicBezTo>
                  <a:pt x="1489" y="588"/>
                  <a:pt x="1489" y="588"/>
                  <a:pt x="1489" y="587"/>
                </a:cubicBezTo>
                <a:cubicBezTo>
                  <a:pt x="1490" y="587"/>
                  <a:pt x="1491" y="587"/>
                  <a:pt x="1491" y="587"/>
                </a:cubicBezTo>
                <a:cubicBezTo>
                  <a:pt x="1491" y="587"/>
                  <a:pt x="1492" y="587"/>
                  <a:pt x="1492" y="587"/>
                </a:cubicBezTo>
                <a:cubicBezTo>
                  <a:pt x="1492" y="587"/>
                  <a:pt x="1492" y="587"/>
                  <a:pt x="1492" y="587"/>
                </a:cubicBezTo>
                <a:cubicBezTo>
                  <a:pt x="1492" y="587"/>
                  <a:pt x="1492" y="587"/>
                  <a:pt x="1492" y="587"/>
                </a:cubicBezTo>
                <a:cubicBezTo>
                  <a:pt x="1493" y="587"/>
                  <a:pt x="1493" y="587"/>
                  <a:pt x="1494" y="587"/>
                </a:cubicBezTo>
                <a:cubicBezTo>
                  <a:pt x="1494" y="587"/>
                  <a:pt x="1494" y="587"/>
                  <a:pt x="1494" y="587"/>
                </a:cubicBezTo>
                <a:cubicBezTo>
                  <a:pt x="1495" y="587"/>
                  <a:pt x="1495" y="587"/>
                  <a:pt x="1495" y="587"/>
                </a:cubicBezTo>
                <a:cubicBezTo>
                  <a:pt x="1496" y="587"/>
                  <a:pt x="1496" y="587"/>
                  <a:pt x="1497" y="587"/>
                </a:cubicBezTo>
                <a:cubicBezTo>
                  <a:pt x="1498" y="587"/>
                  <a:pt x="1498" y="587"/>
                  <a:pt x="1499" y="587"/>
                </a:cubicBezTo>
                <a:cubicBezTo>
                  <a:pt x="1499" y="587"/>
                  <a:pt x="1500" y="587"/>
                  <a:pt x="1500" y="587"/>
                </a:cubicBezTo>
                <a:cubicBezTo>
                  <a:pt x="1500" y="587"/>
                  <a:pt x="1500" y="587"/>
                  <a:pt x="1500" y="587"/>
                </a:cubicBezTo>
                <a:cubicBezTo>
                  <a:pt x="1501" y="587"/>
                  <a:pt x="1501" y="587"/>
                  <a:pt x="1501" y="587"/>
                </a:cubicBezTo>
                <a:cubicBezTo>
                  <a:pt x="1501" y="587"/>
                  <a:pt x="1502" y="587"/>
                  <a:pt x="1502" y="587"/>
                </a:cubicBezTo>
                <a:cubicBezTo>
                  <a:pt x="1502" y="587"/>
                  <a:pt x="1502" y="587"/>
                  <a:pt x="1502" y="587"/>
                </a:cubicBezTo>
                <a:cubicBezTo>
                  <a:pt x="1502" y="587"/>
                  <a:pt x="1502" y="587"/>
                  <a:pt x="1502" y="586"/>
                </a:cubicBezTo>
                <a:cubicBezTo>
                  <a:pt x="1501" y="586"/>
                  <a:pt x="1501" y="586"/>
                  <a:pt x="1500" y="586"/>
                </a:cubicBezTo>
                <a:cubicBezTo>
                  <a:pt x="1500" y="586"/>
                  <a:pt x="1499" y="586"/>
                  <a:pt x="1499" y="586"/>
                </a:cubicBezTo>
                <a:cubicBezTo>
                  <a:pt x="1499" y="586"/>
                  <a:pt x="1498" y="586"/>
                  <a:pt x="1498" y="585"/>
                </a:cubicBezTo>
                <a:cubicBezTo>
                  <a:pt x="1498" y="585"/>
                  <a:pt x="1497" y="585"/>
                  <a:pt x="1497" y="585"/>
                </a:cubicBezTo>
                <a:cubicBezTo>
                  <a:pt x="1497" y="585"/>
                  <a:pt x="1496" y="585"/>
                  <a:pt x="1496" y="585"/>
                </a:cubicBezTo>
                <a:cubicBezTo>
                  <a:pt x="1495" y="585"/>
                  <a:pt x="1495" y="584"/>
                  <a:pt x="1494" y="584"/>
                </a:cubicBezTo>
                <a:cubicBezTo>
                  <a:pt x="1493" y="584"/>
                  <a:pt x="1493" y="584"/>
                  <a:pt x="1492" y="585"/>
                </a:cubicBezTo>
                <a:cubicBezTo>
                  <a:pt x="1492" y="585"/>
                  <a:pt x="1491" y="585"/>
                  <a:pt x="1491" y="585"/>
                </a:cubicBezTo>
                <a:cubicBezTo>
                  <a:pt x="1491" y="585"/>
                  <a:pt x="1491" y="585"/>
                  <a:pt x="1490" y="585"/>
                </a:cubicBezTo>
                <a:cubicBezTo>
                  <a:pt x="1490" y="584"/>
                  <a:pt x="1490" y="584"/>
                  <a:pt x="1490" y="584"/>
                </a:cubicBezTo>
                <a:cubicBezTo>
                  <a:pt x="1489" y="584"/>
                  <a:pt x="1489" y="584"/>
                  <a:pt x="1489" y="584"/>
                </a:cubicBezTo>
                <a:cubicBezTo>
                  <a:pt x="1489" y="584"/>
                  <a:pt x="1488" y="584"/>
                  <a:pt x="1488" y="584"/>
                </a:cubicBezTo>
                <a:cubicBezTo>
                  <a:pt x="1487" y="584"/>
                  <a:pt x="1487" y="584"/>
                  <a:pt x="1487" y="584"/>
                </a:cubicBezTo>
                <a:cubicBezTo>
                  <a:pt x="1487" y="584"/>
                  <a:pt x="1487" y="584"/>
                  <a:pt x="1487" y="584"/>
                </a:cubicBezTo>
                <a:cubicBezTo>
                  <a:pt x="1486" y="584"/>
                  <a:pt x="1486" y="584"/>
                  <a:pt x="1486" y="584"/>
                </a:cubicBezTo>
                <a:cubicBezTo>
                  <a:pt x="1485" y="585"/>
                  <a:pt x="1485" y="585"/>
                  <a:pt x="1485" y="585"/>
                </a:cubicBezTo>
                <a:cubicBezTo>
                  <a:pt x="1484" y="585"/>
                  <a:pt x="1484" y="586"/>
                  <a:pt x="1484" y="586"/>
                </a:cubicBezTo>
                <a:cubicBezTo>
                  <a:pt x="1484" y="586"/>
                  <a:pt x="1483" y="586"/>
                  <a:pt x="1483" y="586"/>
                </a:cubicBezTo>
                <a:cubicBezTo>
                  <a:pt x="1483" y="586"/>
                  <a:pt x="1484" y="586"/>
                  <a:pt x="1484" y="586"/>
                </a:cubicBezTo>
                <a:cubicBezTo>
                  <a:pt x="1484" y="587"/>
                  <a:pt x="1484" y="587"/>
                  <a:pt x="1484" y="587"/>
                </a:cubicBezTo>
                <a:cubicBezTo>
                  <a:pt x="1484" y="587"/>
                  <a:pt x="1483" y="587"/>
                  <a:pt x="1483" y="587"/>
                </a:cubicBezTo>
                <a:cubicBezTo>
                  <a:pt x="1483" y="587"/>
                  <a:pt x="1483" y="586"/>
                  <a:pt x="1483" y="586"/>
                </a:cubicBezTo>
                <a:cubicBezTo>
                  <a:pt x="1483" y="587"/>
                  <a:pt x="1483" y="587"/>
                  <a:pt x="1482" y="587"/>
                </a:cubicBezTo>
                <a:cubicBezTo>
                  <a:pt x="1482" y="587"/>
                  <a:pt x="1483" y="587"/>
                  <a:pt x="1483" y="587"/>
                </a:cubicBezTo>
                <a:cubicBezTo>
                  <a:pt x="1483" y="588"/>
                  <a:pt x="1484" y="588"/>
                  <a:pt x="1484" y="588"/>
                </a:cubicBezTo>
                <a:cubicBezTo>
                  <a:pt x="1485" y="588"/>
                  <a:pt x="1485" y="588"/>
                  <a:pt x="1486" y="588"/>
                </a:cubicBezTo>
                <a:close/>
                <a:moveTo>
                  <a:pt x="1511" y="589"/>
                </a:moveTo>
                <a:cubicBezTo>
                  <a:pt x="1511" y="589"/>
                  <a:pt x="1511" y="589"/>
                  <a:pt x="1511" y="589"/>
                </a:cubicBezTo>
                <a:cubicBezTo>
                  <a:pt x="1511" y="589"/>
                  <a:pt x="1510" y="589"/>
                  <a:pt x="1510" y="588"/>
                </a:cubicBezTo>
                <a:cubicBezTo>
                  <a:pt x="1510" y="589"/>
                  <a:pt x="1510" y="589"/>
                  <a:pt x="1511" y="589"/>
                </a:cubicBezTo>
                <a:cubicBezTo>
                  <a:pt x="1511" y="589"/>
                  <a:pt x="1511" y="589"/>
                  <a:pt x="1511" y="589"/>
                </a:cubicBezTo>
                <a:close/>
                <a:moveTo>
                  <a:pt x="1526" y="577"/>
                </a:moveTo>
                <a:cubicBezTo>
                  <a:pt x="1527" y="576"/>
                  <a:pt x="1527" y="576"/>
                  <a:pt x="1527" y="576"/>
                </a:cubicBezTo>
                <a:cubicBezTo>
                  <a:pt x="1527" y="576"/>
                  <a:pt x="1527" y="575"/>
                  <a:pt x="1527" y="575"/>
                </a:cubicBezTo>
                <a:cubicBezTo>
                  <a:pt x="1527" y="574"/>
                  <a:pt x="1526" y="573"/>
                  <a:pt x="1525" y="573"/>
                </a:cubicBezTo>
                <a:cubicBezTo>
                  <a:pt x="1525" y="572"/>
                  <a:pt x="1524" y="572"/>
                  <a:pt x="1524" y="572"/>
                </a:cubicBezTo>
                <a:cubicBezTo>
                  <a:pt x="1523" y="571"/>
                  <a:pt x="1523" y="571"/>
                  <a:pt x="1523" y="571"/>
                </a:cubicBezTo>
                <a:cubicBezTo>
                  <a:pt x="1523" y="571"/>
                  <a:pt x="1522" y="571"/>
                  <a:pt x="1522" y="570"/>
                </a:cubicBezTo>
                <a:cubicBezTo>
                  <a:pt x="1522" y="571"/>
                  <a:pt x="1521" y="571"/>
                  <a:pt x="1521" y="571"/>
                </a:cubicBezTo>
                <a:cubicBezTo>
                  <a:pt x="1521" y="571"/>
                  <a:pt x="1520" y="570"/>
                  <a:pt x="1520" y="570"/>
                </a:cubicBezTo>
                <a:cubicBezTo>
                  <a:pt x="1520" y="570"/>
                  <a:pt x="1520" y="570"/>
                  <a:pt x="1519" y="570"/>
                </a:cubicBezTo>
                <a:cubicBezTo>
                  <a:pt x="1519" y="570"/>
                  <a:pt x="1518" y="569"/>
                  <a:pt x="1518" y="569"/>
                </a:cubicBezTo>
                <a:cubicBezTo>
                  <a:pt x="1517" y="569"/>
                  <a:pt x="1517" y="569"/>
                  <a:pt x="1516" y="569"/>
                </a:cubicBezTo>
                <a:cubicBezTo>
                  <a:pt x="1516" y="569"/>
                  <a:pt x="1516" y="569"/>
                  <a:pt x="1516" y="569"/>
                </a:cubicBezTo>
                <a:cubicBezTo>
                  <a:pt x="1516" y="569"/>
                  <a:pt x="1515" y="569"/>
                  <a:pt x="1515" y="569"/>
                </a:cubicBezTo>
                <a:cubicBezTo>
                  <a:pt x="1515" y="569"/>
                  <a:pt x="1515" y="569"/>
                  <a:pt x="1515" y="569"/>
                </a:cubicBezTo>
                <a:cubicBezTo>
                  <a:pt x="1514" y="569"/>
                  <a:pt x="1514" y="569"/>
                  <a:pt x="1514" y="570"/>
                </a:cubicBezTo>
                <a:cubicBezTo>
                  <a:pt x="1514" y="570"/>
                  <a:pt x="1514" y="570"/>
                  <a:pt x="1514" y="570"/>
                </a:cubicBezTo>
                <a:cubicBezTo>
                  <a:pt x="1514" y="570"/>
                  <a:pt x="1514" y="570"/>
                  <a:pt x="1515" y="570"/>
                </a:cubicBezTo>
                <a:cubicBezTo>
                  <a:pt x="1515" y="570"/>
                  <a:pt x="1515" y="570"/>
                  <a:pt x="1516" y="570"/>
                </a:cubicBezTo>
                <a:cubicBezTo>
                  <a:pt x="1516" y="570"/>
                  <a:pt x="1516" y="570"/>
                  <a:pt x="1516" y="571"/>
                </a:cubicBezTo>
                <a:cubicBezTo>
                  <a:pt x="1516" y="571"/>
                  <a:pt x="1516" y="571"/>
                  <a:pt x="1516" y="571"/>
                </a:cubicBezTo>
                <a:cubicBezTo>
                  <a:pt x="1517" y="571"/>
                  <a:pt x="1517" y="571"/>
                  <a:pt x="1517" y="571"/>
                </a:cubicBezTo>
                <a:cubicBezTo>
                  <a:pt x="1518" y="571"/>
                  <a:pt x="1518" y="571"/>
                  <a:pt x="1518" y="571"/>
                </a:cubicBezTo>
                <a:cubicBezTo>
                  <a:pt x="1519" y="571"/>
                  <a:pt x="1519" y="571"/>
                  <a:pt x="1519" y="571"/>
                </a:cubicBezTo>
                <a:cubicBezTo>
                  <a:pt x="1519" y="572"/>
                  <a:pt x="1519" y="572"/>
                  <a:pt x="1519" y="572"/>
                </a:cubicBezTo>
                <a:cubicBezTo>
                  <a:pt x="1520" y="572"/>
                  <a:pt x="1520" y="573"/>
                  <a:pt x="1521" y="573"/>
                </a:cubicBezTo>
                <a:cubicBezTo>
                  <a:pt x="1521" y="573"/>
                  <a:pt x="1522" y="573"/>
                  <a:pt x="1522" y="573"/>
                </a:cubicBezTo>
                <a:cubicBezTo>
                  <a:pt x="1522" y="573"/>
                  <a:pt x="1522" y="573"/>
                  <a:pt x="1523" y="573"/>
                </a:cubicBezTo>
                <a:cubicBezTo>
                  <a:pt x="1523" y="574"/>
                  <a:pt x="1524" y="574"/>
                  <a:pt x="1524" y="575"/>
                </a:cubicBezTo>
                <a:cubicBezTo>
                  <a:pt x="1524" y="575"/>
                  <a:pt x="1525" y="575"/>
                  <a:pt x="1525" y="575"/>
                </a:cubicBezTo>
                <a:cubicBezTo>
                  <a:pt x="1525" y="575"/>
                  <a:pt x="1525" y="576"/>
                  <a:pt x="1525" y="576"/>
                </a:cubicBezTo>
                <a:cubicBezTo>
                  <a:pt x="1526" y="576"/>
                  <a:pt x="1526" y="576"/>
                  <a:pt x="1526" y="577"/>
                </a:cubicBezTo>
                <a:close/>
                <a:moveTo>
                  <a:pt x="1474" y="585"/>
                </a:moveTo>
                <a:cubicBezTo>
                  <a:pt x="1474" y="585"/>
                  <a:pt x="1474" y="585"/>
                  <a:pt x="1475" y="586"/>
                </a:cubicBezTo>
                <a:cubicBezTo>
                  <a:pt x="1475" y="586"/>
                  <a:pt x="1475" y="586"/>
                  <a:pt x="1475" y="586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4" y="585"/>
                  <a:pt x="1474" y="585"/>
                  <a:pt x="1474" y="585"/>
                </a:cubicBezTo>
                <a:close/>
                <a:moveTo>
                  <a:pt x="1480" y="579"/>
                </a:moveTo>
                <a:cubicBezTo>
                  <a:pt x="1480" y="579"/>
                  <a:pt x="1480" y="580"/>
                  <a:pt x="1480" y="580"/>
                </a:cubicBezTo>
                <a:cubicBezTo>
                  <a:pt x="1481" y="580"/>
                  <a:pt x="1481" y="580"/>
                  <a:pt x="1481" y="580"/>
                </a:cubicBezTo>
                <a:cubicBezTo>
                  <a:pt x="1481" y="580"/>
                  <a:pt x="1482" y="580"/>
                  <a:pt x="1482" y="580"/>
                </a:cubicBezTo>
                <a:cubicBezTo>
                  <a:pt x="1482" y="580"/>
                  <a:pt x="1482" y="580"/>
                  <a:pt x="1483" y="579"/>
                </a:cubicBezTo>
                <a:cubicBezTo>
                  <a:pt x="1483" y="579"/>
                  <a:pt x="1483" y="579"/>
                  <a:pt x="1483" y="579"/>
                </a:cubicBezTo>
                <a:cubicBezTo>
                  <a:pt x="1484" y="579"/>
                  <a:pt x="1484" y="579"/>
                  <a:pt x="1484" y="579"/>
                </a:cubicBezTo>
                <a:cubicBezTo>
                  <a:pt x="1484" y="579"/>
                  <a:pt x="1484" y="579"/>
                  <a:pt x="1484" y="578"/>
                </a:cubicBezTo>
                <a:cubicBezTo>
                  <a:pt x="1484" y="578"/>
                  <a:pt x="1484" y="578"/>
                  <a:pt x="1483" y="578"/>
                </a:cubicBezTo>
                <a:cubicBezTo>
                  <a:pt x="1483" y="578"/>
                  <a:pt x="1483" y="578"/>
                  <a:pt x="1482" y="578"/>
                </a:cubicBezTo>
                <a:cubicBezTo>
                  <a:pt x="1483" y="578"/>
                  <a:pt x="1483" y="578"/>
                  <a:pt x="1483" y="578"/>
                </a:cubicBezTo>
                <a:cubicBezTo>
                  <a:pt x="1483" y="578"/>
                  <a:pt x="1482" y="578"/>
                  <a:pt x="1482" y="578"/>
                </a:cubicBezTo>
                <a:cubicBezTo>
                  <a:pt x="1482" y="578"/>
                  <a:pt x="1481" y="578"/>
                  <a:pt x="1481" y="578"/>
                </a:cubicBezTo>
                <a:cubicBezTo>
                  <a:pt x="1481" y="578"/>
                  <a:pt x="1481" y="579"/>
                  <a:pt x="1480" y="579"/>
                </a:cubicBezTo>
                <a:cubicBezTo>
                  <a:pt x="1480" y="579"/>
                  <a:pt x="1480" y="578"/>
                  <a:pt x="1479" y="578"/>
                </a:cubicBezTo>
                <a:cubicBezTo>
                  <a:pt x="1479" y="578"/>
                  <a:pt x="1479" y="578"/>
                  <a:pt x="1479" y="578"/>
                </a:cubicBezTo>
                <a:cubicBezTo>
                  <a:pt x="1479" y="578"/>
                  <a:pt x="1478" y="577"/>
                  <a:pt x="1478" y="577"/>
                </a:cubicBezTo>
                <a:cubicBezTo>
                  <a:pt x="1477" y="577"/>
                  <a:pt x="1477" y="577"/>
                  <a:pt x="1477" y="577"/>
                </a:cubicBezTo>
                <a:cubicBezTo>
                  <a:pt x="1476" y="577"/>
                  <a:pt x="1476" y="577"/>
                  <a:pt x="1476" y="576"/>
                </a:cubicBezTo>
                <a:cubicBezTo>
                  <a:pt x="1475" y="576"/>
                  <a:pt x="1475" y="576"/>
                  <a:pt x="1475" y="576"/>
                </a:cubicBezTo>
                <a:cubicBezTo>
                  <a:pt x="1474" y="576"/>
                  <a:pt x="1474" y="576"/>
                  <a:pt x="1474" y="576"/>
                </a:cubicBezTo>
                <a:cubicBezTo>
                  <a:pt x="1474" y="575"/>
                  <a:pt x="1473" y="575"/>
                  <a:pt x="1473" y="575"/>
                </a:cubicBezTo>
                <a:cubicBezTo>
                  <a:pt x="1472" y="575"/>
                  <a:pt x="1471" y="574"/>
                  <a:pt x="1471" y="574"/>
                </a:cubicBezTo>
                <a:cubicBezTo>
                  <a:pt x="1470" y="574"/>
                  <a:pt x="1470" y="574"/>
                  <a:pt x="1469" y="574"/>
                </a:cubicBezTo>
                <a:cubicBezTo>
                  <a:pt x="1469" y="574"/>
                  <a:pt x="1469" y="575"/>
                  <a:pt x="1469" y="575"/>
                </a:cubicBezTo>
                <a:cubicBezTo>
                  <a:pt x="1469" y="575"/>
                  <a:pt x="1469" y="575"/>
                  <a:pt x="1469" y="576"/>
                </a:cubicBezTo>
                <a:cubicBezTo>
                  <a:pt x="1469" y="576"/>
                  <a:pt x="1469" y="576"/>
                  <a:pt x="1469" y="576"/>
                </a:cubicBezTo>
                <a:cubicBezTo>
                  <a:pt x="1469" y="576"/>
                  <a:pt x="1470" y="576"/>
                  <a:pt x="1470" y="576"/>
                </a:cubicBezTo>
                <a:cubicBezTo>
                  <a:pt x="1470" y="576"/>
                  <a:pt x="1470" y="576"/>
                  <a:pt x="1471" y="577"/>
                </a:cubicBezTo>
                <a:cubicBezTo>
                  <a:pt x="1471" y="577"/>
                  <a:pt x="1471" y="577"/>
                  <a:pt x="1471" y="577"/>
                </a:cubicBezTo>
                <a:cubicBezTo>
                  <a:pt x="1471" y="577"/>
                  <a:pt x="1472" y="577"/>
                  <a:pt x="1472" y="577"/>
                </a:cubicBezTo>
                <a:cubicBezTo>
                  <a:pt x="1472" y="577"/>
                  <a:pt x="1472" y="577"/>
                  <a:pt x="1472" y="578"/>
                </a:cubicBezTo>
                <a:cubicBezTo>
                  <a:pt x="1473" y="578"/>
                  <a:pt x="1473" y="578"/>
                  <a:pt x="1473" y="578"/>
                </a:cubicBezTo>
                <a:cubicBezTo>
                  <a:pt x="1473" y="578"/>
                  <a:pt x="1473" y="578"/>
                  <a:pt x="1474" y="578"/>
                </a:cubicBezTo>
                <a:cubicBezTo>
                  <a:pt x="1474" y="578"/>
                  <a:pt x="1474" y="578"/>
                  <a:pt x="1474" y="578"/>
                </a:cubicBezTo>
                <a:cubicBezTo>
                  <a:pt x="1474" y="578"/>
                  <a:pt x="1474" y="578"/>
                  <a:pt x="1475" y="578"/>
                </a:cubicBezTo>
                <a:cubicBezTo>
                  <a:pt x="1475" y="578"/>
                  <a:pt x="1475" y="578"/>
                  <a:pt x="1476" y="578"/>
                </a:cubicBezTo>
                <a:cubicBezTo>
                  <a:pt x="1476" y="578"/>
                  <a:pt x="1477" y="579"/>
                  <a:pt x="1477" y="579"/>
                </a:cubicBezTo>
                <a:cubicBezTo>
                  <a:pt x="1477" y="579"/>
                  <a:pt x="1478" y="579"/>
                  <a:pt x="1478" y="579"/>
                </a:cubicBezTo>
                <a:cubicBezTo>
                  <a:pt x="1479" y="579"/>
                  <a:pt x="1479" y="579"/>
                  <a:pt x="1480" y="579"/>
                </a:cubicBezTo>
                <a:close/>
                <a:moveTo>
                  <a:pt x="1517" y="572"/>
                </a:move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lose/>
                <a:moveTo>
                  <a:pt x="1527" y="589"/>
                </a:moveTo>
                <a:cubicBezTo>
                  <a:pt x="1527" y="589"/>
                  <a:pt x="1527" y="589"/>
                  <a:pt x="1527" y="590"/>
                </a:cubicBezTo>
                <a:cubicBezTo>
                  <a:pt x="1527" y="590"/>
                  <a:pt x="1527" y="590"/>
                  <a:pt x="1527" y="590"/>
                </a:cubicBezTo>
                <a:cubicBezTo>
                  <a:pt x="1527" y="589"/>
                  <a:pt x="1527" y="589"/>
                  <a:pt x="1527" y="589"/>
                </a:cubicBezTo>
                <a:close/>
                <a:moveTo>
                  <a:pt x="1526" y="590"/>
                </a:moveTo>
                <a:cubicBezTo>
                  <a:pt x="1526" y="590"/>
                  <a:pt x="1526" y="590"/>
                  <a:pt x="1526" y="590"/>
                </a:cubicBezTo>
                <a:cubicBezTo>
                  <a:pt x="1526" y="590"/>
                  <a:pt x="1526" y="590"/>
                  <a:pt x="1527" y="590"/>
                </a:cubicBezTo>
                <a:cubicBezTo>
                  <a:pt x="1527" y="590"/>
                  <a:pt x="1527" y="590"/>
                  <a:pt x="1526" y="590"/>
                </a:cubicBezTo>
                <a:close/>
                <a:moveTo>
                  <a:pt x="1455" y="572"/>
                </a:moveTo>
                <a:cubicBezTo>
                  <a:pt x="1456" y="572"/>
                  <a:pt x="1456" y="572"/>
                  <a:pt x="1456" y="572"/>
                </a:cubicBezTo>
                <a:cubicBezTo>
                  <a:pt x="1457" y="573"/>
                  <a:pt x="1457" y="573"/>
                  <a:pt x="1457" y="573"/>
                </a:cubicBezTo>
                <a:cubicBezTo>
                  <a:pt x="1457" y="573"/>
                  <a:pt x="1458" y="573"/>
                  <a:pt x="1458" y="573"/>
                </a:cubicBezTo>
                <a:cubicBezTo>
                  <a:pt x="1458" y="573"/>
                  <a:pt x="1458" y="573"/>
                  <a:pt x="1459" y="573"/>
                </a:cubicBezTo>
                <a:cubicBezTo>
                  <a:pt x="1459" y="573"/>
                  <a:pt x="1459" y="573"/>
                  <a:pt x="1459" y="573"/>
                </a:cubicBezTo>
                <a:cubicBezTo>
                  <a:pt x="1460" y="573"/>
                  <a:pt x="1460" y="573"/>
                  <a:pt x="1460" y="573"/>
                </a:cubicBezTo>
                <a:cubicBezTo>
                  <a:pt x="1461" y="573"/>
                  <a:pt x="1461" y="573"/>
                  <a:pt x="1461" y="574"/>
                </a:cubicBezTo>
                <a:cubicBezTo>
                  <a:pt x="1462" y="574"/>
                  <a:pt x="1462" y="573"/>
                  <a:pt x="1462" y="573"/>
                </a:cubicBezTo>
                <a:cubicBezTo>
                  <a:pt x="1462" y="574"/>
                  <a:pt x="1463" y="574"/>
                  <a:pt x="1463" y="574"/>
                </a:cubicBezTo>
                <a:cubicBezTo>
                  <a:pt x="1463" y="574"/>
                  <a:pt x="1463" y="574"/>
                  <a:pt x="1463" y="574"/>
                </a:cubicBezTo>
                <a:cubicBezTo>
                  <a:pt x="1464" y="574"/>
                  <a:pt x="1464" y="574"/>
                  <a:pt x="1465" y="575"/>
                </a:cubicBezTo>
                <a:cubicBezTo>
                  <a:pt x="1465" y="574"/>
                  <a:pt x="1464" y="574"/>
                  <a:pt x="1464" y="574"/>
                </a:cubicBezTo>
                <a:cubicBezTo>
                  <a:pt x="1465" y="574"/>
                  <a:pt x="1465" y="574"/>
                  <a:pt x="1465" y="574"/>
                </a:cubicBezTo>
                <a:cubicBezTo>
                  <a:pt x="1466" y="574"/>
                  <a:pt x="1466" y="574"/>
                  <a:pt x="1466" y="574"/>
                </a:cubicBezTo>
                <a:cubicBezTo>
                  <a:pt x="1466" y="574"/>
                  <a:pt x="1465" y="574"/>
                  <a:pt x="1465" y="574"/>
                </a:cubicBezTo>
                <a:cubicBezTo>
                  <a:pt x="1465" y="574"/>
                  <a:pt x="1465" y="573"/>
                  <a:pt x="1465" y="573"/>
                </a:cubicBezTo>
                <a:cubicBezTo>
                  <a:pt x="1465" y="573"/>
                  <a:pt x="1466" y="573"/>
                  <a:pt x="1466" y="573"/>
                </a:cubicBezTo>
                <a:cubicBezTo>
                  <a:pt x="1465" y="573"/>
                  <a:pt x="1465" y="572"/>
                  <a:pt x="1465" y="572"/>
                </a:cubicBezTo>
                <a:cubicBezTo>
                  <a:pt x="1465" y="572"/>
                  <a:pt x="1465" y="573"/>
                  <a:pt x="1465" y="573"/>
                </a:cubicBezTo>
                <a:cubicBezTo>
                  <a:pt x="1464" y="573"/>
                  <a:pt x="1464" y="573"/>
                  <a:pt x="1464" y="573"/>
                </a:cubicBezTo>
                <a:cubicBezTo>
                  <a:pt x="1464" y="573"/>
                  <a:pt x="1464" y="572"/>
                  <a:pt x="1464" y="572"/>
                </a:cubicBezTo>
                <a:cubicBezTo>
                  <a:pt x="1464" y="572"/>
                  <a:pt x="1464" y="572"/>
                  <a:pt x="1464" y="571"/>
                </a:cubicBezTo>
                <a:cubicBezTo>
                  <a:pt x="1463" y="571"/>
                  <a:pt x="1463" y="571"/>
                  <a:pt x="1463" y="571"/>
                </a:cubicBezTo>
                <a:cubicBezTo>
                  <a:pt x="1462" y="571"/>
                  <a:pt x="1462" y="571"/>
                  <a:pt x="1462" y="571"/>
                </a:cubicBezTo>
                <a:cubicBezTo>
                  <a:pt x="1462" y="570"/>
                  <a:pt x="1461" y="570"/>
                  <a:pt x="1461" y="570"/>
                </a:cubicBezTo>
                <a:cubicBezTo>
                  <a:pt x="1461" y="570"/>
                  <a:pt x="1460" y="570"/>
                  <a:pt x="1460" y="570"/>
                </a:cubicBezTo>
                <a:cubicBezTo>
                  <a:pt x="1460" y="570"/>
                  <a:pt x="1460" y="571"/>
                  <a:pt x="1460" y="571"/>
                </a:cubicBezTo>
                <a:cubicBezTo>
                  <a:pt x="1460" y="571"/>
                  <a:pt x="1461" y="571"/>
                  <a:pt x="1461" y="572"/>
                </a:cubicBezTo>
                <a:cubicBezTo>
                  <a:pt x="1462" y="572"/>
                  <a:pt x="1462" y="572"/>
                  <a:pt x="1462" y="573"/>
                </a:cubicBezTo>
                <a:cubicBezTo>
                  <a:pt x="1461" y="573"/>
                  <a:pt x="1461" y="572"/>
                  <a:pt x="1461" y="572"/>
                </a:cubicBezTo>
                <a:cubicBezTo>
                  <a:pt x="1460" y="572"/>
                  <a:pt x="1460" y="572"/>
                  <a:pt x="1460" y="572"/>
                </a:cubicBezTo>
                <a:cubicBezTo>
                  <a:pt x="1460" y="572"/>
                  <a:pt x="1459" y="572"/>
                  <a:pt x="1459" y="571"/>
                </a:cubicBezTo>
                <a:cubicBezTo>
                  <a:pt x="1459" y="571"/>
                  <a:pt x="1459" y="571"/>
                  <a:pt x="1459" y="571"/>
                </a:cubicBezTo>
                <a:cubicBezTo>
                  <a:pt x="1459" y="571"/>
                  <a:pt x="1459" y="571"/>
                  <a:pt x="1458" y="570"/>
                </a:cubicBezTo>
                <a:cubicBezTo>
                  <a:pt x="1458" y="570"/>
                  <a:pt x="1458" y="570"/>
                  <a:pt x="1458" y="570"/>
                </a:cubicBezTo>
                <a:cubicBezTo>
                  <a:pt x="1457" y="570"/>
                  <a:pt x="1457" y="570"/>
                  <a:pt x="1457" y="570"/>
                </a:cubicBezTo>
                <a:cubicBezTo>
                  <a:pt x="1456" y="570"/>
                  <a:pt x="1456" y="570"/>
                  <a:pt x="1455" y="570"/>
                </a:cubicBezTo>
                <a:cubicBezTo>
                  <a:pt x="1455" y="570"/>
                  <a:pt x="1455" y="570"/>
                  <a:pt x="1455" y="570"/>
                </a:cubicBezTo>
                <a:cubicBezTo>
                  <a:pt x="1454" y="570"/>
                  <a:pt x="1454" y="570"/>
                  <a:pt x="1454" y="571"/>
                </a:cubicBezTo>
                <a:cubicBezTo>
                  <a:pt x="1454" y="571"/>
                  <a:pt x="1454" y="571"/>
                  <a:pt x="1455" y="571"/>
                </a:cubicBezTo>
                <a:cubicBezTo>
                  <a:pt x="1454" y="571"/>
                  <a:pt x="1454" y="571"/>
                  <a:pt x="1454" y="571"/>
                </a:cubicBezTo>
                <a:cubicBezTo>
                  <a:pt x="1454" y="571"/>
                  <a:pt x="1454" y="572"/>
                  <a:pt x="1454" y="572"/>
                </a:cubicBezTo>
                <a:cubicBezTo>
                  <a:pt x="1455" y="572"/>
                  <a:pt x="1455" y="572"/>
                  <a:pt x="1455" y="572"/>
                </a:cubicBezTo>
                <a:close/>
                <a:moveTo>
                  <a:pt x="1511" y="584"/>
                </a:moveTo>
                <a:cubicBezTo>
                  <a:pt x="1511" y="584"/>
                  <a:pt x="1511" y="585"/>
                  <a:pt x="1511" y="585"/>
                </a:cubicBezTo>
                <a:cubicBezTo>
                  <a:pt x="1511" y="585"/>
                  <a:pt x="1512" y="584"/>
                  <a:pt x="1512" y="584"/>
                </a:cubicBezTo>
                <a:cubicBezTo>
                  <a:pt x="1512" y="584"/>
                  <a:pt x="1511" y="584"/>
                  <a:pt x="1511" y="584"/>
                </a:cubicBezTo>
                <a:cubicBezTo>
                  <a:pt x="1511" y="584"/>
                  <a:pt x="1511" y="584"/>
                  <a:pt x="1511" y="584"/>
                </a:cubicBezTo>
                <a:cubicBezTo>
                  <a:pt x="1511" y="584"/>
                  <a:pt x="1511" y="584"/>
                  <a:pt x="1511" y="584"/>
                </a:cubicBezTo>
                <a:close/>
                <a:moveTo>
                  <a:pt x="1516" y="571"/>
                </a:move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1"/>
                  <a:pt x="1516" y="571"/>
                </a:cubicBezTo>
                <a:close/>
                <a:moveTo>
                  <a:pt x="1506" y="586"/>
                </a:moveTo>
                <a:cubicBezTo>
                  <a:pt x="1506" y="586"/>
                  <a:pt x="1506" y="587"/>
                  <a:pt x="1506" y="587"/>
                </a:cubicBezTo>
                <a:cubicBezTo>
                  <a:pt x="1506" y="587"/>
                  <a:pt x="1506" y="587"/>
                  <a:pt x="1507" y="587"/>
                </a:cubicBezTo>
                <a:cubicBezTo>
                  <a:pt x="1507" y="587"/>
                  <a:pt x="1507" y="587"/>
                  <a:pt x="1508" y="587"/>
                </a:cubicBezTo>
                <a:cubicBezTo>
                  <a:pt x="1508" y="587"/>
                  <a:pt x="1508" y="587"/>
                  <a:pt x="1508" y="587"/>
                </a:cubicBezTo>
                <a:cubicBezTo>
                  <a:pt x="1508" y="587"/>
                  <a:pt x="1507" y="587"/>
                  <a:pt x="1507" y="587"/>
                </a:cubicBezTo>
                <a:cubicBezTo>
                  <a:pt x="1507" y="587"/>
                  <a:pt x="1506" y="587"/>
                  <a:pt x="1506" y="586"/>
                </a:cubicBezTo>
                <a:close/>
                <a:moveTo>
                  <a:pt x="1393" y="537"/>
                </a:moveTo>
                <a:cubicBezTo>
                  <a:pt x="1394" y="538"/>
                  <a:pt x="1394" y="538"/>
                  <a:pt x="1394" y="538"/>
                </a:cubicBezTo>
                <a:cubicBezTo>
                  <a:pt x="1394" y="538"/>
                  <a:pt x="1394" y="538"/>
                  <a:pt x="1394" y="538"/>
                </a:cubicBezTo>
                <a:cubicBezTo>
                  <a:pt x="1394" y="538"/>
                  <a:pt x="1394" y="538"/>
                  <a:pt x="1394" y="537"/>
                </a:cubicBezTo>
                <a:cubicBezTo>
                  <a:pt x="1394" y="537"/>
                  <a:pt x="1394" y="537"/>
                  <a:pt x="1393" y="537"/>
                </a:cubicBezTo>
                <a:close/>
                <a:moveTo>
                  <a:pt x="1379" y="507"/>
                </a:moveTo>
                <a:cubicBezTo>
                  <a:pt x="1379" y="507"/>
                  <a:pt x="1379" y="506"/>
                  <a:pt x="1379" y="506"/>
                </a:cubicBezTo>
                <a:cubicBezTo>
                  <a:pt x="1379" y="506"/>
                  <a:pt x="1378" y="506"/>
                  <a:pt x="1378" y="507"/>
                </a:cubicBezTo>
                <a:cubicBezTo>
                  <a:pt x="1378" y="506"/>
                  <a:pt x="1378" y="506"/>
                  <a:pt x="1377" y="506"/>
                </a:cubicBezTo>
                <a:cubicBezTo>
                  <a:pt x="1378" y="507"/>
                  <a:pt x="1378" y="507"/>
                  <a:pt x="1378" y="507"/>
                </a:cubicBezTo>
                <a:cubicBezTo>
                  <a:pt x="1378" y="508"/>
                  <a:pt x="1378" y="508"/>
                  <a:pt x="1378" y="508"/>
                </a:cubicBezTo>
                <a:cubicBezTo>
                  <a:pt x="1378" y="508"/>
                  <a:pt x="1379" y="509"/>
                  <a:pt x="1379" y="509"/>
                </a:cubicBezTo>
                <a:cubicBezTo>
                  <a:pt x="1379" y="509"/>
                  <a:pt x="1379" y="510"/>
                  <a:pt x="1379" y="510"/>
                </a:cubicBezTo>
                <a:cubicBezTo>
                  <a:pt x="1379" y="510"/>
                  <a:pt x="1380" y="510"/>
                  <a:pt x="1380" y="510"/>
                </a:cubicBezTo>
                <a:cubicBezTo>
                  <a:pt x="1380" y="510"/>
                  <a:pt x="1380" y="510"/>
                  <a:pt x="1380" y="509"/>
                </a:cubicBezTo>
                <a:cubicBezTo>
                  <a:pt x="1380" y="509"/>
                  <a:pt x="1380" y="509"/>
                  <a:pt x="1381" y="509"/>
                </a:cubicBezTo>
                <a:cubicBezTo>
                  <a:pt x="1380" y="508"/>
                  <a:pt x="1380" y="508"/>
                  <a:pt x="1380" y="508"/>
                </a:cubicBezTo>
                <a:cubicBezTo>
                  <a:pt x="1380" y="507"/>
                  <a:pt x="1379" y="507"/>
                  <a:pt x="1379" y="507"/>
                </a:cubicBezTo>
                <a:close/>
                <a:moveTo>
                  <a:pt x="1385" y="522"/>
                </a:moveTo>
                <a:cubicBezTo>
                  <a:pt x="1385" y="523"/>
                  <a:pt x="1385" y="523"/>
                  <a:pt x="1385" y="523"/>
                </a:cubicBezTo>
                <a:cubicBezTo>
                  <a:pt x="1385" y="523"/>
                  <a:pt x="1386" y="524"/>
                  <a:pt x="1386" y="524"/>
                </a:cubicBezTo>
                <a:cubicBezTo>
                  <a:pt x="1386" y="523"/>
                  <a:pt x="1386" y="523"/>
                  <a:pt x="1385" y="522"/>
                </a:cubicBezTo>
                <a:cubicBezTo>
                  <a:pt x="1385" y="522"/>
                  <a:pt x="1385" y="522"/>
                  <a:pt x="1385" y="522"/>
                </a:cubicBezTo>
                <a:close/>
                <a:moveTo>
                  <a:pt x="1387" y="526"/>
                </a:moveTo>
                <a:cubicBezTo>
                  <a:pt x="1387" y="527"/>
                  <a:pt x="1388" y="528"/>
                  <a:pt x="1388" y="528"/>
                </a:cubicBezTo>
                <a:cubicBezTo>
                  <a:pt x="1388" y="528"/>
                  <a:pt x="1388" y="528"/>
                  <a:pt x="1388" y="527"/>
                </a:cubicBezTo>
                <a:cubicBezTo>
                  <a:pt x="1388" y="527"/>
                  <a:pt x="1388" y="527"/>
                  <a:pt x="1388" y="527"/>
                </a:cubicBezTo>
                <a:cubicBezTo>
                  <a:pt x="1388" y="527"/>
                  <a:pt x="1388" y="526"/>
                  <a:pt x="1387" y="526"/>
                </a:cubicBezTo>
                <a:cubicBezTo>
                  <a:pt x="1387" y="526"/>
                  <a:pt x="1387" y="526"/>
                  <a:pt x="1387" y="526"/>
                </a:cubicBezTo>
                <a:close/>
                <a:moveTo>
                  <a:pt x="1382" y="517"/>
                </a:moveTo>
                <a:cubicBezTo>
                  <a:pt x="1382" y="517"/>
                  <a:pt x="1382" y="517"/>
                  <a:pt x="1381" y="518"/>
                </a:cubicBezTo>
                <a:cubicBezTo>
                  <a:pt x="1381" y="518"/>
                  <a:pt x="1381" y="518"/>
                  <a:pt x="1381" y="518"/>
                </a:cubicBezTo>
                <a:cubicBezTo>
                  <a:pt x="1381" y="518"/>
                  <a:pt x="1382" y="518"/>
                  <a:pt x="1382" y="519"/>
                </a:cubicBezTo>
                <a:cubicBezTo>
                  <a:pt x="1382" y="519"/>
                  <a:pt x="1382" y="520"/>
                  <a:pt x="1383" y="520"/>
                </a:cubicBezTo>
                <a:cubicBezTo>
                  <a:pt x="1383" y="521"/>
                  <a:pt x="1383" y="521"/>
                  <a:pt x="1384" y="521"/>
                </a:cubicBezTo>
                <a:cubicBezTo>
                  <a:pt x="1384" y="521"/>
                  <a:pt x="1384" y="520"/>
                  <a:pt x="1384" y="520"/>
                </a:cubicBezTo>
                <a:cubicBezTo>
                  <a:pt x="1384" y="519"/>
                  <a:pt x="1384" y="518"/>
                  <a:pt x="1383" y="518"/>
                </a:cubicBezTo>
                <a:cubicBezTo>
                  <a:pt x="1383" y="518"/>
                  <a:pt x="1383" y="517"/>
                  <a:pt x="1382" y="517"/>
                </a:cubicBezTo>
                <a:close/>
                <a:moveTo>
                  <a:pt x="1379" y="504"/>
                </a:moveTo>
                <a:cubicBezTo>
                  <a:pt x="1379" y="504"/>
                  <a:pt x="1378" y="504"/>
                  <a:pt x="1378" y="504"/>
                </a:cubicBezTo>
                <a:cubicBezTo>
                  <a:pt x="1378" y="504"/>
                  <a:pt x="1379" y="504"/>
                  <a:pt x="1379" y="504"/>
                </a:cubicBezTo>
                <a:cubicBezTo>
                  <a:pt x="1379" y="504"/>
                  <a:pt x="1379" y="504"/>
                  <a:pt x="1379" y="504"/>
                </a:cubicBezTo>
                <a:close/>
                <a:moveTo>
                  <a:pt x="1383" y="513"/>
                </a:moveTo>
                <a:cubicBezTo>
                  <a:pt x="1383" y="513"/>
                  <a:pt x="1383" y="513"/>
                  <a:pt x="1384" y="513"/>
                </a:cubicBezTo>
                <a:cubicBezTo>
                  <a:pt x="1384" y="513"/>
                  <a:pt x="1384" y="514"/>
                  <a:pt x="1384" y="514"/>
                </a:cubicBezTo>
                <a:cubicBezTo>
                  <a:pt x="1384" y="513"/>
                  <a:pt x="1384" y="513"/>
                  <a:pt x="1384" y="513"/>
                </a:cubicBezTo>
                <a:cubicBezTo>
                  <a:pt x="1384" y="513"/>
                  <a:pt x="1384" y="513"/>
                  <a:pt x="1383" y="513"/>
                </a:cubicBezTo>
                <a:cubicBezTo>
                  <a:pt x="1383" y="513"/>
                  <a:pt x="1383" y="513"/>
                  <a:pt x="1383" y="513"/>
                </a:cubicBezTo>
                <a:close/>
                <a:moveTo>
                  <a:pt x="1382" y="516"/>
                </a:moveTo>
                <a:cubicBezTo>
                  <a:pt x="1382" y="516"/>
                  <a:pt x="1382" y="515"/>
                  <a:pt x="1382" y="515"/>
                </a:cubicBezTo>
                <a:cubicBezTo>
                  <a:pt x="1382" y="515"/>
                  <a:pt x="1382" y="515"/>
                  <a:pt x="1381" y="515"/>
                </a:cubicBezTo>
                <a:cubicBezTo>
                  <a:pt x="1381" y="515"/>
                  <a:pt x="1381" y="515"/>
                  <a:pt x="1381" y="515"/>
                </a:cubicBezTo>
                <a:cubicBezTo>
                  <a:pt x="1381" y="516"/>
                  <a:pt x="1381" y="516"/>
                  <a:pt x="1381" y="516"/>
                </a:cubicBezTo>
                <a:cubicBezTo>
                  <a:pt x="1381" y="516"/>
                  <a:pt x="1382" y="516"/>
                  <a:pt x="1382" y="516"/>
                </a:cubicBezTo>
                <a:close/>
                <a:moveTo>
                  <a:pt x="1386" y="525"/>
                </a:moveTo>
                <a:cubicBezTo>
                  <a:pt x="1386" y="525"/>
                  <a:pt x="1386" y="525"/>
                  <a:pt x="1386" y="526"/>
                </a:cubicBezTo>
                <a:cubicBezTo>
                  <a:pt x="1387" y="526"/>
                  <a:pt x="1387" y="526"/>
                  <a:pt x="1387" y="525"/>
                </a:cubicBezTo>
                <a:cubicBezTo>
                  <a:pt x="1387" y="525"/>
                  <a:pt x="1387" y="525"/>
                  <a:pt x="1386" y="525"/>
                </a:cubicBezTo>
                <a:close/>
                <a:moveTo>
                  <a:pt x="1516" y="584"/>
                </a:moveTo>
                <a:cubicBezTo>
                  <a:pt x="1516" y="584"/>
                  <a:pt x="1516" y="584"/>
                  <a:pt x="1516" y="584"/>
                </a:cubicBezTo>
                <a:cubicBezTo>
                  <a:pt x="1516" y="584"/>
                  <a:pt x="1516" y="584"/>
                  <a:pt x="1516" y="584"/>
                </a:cubicBezTo>
                <a:cubicBezTo>
                  <a:pt x="1516" y="584"/>
                  <a:pt x="1516" y="584"/>
                  <a:pt x="1516" y="584"/>
                </a:cubicBezTo>
                <a:close/>
                <a:moveTo>
                  <a:pt x="1396" y="534"/>
                </a:moveTo>
                <a:cubicBezTo>
                  <a:pt x="1397" y="534"/>
                  <a:pt x="1397" y="535"/>
                  <a:pt x="1397" y="535"/>
                </a:cubicBezTo>
                <a:cubicBezTo>
                  <a:pt x="1398" y="536"/>
                  <a:pt x="1398" y="536"/>
                  <a:pt x="1399" y="537"/>
                </a:cubicBezTo>
                <a:cubicBezTo>
                  <a:pt x="1399" y="537"/>
                  <a:pt x="1399" y="537"/>
                  <a:pt x="1399" y="538"/>
                </a:cubicBezTo>
                <a:cubicBezTo>
                  <a:pt x="1400" y="538"/>
                  <a:pt x="1400" y="538"/>
                  <a:pt x="1400" y="538"/>
                </a:cubicBezTo>
                <a:cubicBezTo>
                  <a:pt x="1401" y="539"/>
                  <a:pt x="1402" y="540"/>
                  <a:pt x="1403" y="541"/>
                </a:cubicBezTo>
                <a:cubicBezTo>
                  <a:pt x="1403" y="541"/>
                  <a:pt x="1403" y="541"/>
                  <a:pt x="1403" y="542"/>
                </a:cubicBezTo>
                <a:cubicBezTo>
                  <a:pt x="1403" y="542"/>
                  <a:pt x="1403" y="542"/>
                  <a:pt x="1403" y="542"/>
                </a:cubicBezTo>
                <a:cubicBezTo>
                  <a:pt x="1403" y="542"/>
                  <a:pt x="1403" y="543"/>
                  <a:pt x="1403" y="543"/>
                </a:cubicBezTo>
                <a:cubicBezTo>
                  <a:pt x="1404" y="543"/>
                  <a:pt x="1404" y="543"/>
                  <a:pt x="1404" y="543"/>
                </a:cubicBezTo>
                <a:cubicBezTo>
                  <a:pt x="1404" y="543"/>
                  <a:pt x="1404" y="542"/>
                  <a:pt x="1404" y="542"/>
                </a:cubicBezTo>
                <a:cubicBezTo>
                  <a:pt x="1404" y="542"/>
                  <a:pt x="1404" y="542"/>
                  <a:pt x="1404" y="542"/>
                </a:cubicBezTo>
                <a:cubicBezTo>
                  <a:pt x="1404" y="542"/>
                  <a:pt x="1404" y="541"/>
                  <a:pt x="1404" y="541"/>
                </a:cubicBezTo>
                <a:cubicBezTo>
                  <a:pt x="1404" y="541"/>
                  <a:pt x="1405" y="542"/>
                  <a:pt x="1405" y="542"/>
                </a:cubicBezTo>
                <a:cubicBezTo>
                  <a:pt x="1405" y="542"/>
                  <a:pt x="1406" y="543"/>
                  <a:pt x="1406" y="543"/>
                </a:cubicBezTo>
                <a:cubicBezTo>
                  <a:pt x="1406" y="543"/>
                  <a:pt x="1407" y="543"/>
                  <a:pt x="1407" y="543"/>
                </a:cubicBezTo>
                <a:cubicBezTo>
                  <a:pt x="1407" y="543"/>
                  <a:pt x="1407" y="543"/>
                  <a:pt x="1407" y="542"/>
                </a:cubicBezTo>
                <a:cubicBezTo>
                  <a:pt x="1407" y="542"/>
                  <a:pt x="1407" y="542"/>
                  <a:pt x="1408" y="542"/>
                </a:cubicBezTo>
                <a:cubicBezTo>
                  <a:pt x="1408" y="542"/>
                  <a:pt x="1408" y="542"/>
                  <a:pt x="1408" y="542"/>
                </a:cubicBezTo>
                <a:cubicBezTo>
                  <a:pt x="1408" y="543"/>
                  <a:pt x="1409" y="543"/>
                  <a:pt x="1409" y="544"/>
                </a:cubicBezTo>
                <a:cubicBezTo>
                  <a:pt x="1409" y="544"/>
                  <a:pt x="1409" y="544"/>
                  <a:pt x="1409" y="544"/>
                </a:cubicBezTo>
                <a:cubicBezTo>
                  <a:pt x="1410" y="544"/>
                  <a:pt x="1410" y="544"/>
                  <a:pt x="1410" y="544"/>
                </a:cubicBezTo>
                <a:cubicBezTo>
                  <a:pt x="1410" y="543"/>
                  <a:pt x="1410" y="543"/>
                  <a:pt x="1410" y="542"/>
                </a:cubicBezTo>
                <a:cubicBezTo>
                  <a:pt x="1411" y="542"/>
                  <a:pt x="1411" y="541"/>
                  <a:pt x="1412" y="540"/>
                </a:cubicBezTo>
                <a:cubicBezTo>
                  <a:pt x="1412" y="540"/>
                  <a:pt x="1411" y="539"/>
                  <a:pt x="1411" y="539"/>
                </a:cubicBezTo>
                <a:cubicBezTo>
                  <a:pt x="1412" y="539"/>
                  <a:pt x="1412" y="538"/>
                  <a:pt x="1413" y="538"/>
                </a:cubicBezTo>
                <a:cubicBezTo>
                  <a:pt x="1413" y="538"/>
                  <a:pt x="1413" y="537"/>
                  <a:pt x="1412" y="537"/>
                </a:cubicBezTo>
                <a:cubicBezTo>
                  <a:pt x="1413" y="537"/>
                  <a:pt x="1413" y="536"/>
                  <a:pt x="1413" y="536"/>
                </a:cubicBezTo>
                <a:cubicBezTo>
                  <a:pt x="1413" y="536"/>
                  <a:pt x="1414" y="536"/>
                  <a:pt x="1414" y="536"/>
                </a:cubicBezTo>
                <a:cubicBezTo>
                  <a:pt x="1414" y="536"/>
                  <a:pt x="1414" y="536"/>
                  <a:pt x="1414" y="536"/>
                </a:cubicBezTo>
                <a:cubicBezTo>
                  <a:pt x="1414" y="535"/>
                  <a:pt x="1414" y="535"/>
                  <a:pt x="1414" y="535"/>
                </a:cubicBezTo>
                <a:cubicBezTo>
                  <a:pt x="1414" y="535"/>
                  <a:pt x="1414" y="535"/>
                  <a:pt x="1414" y="534"/>
                </a:cubicBezTo>
                <a:cubicBezTo>
                  <a:pt x="1414" y="534"/>
                  <a:pt x="1413" y="534"/>
                  <a:pt x="1413" y="534"/>
                </a:cubicBezTo>
                <a:cubicBezTo>
                  <a:pt x="1413" y="533"/>
                  <a:pt x="1413" y="533"/>
                  <a:pt x="1413" y="533"/>
                </a:cubicBezTo>
                <a:cubicBezTo>
                  <a:pt x="1413" y="533"/>
                  <a:pt x="1413" y="532"/>
                  <a:pt x="1413" y="532"/>
                </a:cubicBezTo>
                <a:cubicBezTo>
                  <a:pt x="1413" y="532"/>
                  <a:pt x="1412" y="532"/>
                  <a:pt x="1412" y="532"/>
                </a:cubicBezTo>
                <a:cubicBezTo>
                  <a:pt x="1412" y="531"/>
                  <a:pt x="1412" y="531"/>
                  <a:pt x="1412" y="531"/>
                </a:cubicBezTo>
                <a:cubicBezTo>
                  <a:pt x="1411" y="531"/>
                  <a:pt x="1411" y="531"/>
                  <a:pt x="1410" y="531"/>
                </a:cubicBezTo>
                <a:cubicBezTo>
                  <a:pt x="1410" y="531"/>
                  <a:pt x="1410" y="531"/>
                  <a:pt x="1409" y="530"/>
                </a:cubicBezTo>
                <a:cubicBezTo>
                  <a:pt x="1409" y="530"/>
                  <a:pt x="1410" y="530"/>
                  <a:pt x="1410" y="529"/>
                </a:cubicBezTo>
                <a:cubicBezTo>
                  <a:pt x="1409" y="529"/>
                  <a:pt x="1409" y="529"/>
                  <a:pt x="1409" y="528"/>
                </a:cubicBezTo>
                <a:cubicBezTo>
                  <a:pt x="1409" y="529"/>
                  <a:pt x="1409" y="529"/>
                  <a:pt x="1408" y="529"/>
                </a:cubicBezTo>
                <a:cubicBezTo>
                  <a:pt x="1409" y="528"/>
                  <a:pt x="1409" y="528"/>
                  <a:pt x="1409" y="528"/>
                </a:cubicBezTo>
                <a:cubicBezTo>
                  <a:pt x="1409" y="528"/>
                  <a:pt x="1409" y="527"/>
                  <a:pt x="1409" y="527"/>
                </a:cubicBezTo>
                <a:cubicBezTo>
                  <a:pt x="1409" y="527"/>
                  <a:pt x="1409" y="526"/>
                  <a:pt x="1409" y="525"/>
                </a:cubicBezTo>
                <a:cubicBezTo>
                  <a:pt x="1409" y="525"/>
                  <a:pt x="1409" y="525"/>
                  <a:pt x="1408" y="525"/>
                </a:cubicBezTo>
                <a:cubicBezTo>
                  <a:pt x="1408" y="525"/>
                  <a:pt x="1408" y="525"/>
                  <a:pt x="1408" y="525"/>
                </a:cubicBezTo>
                <a:cubicBezTo>
                  <a:pt x="1407" y="525"/>
                  <a:pt x="1407" y="525"/>
                  <a:pt x="1406" y="524"/>
                </a:cubicBezTo>
                <a:cubicBezTo>
                  <a:pt x="1406" y="524"/>
                  <a:pt x="1405" y="523"/>
                  <a:pt x="1405" y="523"/>
                </a:cubicBezTo>
                <a:cubicBezTo>
                  <a:pt x="1405" y="523"/>
                  <a:pt x="1405" y="523"/>
                  <a:pt x="1405" y="522"/>
                </a:cubicBezTo>
                <a:cubicBezTo>
                  <a:pt x="1405" y="522"/>
                  <a:pt x="1406" y="522"/>
                  <a:pt x="1406" y="522"/>
                </a:cubicBezTo>
                <a:cubicBezTo>
                  <a:pt x="1406" y="522"/>
                  <a:pt x="1407" y="522"/>
                  <a:pt x="1407" y="522"/>
                </a:cubicBezTo>
                <a:cubicBezTo>
                  <a:pt x="1407" y="522"/>
                  <a:pt x="1407" y="522"/>
                  <a:pt x="1407" y="522"/>
                </a:cubicBezTo>
                <a:cubicBezTo>
                  <a:pt x="1406" y="522"/>
                  <a:pt x="1406" y="522"/>
                  <a:pt x="1406" y="522"/>
                </a:cubicBezTo>
                <a:cubicBezTo>
                  <a:pt x="1405" y="522"/>
                  <a:pt x="1405" y="521"/>
                  <a:pt x="1405" y="521"/>
                </a:cubicBezTo>
                <a:cubicBezTo>
                  <a:pt x="1405" y="521"/>
                  <a:pt x="1404" y="521"/>
                  <a:pt x="1404" y="521"/>
                </a:cubicBezTo>
                <a:cubicBezTo>
                  <a:pt x="1404" y="521"/>
                  <a:pt x="1405" y="521"/>
                  <a:pt x="1405" y="521"/>
                </a:cubicBezTo>
                <a:cubicBezTo>
                  <a:pt x="1405" y="521"/>
                  <a:pt x="1406" y="521"/>
                  <a:pt x="1406" y="521"/>
                </a:cubicBezTo>
                <a:cubicBezTo>
                  <a:pt x="1407" y="521"/>
                  <a:pt x="1407" y="521"/>
                  <a:pt x="1408" y="521"/>
                </a:cubicBezTo>
                <a:cubicBezTo>
                  <a:pt x="1408" y="521"/>
                  <a:pt x="1408" y="520"/>
                  <a:pt x="1408" y="520"/>
                </a:cubicBezTo>
                <a:cubicBezTo>
                  <a:pt x="1407" y="520"/>
                  <a:pt x="1407" y="519"/>
                  <a:pt x="1406" y="518"/>
                </a:cubicBezTo>
                <a:cubicBezTo>
                  <a:pt x="1406" y="518"/>
                  <a:pt x="1406" y="518"/>
                  <a:pt x="1406" y="518"/>
                </a:cubicBezTo>
                <a:cubicBezTo>
                  <a:pt x="1405" y="518"/>
                  <a:pt x="1405" y="518"/>
                  <a:pt x="1404" y="518"/>
                </a:cubicBezTo>
                <a:cubicBezTo>
                  <a:pt x="1404" y="518"/>
                  <a:pt x="1404" y="519"/>
                  <a:pt x="1403" y="519"/>
                </a:cubicBezTo>
                <a:cubicBezTo>
                  <a:pt x="1403" y="518"/>
                  <a:pt x="1402" y="518"/>
                  <a:pt x="1402" y="518"/>
                </a:cubicBezTo>
                <a:cubicBezTo>
                  <a:pt x="1402" y="518"/>
                  <a:pt x="1403" y="518"/>
                  <a:pt x="1403" y="518"/>
                </a:cubicBezTo>
                <a:cubicBezTo>
                  <a:pt x="1403" y="518"/>
                  <a:pt x="1403" y="518"/>
                  <a:pt x="1403" y="518"/>
                </a:cubicBezTo>
                <a:cubicBezTo>
                  <a:pt x="1403" y="518"/>
                  <a:pt x="1404" y="518"/>
                  <a:pt x="1404" y="518"/>
                </a:cubicBezTo>
                <a:cubicBezTo>
                  <a:pt x="1404" y="518"/>
                  <a:pt x="1404" y="518"/>
                  <a:pt x="1404" y="518"/>
                </a:cubicBezTo>
                <a:cubicBezTo>
                  <a:pt x="1404" y="518"/>
                  <a:pt x="1404" y="518"/>
                  <a:pt x="1404" y="517"/>
                </a:cubicBezTo>
                <a:cubicBezTo>
                  <a:pt x="1404" y="517"/>
                  <a:pt x="1404" y="517"/>
                  <a:pt x="1403" y="517"/>
                </a:cubicBezTo>
                <a:cubicBezTo>
                  <a:pt x="1403" y="517"/>
                  <a:pt x="1402" y="516"/>
                  <a:pt x="1402" y="516"/>
                </a:cubicBezTo>
                <a:cubicBezTo>
                  <a:pt x="1401" y="516"/>
                  <a:pt x="1401" y="516"/>
                  <a:pt x="1401" y="515"/>
                </a:cubicBezTo>
                <a:cubicBezTo>
                  <a:pt x="1401" y="515"/>
                  <a:pt x="1401" y="515"/>
                  <a:pt x="1401" y="515"/>
                </a:cubicBezTo>
                <a:cubicBezTo>
                  <a:pt x="1401" y="514"/>
                  <a:pt x="1401" y="514"/>
                  <a:pt x="1401" y="514"/>
                </a:cubicBezTo>
                <a:cubicBezTo>
                  <a:pt x="1401" y="513"/>
                  <a:pt x="1400" y="512"/>
                  <a:pt x="1400" y="512"/>
                </a:cubicBezTo>
                <a:cubicBezTo>
                  <a:pt x="1399" y="512"/>
                  <a:pt x="1399" y="512"/>
                  <a:pt x="1399" y="511"/>
                </a:cubicBezTo>
                <a:cubicBezTo>
                  <a:pt x="1399" y="511"/>
                  <a:pt x="1399" y="511"/>
                  <a:pt x="1398" y="511"/>
                </a:cubicBezTo>
                <a:cubicBezTo>
                  <a:pt x="1398" y="511"/>
                  <a:pt x="1398" y="511"/>
                  <a:pt x="1398" y="511"/>
                </a:cubicBezTo>
                <a:cubicBezTo>
                  <a:pt x="1398" y="510"/>
                  <a:pt x="1398" y="510"/>
                  <a:pt x="1398" y="509"/>
                </a:cubicBezTo>
                <a:cubicBezTo>
                  <a:pt x="1398" y="509"/>
                  <a:pt x="1397" y="508"/>
                  <a:pt x="1397" y="508"/>
                </a:cubicBezTo>
                <a:cubicBezTo>
                  <a:pt x="1396" y="508"/>
                  <a:pt x="1396" y="507"/>
                  <a:pt x="1395" y="507"/>
                </a:cubicBezTo>
                <a:cubicBezTo>
                  <a:pt x="1395" y="507"/>
                  <a:pt x="1395" y="506"/>
                  <a:pt x="1394" y="506"/>
                </a:cubicBezTo>
                <a:cubicBezTo>
                  <a:pt x="1394" y="506"/>
                  <a:pt x="1394" y="506"/>
                  <a:pt x="1394" y="507"/>
                </a:cubicBezTo>
                <a:cubicBezTo>
                  <a:pt x="1394" y="506"/>
                  <a:pt x="1394" y="506"/>
                  <a:pt x="1393" y="506"/>
                </a:cubicBezTo>
                <a:cubicBezTo>
                  <a:pt x="1393" y="506"/>
                  <a:pt x="1393" y="505"/>
                  <a:pt x="1393" y="505"/>
                </a:cubicBezTo>
                <a:cubicBezTo>
                  <a:pt x="1393" y="505"/>
                  <a:pt x="1393" y="505"/>
                  <a:pt x="1393" y="505"/>
                </a:cubicBezTo>
                <a:cubicBezTo>
                  <a:pt x="1393" y="505"/>
                  <a:pt x="1392" y="505"/>
                  <a:pt x="1392" y="505"/>
                </a:cubicBezTo>
                <a:cubicBezTo>
                  <a:pt x="1392" y="504"/>
                  <a:pt x="1392" y="504"/>
                  <a:pt x="1393" y="504"/>
                </a:cubicBezTo>
                <a:cubicBezTo>
                  <a:pt x="1392" y="503"/>
                  <a:pt x="1392" y="503"/>
                  <a:pt x="1392" y="503"/>
                </a:cubicBezTo>
                <a:cubicBezTo>
                  <a:pt x="1392" y="502"/>
                  <a:pt x="1391" y="502"/>
                  <a:pt x="1391" y="502"/>
                </a:cubicBezTo>
                <a:cubicBezTo>
                  <a:pt x="1391" y="502"/>
                  <a:pt x="1391" y="502"/>
                  <a:pt x="1391" y="502"/>
                </a:cubicBezTo>
                <a:cubicBezTo>
                  <a:pt x="1390" y="501"/>
                  <a:pt x="1389" y="500"/>
                  <a:pt x="1388" y="499"/>
                </a:cubicBezTo>
                <a:cubicBezTo>
                  <a:pt x="1388" y="499"/>
                  <a:pt x="1388" y="499"/>
                  <a:pt x="1388" y="499"/>
                </a:cubicBezTo>
                <a:cubicBezTo>
                  <a:pt x="1387" y="499"/>
                  <a:pt x="1387" y="498"/>
                  <a:pt x="1387" y="498"/>
                </a:cubicBezTo>
                <a:cubicBezTo>
                  <a:pt x="1386" y="498"/>
                  <a:pt x="1386" y="498"/>
                  <a:pt x="1386" y="497"/>
                </a:cubicBezTo>
                <a:cubicBezTo>
                  <a:pt x="1386" y="497"/>
                  <a:pt x="1386" y="497"/>
                  <a:pt x="1385" y="497"/>
                </a:cubicBezTo>
                <a:cubicBezTo>
                  <a:pt x="1385" y="496"/>
                  <a:pt x="1386" y="496"/>
                  <a:pt x="1386" y="496"/>
                </a:cubicBezTo>
                <a:cubicBezTo>
                  <a:pt x="1385" y="495"/>
                  <a:pt x="1385" y="495"/>
                  <a:pt x="1385" y="495"/>
                </a:cubicBezTo>
                <a:cubicBezTo>
                  <a:pt x="1385" y="495"/>
                  <a:pt x="1385" y="494"/>
                  <a:pt x="1384" y="494"/>
                </a:cubicBezTo>
                <a:cubicBezTo>
                  <a:pt x="1384" y="494"/>
                  <a:pt x="1384" y="494"/>
                  <a:pt x="1384" y="494"/>
                </a:cubicBezTo>
                <a:cubicBezTo>
                  <a:pt x="1384" y="493"/>
                  <a:pt x="1384" y="493"/>
                  <a:pt x="1384" y="493"/>
                </a:cubicBezTo>
                <a:cubicBezTo>
                  <a:pt x="1383" y="492"/>
                  <a:pt x="1383" y="492"/>
                  <a:pt x="1383" y="492"/>
                </a:cubicBezTo>
                <a:cubicBezTo>
                  <a:pt x="1382" y="492"/>
                  <a:pt x="1382" y="492"/>
                  <a:pt x="1382" y="492"/>
                </a:cubicBezTo>
                <a:cubicBezTo>
                  <a:pt x="1381" y="492"/>
                  <a:pt x="1381" y="492"/>
                  <a:pt x="1381" y="492"/>
                </a:cubicBezTo>
                <a:cubicBezTo>
                  <a:pt x="1381" y="492"/>
                  <a:pt x="1381" y="491"/>
                  <a:pt x="1380" y="491"/>
                </a:cubicBezTo>
                <a:cubicBezTo>
                  <a:pt x="1380" y="491"/>
                  <a:pt x="1380" y="491"/>
                  <a:pt x="1379" y="491"/>
                </a:cubicBezTo>
                <a:cubicBezTo>
                  <a:pt x="1379" y="491"/>
                  <a:pt x="1378" y="491"/>
                  <a:pt x="1378" y="491"/>
                </a:cubicBezTo>
                <a:cubicBezTo>
                  <a:pt x="1378" y="491"/>
                  <a:pt x="1377" y="491"/>
                  <a:pt x="1377" y="490"/>
                </a:cubicBezTo>
                <a:cubicBezTo>
                  <a:pt x="1377" y="490"/>
                  <a:pt x="1376" y="489"/>
                  <a:pt x="1375" y="489"/>
                </a:cubicBezTo>
                <a:cubicBezTo>
                  <a:pt x="1375" y="488"/>
                  <a:pt x="1374" y="488"/>
                  <a:pt x="1373" y="488"/>
                </a:cubicBezTo>
                <a:cubicBezTo>
                  <a:pt x="1373" y="488"/>
                  <a:pt x="1373" y="488"/>
                  <a:pt x="1373" y="488"/>
                </a:cubicBezTo>
                <a:cubicBezTo>
                  <a:pt x="1373" y="488"/>
                  <a:pt x="1372" y="488"/>
                  <a:pt x="1372" y="488"/>
                </a:cubicBezTo>
                <a:cubicBezTo>
                  <a:pt x="1372" y="489"/>
                  <a:pt x="1372" y="489"/>
                  <a:pt x="1372" y="489"/>
                </a:cubicBezTo>
                <a:cubicBezTo>
                  <a:pt x="1373" y="490"/>
                  <a:pt x="1373" y="491"/>
                  <a:pt x="1373" y="492"/>
                </a:cubicBezTo>
                <a:cubicBezTo>
                  <a:pt x="1373" y="492"/>
                  <a:pt x="1373" y="492"/>
                  <a:pt x="1374" y="492"/>
                </a:cubicBezTo>
                <a:cubicBezTo>
                  <a:pt x="1374" y="493"/>
                  <a:pt x="1375" y="494"/>
                  <a:pt x="1375" y="494"/>
                </a:cubicBezTo>
                <a:cubicBezTo>
                  <a:pt x="1375" y="494"/>
                  <a:pt x="1376" y="495"/>
                  <a:pt x="1376" y="495"/>
                </a:cubicBezTo>
                <a:cubicBezTo>
                  <a:pt x="1376" y="495"/>
                  <a:pt x="1376" y="496"/>
                  <a:pt x="1377" y="496"/>
                </a:cubicBezTo>
                <a:cubicBezTo>
                  <a:pt x="1377" y="496"/>
                  <a:pt x="1377" y="496"/>
                  <a:pt x="1377" y="496"/>
                </a:cubicBezTo>
                <a:cubicBezTo>
                  <a:pt x="1378" y="496"/>
                  <a:pt x="1378" y="496"/>
                  <a:pt x="1378" y="496"/>
                </a:cubicBezTo>
                <a:cubicBezTo>
                  <a:pt x="1378" y="497"/>
                  <a:pt x="1379" y="497"/>
                  <a:pt x="1379" y="498"/>
                </a:cubicBezTo>
                <a:cubicBezTo>
                  <a:pt x="1380" y="499"/>
                  <a:pt x="1380" y="500"/>
                  <a:pt x="1380" y="500"/>
                </a:cubicBezTo>
                <a:cubicBezTo>
                  <a:pt x="1381" y="501"/>
                  <a:pt x="1381" y="501"/>
                  <a:pt x="1382" y="502"/>
                </a:cubicBezTo>
                <a:cubicBezTo>
                  <a:pt x="1382" y="502"/>
                  <a:pt x="1382" y="502"/>
                  <a:pt x="1382" y="502"/>
                </a:cubicBezTo>
                <a:cubicBezTo>
                  <a:pt x="1382" y="502"/>
                  <a:pt x="1382" y="503"/>
                  <a:pt x="1382" y="503"/>
                </a:cubicBezTo>
                <a:cubicBezTo>
                  <a:pt x="1382" y="503"/>
                  <a:pt x="1382" y="503"/>
                  <a:pt x="1382" y="503"/>
                </a:cubicBezTo>
                <a:cubicBezTo>
                  <a:pt x="1382" y="504"/>
                  <a:pt x="1382" y="504"/>
                  <a:pt x="1382" y="504"/>
                </a:cubicBezTo>
                <a:cubicBezTo>
                  <a:pt x="1382" y="505"/>
                  <a:pt x="1382" y="505"/>
                  <a:pt x="1383" y="505"/>
                </a:cubicBezTo>
                <a:cubicBezTo>
                  <a:pt x="1383" y="505"/>
                  <a:pt x="1383" y="505"/>
                  <a:pt x="1384" y="505"/>
                </a:cubicBezTo>
                <a:cubicBezTo>
                  <a:pt x="1384" y="506"/>
                  <a:pt x="1384" y="506"/>
                  <a:pt x="1385" y="507"/>
                </a:cubicBezTo>
                <a:cubicBezTo>
                  <a:pt x="1385" y="507"/>
                  <a:pt x="1385" y="507"/>
                  <a:pt x="1385" y="507"/>
                </a:cubicBezTo>
                <a:cubicBezTo>
                  <a:pt x="1385" y="507"/>
                  <a:pt x="1385" y="507"/>
                  <a:pt x="1386" y="507"/>
                </a:cubicBezTo>
                <a:cubicBezTo>
                  <a:pt x="1386" y="507"/>
                  <a:pt x="1386" y="508"/>
                  <a:pt x="1386" y="508"/>
                </a:cubicBezTo>
                <a:cubicBezTo>
                  <a:pt x="1386" y="508"/>
                  <a:pt x="1385" y="508"/>
                  <a:pt x="1385" y="508"/>
                </a:cubicBezTo>
                <a:cubicBezTo>
                  <a:pt x="1385" y="508"/>
                  <a:pt x="1386" y="509"/>
                  <a:pt x="1386" y="509"/>
                </a:cubicBezTo>
                <a:cubicBezTo>
                  <a:pt x="1386" y="509"/>
                  <a:pt x="1386" y="510"/>
                  <a:pt x="1386" y="510"/>
                </a:cubicBezTo>
                <a:cubicBezTo>
                  <a:pt x="1386" y="510"/>
                  <a:pt x="1386" y="510"/>
                  <a:pt x="1386" y="510"/>
                </a:cubicBezTo>
                <a:cubicBezTo>
                  <a:pt x="1386" y="511"/>
                  <a:pt x="1386" y="512"/>
                  <a:pt x="1386" y="512"/>
                </a:cubicBezTo>
                <a:cubicBezTo>
                  <a:pt x="1386" y="513"/>
                  <a:pt x="1386" y="513"/>
                  <a:pt x="1386" y="513"/>
                </a:cubicBezTo>
                <a:cubicBezTo>
                  <a:pt x="1387" y="514"/>
                  <a:pt x="1387" y="514"/>
                  <a:pt x="1387" y="514"/>
                </a:cubicBezTo>
                <a:cubicBezTo>
                  <a:pt x="1388" y="514"/>
                  <a:pt x="1388" y="515"/>
                  <a:pt x="1389" y="515"/>
                </a:cubicBezTo>
                <a:cubicBezTo>
                  <a:pt x="1388" y="515"/>
                  <a:pt x="1388" y="516"/>
                  <a:pt x="1388" y="516"/>
                </a:cubicBezTo>
                <a:cubicBezTo>
                  <a:pt x="1389" y="516"/>
                  <a:pt x="1389" y="517"/>
                  <a:pt x="1389" y="518"/>
                </a:cubicBezTo>
                <a:cubicBezTo>
                  <a:pt x="1389" y="518"/>
                  <a:pt x="1390" y="518"/>
                  <a:pt x="1390" y="519"/>
                </a:cubicBezTo>
                <a:cubicBezTo>
                  <a:pt x="1390" y="519"/>
                  <a:pt x="1390" y="520"/>
                  <a:pt x="1390" y="520"/>
                </a:cubicBezTo>
                <a:cubicBezTo>
                  <a:pt x="1390" y="521"/>
                  <a:pt x="1390" y="522"/>
                  <a:pt x="1391" y="523"/>
                </a:cubicBezTo>
                <a:cubicBezTo>
                  <a:pt x="1390" y="524"/>
                  <a:pt x="1390" y="524"/>
                  <a:pt x="1390" y="524"/>
                </a:cubicBezTo>
                <a:cubicBezTo>
                  <a:pt x="1390" y="525"/>
                  <a:pt x="1390" y="525"/>
                  <a:pt x="1390" y="525"/>
                </a:cubicBezTo>
                <a:cubicBezTo>
                  <a:pt x="1391" y="526"/>
                  <a:pt x="1391" y="526"/>
                  <a:pt x="1392" y="527"/>
                </a:cubicBezTo>
                <a:cubicBezTo>
                  <a:pt x="1392" y="527"/>
                  <a:pt x="1393" y="528"/>
                  <a:pt x="1393" y="529"/>
                </a:cubicBezTo>
                <a:cubicBezTo>
                  <a:pt x="1393" y="529"/>
                  <a:pt x="1393" y="529"/>
                  <a:pt x="1393" y="530"/>
                </a:cubicBezTo>
                <a:cubicBezTo>
                  <a:pt x="1394" y="530"/>
                  <a:pt x="1394" y="530"/>
                  <a:pt x="1394" y="530"/>
                </a:cubicBezTo>
                <a:cubicBezTo>
                  <a:pt x="1394" y="531"/>
                  <a:pt x="1395" y="531"/>
                  <a:pt x="1395" y="531"/>
                </a:cubicBezTo>
                <a:cubicBezTo>
                  <a:pt x="1395" y="531"/>
                  <a:pt x="1395" y="532"/>
                  <a:pt x="1396" y="532"/>
                </a:cubicBezTo>
                <a:cubicBezTo>
                  <a:pt x="1396" y="532"/>
                  <a:pt x="1396" y="533"/>
                  <a:pt x="1395" y="533"/>
                </a:cubicBezTo>
                <a:cubicBezTo>
                  <a:pt x="1396" y="533"/>
                  <a:pt x="1396" y="533"/>
                  <a:pt x="1396" y="534"/>
                </a:cubicBezTo>
                <a:close/>
                <a:moveTo>
                  <a:pt x="1519" y="584"/>
                </a:moveTo>
                <a:cubicBezTo>
                  <a:pt x="1519" y="584"/>
                  <a:pt x="1519" y="584"/>
                  <a:pt x="1520" y="584"/>
                </a:cubicBezTo>
                <a:cubicBezTo>
                  <a:pt x="1519" y="584"/>
                  <a:pt x="1519" y="584"/>
                  <a:pt x="1519" y="583"/>
                </a:cubicBezTo>
                <a:cubicBezTo>
                  <a:pt x="1519" y="584"/>
                  <a:pt x="1519" y="584"/>
                  <a:pt x="1519" y="584"/>
                </a:cubicBezTo>
                <a:close/>
                <a:moveTo>
                  <a:pt x="1515" y="588"/>
                </a:moveTo>
                <a:cubicBezTo>
                  <a:pt x="1515" y="588"/>
                  <a:pt x="1515" y="589"/>
                  <a:pt x="1515" y="589"/>
                </a:cubicBezTo>
                <a:cubicBezTo>
                  <a:pt x="1515" y="589"/>
                  <a:pt x="1515" y="589"/>
                  <a:pt x="1515" y="589"/>
                </a:cubicBezTo>
                <a:cubicBezTo>
                  <a:pt x="1515" y="589"/>
                  <a:pt x="1516" y="589"/>
                  <a:pt x="1516" y="589"/>
                </a:cubicBezTo>
                <a:cubicBezTo>
                  <a:pt x="1516" y="589"/>
                  <a:pt x="1516" y="589"/>
                  <a:pt x="1516" y="589"/>
                </a:cubicBezTo>
                <a:cubicBezTo>
                  <a:pt x="1516" y="589"/>
                  <a:pt x="1515" y="588"/>
                  <a:pt x="1515" y="588"/>
                </a:cubicBezTo>
                <a:cubicBezTo>
                  <a:pt x="1515" y="588"/>
                  <a:pt x="1515" y="588"/>
                  <a:pt x="1515" y="588"/>
                </a:cubicBezTo>
                <a:close/>
                <a:moveTo>
                  <a:pt x="1406" y="546"/>
                </a:moveTo>
                <a:cubicBezTo>
                  <a:pt x="1406" y="546"/>
                  <a:pt x="1406" y="546"/>
                  <a:pt x="1406" y="546"/>
                </a:cubicBezTo>
                <a:cubicBezTo>
                  <a:pt x="1406" y="546"/>
                  <a:pt x="1406" y="546"/>
                  <a:pt x="1406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6"/>
                  <a:pt x="1406" y="546"/>
                  <a:pt x="1406" y="546"/>
                </a:cubicBezTo>
                <a:close/>
                <a:moveTo>
                  <a:pt x="1515" y="590"/>
                </a:moveTo>
                <a:cubicBezTo>
                  <a:pt x="1515" y="590"/>
                  <a:pt x="1516" y="590"/>
                  <a:pt x="1516" y="590"/>
                </a:cubicBezTo>
                <a:cubicBezTo>
                  <a:pt x="1515" y="590"/>
                  <a:pt x="1515" y="590"/>
                  <a:pt x="1515" y="590"/>
                </a:cubicBezTo>
                <a:cubicBezTo>
                  <a:pt x="1515" y="590"/>
                  <a:pt x="1515" y="590"/>
                  <a:pt x="1515" y="590"/>
                </a:cubicBezTo>
                <a:close/>
                <a:moveTo>
                  <a:pt x="1425" y="553"/>
                </a:moveTo>
                <a:cubicBezTo>
                  <a:pt x="1424" y="553"/>
                  <a:pt x="1423" y="553"/>
                  <a:pt x="1422" y="552"/>
                </a:cubicBezTo>
                <a:cubicBezTo>
                  <a:pt x="1422" y="552"/>
                  <a:pt x="1421" y="552"/>
                  <a:pt x="1421" y="551"/>
                </a:cubicBezTo>
                <a:cubicBezTo>
                  <a:pt x="1421" y="551"/>
                  <a:pt x="1421" y="551"/>
                  <a:pt x="1421" y="551"/>
                </a:cubicBezTo>
                <a:cubicBezTo>
                  <a:pt x="1421" y="551"/>
                  <a:pt x="1421" y="551"/>
                  <a:pt x="1421" y="550"/>
                </a:cubicBezTo>
                <a:cubicBezTo>
                  <a:pt x="1421" y="550"/>
                  <a:pt x="1421" y="550"/>
                  <a:pt x="1421" y="549"/>
                </a:cubicBezTo>
                <a:cubicBezTo>
                  <a:pt x="1420" y="549"/>
                  <a:pt x="1420" y="549"/>
                  <a:pt x="1419" y="549"/>
                </a:cubicBezTo>
                <a:cubicBezTo>
                  <a:pt x="1418" y="548"/>
                  <a:pt x="1418" y="548"/>
                  <a:pt x="1417" y="548"/>
                </a:cubicBezTo>
                <a:cubicBezTo>
                  <a:pt x="1417" y="548"/>
                  <a:pt x="1417" y="547"/>
                  <a:pt x="1417" y="547"/>
                </a:cubicBezTo>
                <a:cubicBezTo>
                  <a:pt x="1416" y="547"/>
                  <a:pt x="1416" y="547"/>
                  <a:pt x="1415" y="547"/>
                </a:cubicBezTo>
                <a:cubicBezTo>
                  <a:pt x="1415" y="547"/>
                  <a:pt x="1415" y="547"/>
                  <a:pt x="1415" y="547"/>
                </a:cubicBezTo>
                <a:cubicBezTo>
                  <a:pt x="1415" y="547"/>
                  <a:pt x="1414" y="547"/>
                  <a:pt x="1414" y="547"/>
                </a:cubicBezTo>
                <a:cubicBezTo>
                  <a:pt x="1414" y="547"/>
                  <a:pt x="1414" y="546"/>
                  <a:pt x="1414" y="546"/>
                </a:cubicBezTo>
                <a:cubicBezTo>
                  <a:pt x="1413" y="546"/>
                  <a:pt x="1413" y="546"/>
                  <a:pt x="1412" y="546"/>
                </a:cubicBezTo>
                <a:cubicBezTo>
                  <a:pt x="1412" y="546"/>
                  <a:pt x="1412" y="545"/>
                  <a:pt x="1411" y="545"/>
                </a:cubicBezTo>
                <a:cubicBezTo>
                  <a:pt x="1411" y="545"/>
                  <a:pt x="1411" y="545"/>
                  <a:pt x="1411" y="545"/>
                </a:cubicBezTo>
                <a:cubicBezTo>
                  <a:pt x="1411" y="545"/>
                  <a:pt x="1410" y="545"/>
                  <a:pt x="1410" y="545"/>
                </a:cubicBezTo>
                <a:cubicBezTo>
                  <a:pt x="1410" y="546"/>
                  <a:pt x="1410" y="546"/>
                  <a:pt x="1410" y="546"/>
                </a:cubicBezTo>
                <a:cubicBezTo>
                  <a:pt x="1409" y="546"/>
                  <a:pt x="1409" y="547"/>
                  <a:pt x="1409" y="547"/>
                </a:cubicBezTo>
                <a:cubicBezTo>
                  <a:pt x="1409" y="547"/>
                  <a:pt x="1408" y="547"/>
                  <a:pt x="1408" y="547"/>
                </a:cubicBezTo>
                <a:cubicBezTo>
                  <a:pt x="1408" y="547"/>
                  <a:pt x="1408" y="547"/>
                  <a:pt x="1408" y="547"/>
                </a:cubicBezTo>
                <a:cubicBezTo>
                  <a:pt x="1407" y="547"/>
                  <a:pt x="1407" y="547"/>
                  <a:pt x="1407" y="547"/>
                </a:cubicBezTo>
                <a:cubicBezTo>
                  <a:pt x="1407" y="547"/>
                  <a:pt x="1407" y="547"/>
                  <a:pt x="1407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7"/>
                  <a:pt x="1406" y="548"/>
                  <a:pt x="1407" y="548"/>
                </a:cubicBezTo>
                <a:cubicBezTo>
                  <a:pt x="1407" y="548"/>
                  <a:pt x="1408" y="548"/>
                  <a:pt x="1408" y="548"/>
                </a:cubicBezTo>
                <a:cubicBezTo>
                  <a:pt x="1409" y="548"/>
                  <a:pt x="1409" y="548"/>
                  <a:pt x="1410" y="548"/>
                </a:cubicBezTo>
                <a:cubicBezTo>
                  <a:pt x="1410" y="548"/>
                  <a:pt x="1410" y="549"/>
                  <a:pt x="1410" y="549"/>
                </a:cubicBezTo>
                <a:cubicBezTo>
                  <a:pt x="1410" y="549"/>
                  <a:pt x="1410" y="549"/>
                  <a:pt x="1410" y="549"/>
                </a:cubicBezTo>
                <a:cubicBezTo>
                  <a:pt x="1410" y="549"/>
                  <a:pt x="1411" y="549"/>
                  <a:pt x="1411" y="549"/>
                </a:cubicBezTo>
                <a:cubicBezTo>
                  <a:pt x="1411" y="549"/>
                  <a:pt x="1411" y="550"/>
                  <a:pt x="1412" y="550"/>
                </a:cubicBezTo>
                <a:cubicBezTo>
                  <a:pt x="1411" y="550"/>
                  <a:pt x="1411" y="550"/>
                  <a:pt x="1411" y="550"/>
                </a:cubicBezTo>
                <a:cubicBezTo>
                  <a:pt x="1411" y="550"/>
                  <a:pt x="1410" y="550"/>
                  <a:pt x="1410" y="550"/>
                </a:cubicBezTo>
                <a:cubicBezTo>
                  <a:pt x="1410" y="551"/>
                  <a:pt x="1410" y="551"/>
                  <a:pt x="1410" y="551"/>
                </a:cubicBezTo>
                <a:cubicBezTo>
                  <a:pt x="1411" y="551"/>
                  <a:pt x="1411" y="551"/>
                  <a:pt x="1412" y="551"/>
                </a:cubicBezTo>
                <a:cubicBezTo>
                  <a:pt x="1412" y="552"/>
                  <a:pt x="1412" y="552"/>
                  <a:pt x="1413" y="552"/>
                </a:cubicBezTo>
                <a:cubicBezTo>
                  <a:pt x="1413" y="552"/>
                  <a:pt x="1413" y="552"/>
                  <a:pt x="1414" y="552"/>
                </a:cubicBezTo>
                <a:cubicBezTo>
                  <a:pt x="1414" y="552"/>
                  <a:pt x="1414" y="552"/>
                  <a:pt x="1414" y="552"/>
                </a:cubicBezTo>
                <a:cubicBezTo>
                  <a:pt x="1415" y="553"/>
                  <a:pt x="1415" y="553"/>
                  <a:pt x="1415" y="553"/>
                </a:cubicBezTo>
                <a:cubicBezTo>
                  <a:pt x="1416" y="553"/>
                  <a:pt x="1416" y="554"/>
                  <a:pt x="1417" y="554"/>
                </a:cubicBezTo>
                <a:cubicBezTo>
                  <a:pt x="1417" y="554"/>
                  <a:pt x="1418" y="555"/>
                  <a:pt x="1418" y="555"/>
                </a:cubicBezTo>
                <a:cubicBezTo>
                  <a:pt x="1419" y="555"/>
                  <a:pt x="1419" y="555"/>
                  <a:pt x="1420" y="555"/>
                </a:cubicBezTo>
                <a:cubicBezTo>
                  <a:pt x="1420" y="555"/>
                  <a:pt x="1420" y="555"/>
                  <a:pt x="1420" y="555"/>
                </a:cubicBezTo>
                <a:cubicBezTo>
                  <a:pt x="1420" y="555"/>
                  <a:pt x="1421" y="555"/>
                  <a:pt x="1421" y="556"/>
                </a:cubicBezTo>
                <a:cubicBezTo>
                  <a:pt x="1421" y="556"/>
                  <a:pt x="1421" y="556"/>
                  <a:pt x="1421" y="556"/>
                </a:cubicBezTo>
                <a:cubicBezTo>
                  <a:pt x="1422" y="556"/>
                  <a:pt x="1422" y="556"/>
                  <a:pt x="1422" y="556"/>
                </a:cubicBezTo>
                <a:cubicBezTo>
                  <a:pt x="1422" y="556"/>
                  <a:pt x="1423" y="556"/>
                  <a:pt x="1423" y="556"/>
                </a:cubicBezTo>
                <a:cubicBezTo>
                  <a:pt x="1423" y="556"/>
                  <a:pt x="1423" y="557"/>
                  <a:pt x="1424" y="557"/>
                </a:cubicBezTo>
                <a:cubicBezTo>
                  <a:pt x="1424" y="557"/>
                  <a:pt x="1425" y="557"/>
                  <a:pt x="1425" y="557"/>
                </a:cubicBezTo>
                <a:cubicBezTo>
                  <a:pt x="1426" y="558"/>
                  <a:pt x="1426" y="558"/>
                  <a:pt x="1427" y="559"/>
                </a:cubicBezTo>
                <a:cubicBezTo>
                  <a:pt x="1428" y="559"/>
                  <a:pt x="1428" y="560"/>
                  <a:pt x="1429" y="560"/>
                </a:cubicBezTo>
                <a:cubicBezTo>
                  <a:pt x="1430" y="560"/>
                  <a:pt x="1430" y="560"/>
                  <a:pt x="1430" y="560"/>
                </a:cubicBezTo>
                <a:cubicBezTo>
                  <a:pt x="1431" y="561"/>
                  <a:pt x="1431" y="561"/>
                  <a:pt x="1432" y="561"/>
                </a:cubicBezTo>
                <a:cubicBezTo>
                  <a:pt x="1432" y="561"/>
                  <a:pt x="1432" y="562"/>
                  <a:pt x="1433" y="562"/>
                </a:cubicBezTo>
                <a:cubicBezTo>
                  <a:pt x="1433" y="562"/>
                  <a:pt x="1434" y="562"/>
                  <a:pt x="1434" y="562"/>
                </a:cubicBezTo>
                <a:cubicBezTo>
                  <a:pt x="1434" y="562"/>
                  <a:pt x="1435" y="562"/>
                  <a:pt x="1435" y="562"/>
                </a:cubicBezTo>
                <a:cubicBezTo>
                  <a:pt x="1436" y="563"/>
                  <a:pt x="1436" y="563"/>
                  <a:pt x="1436" y="563"/>
                </a:cubicBezTo>
                <a:cubicBezTo>
                  <a:pt x="1437" y="563"/>
                  <a:pt x="1437" y="563"/>
                  <a:pt x="1438" y="563"/>
                </a:cubicBezTo>
                <a:cubicBezTo>
                  <a:pt x="1438" y="563"/>
                  <a:pt x="1439" y="563"/>
                  <a:pt x="1439" y="563"/>
                </a:cubicBezTo>
                <a:cubicBezTo>
                  <a:pt x="1439" y="563"/>
                  <a:pt x="1440" y="564"/>
                  <a:pt x="1440" y="564"/>
                </a:cubicBezTo>
                <a:cubicBezTo>
                  <a:pt x="1440" y="564"/>
                  <a:pt x="1440" y="564"/>
                  <a:pt x="1440" y="565"/>
                </a:cubicBezTo>
                <a:cubicBezTo>
                  <a:pt x="1441" y="565"/>
                  <a:pt x="1441" y="565"/>
                  <a:pt x="1441" y="565"/>
                </a:cubicBezTo>
                <a:cubicBezTo>
                  <a:pt x="1442" y="565"/>
                  <a:pt x="1442" y="566"/>
                  <a:pt x="1442" y="566"/>
                </a:cubicBezTo>
                <a:cubicBezTo>
                  <a:pt x="1443" y="566"/>
                  <a:pt x="1443" y="566"/>
                  <a:pt x="1443" y="566"/>
                </a:cubicBezTo>
                <a:cubicBezTo>
                  <a:pt x="1443" y="567"/>
                  <a:pt x="1444" y="567"/>
                  <a:pt x="1444" y="567"/>
                </a:cubicBezTo>
                <a:cubicBezTo>
                  <a:pt x="1444" y="567"/>
                  <a:pt x="1444" y="567"/>
                  <a:pt x="1444" y="567"/>
                </a:cubicBezTo>
                <a:cubicBezTo>
                  <a:pt x="1444" y="567"/>
                  <a:pt x="1444" y="567"/>
                  <a:pt x="1444" y="566"/>
                </a:cubicBezTo>
                <a:cubicBezTo>
                  <a:pt x="1444" y="566"/>
                  <a:pt x="1444" y="566"/>
                  <a:pt x="1444" y="566"/>
                </a:cubicBezTo>
                <a:cubicBezTo>
                  <a:pt x="1444" y="566"/>
                  <a:pt x="1444" y="566"/>
                  <a:pt x="1445" y="565"/>
                </a:cubicBezTo>
                <a:cubicBezTo>
                  <a:pt x="1445" y="565"/>
                  <a:pt x="1445" y="564"/>
                  <a:pt x="1445" y="564"/>
                </a:cubicBezTo>
                <a:cubicBezTo>
                  <a:pt x="1445" y="564"/>
                  <a:pt x="1445" y="564"/>
                  <a:pt x="1445" y="563"/>
                </a:cubicBezTo>
                <a:cubicBezTo>
                  <a:pt x="1445" y="563"/>
                  <a:pt x="1445" y="563"/>
                  <a:pt x="1444" y="563"/>
                </a:cubicBezTo>
                <a:cubicBezTo>
                  <a:pt x="1444" y="563"/>
                  <a:pt x="1444" y="563"/>
                  <a:pt x="1444" y="563"/>
                </a:cubicBezTo>
                <a:cubicBezTo>
                  <a:pt x="1444" y="563"/>
                  <a:pt x="1444" y="563"/>
                  <a:pt x="1443" y="563"/>
                </a:cubicBezTo>
                <a:cubicBezTo>
                  <a:pt x="1443" y="563"/>
                  <a:pt x="1443" y="563"/>
                  <a:pt x="1443" y="563"/>
                </a:cubicBezTo>
                <a:cubicBezTo>
                  <a:pt x="1442" y="563"/>
                  <a:pt x="1442" y="562"/>
                  <a:pt x="1442" y="562"/>
                </a:cubicBezTo>
                <a:cubicBezTo>
                  <a:pt x="1442" y="562"/>
                  <a:pt x="1442" y="562"/>
                  <a:pt x="1441" y="562"/>
                </a:cubicBezTo>
                <a:cubicBezTo>
                  <a:pt x="1441" y="562"/>
                  <a:pt x="1441" y="562"/>
                  <a:pt x="1440" y="562"/>
                </a:cubicBezTo>
                <a:cubicBezTo>
                  <a:pt x="1440" y="562"/>
                  <a:pt x="1440" y="561"/>
                  <a:pt x="1439" y="561"/>
                </a:cubicBezTo>
                <a:cubicBezTo>
                  <a:pt x="1439" y="561"/>
                  <a:pt x="1439" y="561"/>
                  <a:pt x="1439" y="560"/>
                </a:cubicBezTo>
                <a:cubicBezTo>
                  <a:pt x="1439" y="560"/>
                  <a:pt x="1439" y="560"/>
                  <a:pt x="1439" y="560"/>
                </a:cubicBezTo>
                <a:cubicBezTo>
                  <a:pt x="1439" y="559"/>
                  <a:pt x="1439" y="559"/>
                  <a:pt x="1439" y="559"/>
                </a:cubicBezTo>
                <a:cubicBezTo>
                  <a:pt x="1439" y="558"/>
                  <a:pt x="1439" y="558"/>
                  <a:pt x="1439" y="558"/>
                </a:cubicBezTo>
                <a:cubicBezTo>
                  <a:pt x="1438" y="558"/>
                  <a:pt x="1438" y="557"/>
                  <a:pt x="1438" y="557"/>
                </a:cubicBezTo>
                <a:cubicBezTo>
                  <a:pt x="1437" y="557"/>
                  <a:pt x="1437" y="557"/>
                  <a:pt x="1437" y="557"/>
                </a:cubicBezTo>
                <a:cubicBezTo>
                  <a:pt x="1437" y="557"/>
                  <a:pt x="1437" y="557"/>
                  <a:pt x="1436" y="557"/>
                </a:cubicBezTo>
                <a:cubicBezTo>
                  <a:pt x="1436" y="556"/>
                  <a:pt x="1436" y="556"/>
                  <a:pt x="1436" y="556"/>
                </a:cubicBezTo>
                <a:cubicBezTo>
                  <a:pt x="1435" y="556"/>
                  <a:pt x="1435" y="556"/>
                  <a:pt x="1435" y="555"/>
                </a:cubicBezTo>
                <a:cubicBezTo>
                  <a:pt x="1435" y="555"/>
                  <a:pt x="1435" y="555"/>
                  <a:pt x="1434" y="555"/>
                </a:cubicBezTo>
                <a:cubicBezTo>
                  <a:pt x="1434" y="555"/>
                  <a:pt x="1434" y="555"/>
                  <a:pt x="1434" y="555"/>
                </a:cubicBezTo>
                <a:cubicBezTo>
                  <a:pt x="1433" y="555"/>
                  <a:pt x="1433" y="555"/>
                  <a:pt x="1433" y="555"/>
                </a:cubicBezTo>
                <a:cubicBezTo>
                  <a:pt x="1433" y="554"/>
                  <a:pt x="1432" y="554"/>
                  <a:pt x="1432" y="553"/>
                </a:cubicBezTo>
                <a:cubicBezTo>
                  <a:pt x="1432" y="553"/>
                  <a:pt x="1431" y="553"/>
                  <a:pt x="1431" y="553"/>
                </a:cubicBezTo>
                <a:cubicBezTo>
                  <a:pt x="1431" y="553"/>
                  <a:pt x="1431" y="554"/>
                  <a:pt x="1430" y="554"/>
                </a:cubicBezTo>
                <a:cubicBezTo>
                  <a:pt x="1430" y="554"/>
                  <a:pt x="1430" y="555"/>
                  <a:pt x="1430" y="555"/>
                </a:cubicBezTo>
                <a:cubicBezTo>
                  <a:pt x="1429" y="555"/>
                  <a:pt x="1428" y="554"/>
                  <a:pt x="1427" y="554"/>
                </a:cubicBezTo>
                <a:cubicBezTo>
                  <a:pt x="1427" y="554"/>
                  <a:pt x="1426" y="554"/>
                  <a:pt x="1425" y="553"/>
                </a:cubicBezTo>
                <a:close/>
                <a:moveTo>
                  <a:pt x="1411" y="517"/>
                </a:moveTo>
                <a:cubicBezTo>
                  <a:pt x="1411" y="518"/>
                  <a:pt x="1412" y="518"/>
                  <a:pt x="1412" y="518"/>
                </a:cubicBezTo>
                <a:cubicBezTo>
                  <a:pt x="1412" y="518"/>
                  <a:pt x="1412" y="519"/>
                  <a:pt x="1412" y="519"/>
                </a:cubicBezTo>
                <a:cubicBezTo>
                  <a:pt x="1412" y="519"/>
                  <a:pt x="1412" y="519"/>
                  <a:pt x="1413" y="519"/>
                </a:cubicBezTo>
                <a:cubicBezTo>
                  <a:pt x="1413" y="519"/>
                  <a:pt x="1413" y="518"/>
                  <a:pt x="1413" y="518"/>
                </a:cubicBezTo>
                <a:cubicBezTo>
                  <a:pt x="1413" y="518"/>
                  <a:pt x="1413" y="518"/>
                  <a:pt x="1413" y="517"/>
                </a:cubicBezTo>
                <a:cubicBezTo>
                  <a:pt x="1413" y="517"/>
                  <a:pt x="1413" y="517"/>
                  <a:pt x="1413" y="517"/>
                </a:cubicBezTo>
                <a:cubicBezTo>
                  <a:pt x="1413" y="517"/>
                  <a:pt x="1413" y="517"/>
                  <a:pt x="1413" y="517"/>
                </a:cubicBezTo>
                <a:cubicBezTo>
                  <a:pt x="1413" y="517"/>
                  <a:pt x="1413" y="517"/>
                  <a:pt x="1412" y="517"/>
                </a:cubicBezTo>
                <a:cubicBezTo>
                  <a:pt x="1412" y="517"/>
                  <a:pt x="1412" y="517"/>
                  <a:pt x="1412" y="517"/>
                </a:cubicBezTo>
                <a:cubicBezTo>
                  <a:pt x="1411" y="517"/>
                  <a:pt x="1411" y="517"/>
                  <a:pt x="1411" y="517"/>
                </a:cubicBezTo>
                <a:close/>
                <a:moveTo>
                  <a:pt x="1411" y="523"/>
                </a:moveTo>
                <a:cubicBezTo>
                  <a:pt x="1411" y="523"/>
                  <a:pt x="1411" y="523"/>
                  <a:pt x="1412" y="523"/>
                </a:cubicBezTo>
                <a:cubicBezTo>
                  <a:pt x="1412" y="523"/>
                  <a:pt x="1412" y="524"/>
                  <a:pt x="1413" y="524"/>
                </a:cubicBezTo>
                <a:cubicBezTo>
                  <a:pt x="1413" y="524"/>
                  <a:pt x="1413" y="524"/>
                  <a:pt x="1413" y="524"/>
                </a:cubicBezTo>
                <a:cubicBezTo>
                  <a:pt x="1413" y="523"/>
                  <a:pt x="1412" y="523"/>
                  <a:pt x="1412" y="522"/>
                </a:cubicBezTo>
                <a:cubicBezTo>
                  <a:pt x="1412" y="522"/>
                  <a:pt x="1411" y="522"/>
                  <a:pt x="1411" y="522"/>
                </a:cubicBezTo>
                <a:cubicBezTo>
                  <a:pt x="1411" y="522"/>
                  <a:pt x="1411" y="522"/>
                  <a:pt x="1410" y="522"/>
                </a:cubicBezTo>
                <a:cubicBezTo>
                  <a:pt x="1411" y="523"/>
                  <a:pt x="1411" y="523"/>
                  <a:pt x="1411" y="523"/>
                </a:cubicBezTo>
                <a:close/>
                <a:moveTo>
                  <a:pt x="1409" y="517"/>
                </a:moveTo>
                <a:cubicBezTo>
                  <a:pt x="1409" y="517"/>
                  <a:pt x="1410" y="517"/>
                  <a:pt x="1410" y="517"/>
                </a:cubicBezTo>
                <a:cubicBezTo>
                  <a:pt x="1410" y="517"/>
                  <a:pt x="1410" y="517"/>
                  <a:pt x="1411" y="517"/>
                </a:cubicBezTo>
                <a:cubicBezTo>
                  <a:pt x="1411" y="517"/>
                  <a:pt x="1411" y="516"/>
                  <a:pt x="1411" y="516"/>
                </a:cubicBezTo>
                <a:cubicBezTo>
                  <a:pt x="1410" y="516"/>
                  <a:pt x="1410" y="517"/>
                  <a:pt x="1409" y="517"/>
                </a:cubicBezTo>
                <a:close/>
                <a:moveTo>
                  <a:pt x="1410" y="523"/>
                </a:moveTo>
                <a:cubicBezTo>
                  <a:pt x="1410" y="523"/>
                  <a:pt x="1410" y="523"/>
                  <a:pt x="1409" y="524"/>
                </a:cubicBezTo>
                <a:cubicBezTo>
                  <a:pt x="1410" y="524"/>
                  <a:pt x="1410" y="524"/>
                  <a:pt x="1410" y="524"/>
                </a:cubicBezTo>
                <a:cubicBezTo>
                  <a:pt x="1410" y="524"/>
                  <a:pt x="1411" y="524"/>
                  <a:pt x="1411" y="524"/>
                </a:cubicBezTo>
                <a:cubicBezTo>
                  <a:pt x="1411" y="524"/>
                  <a:pt x="1411" y="524"/>
                  <a:pt x="1411" y="523"/>
                </a:cubicBezTo>
                <a:cubicBezTo>
                  <a:pt x="1410" y="523"/>
                  <a:pt x="1410" y="523"/>
                  <a:pt x="1410" y="523"/>
                </a:cubicBezTo>
                <a:close/>
                <a:moveTo>
                  <a:pt x="1515" y="571"/>
                </a:moveTo>
                <a:cubicBezTo>
                  <a:pt x="1514" y="571"/>
                  <a:pt x="1514" y="571"/>
                  <a:pt x="1513" y="571"/>
                </a:cubicBezTo>
                <a:cubicBezTo>
                  <a:pt x="1514" y="571"/>
                  <a:pt x="1514" y="571"/>
                  <a:pt x="1514" y="572"/>
                </a:cubicBezTo>
                <a:cubicBezTo>
                  <a:pt x="1514" y="572"/>
                  <a:pt x="1514" y="571"/>
                  <a:pt x="1515" y="571"/>
                </a:cubicBezTo>
                <a:cubicBezTo>
                  <a:pt x="1515" y="572"/>
                  <a:pt x="1515" y="572"/>
                  <a:pt x="1515" y="572"/>
                </a:cubicBezTo>
                <a:cubicBezTo>
                  <a:pt x="1515" y="572"/>
                  <a:pt x="1515" y="572"/>
                  <a:pt x="1515" y="571"/>
                </a:cubicBezTo>
                <a:cubicBezTo>
                  <a:pt x="1515" y="571"/>
                  <a:pt x="1515" y="571"/>
                  <a:pt x="1515" y="571"/>
                </a:cubicBezTo>
                <a:cubicBezTo>
                  <a:pt x="1515" y="571"/>
                  <a:pt x="1515" y="571"/>
                  <a:pt x="1515" y="571"/>
                </a:cubicBezTo>
                <a:close/>
                <a:moveTo>
                  <a:pt x="1400" y="511"/>
                </a:moveTo>
                <a:cubicBezTo>
                  <a:pt x="1400" y="510"/>
                  <a:pt x="1400" y="510"/>
                  <a:pt x="1400" y="510"/>
                </a:cubicBezTo>
                <a:cubicBezTo>
                  <a:pt x="1400" y="510"/>
                  <a:pt x="1399" y="510"/>
                  <a:pt x="1399" y="510"/>
                </a:cubicBezTo>
                <a:cubicBezTo>
                  <a:pt x="1399" y="510"/>
                  <a:pt x="1399" y="510"/>
                  <a:pt x="1398" y="510"/>
                </a:cubicBezTo>
                <a:cubicBezTo>
                  <a:pt x="1398" y="510"/>
                  <a:pt x="1398" y="511"/>
                  <a:pt x="1399" y="511"/>
                </a:cubicBezTo>
                <a:cubicBezTo>
                  <a:pt x="1399" y="511"/>
                  <a:pt x="1399" y="511"/>
                  <a:pt x="1399" y="511"/>
                </a:cubicBezTo>
                <a:cubicBezTo>
                  <a:pt x="1400" y="511"/>
                  <a:pt x="1400" y="511"/>
                  <a:pt x="1400" y="511"/>
                </a:cubicBezTo>
                <a:close/>
                <a:moveTo>
                  <a:pt x="1422" y="513"/>
                </a:moveTo>
                <a:cubicBezTo>
                  <a:pt x="1422" y="513"/>
                  <a:pt x="1423" y="513"/>
                  <a:pt x="1423" y="513"/>
                </a:cubicBezTo>
                <a:cubicBezTo>
                  <a:pt x="1423" y="513"/>
                  <a:pt x="1422" y="513"/>
                  <a:pt x="1422" y="513"/>
                </a:cubicBezTo>
                <a:cubicBezTo>
                  <a:pt x="1422" y="513"/>
                  <a:pt x="1422" y="513"/>
                  <a:pt x="1422" y="513"/>
                </a:cubicBezTo>
                <a:close/>
                <a:moveTo>
                  <a:pt x="1402" y="513"/>
                </a:moveTo>
                <a:cubicBezTo>
                  <a:pt x="1401" y="513"/>
                  <a:pt x="1401" y="513"/>
                  <a:pt x="1401" y="513"/>
                </a:cubicBezTo>
                <a:cubicBezTo>
                  <a:pt x="1401" y="513"/>
                  <a:pt x="1402" y="514"/>
                  <a:pt x="1402" y="514"/>
                </a:cubicBezTo>
                <a:cubicBezTo>
                  <a:pt x="1402" y="514"/>
                  <a:pt x="1402" y="515"/>
                  <a:pt x="1402" y="515"/>
                </a:cubicBezTo>
                <a:cubicBezTo>
                  <a:pt x="1402" y="514"/>
                  <a:pt x="1403" y="514"/>
                  <a:pt x="1403" y="514"/>
                </a:cubicBezTo>
                <a:cubicBezTo>
                  <a:pt x="1403" y="514"/>
                  <a:pt x="1403" y="514"/>
                  <a:pt x="1403" y="513"/>
                </a:cubicBezTo>
                <a:cubicBezTo>
                  <a:pt x="1402" y="513"/>
                  <a:pt x="1402" y="513"/>
                  <a:pt x="1402" y="513"/>
                </a:cubicBezTo>
                <a:close/>
                <a:moveTo>
                  <a:pt x="1373" y="499"/>
                </a:moveTo>
                <a:cubicBezTo>
                  <a:pt x="1372" y="499"/>
                  <a:pt x="1372" y="499"/>
                  <a:pt x="1372" y="499"/>
                </a:cubicBezTo>
                <a:cubicBezTo>
                  <a:pt x="1372" y="499"/>
                  <a:pt x="1372" y="499"/>
                  <a:pt x="1372" y="499"/>
                </a:cubicBezTo>
                <a:cubicBezTo>
                  <a:pt x="1372" y="500"/>
                  <a:pt x="1372" y="500"/>
                  <a:pt x="1372" y="500"/>
                </a:cubicBezTo>
                <a:cubicBezTo>
                  <a:pt x="1373" y="500"/>
                  <a:pt x="1373" y="500"/>
                  <a:pt x="1374" y="500"/>
                </a:cubicBezTo>
                <a:cubicBezTo>
                  <a:pt x="1373" y="500"/>
                  <a:pt x="1373" y="500"/>
                  <a:pt x="1373" y="499"/>
                </a:cubicBezTo>
                <a:cubicBezTo>
                  <a:pt x="1373" y="499"/>
                  <a:pt x="1373" y="499"/>
                  <a:pt x="1373" y="499"/>
                </a:cubicBezTo>
                <a:close/>
                <a:moveTo>
                  <a:pt x="1404" y="516"/>
                </a:moveTo>
                <a:cubicBezTo>
                  <a:pt x="1404" y="517"/>
                  <a:pt x="1405" y="517"/>
                  <a:pt x="1405" y="517"/>
                </a:cubicBezTo>
                <a:cubicBezTo>
                  <a:pt x="1405" y="517"/>
                  <a:pt x="1405" y="517"/>
                  <a:pt x="1405" y="517"/>
                </a:cubicBezTo>
                <a:cubicBezTo>
                  <a:pt x="1405" y="517"/>
                  <a:pt x="1405" y="516"/>
                  <a:pt x="1405" y="516"/>
                </a:cubicBezTo>
                <a:cubicBezTo>
                  <a:pt x="1405" y="516"/>
                  <a:pt x="1405" y="515"/>
                  <a:pt x="1404" y="515"/>
                </a:cubicBezTo>
                <a:cubicBezTo>
                  <a:pt x="1404" y="515"/>
                  <a:pt x="1404" y="515"/>
                  <a:pt x="1403" y="514"/>
                </a:cubicBezTo>
                <a:cubicBezTo>
                  <a:pt x="1403" y="515"/>
                  <a:pt x="1403" y="515"/>
                  <a:pt x="1402" y="515"/>
                </a:cubicBezTo>
                <a:cubicBezTo>
                  <a:pt x="1402" y="515"/>
                  <a:pt x="1402" y="516"/>
                  <a:pt x="1402" y="516"/>
                </a:cubicBezTo>
                <a:cubicBezTo>
                  <a:pt x="1403" y="516"/>
                  <a:pt x="1403" y="516"/>
                  <a:pt x="1404" y="516"/>
                </a:cubicBezTo>
                <a:close/>
                <a:moveTo>
                  <a:pt x="1432" y="511"/>
                </a:moveTo>
                <a:cubicBezTo>
                  <a:pt x="1432" y="511"/>
                  <a:pt x="1432" y="511"/>
                  <a:pt x="1432" y="511"/>
                </a:cubicBezTo>
                <a:cubicBezTo>
                  <a:pt x="1432" y="511"/>
                  <a:pt x="1432" y="512"/>
                  <a:pt x="1432" y="512"/>
                </a:cubicBezTo>
                <a:cubicBezTo>
                  <a:pt x="1432" y="512"/>
                  <a:pt x="1433" y="512"/>
                  <a:pt x="1433" y="512"/>
                </a:cubicBezTo>
                <a:cubicBezTo>
                  <a:pt x="1433" y="512"/>
                  <a:pt x="1433" y="512"/>
                  <a:pt x="1432" y="512"/>
                </a:cubicBezTo>
                <a:cubicBezTo>
                  <a:pt x="1433" y="513"/>
                  <a:pt x="1433" y="513"/>
                  <a:pt x="1433" y="513"/>
                </a:cubicBezTo>
                <a:cubicBezTo>
                  <a:pt x="1433" y="512"/>
                  <a:pt x="1434" y="512"/>
                  <a:pt x="1434" y="512"/>
                </a:cubicBezTo>
                <a:cubicBezTo>
                  <a:pt x="1434" y="511"/>
                  <a:pt x="1433" y="511"/>
                  <a:pt x="1433" y="510"/>
                </a:cubicBezTo>
                <a:cubicBezTo>
                  <a:pt x="1433" y="510"/>
                  <a:pt x="1433" y="510"/>
                  <a:pt x="1432" y="511"/>
                </a:cubicBezTo>
                <a:close/>
                <a:moveTo>
                  <a:pt x="1421" y="536"/>
                </a:moveTo>
                <a:cubicBezTo>
                  <a:pt x="1420" y="536"/>
                  <a:pt x="1420" y="536"/>
                  <a:pt x="1420" y="536"/>
                </a:cubicBezTo>
                <a:cubicBezTo>
                  <a:pt x="1420" y="536"/>
                  <a:pt x="1421" y="536"/>
                  <a:pt x="1421" y="536"/>
                </a:cubicBezTo>
                <a:cubicBezTo>
                  <a:pt x="1421" y="536"/>
                  <a:pt x="1421" y="536"/>
                  <a:pt x="1421" y="536"/>
                </a:cubicBezTo>
                <a:cubicBezTo>
                  <a:pt x="1421" y="536"/>
                  <a:pt x="1421" y="536"/>
                  <a:pt x="1422" y="536"/>
                </a:cubicBezTo>
                <a:cubicBezTo>
                  <a:pt x="1422" y="537"/>
                  <a:pt x="1421" y="537"/>
                  <a:pt x="1421" y="537"/>
                </a:cubicBezTo>
                <a:cubicBezTo>
                  <a:pt x="1421" y="537"/>
                  <a:pt x="1422" y="538"/>
                  <a:pt x="1422" y="538"/>
                </a:cubicBezTo>
                <a:cubicBezTo>
                  <a:pt x="1422" y="538"/>
                  <a:pt x="1423" y="538"/>
                  <a:pt x="1423" y="537"/>
                </a:cubicBezTo>
                <a:cubicBezTo>
                  <a:pt x="1423" y="538"/>
                  <a:pt x="1423" y="538"/>
                  <a:pt x="1423" y="538"/>
                </a:cubicBezTo>
                <a:cubicBezTo>
                  <a:pt x="1423" y="538"/>
                  <a:pt x="1424" y="538"/>
                  <a:pt x="1424" y="538"/>
                </a:cubicBezTo>
                <a:cubicBezTo>
                  <a:pt x="1424" y="538"/>
                  <a:pt x="1424" y="538"/>
                  <a:pt x="1424" y="538"/>
                </a:cubicBezTo>
                <a:cubicBezTo>
                  <a:pt x="1425" y="538"/>
                  <a:pt x="1425" y="538"/>
                  <a:pt x="1425" y="538"/>
                </a:cubicBezTo>
                <a:cubicBezTo>
                  <a:pt x="1425" y="538"/>
                  <a:pt x="1425" y="537"/>
                  <a:pt x="1425" y="537"/>
                </a:cubicBezTo>
                <a:cubicBezTo>
                  <a:pt x="1424" y="537"/>
                  <a:pt x="1424" y="536"/>
                  <a:pt x="1424" y="536"/>
                </a:cubicBezTo>
                <a:cubicBezTo>
                  <a:pt x="1423" y="536"/>
                  <a:pt x="1423" y="535"/>
                  <a:pt x="1422" y="535"/>
                </a:cubicBezTo>
                <a:cubicBezTo>
                  <a:pt x="1422" y="535"/>
                  <a:pt x="1422" y="535"/>
                  <a:pt x="1422" y="535"/>
                </a:cubicBezTo>
                <a:cubicBezTo>
                  <a:pt x="1422" y="535"/>
                  <a:pt x="1422" y="536"/>
                  <a:pt x="1422" y="536"/>
                </a:cubicBezTo>
                <a:cubicBezTo>
                  <a:pt x="1422" y="536"/>
                  <a:pt x="1422" y="536"/>
                  <a:pt x="1422" y="536"/>
                </a:cubicBezTo>
                <a:cubicBezTo>
                  <a:pt x="1421" y="536"/>
                  <a:pt x="1421" y="536"/>
                  <a:pt x="1421" y="536"/>
                </a:cubicBezTo>
                <a:close/>
                <a:moveTo>
                  <a:pt x="1418" y="536"/>
                </a:moveTo>
                <a:cubicBezTo>
                  <a:pt x="1418" y="536"/>
                  <a:pt x="1418" y="536"/>
                  <a:pt x="1419" y="536"/>
                </a:cubicBezTo>
                <a:cubicBezTo>
                  <a:pt x="1418" y="536"/>
                  <a:pt x="1418" y="536"/>
                  <a:pt x="1418" y="535"/>
                </a:cubicBezTo>
                <a:cubicBezTo>
                  <a:pt x="1418" y="536"/>
                  <a:pt x="1418" y="536"/>
                  <a:pt x="1418" y="536"/>
                </a:cubicBezTo>
                <a:close/>
                <a:moveTo>
                  <a:pt x="1420" y="511"/>
                </a:moveTo>
                <a:cubicBezTo>
                  <a:pt x="1420" y="512"/>
                  <a:pt x="1419" y="512"/>
                  <a:pt x="1419" y="512"/>
                </a:cubicBezTo>
                <a:cubicBezTo>
                  <a:pt x="1420" y="512"/>
                  <a:pt x="1420" y="512"/>
                  <a:pt x="1420" y="512"/>
                </a:cubicBezTo>
                <a:cubicBezTo>
                  <a:pt x="1420" y="512"/>
                  <a:pt x="1421" y="512"/>
                  <a:pt x="1421" y="512"/>
                </a:cubicBezTo>
                <a:cubicBezTo>
                  <a:pt x="1421" y="512"/>
                  <a:pt x="1420" y="512"/>
                  <a:pt x="1420" y="511"/>
                </a:cubicBezTo>
                <a:cubicBezTo>
                  <a:pt x="1420" y="511"/>
                  <a:pt x="1420" y="511"/>
                  <a:pt x="1420" y="511"/>
                </a:cubicBezTo>
                <a:close/>
                <a:moveTo>
                  <a:pt x="1413" y="529"/>
                </a:moveTo>
                <a:cubicBezTo>
                  <a:pt x="1413" y="529"/>
                  <a:pt x="1413" y="529"/>
                  <a:pt x="1413" y="529"/>
                </a:cubicBezTo>
                <a:cubicBezTo>
                  <a:pt x="1413" y="529"/>
                  <a:pt x="1413" y="529"/>
                  <a:pt x="1413" y="530"/>
                </a:cubicBezTo>
                <a:cubicBezTo>
                  <a:pt x="1412" y="530"/>
                  <a:pt x="1412" y="530"/>
                  <a:pt x="1412" y="530"/>
                </a:cubicBezTo>
                <a:cubicBezTo>
                  <a:pt x="1412" y="530"/>
                  <a:pt x="1412" y="530"/>
                  <a:pt x="1412" y="530"/>
                </a:cubicBezTo>
                <a:cubicBezTo>
                  <a:pt x="1413" y="531"/>
                  <a:pt x="1413" y="531"/>
                  <a:pt x="1414" y="531"/>
                </a:cubicBezTo>
                <a:cubicBezTo>
                  <a:pt x="1414" y="531"/>
                  <a:pt x="1414" y="531"/>
                  <a:pt x="1414" y="532"/>
                </a:cubicBezTo>
                <a:cubicBezTo>
                  <a:pt x="1414" y="532"/>
                  <a:pt x="1414" y="532"/>
                  <a:pt x="1414" y="532"/>
                </a:cubicBezTo>
                <a:cubicBezTo>
                  <a:pt x="1414" y="532"/>
                  <a:pt x="1414" y="533"/>
                  <a:pt x="1414" y="533"/>
                </a:cubicBezTo>
                <a:cubicBezTo>
                  <a:pt x="1414" y="533"/>
                  <a:pt x="1414" y="533"/>
                  <a:pt x="1414" y="534"/>
                </a:cubicBezTo>
                <a:cubicBezTo>
                  <a:pt x="1415" y="534"/>
                  <a:pt x="1415" y="534"/>
                  <a:pt x="1415" y="535"/>
                </a:cubicBezTo>
                <a:cubicBezTo>
                  <a:pt x="1416" y="535"/>
                  <a:pt x="1416" y="535"/>
                  <a:pt x="1416" y="535"/>
                </a:cubicBezTo>
                <a:cubicBezTo>
                  <a:pt x="1416" y="535"/>
                  <a:pt x="1416" y="535"/>
                  <a:pt x="1416" y="536"/>
                </a:cubicBezTo>
                <a:cubicBezTo>
                  <a:pt x="1416" y="536"/>
                  <a:pt x="1417" y="536"/>
                  <a:pt x="1417" y="536"/>
                </a:cubicBezTo>
                <a:cubicBezTo>
                  <a:pt x="1417" y="536"/>
                  <a:pt x="1417" y="536"/>
                  <a:pt x="1417" y="536"/>
                </a:cubicBezTo>
                <a:cubicBezTo>
                  <a:pt x="1417" y="535"/>
                  <a:pt x="1417" y="535"/>
                  <a:pt x="1417" y="535"/>
                </a:cubicBezTo>
                <a:cubicBezTo>
                  <a:pt x="1417" y="535"/>
                  <a:pt x="1418" y="534"/>
                  <a:pt x="1418" y="534"/>
                </a:cubicBezTo>
                <a:cubicBezTo>
                  <a:pt x="1417" y="534"/>
                  <a:pt x="1417" y="534"/>
                  <a:pt x="1417" y="533"/>
                </a:cubicBezTo>
                <a:cubicBezTo>
                  <a:pt x="1416" y="533"/>
                  <a:pt x="1416" y="533"/>
                  <a:pt x="1416" y="532"/>
                </a:cubicBezTo>
                <a:cubicBezTo>
                  <a:pt x="1416" y="532"/>
                  <a:pt x="1416" y="531"/>
                  <a:pt x="1416" y="530"/>
                </a:cubicBezTo>
                <a:cubicBezTo>
                  <a:pt x="1416" y="530"/>
                  <a:pt x="1416" y="530"/>
                  <a:pt x="1416" y="530"/>
                </a:cubicBezTo>
                <a:cubicBezTo>
                  <a:pt x="1416" y="530"/>
                  <a:pt x="1416" y="530"/>
                  <a:pt x="1416" y="529"/>
                </a:cubicBezTo>
                <a:cubicBezTo>
                  <a:pt x="1416" y="529"/>
                  <a:pt x="1415" y="529"/>
                  <a:pt x="1415" y="529"/>
                </a:cubicBezTo>
                <a:cubicBezTo>
                  <a:pt x="1415" y="529"/>
                  <a:pt x="1415" y="529"/>
                  <a:pt x="1415" y="529"/>
                </a:cubicBezTo>
                <a:cubicBezTo>
                  <a:pt x="1415" y="529"/>
                  <a:pt x="1414" y="529"/>
                  <a:pt x="1414" y="530"/>
                </a:cubicBezTo>
                <a:cubicBezTo>
                  <a:pt x="1415" y="530"/>
                  <a:pt x="1415" y="530"/>
                  <a:pt x="1415" y="530"/>
                </a:cubicBezTo>
                <a:cubicBezTo>
                  <a:pt x="1414" y="530"/>
                  <a:pt x="1414" y="530"/>
                  <a:pt x="1414" y="530"/>
                </a:cubicBezTo>
                <a:cubicBezTo>
                  <a:pt x="1414" y="529"/>
                  <a:pt x="1414" y="529"/>
                  <a:pt x="1413" y="529"/>
                </a:cubicBezTo>
                <a:close/>
                <a:moveTo>
                  <a:pt x="1423" y="512"/>
                </a:moveTo>
                <a:cubicBezTo>
                  <a:pt x="1423" y="512"/>
                  <a:pt x="1423" y="512"/>
                  <a:pt x="1423" y="512"/>
                </a:cubicBezTo>
                <a:cubicBezTo>
                  <a:pt x="1423" y="512"/>
                  <a:pt x="1423" y="512"/>
                  <a:pt x="1422" y="512"/>
                </a:cubicBezTo>
                <a:cubicBezTo>
                  <a:pt x="1423" y="512"/>
                  <a:pt x="1423" y="512"/>
                  <a:pt x="1423" y="512"/>
                </a:cubicBezTo>
                <a:close/>
                <a:moveTo>
                  <a:pt x="1423" y="511"/>
                </a:moveTo>
                <a:cubicBezTo>
                  <a:pt x="1423" y="511"/>
                  <a:pt x="1423" y="511"/>
                  <a:pt x="1423" y="511"/>
                </a:cubicBezTo>
                <a:cubicBezTo>
                  <a:pt x="1423" y="511"/>
                  <a:pt x="1423" y="511"/>
                  <a:pt x="1423" y="511"/>
                </a:cubicBezTo>
                <a:cubicBezTo>
                  <a:pt x="1423" y="511"/>
                  <a:pt x="1423" y="511"/>
                  <a:pt x="1423" y="511"/>
                </a:cubicBezTo>
                <a:close/>
                <a:moveTo>
                  <a:pt x="1465" y="578"/>
                </a:moveTo>
                <a:cubicBezTo>
                  <a:pt x="1465" y="578"/>
                  <a:pt x="1466" y="579"/>
                  <a:pt x="1466" y="579"/>
                </a:cubicBezTo>
                <a:cubicBezTo>
                  <a:pt x="1466" y="579"/>
                  <a:pt x="1466" y="579"/>
                  <a:pt x="1466" y="580"/>
                </a:cubicBezTo>
                <a:cubicBezTo>
                  <a:pt x="1467" y="580"/>
                  <a:pt x="1467" y="580"/>
                  <a:pt x="1467" y="580"/>
                </a:cubicBezTo>
                <a:cubicBezTo>
                  <a:pt x="1467" y="580"/>
                  <a:pt x="1467" y="581"/>
                  <a:pt x="1468" y="581"/>
                </a:cubicBezTo>
                <a:cubicBezTo>
                  <a:pt x="1468" y="581"/>
                  <a:pt x="1468" y="581"/>
                  <a:pt x="1468" y="582"/>
                </a:cubicBezTo>
                <a:cubicBezTo>
                  <a:pt x="1469" y="582"/>
                  <a:pt x="1469" y="582"/>
                  <a:pt x="1470" y="582"/>
                </a:cubicBezTo>
                <a:cubicBezTo>
                  <a:pt x="1470" y="582"/>
                  <a:pt x="1471" y="582"/>
                  <a:pt x="1471" y="582"/>
                </a:cubicBezTo>
                <a:cubicBezTo>
                  <a:pt x="1471" y="582"/>
                  <a:pt x="1471" y="582"/>
                  <a:pt x="1471" y="582"/>
                </a:cubicBezTo>
                <a:cubicBezTo>
                  <a:pt x="1471" y="581"/>
                  <a:pt x="1471" y="581"/>
                  <a:pt x="1471" y="581"/>
                </a:cubicBezTo>
                <a:cubicBezTo>
                  <a:pt x="1470" y="580"/>
                  <a:pt x="1470" y="580"/>
                  <a:pt x="1470" y="580"/>
                </a:cubicBezTo>
                <a:cubicBezTo>
                  <a:pt x="1470" y="579"/>
                  <a:pt x="1470" y="579"/>
                  <a:pt x="1469" y="579"/>
                </a:cubicBezTo>
                <a:cubicBezTo>
                  <a:pt x="1469" y="579"/>
                  <a:pt x="1469" y="579"/>
                  <a:pt x="1469" y="579"/>
                </a:cubicBezTo>
                <a:cubicBezTo>
                  <a:pt x="1469" y="578"/>
                  <a:pt x="1469" y="578"/>
                  <a:pt x="1468" y="578"/>
                </a:cubicBezTo>
                <a:cubicBezTo>
                  <a:pt x="1468" y="578"/>
                  <a:pt x="1468" y="578"/>
                  <a:pt x="1467" y="578"/>
                </a:cubicBezTo>
                <a:cubicBezTo>
                  <a:pt x="1467" y="578"/>
                  <a:pt x="1467" y="578"/>
                  <a:pt x="1467" y="578"/>
                </a:cubicBezTo>
                <a:cubicBezTo>
                  <a:pt x="1466" y="577"/>
                  <a:pt x="1466" y="577"/>
                  <a:pt x="1466" y="576"/>
                </a:cubicBezTo>
                <a:cubicBezTo>
                  <a:pt x="1465" y="576"/>
                  <a:pt x="1464" y="576"/>
                  <a:pt x="1463" y="577"/>
                </a:cubicBezTo>
                <a:cubicBezTo>
                  <a:pt x="1463" y="577"/>
                  <a:pt x="1463" y="577"/>
                  <a:pt x="1463" y="577"/>
                </a:cubicBezTo>
                <a:cubicBezTo>
                  <a:pt x="1463" y="577"/>
                  <a:pt x="1464" y="577"/>
                  <a:pt x="1464" y="578"/>
                </a:cubicBezTo>
                <a:cubicBezTo>
                  <a:pt x="1464" y="578"/>
                  <a:pt x="1464" y="578"/>
                  <a:pt x="1465" y="578"/>
                </a:cubicBezTo>
                <a:close/>
                <a:moveTo>
                  <a:pt x="1490" y="565"/>
                </a:moveTo>
                <a:cubicBezTo>
                  <a:pt x="1490" y="565"/>
                  <a:pt x="1490" y="565"/>
                  <a:pt x="1490" y="566"/>
                </a:cubicBezTo>
                <a:cubicBezTo>
                  <a:pt x="1489" y="566"/>
                  <a:pt x="1489" y="566"/>
                  <a:pt x="1489" y="567"/>
                </a:cubicBezTo>
                <a:cubicBezTo>
                  <a:pt x="1489" y="567"/>
                  <a:pt x="1488" y="567"/>
                  <a:pt x="1488" y="568"/>
                </a:cubicBezTo>
                <a:cubicBezTo>
                  <a:pt x="1488" y="568"/>
                  <a:pt x="1487" y="568"/>
                  <a:pt x="1487" y="568"/>
                </a:cubicBezTo>
                <a:cubicBezTo>
                  <a:pt x="1487" y="568"/>
                  <a:pt x="1487" y="569"/>
                  <a:pt x="1487" y="569"/>
                </a:cubicBezTo>
                <a:cubicBezTo>
                  <a:pt x="1487" y="569"/>
                  <a:pt x="1487" y="569"/>
                  <a:pt x="1487" y="569"/>
                </a:cubicBezTo>
                <a:cubicBezTo>
                  <a:pt x="1487" y="569"/>
                  <a:pt x="1488" y="569"/>
                  <a:pt x="1488" y="569"/>
                </a:cubicBezTo>
                <a:cubicBezTo>
                  <a:pt x="1488" y="569"/>
                  <a:pt x="1488" y="569"/>
                  <a:pt x="1489" y="569"/>
                </a:cubicBezTo>
                <a:cubicBezTo>
                  <a:pt x="1489" y="569"/>
                  <a:pt x="1489" y="569"/>
                  <a:pt x="1489" y="569"/>
                </a:cubicBezTo>
                <a:cubicBezTo>
                  <a:pt x="1489" y="569"/>
                  <a:pt x="1490" y="569"/>
                  <a:pt x="1490" y="569"/>
                </a:cubicBezTo>
                <a:cubicBezTo>
                  <a:pt x="1490" y="568"/>
                  <a:pt x="1490" y="568"/>
                  <a:pt x="1490" y="568"/>
                </a:cubicBezTo>
                <a:cubicBezTo>
                  <a:pt x="1489" y="568"/>
                  <a:pt x="1489" y="568"/>
                  <a:pt x="1489" y="568"/>
                </a:cubicBezTo>
                <a:cubicBezTo>
                  <a:pt x="1489" y="568"/>
                  <a:pt x="1489" y="567"/>
                  <a:pt x="1489" y="567"/>
                </a:cubicBezTo>
                <a:cubicBezTo>
                  <a:pt x="1489" y="567"/>
                  <a:pt x="1489" y="567"/>
                  <a:pt x="1489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1" y="567"/>
                  <a:pt x="1491" y="567"/>
                </a:cubicBezTo>
                <a:cubicBezTo>
                  <a:pt x="1491" y="567"/>
                  <a:pt x="1490" y="566"/>
                  <a:pt x="1490" y="566"/>
                </a:cubicBezTo>
                <a:cubicBezTo>
                  <a:pt x="1491" y="566"/>
                  <a:pt x="1491" y="566"/>
                  <a:pt x="1491" y="566"/>
                </a:cubicBezTo>
                <a:cubicBezTo>
                  <a:pt x="1490" y="566"/>
                  <a:pt x="1490" y="565"/>
                  <a:pt x="1490" y="565"/>
                </a:cubicBezTo>
                <a:close/>
                <a:moveTo>
                  <a:pt x="1503" y="585"/>
                </a:moveTo>
                <a:cubicBezTo>
                  <a:pt x="1503" y="585"/>
                  <a:pt x="1503" y="585"/>
                  <a:pt x="1503" y="586"/>
                </a:cubicBezTo>
                <a:cubicBezTo>
                  <a:pt x="1503" y="586"/>
                  <a:pt x="1503" y="586"/>
                  <a:pt x="1504" y="586"/>
                </a:cubicBezTo>
                <a:cubicBezTo>
                  <a:pt x="1503" y="585"/>
                  <a:pt x="1503" y="585"/>
                  <a:pt x="1503" y="585"/>
                </a:cubicBezTo>
                <a:cubicBezTo>
                  <a:pt x="1503" y="585"/>
                  <a:pt x="1503" y="585"/>
                  <a:pt x="1503" y="585"/>
                </a:cubicBezTo>
                <a:close/>
                <a:moveTo>
                  <a:pt x="1484" y="579"/>
                </a:moveTo>
                <a:cubicBezTo>
                  <a:pt x="1484" y="579"/>
                  <a:pt x="1485" y="580"/>
                  <a:pt x="1485" y="580"/>
                </a:cubicBezTo>
                <a:cubicBezTo>
                  <a:pt x="1485" y="580"/>
                  <a:pt x="1485" y="580"/>
                  <a:pt x="1485" y="580"/>
                </a:cubicBezTo>
                <a:cubicBezTo>
                  <a:pt x="1485" y="579"/>
                  <a:pt x="1485" y="579"/>
                  <a:pt x="1485" y="579"/>
                </a:cubicBezTo>
                <a:cubicBezTo>
                  <a:pt x="1485" y="579"/>
                  <a:pt x="1485" y="579"/>
                  <a:pt x="1484" y="579"/>
                </a:cubicBezTo>
                <a:close/>
                <a:moveTo>
                  <a:pt x="1481" y="588"/>
                </a:moveTo>
                <a:cubicBezTo>
                  <a:pt x="1481" y="588"/>
                  <a:pt x="1482" y="588"/>
                  <a:pt x="1482" y="588"/>
                </a:cubicBezTo>
                <a:cubicBezTo>
                  <a:pt x="1482" y="588"/>
                  <a:pt x="1482" y="587"/>
                  <a:pt x="1482" y="587"/>
                </a:cubicBezTo>
                <a:cubicBezTo>
                  <a:pt x="1481" y="587"/>
                  <a:pt x="1481" y="587"/>
                  <a:pt x="1481" y="587"/>
                </a:cubicBezTo>
                <a:cubicBezTo>
                  <a:pt x="1481" y="587"/>
                  <a:pt x="1481" y="587"/>
                  <a:pt x="1481" y="587"/>
                </a:cubicBezTo>
                <a:cubicBezTo>
                  <a:pt x="1480" y="587"/>
                  <a:pt x="1480" y="587"/>
                  <a:pt x="1479" y="588"/>
                </a:cubicBezTo>
                <a:cubicBezTo>
                  <a:pt x="1479" y="588"/>
                  <a:pt x="1479" y="588"/>
                  <a:pt x="1478" y="588"/>
                </a:cubicBezTo>
                <a:cubicBezTo>
                  <a:pt x="1479" y="588"/>
                  <a:pt x="1479" y="588"/>
                  <a:pt x="1479" y="588"/>
                </a:cubicBezTo>
                <a:cubicBezTo>
                  <a:pt x="1480" y="588"/>
                  <a:pt x="1480" y="588"/>
                  <a:pt x="1481" y="588"/>
                </a:cubicBezTo>
                <a:close/>
                <a:moveTo>
                  <a:pt x="1482" y="586"/>
                </a:moveTo>
                <a:cubicBezTo>
                  <a:pt x="1482" y="586"/>
                  <a:pt x="1482" y="586"/>
                  <a:pt x="1482" y="586"/>
                </a:cubicBezTo>
                <a:cubicBezTo>
                  <a:pt x="1482" y="586"/>
                  <a:pt x="1482" y="586"/>
                  <a:pt x="1481" y="586"/>
                </a:cubicBezTo>
                <a:cubicBezTo>
                  <a:pt x="1481" y="587"/>
                  <a:pt x="1482" y="587"/>
                  <a:pt x="1482" y="587"/>
                </a:cubicBezTo>
                <a:cubicBezTo>
                  <a:pt x="1482" y="587"/>
                  <a:pt x="1482" y="586"/>
                  <a:pt x="1482" y="586"/>
                </a:cubicBezTo>
                <a:close/>
                <a:moveTo>
                  <a:pt x="1483" y="580"/>
                </a:moveTo>
                <a:cubicBezTo>
                  <a:pt x="1483" y="580"/>
                  <a:pt x="1483" y="580"/>
                  <a:pt x="1483" y="580"/>
                </a:cubicBezTo>
                <a:cubicBezTo>
                  <a:pt x="1484" y="580"/>
                  <a:pt x="1484" y="580"/>
                  <a:pt x="1484" y="580"/>
                </a:cubicBezTo>
                <a:cubicBezTo>
                  <a:pt x="1484" y="580"/>
                  <a:pt x="1484" y="580"/>
                  <a:pt x="1483" y="580"/>
                </a:cubicBezTo>
                <a:cubicBezTo>
                  <a:pt x="1483" y="580"/>
                  <a:pt x="1483" y="580"/>
                  <a:pt x="1483" y="580"/>
                </a:cubicBezTo>
                <a:close/>
                <a:moveTo>
                  <a:pt x="1505" y="583"/>
                </a:moveTo>
                <a:cubicBezTo>
                  <a:pt x="1505" y="583"/>
                  <a:pt x="1505" y="583"/>
                  <a:pt x="1504" y="583"/>
                </a:cubicBezTo>
                <a:cubicBezTo>
                  <a:pt x="1504" y="583"/>
                  <a:pt x="1504" y="583"/>
                  <a:pt x="1504" y="584"/>
                </a:cubicBezTo>
                <a:cubicBezTo>
                  <a:pt x="1505" y="583"/>
                  <a:pt x="1505" y="583"/>
                  <a:pt x="1505" y="583"/>
                </a:cubicBezTo>
                <a:cubicBezTo>
                  <a:pt x="1505" y="583"/>
                  <a:pt x="1505" y="583"/>
                  <a:pt x="1505" y="583"/>
                </a:cubicBezTo>
                <a:close/>
                <a:moveTo>
                  <a:pt x="1475" y="529"/>
                </a:moveTo>
                <a:cubicBezTo>
                  <a:pt x="1475" y="529"/>
                  <a:pt x="1476" y="529"/>
                  <a:pt x="1476" y="529"/>
                </a:cubicBezTo>
                <a:cubicBezTo>
                  <a:pt x="1476" y="529"/>
                  <a:pt x="1476" y="528"/>
                  <a:pt x="1476" y="528"/>
                </a:cubicBezTo>
                <a:cubicBezTo>
                  <a:pt x="1476" y="528"/>
                  <a:pt x="1476" y="528"/>
                  <a:pt x="1476" y="528"/>
                </a:cubicBezTo>
                <a:cubicBezTo>
                  <a:pt x="1475" y="528"/>
                  <a:pt x="1475" y="528"/>
                  <a:pt x="1475" y="529"/>
                </a:cubicBezTo>
                <a:close/>
                <a:moveTo>
                  <a:pt x="1515" y="560"/>
                </a:moveTo>
                <a:cubicBezTo>
                  <a:pt x="1515" y="560"/>
                  <a:pt x="1515" y="560"/>
                  <a:pt x="1515" y="559"/>
                </a:cubicBezTo>
                <a:cubicBezTo>
                  <a:pt x="1515" y="559"/>
                  <a:pt x="1515" y="559"/>
                  <a:pt x="1515" y="559"/>
                </a:cubicBezTo>
                <a:cubicBezTo>
                  <a:pt x="1515" y="559"/>
                  <a:pt x="1514" y="559"/>
                  <a:pt x="1514" y="560"/>
                </a:cubicBezTo>
                <a:cubicBezTo>
                  <a:pt x="1514" y="560"/>
                  <a:pt x="1515" y="560"/>
                  <a:pt x="1515" y="560"/>
                </a:cubicBezTo>
                <a:close/>
                <a:moveTo>
                  <a:pt x="1516" y="564"/>
                </a:moveTo>
                <a:cubicBezTo>
                  <a:pt x="1516" y="564"/>
                  <a:pt x="1516" y="564"/>
                  <a:pt x="1517" y="564"/>
                </a:cubicBezTo>
                <a:cubicBezTo>
                  <a:pt x="1517" y="564"/>
                  <a:pt x="1517" y="564"/>
                  <a:pt x="1517" y="564"/>
                </a:cubicBezTo>
                <a:cubicBezTo>
                  <a:pt x="1517" y="564"/>
                  <a:pt x="1518" y="564"/>
                  <a:pt x="1518" y="564"/>
                </a:cubicBezTo>
                <a:cubicBezTo>
                  <a:pt x="1517" y="564"/>
                  <a:pt x="1517" y="563"/>
                  <a:pt x="1517" y="563"/>
                </a:cubicBezTo>
                <a:cubicBezTo>
                  <a:pt x="1517" y="563"/>
                  <a:pt x="1516" y="563"/>
                  <a:pt x="1516" y="562"/>
                </a:cubicBezTo>
                <a:cubicBezTo>
                  <a:pt x="1515" y="563"/>
                  <a:pt x="1515" y="563"/>
                  <a:pt x="1514" y="563"/>
                </a:cubicBezTo>
                <a:cubicBezTo>
                  <a:pt x="1514" y="563"/>
                  <a:pt x="1515" y="563"/>
                  <a:pt x="1515" y="563"/>
                </a:cubicBezTo>
                <a:cubicBezTo>
                  <a:pt x="1515" y="563"/>
                  <a:pt x="1515" y="564"/>
                  <a:pt x="1515" y="564"/>
                </a:cubicBezTo>
                <a:cubicBezTo>
                  <a:pt x="1516" y="564"/>
                  <a:pt x="1516" y="564"/>
                  <a:pt x="1516" y="564"/>
                </a:cubicBezTo>
                <a:close/>
                <a:moveTo>
                  <a:pt x="1514" y="569"/>
                </a:moveTo>
                <a:cubicBezTo>
                  <a:pt x="1514" y="569"/>
                  <a:pt x="1514" y="569"/>
                  <a:pt x="1514" y="569"/>
                </a:cubicBezTo>
                <a:cubicBezTo>
                  <a:pt x="1514" y="569"/>
                  <a:pt x="1513" y="569"/>
                  <a:pt x="1513" y="569"/>
                </a:cubicBezTo>
                <a:cubicBezTo>
                  <a:pt x="1513" y="569"/>
                  <a:pt x="1514" y="569"/>
                  <a:pt x="1514" y="569"/>
                </a:cubicBezTo>
                <a:close/>
                <a:moveTo>
                  <a:pt x="1514" y="568"/>
                </a:moveTo>
                <a:cubicBezTo>
                  <a:pt x="1515" y="568"/>
                  <a:pt x="1515" y="569"/>
                  <a:pt x="1515" y="569"/>
                </a:cubicBezTo>
                <a:cubicBezTo>
                  <a:pt x="1515" y="569"/>
                  <a:pt x="1515" y="568"/>
                  <a:pt x="1515" y="568"/>
                </a:cubicBezTo>
                <a:cubicBezTo>
                  <a:pt x="1515" y="568"/>
                  <a:pt x="1515" y="568"/>
                  <a:pt x="1514" y="568"/>
                </a:cubicBezTo>
                <a:cubicBezTo>
                  <a:pt x="1514" y="568"/>
                  <a:pt x="1514" y="568"/>
                  <a:pt x="1514" y="568"/>
                </a:cubicBezTo>
                <a:close/>
                <a:moveTo>
                  <a:pt x="1505" y="586"/>
                </a:moveTo>
                <a:cubicBezTo>
                  <a:pt x="1505" y="586"/>
                  <a:pt x="1505" y="586"/>
                  <a:pt x="1504" y="586"/>
                </a:cubicBezTo>
                <a:cubicBezTo>
                  <a:pt x="1505" y="586"/>
                  <a:pt x="1505" y="586"/>
                  <a:pt x="1505" y="587"/>
                </a:cubicBezTo>
                <a:cubicBezTo>
                  <a:pt x="1505" y="587"/>
                  <a:pt x="1505" y="586"/>
                  <a:pt x="1505" y="586"/>
                </a:cubicBezTo>
                <a:close/>
                <a:moveTo>
                  <a:pt x="1448" y="523"/>
                </a:moveTo>
                <a:cubicBezTo>
                  <a:pt x="1448" y="522"/>
                  <a:pt x="1448" y="522"/>
                  <a:pt x="1448" y="522"/>
                </a:cubicBezTo>
                <a:cubicBezTo>
                  <a:pt x="1448" y="522"/>
                  <a:pt x="1448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3"/>
                  <a:pt x="1447" y="523"/>
                </a:cubicBezTo>
                <a:cubicBezTo>
                  <a:pt x="1448" y="523"/>
                  <a:pt x="1448" y="523"/>
                  <a:pt x="1448" y="523"/>
                </a:cubicBezTo>
                <a:close/>
                <a:moveTo>
                  <a:pt x="1478" y="514"/>
                </a:moveTo>
                <a:cubicBezTo>
                  <a:pt x="1478" y="514"/>
                  <a:pt x="1479" y="514"/>
                  <a:pt x="1479" y="514"/>
                </a:cubicBezTo>
                <a:cubicBezTo>
                  <a:pt x="1479" y="514"/>
                  <a:pt x="1479" y="513"/>
                  <a:pt x="1479" y="513"/>
                </a:cubicBezTo>
                <a:cubicBezTo>
                  <a:pt x="1479" y="513"/>
                  <a:pt x="1479" y="513"/>
                  <a:pt x="1479" y="513"/>
                </a:cubicBezTo>
                <a:cubicBezTo>
                  <a:pt x="1479" y="513"/>
                  <a:pt x="1478" y="513"/>
                  <a:pt x="1478" y="513"/>
                </a:cubicBezTo>
                <a:cubicBezTo>
                  <a:pt x="1478" y="513"/>
                  <a:pt x="1478" y="514"/>
                  <a:pt x="1478" y="514"/>
                </a:cubicBezTo>
                <a:close/>
                <a:moveTo>
                  <a:pt x="1478" y="513"/>
                </a:moveTo>
                <a:cubicBezTo>
                  <a:pt x="1477" y="513"/>
                  <a:pt x="1477" y="513"/>
                  <a:pt x="1476" y="513"/>
                </a:cubicBezTo>
                <a:cubicBezTo>
                  <a:pt x="1476" y="513"/>
                  <a:pt x="1477" y="513"/>
                  <a:pt x="1477" y="513"/>
                </a:cubicBezTo>
                <a:cubicBezTo>
                  <a:pt x="1477" y="513"/>
                  <a:pt x="1477" y="513"/>
                  <a:pt x="1478" y="513"/>
                </a:cubicBezTo>
                <a:cubicBezTo>
                  <a:pt x="1478" y="513"/>
                  <a:pt x="1478" y="513"/>
                  <a:pt x="1478" y="513"/>
                </a:cubicBezTo>
                <a:close/>
                <a:moveTo>
                  <a:pt x="1446" y="522"/>
                </a:moveTo>
                <a:cubicBezTo>
                  <a:pt x="1446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6" y="522"/>
                </a:cubicBezTo>
                <a:cubicBezTo>
                  <a:pt x="1446" y="522"/>
                  <a:pt x="1446" y="522"/>
                  <a:pt x="1446" y="522"/>
                </a:cubicBezTo>
                <a:close/>
                <a:moveTo>
                  <a:pt x="1446" y="522"/>
                </a:moveTo>
                <a:cubicBezTo>
                  <a:pt x="1446" y="523"/>
                  <a:pt x="1446" y="523"/>
                  <a:pt x="1447" y="523"/>
                </a:cubicBezTo>
                <a:cubicBezTo>
                  <a:pt x="1447" y="523"/>
                  <a:pt x="1447" y="523"/>
                  <a:pt x="1447" y="523"/>
                </a:cubicBezTo>
                <a:cubicBezTo>
                  <a:pt x="1447" y="523"/>
                  <a:pt x="1447" y="522"/>
                  <a:pt x="1447" y="522"/>
                </a:cubicBezTo>
                <a:cubicBezTo>
                  <a:pt x="1447" y="522"/>
                  <a:pt x="1447" y="522"/>
                  <a:pt x="1446" y="522"/>
                </a:cubicBezTo>
                <a:close/>
                <a:moveTo>
                  <a:pt x="1396" y="495"/>
                </a:moveTo>
                <a:cubicBezTo>
                  <a:pt x="1396" y="495"/>
                  <a:pt x="1396" y="495"/>
                  <a:pt x="1396" y="494"/>
                </a:cubicBezTo>
                <a:cubicBezTo>
                  <a:pt x="1396" y="494"/>
                  <a:pt x="1396" y="494"/>
                  <a:pt x="1396" y="494"/>
                </a:cubicBezTo>
                <a:cubicBezTo>
                  <a:pt x="1396" y="494"/>
                  <a:pt x="1396" y="495"/>
                  <a:pt x="1396" y="495"/>
                </a:cubicBezTo>
                <a:cubicBezTo>
                  <a:pt x="1396" y="495"/>
                  <a:pt x="1396" y="495"/>
                  <a:pt x="1396" y="496"/>
                </a:cubicBezTo>
                <a:cubicBezTo>
                  <a:pt x="1396" y="496"/>
                  <a:pt x="1396" y="496"/>
                  <a:pt x="1396" y="496"/>
                </a:cubicBezTo>
                <a:cubicBezTo>
                  <a:pt x="1396" y="495"/>
                  <a:pt x="1396" y="495"/>
                  <a:pt x="1396" y="495"/>
                </a:cubicBezTo>
                <a:close/>
                <a:moveTo>
                  <a:pt x="1446" y="522"/>
                </a:moveTo>
                <a:cubicBezTo>
                  <a:pt x="1446" y="523"/>
                  <a:pt x="1446" y="523"/>
                  <a:pt x="1445" y="523"/>
                </a:cubicBezTo>
                <a:cubicBezTo>
                  <a:pt x="1446" y="523"/>
                  <a:pt x="1446" y="523"/>
                  <a:pt x="1446" y="523"/>
                </a:cubicBezTo>
                <a:cubicBezTo>
                  <a:pt x="1446" y="523"/>
                  <a:pt x="1446" y="523"/>
                  <a:pt x="1446" y="522"/>
                </a:cubicBezTo>
                <a:close/>
                <a:moveTo>
                  <a:pt x="1419" y="481"/>
                </a:moveTo>
                <a:cubicBezTo>
                  <a:pt x="1419" y="481"/>
                  <a:pt x="1419" y="481"/>
                  <a:pt x="1418" y="481"/>
                </a:cubicBezTo>
                <a:cubicBezTo>
                  <a:pt x="1419" y="482"/>
                  <a:pt x="1419" y="482"/>
                  <a:pt x="1419" y="482"/>
                </a:cubicBezTo>
                <a:cubicBezTo>
                  <a:pt x="1419" y="482"/>
                  <a:pt x="1419" y="482"/>
                  <a:pt x="1418" y="482"/>
                </a:cubicBezTo>
                <a:cubicBezTo>
                  <a:pt x="1419" y="483"/>
                  <a:pt x="1419" y="483"/>
                  <a:pt x="1419" y="483"/>
                </a:cubicBezTo>
                <a:cubicBezTo>
                  <a:pt x="1419" y="483"/>
                  <a:pt x="1419" y="483"/>
                  <a:pt x="1419" y="483"/>
                </a:cubicBezTo>
                <a:cubicBezTo>
                  <a:pt x="1419" y="483"/>
                  <a:pt x="1420" y="482"/>
                  <a:pt x="1420" y="482"/>
                </a:cubicBezTo>
                <a:cubicBezTo>
                  <a:pt x="1420" y="482"/>
                  <a:pt x="1420" y="482"/>
                  <a:pt x="1420" y="482"/>
                </a:cubicBezTo>
                <a:cubicBezTo>
                  <a:pt x="1420" y="482"/>
                  <a:pt x="1419" y="482"/>
                  <a:pt x="1419" y="481"/>
                </a:cubicBezTo>
                <a:close/>
                <a:moveTo>
                  <a:pt x="1400" y="479"/>
                </a:moveTo>
                <a:cubicBezTo>
                  <a:pt x="1400" y="479"/>
                  <a:pt x="1400" y="479"/>
                  <a:pt x="1399" y="479"/>
                </a:cubicBezTo>
                <a:cubicBezTo>
                  <a:pt x="1399" y="479"/>
                  <a:pt x="1399" y="479"/>
                  <a:pt x="1399" y="479"/>
                </a:cubicBezTo>
                <a:cubicBezTo>
                  <a:pt x="1399" y="479"/>
                  <a:pt x="1399" y="479"/>
                  <a:pt x="1399" y="480"/>
                </a:cubicBezTo>
                <a:cubicBezTo>
                  <a:pt x="1399" y="480"/>
                  <a:pt x="1399" y="480"/>
                  <a:pt x="1399" y="480"/>
                </a:cubicBezTo>
                <a:cubicBezTo>
                  <a:pt x="1399" y="480"/>
                  <a:pt x="1399" y="480"/>
                  <a:pt x="1400" y="479"/>
                </a:cubicBezTo>
                <a:close/>
                <a:moveTo>
                  <a:pt x="1399" y="478"/>
                </a:moveTo>
                <a:cubicBezTo>
                  <a:pt x="1399" y="478"/>
                  <a:pt x="1399" y="478"/>
                  <a:pt x="1399" y="478"/>
                </a:cubicBezTo>
                <a:cubicBezTo>
                  <a:pt x="1399" y="478"/>
                  <a:pt x="1399" y="478"/>
                  <a:pt x="1399" y="478"/>
                </a:cubicBezTo>
                <a:cubicBezTo>
                  <a:pt x="1399" y="478"/>
                  <a:pt x="1399" y="478"/>
                  <a:pt x="1399" y="478"/>
                </a:cubicBezTo>
                <a:close/>
                <a:moveTo>
                  <a:pt x="1395" y="490"/>
                </a:moveTo>
                <a:cubicBezTo>
                  <a:pt x="1395" y="490"/>
                  <a:pt x="1395" y="489"/>
                  <a:pt x="1395" y="489"/>
                </a:cubicBezTo>
                <a:cubicBezTo>
                  <a:pt x="1395" y="489"/>
                  <a:pt x="1394" y="489"/>
                  <a:pt x="1394" y="489"/>
                </a:cubicBezTo>
                <a:cubicBezTo>
                  <a:pt x="1394" y="490"/>
                  <a:pt x="1394" y="490"/>
                  <a:pt x="1395" y="490"/>
                </a:cubicBezTo>
                <a:cubicBezTo>
                  <a:pt x="1395" y="490"/>
                  <a:pt x="1395" y="490"/>
                  <a:pt x="1395" y="490"/>
                </a:cubicBezTo>
                <a:cubicBezTo>
                  <a:pt x="1395" y="490"/>
                  <a:pt x="1395" y="490"/>
                  <a:pt x="1395" y="490"/>
                </a:cubicBezTo>
                <a:close/>
                <a:moveTo>
                  <a:pt x="1393" y="485"/>
                </a:moveTo>
                <a:cubicBezTo>
                  <a:pt x="1393" y="485"/>
                  <a:pt x="1392" y="485"/>
                  <a:pt x="1392" y="485"/>
                </a:cubicBezTo>
                <a:cubicBezTo>
                  <a:pt x="1392" y="485"/>
                  <a:pt x="1392" y="486"/>
                  <a:pt x="1392" y="486"/>
                </a:cubicBezTo>
                <a:cubicBezTo>
                  <a:pt x="1392" y="486"/>
                  <a:pt x="1393" y="486"/>
                  <a:pt x="1393" y="486"/>
                </a:cubicBezTo>
                <a:cubicBezTo>
                  <a:pt x="1393" y="485"/>
                  <a:pt x="1393" y="485"/>
                  <a:pt x="1393" y="485"/>
                </a:cubicBezTo>
                <a:close/>
                <a:moveTo>
                  <a:pt x="1412" y="472"/>
                </a:moveTo>
                <a:cubicBezTo>
                  <a:pt x="1412" y="472"/>
                  <a:pt x="1412" y="472"/>
                  <a:pt x="1412" y="473"/>
                </a:cubicBezTo>
                <a:cubicBezTo>
                  <a:pt x="1412" y="473"/>
                  <a:pt x="1412" y="473"/>
                  <a:pt x="1412" y="473"/>
                </a:cubicBezTo>
                <a:cubicBezTo>
                  <a:pt x="1412" y="473"/>
                  <a:pt x="1412" y="473"/>
                  <a:pt x="1413" y="473"/>
                </a:cubicBezTo>
                <a:cubicBezTo>
                  <a:pt x="1412" y="473"/>
                  <a:pt x="1412" y="472"/>
                  <a:pt x="1412" y="472"/>
                </a:cubicBezTo>
                <a:close/>
                <a:moveTo>
                  <a:pt x="1390" y="483"/>
                </a:moveTo>
                <a:cubicBezTo>
                  <a:pt x="1390" y="483"/>
                  <a:pt x="1390" y="483"/>
                  <a:pt x="1390" y="483"/>
                </a:cubicBezTo>
                <a:cubicBezTo>
                  <a:pt x="1390" y="483"/>
                  <a:pt x="1390" y="482"/>
                  <a:pt x="1390" y="482"/>
                </a:cubicBezTo>
                <a:cubicBezTo>
                  <a:pt x="1389" y="482"/>
                  <a:pt x="1389" y="483"/>
                  <a:pt x="1389" y="483"/>
                </a:cubicBezTo>
                <a:cubicBezTo>
                  <a:pt x="1389" y="483"/>
                  <a:pt x="1389" y="483"/>
                  <a:pt x="1389" y="483"/>
                </a:cubicBezTo>
                <a:cubicBezTo>
                  <a:pt x="1389" y="483"/>
                  <a:pt x="1389" y="484"/>
                  <a:pt x="1389" y="484"/>
                </a:cubicBezTo>
                <a:cubicBezTo>
                  <a:pt x="1389" y="484"/>
                  <a:pt x="1390" y="484"/>
                  <a:pt x="1390" y="483"/>
                </a:cubicBezTo>
                <a:close/>
                <a:moveTo>
                  <a:pt x="1809" y="250"/>
                </a:moveTo>
                <a:cubicBezTo>
                  <a:pt x="1809" y="250"/>
                  <a:pt x="1808" y="250"/>
                  <a:pt x="1808" y="250"/>
                </a:cubicBezTo>
                <a:cubicBezTo>
                  <a:pt x="1808" y="250"/>
                  <a:pt x="1809" y="251"/>
                  <a:pt x="1809" y="251"/>
                </a:cubicBezTo>
                <a:cubicBezTo>
                  <a:pt x="1809" y="251"/>
                  <a:pt x="1810" y="251"/>
                  <a:pt x="1810" y="251"/>
                </a:cubicBezTo>
                <a:cubicBezTo>
                  <a:pt x="1810" y="252"/>
                  <a:pt x="1810" y="252"/>
                  <a:pt x="1810" y="253"/>
                </a:cubicBezTo>
                <a:cubicBezTo>
                  <a:pt x="1810" y="253"/>
                  <a:pt x="1810" y="253"/>
                  <a:pt x="1810" y="253"/>
                </a:cubicBezTo>
                <a:cubicBezTo>
                  <a:pt x="1809" y="253"/>
                  <a:pt x="1809" y="253"/>
                  <a:pt x="1808" y="253"/>
                </a:cubicBezTo>
                <a:cubicBezTo>
                  <a:pt x="1808" y="252"/>
                  <a:pt x="1808" y="252"/>
                  <a:pt x="1807" y="251"/>
                </a:cubicBezTo>
                <a:cubicBezTo>
                  <a:pt x="1807" y="251"/>
                  <a:pt x="1807" y="251"/>
                  <a:pt x="1807" y="251"/>
                </a:cubicBezTo>
                <a:cubicBezTo>
                  <a:pt x="1807" y="251"/>
                  <a:pt x="1807" y="252"/>
                  <a:pt x="1807" y="252"/>
                </a:cubicBezTo>
                <a:cubicBezTo>
                  <a:pt x="1807" y="252"/>
                  <a:pt x="1806" y="252"/>
                  <a:pt x="1806" y="252"/>
                </a:cubicBezTo>
                <a:cubicBezTo>
                  <a:pt x="1806" y="252"/>
                  <a:pt x="1806" y="252"/>
                  <a:pt x="1805" y="252"/>
                </a:cubicBezTo>
                <a:cubicBezTo>
                  <a:pt x="1805" y="252"/>
                  <a:pt x="1805" y="252"/>
                  <a:pt x="1805" y="252"/>
                </a:cubicBezTo>
                <a:cubicBezTo>
                  <a:pt x="1805" y="252"/>
                  <a:pt x="1805" y="251"/>
                  <a:pt x="1804" y="251"/>
                </a:cubicBezTo>
                <a:cubicBezTo>
                  <a:pt x="1804" y="251"/>
                  <a:pt x="1804" y="251"/>
                  <a:pt x="1804" y="251"/>
                </a:cubicBezTo>
                <a:cubicBezTo>
                  <a:pt x="1803" y="250"/>
                  <a:pt x="1802" y="250"/>
                  <a:pt x="1801" y="249"/>
                </a:cubicBezTo>
                <a:cubicBezTo>
                  <a:pt x="1801" y="249"/>
                  <a:pt x="1801" y="249"/>
                  <a:pt x="1800" y="249"/>
                </a:cubicBezTo>
                <a:cubicBezTo>
                  <a:pt x="1800" y="249"/>
                  <a:pt x="1799" y="249"/>
                  <a:pt x="1799" y="249"/>
                </a:cubicBezTo>
                <a:cubicBezTo>
                  <a:pt x="1799" y="249"/>
                  <a:pt x="1799" y="249"/>
                  <a:pt x="1800" y="248"/>
                </a:cubicBezTo>
                <a:cubicBezTo>
                  <a:pt x="1800" y="248"/>
                  <a:pt x="1799" y="248"/>
                  <a:pt x="1799" y="248"/>
                </a:cubicBezTo>
                <a:cubicBezTo>
                  <a:pt x="1799" y="248"/>
                  <a:pt x="1799" y="247"/>
                  <a:pt x="1799" y="247"/>
                </a:cubicBezTo>
                <a:cubicBezTo>
                  <a:pt x="1799" y="248"/>
                  <a:pt x="1798" y="248"/>
                  <a:pt x="1798" y="248"/>
                </a:cubicBezTo>
                <a:cubicBezTo>
                  <a:pt x="1798" y="248"/>
                  <a:pt x="1798" y="248"/>
                  <a:pt x="1798" y="248"/>
                </a:cubicBezTo>
                <a:cubicBezTo>
                  <a:pt x="1798" y="248"/>
                  <a:pt x="1798" y="248"/>
                  <a:pt x="1797" y="248"/>
                </a:cubicBezTo>
                <a:cubicBezTo>
                  <a:pt x="1797" y="248"/>
                  <a:pt x="1798" y="249"/>
                  <a:pt x="1798" y="249"/>
                </a:cubicBezTo>
                <a:cubicBezTo>
                  <a:pt x="1797" y="249"/>
                  <a:pt x="1797" y="249"/>
                  <a:pt x="1796" y="249"/>
                </a:cubicBezTo>
                <a:cubicBezTo>
                  <a:pt x="1796" y="249"/>
                  <a:pt x="1796" y="249"/>
                  <a:pt x="1796" y="249"/>
                </a:cubicBezTo>
                <a:cubicBezTo>
                  <a:pt x="1796" y="249"/>
                  <a:pt x="1796" y="249"/>
                  <a:pt x="1796" y="249"/>
                </a:cubicBezTo>
                <a:cubicBezTo>
                  <a:pt x="1796" y="248"/>
                  <a:pt x="1796" y="248"/>
                  <a:pt x="1796" y="248"/>
                </a:cubicBezTo>
                <a:cubicBezTo>
                  <a:pt x="1795" y="248"/>
                  <a:pt x="1794" y="248"/>
                  <a:pt x="1793" y="248"/>
                </a:cubicBezTo>
                <a:cubicBezTo>
                  <a:pt x="1793" y="247"/>
                  <a:pt x="1793" y="247"/>
                  <a:pt x="1793" y="247"/>
                </a:cubicBezTo>
                <a:cubicBezTo>
                  <a:pt x="1793" y="247"/>
                  <a:pt x="1793" y="247"/>
                  <a:pt x="1793" y="247"/>
                </a:cubicBezTo>
                <a:cubicBezTo>
                  <a:pt x="1793" y="246"/>
                  <a:pt x="1793" y="246"/>
                  <a:pt x="1793" y="246"/>
                </a:cubicBezTo>
                <a:cubicBezTo>
                  <a:pt x="1793" y="246"/>
                  <a:pt x="1793" y="245"/>
                  <a:pt x="1793" y="245"/>
                </a:cubicBezTo>
                <a:cubicBezTo>
                  <a:pt x="1792" y="244"/>
                  <a:pt x="1791" y="244"/>
                  <a:pt x="1791" y="243"/>
                </a:cubicBezTo>
                <a:cubicBezTo>
                  <a:pt x="1791" y="243"/>
                  <a:pt x="1791" y="243"/>
                  <a:pt x="1790" y="242"/>
                </a:cubicBezTo>
                <a:cubicBezTo>
                  <a:pt x="1791" y="242"/>
                  <a:pt x="1791" y="242"/>
                  <a:pt x="1791" y="242"/>
                </a:cubicBezTo>
                <a:cubicBezTo>
                  <a:pt x="1790" y="242"/>
                  <a:pt x="1790" y="242"/>
                  <a:pt x="1789" y="241"/>
                </a:cubicBezTo>
                <a:cubicBezTo>
                  <a:pt x="1789" y="241"/>
                  <a:pt x="1789" y="241"/>
                  <a:pt x="1789" y="242"/>
                </a:cubicBezTo>
                <a:cubicBezTo>
                  <a:pt x="1788" y="241"/>
                  <a:pt x="1787" y="241"/>
                  <a:pt x="1786" y="241"/>
                </a:cubicBezTo>
                <a:cubicBezTo>
                  <a:pt x="1786" y="241"/>
                  <a:pt x="1786" y="241"/>
                  <a:pt x="1785" y="241"/>
                </a:cubicBezTo>
                <a:cubicBezTo>
                  <a:pt x="1785" y="241"/>
                  <a:pt x="1785" y="241"/>
                  <a:pt x="1785" y="241"/>
                </a:cubicBezTo>
                <a:cubicBezTo>
                  <a:pt x="1785" y="241"/>
                  <a:pt x="1785" y="240"/>
                  <a:pt x="1785" y="240"/>
                </a:cubicBezTo>
                <a:cubicBezTo>
                  <a:pt x="1785" y="240"/>
                  <a:pt x="1785" y="239"/>
                  <a:pt x="1785" y="239"/>
                </a:cubicBezTo>
                <a:cubicBezTo>
                  <a:pt x="1785" y="239"/>
                  <a:pt x="1785" y="240"/>
                  <a:pt x="1785" y="240"/>
                </a:cubicBezTo>
                <a:cubicBezTo>
                  <a:pt x="1784" y="240"/>
                  <a:pt x="1784" y="241"/>
                  <a:pt x="1784" y="241"/>
                </a:cubicBezTo>
                <a:cubicBezTo>
                  <a:pt x="1784" y="242"/>
                  <a:pt x="1784" y="242"/>
                  <a:pt x="1784" y="242"/>
                </a:cubicBezTo>
                <a:cubicBezTo>
                  <a:pt x="1784" y="242"/>
                  <a:pt x="1783" y="243"/>
                  <a:pt x="1783" y="243"/>
                </a:cubicBezTo>
                <a:cubicBezTo>
                  <a:pt x="1782" y="243"/>
                  <a:pt x="1781" y="243"/>
                  <a:pt x="1780" y="244"/>
                </a:cubicBezTo>
                <a:cubicBezTo>
                  <a:pt x="1780" y="243"/>
                  <a:pt x="1779" y="243"/>
                  <a:pt x="1779" y="243"/>
                </a:cubicBezTo>
                <a:cubicBezTo>
                  <a:pt x="1779" y="243"/>
                  <a:pt x="1779" y="242"/>
                  <a:pt x="1780" y="242"/>
                </a:cubicBezTo>
                <a:cubicBezTo>
                  <a:pt x="1779" y="242"/>
                  <a:pt x="1779" y="241"/>
                  <a:pt x="1779" y="241"/>
                </a:cubicBezTo>
                <a:cubicBezTo>
                  <a:pt x="1778" y="241"/>
                  <a:pt x="1778" y="241"/>
                  <a:pt x="1777" y="241"/>
                </a:cubicBezTo>
                <a:cubicBezTo>
                  <a:pt x="1777" y="240"/>
                  <a:pt x="1776" y="239"/>
                  <a:pt x="1775" y="238"/>
                </a:cubicBezTo>
                <a:cubicBezTo>
                  <a:pt x="1775" y="238"/>
                  <a:pt x="1775" y="238"/>
                  <a:pt x="1776" y="238"/>
                </a:cubicBezTo>
                <a:cubicBezTo>
                  <a:pt x="1776" y="237"/>
                  <a:pt x="1776" y="237"/>
                  <a:pt x="1776" y="236"/>
                </a:cubicBezTo>
                <a:cubicBezTo>
                  <a:pt x="1776" y="236"/>
                  <a:pt x="1775" y="236"/>
                  <a:pt x="1775" y="236"/>
                </a:cubicBezTo>
                <a:cubicBezTo>
                  <a:pt x="1775" y="235"/>
                  <a:pt x="1775" y="235"/>
                  <a:pt x="1775" y="235"/>
                </a:cubicBezTo>
                <a:cubicBezTo>
                  <a:pt x="1775" y="235"/>
                  <a:pt x="1775" y="234"/>
                  <a:pt x="1774" y="234"/>
                </a:cubicBezTo>
                <a:cubicBezTo>
                  <a:pt x="1774" y="234"/>
                  <a:pt x="1774" y="234"/>
                  <a:pt x="1774" y="234"/>
                </a:cubicBezTo>
                <a:cubicBezTo>
                  <a:pt x="1774" y="235"/>
                  <a:pt x="1774" y="235"/>
                  <a:pt x="1774" y="235"/>
                </a:cubicBezTo>
                <a:cubicBezTo>
                  <a:pt x="1774" y="235"/>
                  <a:pt x="1774" y="235"/>
                  <a:pt x="1773" y="235"/>
                </a:cubicBezTo>
                <a:cubicBezTo>
                  <a:pt x="1774" y="236"/>
                  <a:pt x="1774" y="236"/>
                  <a:pt x="1774" y="236"/>
                </a:cubicBezTo>
                <a:cubicBezTo>
                  <a:pt x="1774" y="236"/>
                  <a:pt x="1774" y="236"/>
                  <a:pt x="1773" y="237"/>
                </a:cubicBezTo>
                <a:cubicBezTo>
                  <a:pt x="1773" y="236"/>
                  <a:pt x="1772" y="236"/>
                  <a:pt x="1772" y="235"/>
                </a:cubicBezTo>
                <a:cubicBezTo>
                  <a:pt x="1772" y="235"/>
                  <a:pt x="1771" y="234"/>
                  <a:pt x="1771" y="234"/>
                </a:cubicBezTo>
                <a:cubicBezTo>
                  <a:pt x="1771" y="234"/>
                  <a:pt x="1771" y="234"/>
                  <a:pt x="1771" y="234"/>
                </a:cubicBezTo>
                <a:cubicBezTo>
                  <a:pt x="1771" y="234"/>
                  <a:pt x="1771" y="235"/>
                  <a:pt x="1771" y="235"/>
                </a:cubicBezTo>
                <a:cubicBezTo>
                  <a:pt x="1771" y="235"/>
                  <a:pt x="1770" y="235"/>
                  <a:pt x="1770" y="235"/>
                </a:cubicBezTo>
                <a:cubicBezTo>
                  <a:pt x="1770" y="235"/>
                  <a:pt x="1770" y="235"/>
                  <a:pt x="1771" y="235"/>
                </a:cubicBezTo>
                <a:cubicBezTo>
                  <a:pt x="1771" y="236"/>
                  <a:pt x="1771" y="236"/>
                  <a:pt x="1772" y="236"/>
                </a:cubicBezTo>
                <a:cubicBezTo>
                  <a:pt x="1772" y="236"/>
                  <a:pt x="1772" y="237"/>
                  <a:pt x="1772" y="237"/>
                </a:cubicBezTo>
                <a:cubicBezTo>
                  <a:pt x="1772" y="237"/>
                  <a:pt x="1772" y="237"/>
                  <a:pt x="1772" y="237"/>
                </a:cubicBezTo>
                <a:cubicBezTo>
                  <a:pt x="1771" y="237"/>
                  <a:pt x="1770" y="237"/>
                  <a:pt x="1770" y="237"/>
                </a:cubicBezTo>
                <a:cubicBezTo>
                  <a:pt x="1770" y="237"/>
                  <a:pt x="1770" y="237"/>
                  <a:pt x="1770" y="237"/>
                </a:cubicBezTo>
                <a:cubicBezTo>
                  <a:pt x="1770" y="237"/>
                  <a:pt x="1770" y="237"/>
                  <a:pt x="1770" y="238"/>
                </a:cubicBezTo>
                <a:cubicBezTo>
                  <a:pt x="1771" y="239"/>
                  <a:pt x="1772" y="240"/>
                  <a:pt x="1772" y="241"/>
                </a:cubicBezTo>
                <a:cubicBezTo>
                  <a:pt x="1773" y="242"/>
                  <a:pt x="1774" y="242"/>
                  <a:pt x="1774" y="243"/>
                </a:cubicBezTo>
                <a:cubicBezTo>
                  <a:pt x="1775" y="243"/>
                  <a:pt x="1775" y="243"/>
                  <a:pt x="1776" y="243"/>
                </a:cubicBezTo>
                <a:cubicBezTo>
                  <a:pt x="1776" y="243"/>
                  <a:pt x="1777" y="244"/>
                  <a:pt x="1777" y="244"/>
                </a:cubicBezTo>
                <a:cubicBezTo>
                  <a:pt x="1777" y="244"/>
                  <a:pt x="1777" y="245"/>
                  <a:pt x="1777" y="245"/>
                </a:cubicBezTo>
                <a:cubicBezTo>
                  <a:pt x="1777" y="245"/>
                  <a:pt x="1777" y="245"/>
                  <a:pt x="1777" y="245"/>
                </a:cubicBezTo>
                <a:cubicBezTo>
                  <a:pt x="1777" y="245"/>
                  <a:pt x="1776" y="244"/>
                  <a:pt x="1776" y="244"/>
                </a:cubicBezTo>
                <a:cubicBezTo>
                  <a:pt x="1776" y="244"/>
                  <a:pt x="1776" y="244"/>
                  <a:pt x="1776" y="243"/>
                </a:cubicBezTo>
                <a:cubicBezTo>
                  <a:pt x="1776" y="244"/>
                  <a:pt x="1776" y="244"/>
                  <a:pt x="1776" y="245"/>
                </a:cubicBezTo>
                <a:cubicBezTo>
                  <a:pt x="1776" y="245"/>
                  <a:pt x="1777" y="246"/>
                  <a:pt x="1777" y="246"/>
                </a:cubicBezTo>
                <a:cubicBezTo>
                  <a:pt x="1777" y="247"/>
                  <a:pt x="1777" y="247"/>
                  <a:pt x="1777" y="247"/>
                </a:cubicBezTo>
                <a:cubicBezTo>
                  <a:pt x="1777" y="248"/>
                  <a:pt x="1778" y="248"/>
                  <a:pt x="1778" y="248"/>
                </a:cubicBezTo>
                <a:cubicBezTo>
                  <a:pt x="1778" y="249"/>
                  <a:pt x="1777" y="249"/>
                  <a:pt x="1777" y="250"/>
                </a:cubicBezTo>
                <a:cubicBezTo>
                  <a:pt x="1776" y="250"/>
                  <a:pt x="1776" y="251"/>
                  <a:pt x="1775" y="252"/>
                </a:cubicBezTo>
                <a:cubicBezTo>
                  <a:pt x="1775" y="252"/>
                  <a:pt x="1775" y="253"/>
                  <a:pt x="1775" y="253"/>
                </a:cubicBezTo>
                <a:cubicBezTo>
                  <a:pt x="1775" y="254"/>
                  <a:pt x="1775" y="254"/>
                  <a:pt x="1775" y="254"/>
                </a:cubicBezTo>
                <a:cubicBezTo>
                  <a:pt x="1775" y="254"/>
                  <a:pt x="1775" y="255"/>
                  <a:pt x="1775" y="255"/>
                </a:cubicBezTo>
                <a:cubicBezTo>
                  <a:pt x="1774" y="255"/>
                  <a:pt x="1773" y="255"/>
                  <a:pt x="1773" y="255"/>
                </a:cubicBezTo>
                <a:cubicBezTo>
                  <a:pt x="1773" y="256"/>
                  <a:pt x="1772" y="256"/>
                  <a:pt x="1772" y="256"/>
                </a:cubicBezTo>
                <a:cubicBezTo>
                  <a:pt x="1772" y="256"/>
                  <a:pt x="1772" y="256"/>
                  <a:pt x="1771" y="256"/>
                </a:cubicBezTo>
                <a:cubicBezTo>
                  <a:pt x="1771" y="256"/>
                  <a:pt x="1772" y="256"/>
                  <a:pt x="1772" y="256"/>
                </a:cubicBezTo>
                <a:cubicBezTo>
                  <a:pt x="1772" y="256"/>
                  <a:pt x="1772" y="255"/>
                  <a:pt x="1772" y="255"/>
                </a:cubicBezTo>
                <a:cubicBezTo>
                  <a:pt x="1771" y="255"/>
                  <a:pt x="1769" y="255"/>
                  <a:pt x="1768" y="255"/>
                </a:cubicBezTo>
                <a:cubicBezTo>
                  <a:pt x="1768" y="255"/>
                  <a:pt x="1768" y="255"/>
                  <a:pt x="1768" y="255"/>
                </a:cubicBezTo>
                <a:cubicBezTo>
                  <a:pt x="1768" y="255"/>
                  <a:pt x="1767" y="255"/>
                  <a:pt x="1767" y="255"/>
                </a:cubicBezTo>
                <a:cubicBezTo>
                  <a:pt x="1766" y="254"/>
                  <a:pt x="1766" y="254"/>
                  <a:pt x="1766" y="254"/>
                </a:cubicBezTo>
                <a:cubicBezTo>
                  <a:pt x="1766" y="254"/>
                  <a:pt x="1766" y="253"/>
                  <a:pt x="1766" y="253"/>
                </a:cubicBezTo>
                <a:cubicBezTo>
                  <a:pt x="1765" y="253"/>
                  <a:pt x="1765" y="253"/>
                  <a:pt x="1764" y="253"/>
                </a:cubicBezTo>
                <a:cubicBezTo>
                  <a:pt x="1764" y="252"/>
                  <a:pt x="1764" y="251"/>
                  <a:pt x="1763" y="251"/>
                </a:cubicBezTo>
                <a:cubicBezTo>
                  <a:pt x="1763" y="250"/>
                  <a:pt x="1763" y="250"/>
                  <a:pt x="1762" y="250"/>
                </a:cubicBezTo>
                <a:cubicBezTo>
                  <a:pt x="1762" y="249"/>
                  <a:pt x="1761" y="249"/>
                  <a:pt x="1761" y="249"/>
                </a:cubicBezTo>
                <a:cubicBezTo>
                  <a:pt x="1761" y="249"/>
                  <a:pt x="1760" y="248"/>
                  <a:pt x="1760" y="248"/>
                </a:cubicBezTo>
                <a:cubicBezTo>
                  <a:pt x="1760" y="248"/>
                  <a:pt x="1759" y="248"/>
                  <a:pt x="1759" y="248"/>
                </a:cubicBezTo>
                <a:cubicBezTo>
                  <a:pt x="1759" y="248"/>
                  <a:pt x="1758" y="248"/>
                  <a:pt x="1758" y="248"/>
                </a:cubicBezTo>
                <a:cubicBezTo>
                  <a:pt x="1757" y="248"/>
                  <a:pt x="1757" y="248"/>
                  <a:pt x="1756" y="248"/>
                </a:cubicBezTo>
                <a:cubicBezTo>
                  <a:pt x="1757" y="248"/>
                  <a:pt x="1757" y="248"/>
                  <a:pt x="1757" y="249"/>
                </a:cubicBezTo>
                <a:cubicBezTo>
                  <a:pt x="1758" y="249"/>
                  <a:pt x="1759" y="249"/>
                  <a:pt x="1759" y="249"/>
                </a:cubicBezTo>
                <a:cubicBezTo>
                  <a:pt x="1759" y="249"/>
                  <a:pt x="1760" y="249"/>
                  <a:pt x="1760" y="249"/>
                </a:cubicBezTo>
                <a:cubicBezTo>
                  <a:pt x="1761" y="250"/>
                  <a:pt x="1762" y="250"/>
                  <a:pt x="1763" y="251"/>
                </a:cubicBezTo>
                <a:cubicBezTo>
                  <a:pt x="1763" y="251"/>
                  <a:pt x="1763" y="252"/>
                  <a:pt x="1763" y="252"/>
                </a:cubicBezTo>
                <a:cubicBezTo>
                  <a:pt x="1762" y="252"/>
                  <a:pt x="1762" y="252"/>
                  <a:pt x="1761" y="252"/>
                </a:cubicBezTo>
                <a:cubicBezTo>
                  <a:pt x="1761" y="252"/>
                  <a:pt x="1761" y="251"/>
                  <a:pt x="1760" y="251"/>
                </a:cubicBezTo>
                <a:cubicBezTo>
                  <a:pt x="1760" y="251"/>
                  <a:pt x="1760" y="251"/>
                  <a:pt x="1759" y="250"/>
                </a:cubicBezTo>
                <a:cubicBezTo>
                  <a:pt x="1759" y="251"/>
                  <a:pt x="1759" y="251"/>
                  <a:pt x="1759" y="251"/>
                </a:cubicBezTo>
                <a:cubicBezTo>
                  <a:pt x="1759" y="251"/>
                  <a:pt x="1758" y="250"/>
                  <a:pt x="1758" y="250"/>
                </a:cubicBezTo>
                <a:cubicBezTo>
                  <a:pt x="1758" y="250"/>
                  <a:pt x="1757" y="250"/>
                  <a:pt x="1757" y="250"/>
                </a:cubicBezTo>
                <a:cubicBezTo>
                  <a:pt x="1757" y="250"/>
                  <a:pt x="1757" y="250"/>
                  <a:pt x="1757" y="250"/>
                </a:cubicBezTo>
                <a:cubicBezTo>
                  <a:pt x="1758" y="250"/>
                  <a:pt x="1758" y="251"/>
                  <a:pt x="1758" y="251"/>
                </a:cubicBezTo>
                <a:cubicBezTo>
                  <a:pt x="1758" y="251"/>
                  <a:pt x="1759" y="252"/>
                  <a:pt x="1759" y="252"/>
                </a:cubicBezTo>
                <a:cubicBezTo>
                  <a:pt x="1759" y="253"/>
                  <a:pt x="1758" y="253"/>
                  <a:pt x="1758" y="253"/>
                </a:cubicBezTo>
                <a:cubicBezTo>
                  <a:pt x="1758" y="254"/>
                  <a:pt x="1758" y="254"/>
                  <a:pt x="1758" y="255"/>
                </a:cubicBezTo>
                <a:cubicBezTo>
                  <a:pt x="1759" y="255"/>
                  <a:pt x="1759" y="255"/>
                  <a:pt x="1759" y="255"/>
                </a:cubicBezTo>
                <a:cubicBezTo>
                  <a:pt x="1759" y="255"/>
                  <a:pt x="1759" y="255"/>
                  <a:pt x="1759" y="255"/>
                </a:cubicBezTo>
                <a:cubicBezTo>
                  <a:pt x="1759" y="254"/>
                  <a:pt x="1759" y="254"/>
                  <a:pt x="1760" y="253"/>
                </a:cubicBezTo>
                <a:cubicBezTo>
                  <a:pt x="1760" y="253"/>
                  <a:pt x="1760" y="253"/>
                  <a:pt x="1760" y="253"/>
                </a:cubicBezTo>
                <a:cubicBezTo>
                  <a:pt x="1761" y="254"/>
                  <a:pt x="1761" y="254"/>
                  <a:pt x="1761" y="254"/>
                </a:cubicBezTo>
                <a:cubicBezTo>
                  <a:pt x="1761" y="254"/>
                  <a:pt x="1761" y="254"/>
                  <a:pt x="1761" y="254"/>
                </a:cubicBezTo>
                <a:cubicBezTo>
                  <a:pt x="1762" y="253"/>
                  <a:pt x="1763" y="253"/>
                  <a:pt x="1764" y="253"/>
                </a:cubicBezTo>
                <a:cubicBezTo>
                  <a:pt x="1764" y="253"/>
                  <a:pt x="1764" y="254"/>
                  <a:pt x="1765" y="254"/>
                </a:cubicBezTo>
                <a:cubicBezTo>
                  <a:pt x="1765" y="254"/>
                  <a:pt x="1765" y="254"/>
                  <a:pt x="1765" y="254"/>
                </a:cubicBezTo>
                <a:cubicBezTo>
                  <a:pt x="1765" y="254"/>
                  <a:pt x="1765" y="255"/>
                  <a:pt x="1765" y="255"/>
                </a:cubicBezTo>
                <a:cubicBezTo>
                  <a:pt x="1765" y="255"/>
                  <a:pt x="1766" y="256"/>
                  <a:pt x="1766" y="257"/>
                </a:cubicBezTo>
                <a:cubicBezTo>
                  <a:pt x="1766" y="257"/>
                  <a:pt x="1767" y="257"/>
                  <a:pt x="1767" y="258"/>
                </a:cubicBezTo>
                <a:cubicBezTo>
                  <a:pt x="1767" y="258"/>
                  <a:pt x="1768" y="258"/>
                  <a:pt x="1768" y="259"/>
                </a:cubicBezTo>
                <a:cubicBezTo>
                  <a:pt x="1769" y="259"/>
                  <a:pt x="1769" y="259"/>
                  <a:pt x="1770" y="259"/>
                </a:cubicBezTo>
                <a:cubicBezTo>
                  <a:pt x="1770" y="259"/>
                  <a:pt x="1770" y="259"/>
                  <a:pt x="1770" y="259"/>
                </a:cubicBezTo>
                <a:cubicBezTo>
                  <a:pt x="1770" y="259"/>
                  <a:pt x="1770" y="259"/>
                  <a:pt x="1770" y="259"/>
                </a:cubicBezTo>
                <a:cubicBezTo>
                  <a:pt x="1771" y="259"/>
                  <a:pt x="1771" y="259"/>
                  <a:pt x="1771" y="259"/>
                </a:cubicBezTo>
                <a:cubicBezTo>
                  <a:pt x="1772" y="260"/>
                  <a:pt x="1772" y="261"/>
                  <a:pt x="1773" y="262"/>
                </a:cubicBezTo>
                <a:cubicBezTo>
                  <a:pt x="1773" y="262"/>
                  <a:pt x="1773" y="262"/>
                  <a:pt x="1773" y="262"/>
                </a:cubicBezTo>
                <a:cubicBezTo>
                  <a:pt x="1773" y="262"/>
                  <a:pt x="1773" y="262"/>
                  <a:pt x="1772" y="262"/>
                </a:cubicBezTo>
                <a:cubicBezTo>
                  <a:pt x="1772" y="262"/>
                  <a:pt x="1772" y="262"/>
                  <a:pt x="1772" y="262"/>
                </a:cubicBezTo>
                <a:cubicBezTo>
                  <a:pt x="1772" y="263"/>
                  <a:pt x="1773" y="264"/>
                  <a:pt x="1773" y="264"/>
                </a:cubicBezTo>
                <a:cubicBezTo>
                  <a:pt x="1774" y="264"/>
                  <a:pt x="1774" y="265"/>
                  <a:pt x="1774" y="265"/>
                </a:cubicBezTo>
                <a:cubicBezTo>
                  <a:pt x="1774" y="265"/>
                  <a:pt x="1774" y="264"/>
                  <a:pt x="1774" y="264"/>
                </a:cubicBezTo>
                <a:cubicBezTo>
                  <a:pt x="1774" y="264"/>
                  <a:pt x="1774" y="264"/>
                  <a:pt x="1775" y="263"/>
                </a:cubicBezTo>
                <a:cubicBezTo>
                  <a:pt x="1775" y="264"/>
                  <a:pt x="1776" y="264"/>
                  <a:pt x="1776" y="265"/>
                </a:cubicBezTo>
                <a:cubicBezTo>
                  <a:pt x="1776" y="266"/>
                  <a:pt x="1777" y="267"/>
                  <a:pt x="1777" y="268"/>
                </a:cubicBezTo>
                <a:cubicBezTo>
                  <a:pt x="1777" y="268"/>
                  <a:pt x="1777" y="267"/>
                  <a:pt x="1777" y="267"/>
                </a:cubicBezTo>
                <a:cubicBezTo>
                  <a:pt x="1776" y="267"/>
                  <a:pt x="1776" y="267"/>
                  <a:pt x="1776" y="267"/>
                </a:cubicBezTo>
                <a:cubicBezTo>
                  <a:pt x="1776" y="267"/>
                  <a:pt x="1776" y="267"/>
                  <a:pt x="1775" y="267"/>
                </a:cubicBezTo>
                <a:cubicBezTo>
                  <a:pt x="1776" y="267"/>
                  <a:pt x="1776" y="268"/>
                  <a:pt x="1776" y="268"/>
                </a:cubicBezTo>
                <a:cubicBezTo>
                  <a:pt x="1775" y="268"/>
                  <a:pt x="1775" y="268"/>
                  <a:pt x="1775" y="268"/>
                </a:cubicBezTo>
                <a:cubicBezTo>
                  <a:pt x="1774" y="268"/>
                  <a:pt x="1774" y="268"/>
                  <a:pt x="1774" y="269"/>
                </a:cubicBezTo>
                <a:cubicBezTo>
                  <a:pt x="1774" y="269"/>
                  <a:pt x="1774" y="269"/>
                  <a:pt x="1774" y="269"/>
                </a:cubicBezTo>
                <a:cubicBezTo>
                  <a:pt x="1775" y="269"/>
                  <a:pt x="1775" y="269"/>
                  <a:pt x="1776" y="270"/>
                </a:cubicBezTo>
                <a:cubicBezTo>
                  <a:pt x="1776" y="269"/>
                  <a:pt x="1776" y="269"/>
                  <a:pt x="1776" y="269"/>
                </a:cubicBezTo>
                <a:cubicBezTo>
                  <a:pt x="1776" y="269"/>
                  <a:pt x="1776" y="269"/>
                  <a:pt x="1777" y="269"/>
                </a:cubicBezTo>
                <a:cubicBezTo>
                  <a:pt x="1777" y="269"/>
                  <a:pt x="1777" y="269"/>
                  <a:pt x="1777" y="269"/>
                </a:cubicBezTo>
                <a:cubicBezTo>
                  <a:pt x="1778" y="269"/>
                  <a:pt x="1778" y="269"/>
                  <a:pt x="1778" y="269"/>
                </a:cubicBezTo>
                <a:cubicBezTo>
                  <a:pt x="1778" y="269"/>
                  <a:pt x="1778" y="270"/>
                  <a:pt x="1778" y="270"/>
                </a:cubicBezTo>
                <a:cubicBezTo>
                  <a:pt x="1779" y="271"/>
                  <a:pt x="1780" y="272"/>
                  <a:pt x="1780" y="272"/>
                </a:cubicBezTo>
                <a:cubicBezTo>
                  <a:pt x="1781" y="273"/>
                  <a:pt x="1782" y="273"/>
                  <a:pt x="1783" y="274"/>
                </a:cubicBezTo>
                <a:cubicBezTo>
                  <a:pt x="1783" y="274"/>
                  <a:pt x="1783" y="275"/>
                  <a:pt x="1784" y="275"/>
                </a:cubicBezTo>
                <a:cubicBezTo>
                  <a:pt x="1783" y="275"/>
                  <a:pt x="1783" y="276"/>
                  <a:pt x="1783" y="276"/>
                </a:cubicBezTo>
                <a:cubicBezTo>
                  <a:pt x="1783" y="276"/>
                  <a:pt x="1783" y="277"/>
                  <a:pt x="1784" y="277"/>
                </a:cubicBezTo>
                <a:cubicBezTo>
                  <a:pt x="1784" y="278"/>
                  <a:pt x="1784" y="278"/>
                  <a:pt x="1785" y="278"/>
                </a:cubicBezTo>
                <a:cubicBezTo>
                  <a:pt x="1785" y="279"/>
                  <a:pt x="1785" y="280"/>
                  <a:pt x="1785" y="280"/>
                </a:cubicBezTo>
                <a:cubicBezTo>
                  <a:pt x="1785" y="281"/>
                  <a:pt x="1785" y="282"/>
                  <a:pt x="1785" y="282"/>
                </a:cubicBezTo>
                <a:cubicBezTo>
                  <a:pt x="1784" y="282"/>
                  <a:pt x="1784" y="282"/>
                  <a:pt x="1784" y="282"/>
                </a:cubicBezTo>
                <a:cubicBezTo>
                  <a:pt x="1784" y="282"/>
                  <a:pt x="1784" y="282"/>
                  <a:pt x="1784" y="282"/>
                </a:cubicBezTo>
                <a:cubicBezTo>
                  <a:pt x="1784" y="283"/>
                  <a:pt x="1784" y="283"/>
                  <a:pt x="1785" y="283"/>
                </a:cubicBezTo>
                <a:cubicBezTo>
                  <a:pt x="1785" y="284"/>
                  <a:pt x="1785" y="284"/>
                  <a:pt x="1785" y="284"/>
                </a:cubicBezTo>
                <a:cubicBezTo>
                  <a:pt x="1784" y="284"/>
                  <a:pt x="1784" y="284"/>
                  <a:pt x="1784" y="284"/>
                </a:cubicBezTo>
                <a:cubicBezTo>
                  <a:pt x="1784" y="284"/>
                  <a:pt x="1784" y="284"/>
                  <a:pt x="1784" y="284"/>
                </a:cubicBezTo>
                <a:cubicBezTo>
                  <a:pt x="1782" y="283"/>
                  <a:pt x="1781" y="282"/>
                  <a:pt x="1779" y="282"/>
                </a:cubicBezTo>
                <a:cubicBezTo>
                  <a:pt x="1779" y="281"/>
                  <a:pt x="1779" y="281"/>
                  <a:pt x="1779" y="281"/>
                </a:cubicBezTo>
                <a:cubicBezTo>
                  <a:pt x="1778" y="281"/>
                  <a:pt x="1778" y="281"/>
                  <a:pt x="1778" y="281"/>
                </a:cubicBezTo>
                <a:cubicBezTo>
                  <a:pt x="1777" y="280"/>
                  <a:pt x="1777" y="280"/>
                  <a:pt x="1777" y="280"/>
                </a:cubicBezTo>
                <a:cubicBezTo>
                  <a:pt x="1777" y="280"/>
                  <a:pt x="1777" y="280"/>
                  <a:pt x="1777" y="279"/>
                </a:cubicBezTo>
                <a:cubicBezTo>
                  <a:pt x="1777" y="279"/>
                  <a:pt x="1776" y="279"/>
                  <a:pt x="1776" y="279"/>
                </a:cubicBezTo>
                <a:cubicBezTo>
                  <a:pt x="1776" y="279"/>
                  <a:pt x="1776" y="279"/>
                  <a:pt x="1776" y="279"/>
                </a:cubicBezTo>
                <a:cubicBezTo>
                  <a:pt x="1776" y="279"/>
                  <a:pt x="1776" y="279"/>
                  <a:pt x="1776" y="280"/>
                </a:cubicBezTo>
                <a:cubicBezTo>
                  <a:pt x="1775" y="280"/>
                  <a:pt x="1775" y="280"/>
                  <a:pt x="1774" y="280"/>
                </a:cubicBezTo>
                <a:cubicBezTo>
                  <a:pt x="1774" y="279"/>
                  <a:pt x="1773" y="279"/>
                  <a:pt x="1773" y="279"/>
                </a:cubicBezTo>
                <a:cubicBezTo>
                  <a:pt x="1772" y="279"/>
                  <a:pt x="1772" y="279"/>
                  <a:pt x="1772" y="279"/>
                </a:cubicBezTo>
                <a:cubicBezTo>
                  <a:pt x="1772" y="279"/>
                  <a:pt x="1772" y="279"/>
                  <a:pt x="1773" y="280"/>
                </a:cubicBezTo>
                <a:cubicBezTo>
                  <a:pt x="1772" y="280"/>
                  <a:pt x="1771" y="280"/>
                  <a:pt x="1770" y="280"/>
                </a:cubicBezTo>
                <a:cubicBezTo>
                  <a:pt x="1770" y="280"/>
                  <a:pt x="1770" y="280"/>
                  <a:pt x="1769" y="279"/>
                </a:cubicBezTo>
                <a:cubicBezTo>
                  <a:pt x="1769" y="280"/>
                  <a:pt x="1769" y="280"/>
                  <a:pt x="1769" y="280"/>
                </a:cubicBezTo>
                <a:cubicBezTo>
                  <a:pt x="1769" y="280"/>
                  <a:pt x="1769" y="280"/>
                  <a:pt x="1770" y="280"/>
                </a:cubicBezTo>
                <a:cubicBezTo>
                  <a:pt x="1769" y="281"/>
                  <a:pt x="1768" y="281"/>
                  <a:pt x="1767" y="281"/>
                </a:cubicBezTo>
                <a:cubicBezTo>
                  <a:pt x="1767" y="281"/>
                  <a:pt x="1767" y="281"/>
                  <a:pt x="1767" y="281"/>
                </a:cubicBezTo>
                <a:cubicBezTo>
                  <a:pt x="1766" y="281"/>
                  <a:pt x="1766" y="281"/>
                  <a:pt x="1766" y="281"/>
                </a:cubicBezTo>
                <a:cubicBezTo>
                  <a:pt x="1766" y="281"/>
                  <a:pt x="1766" y="281"/>
                  <a:pt x="1766" y="280"/>
                </a:cubicBezTo>
                <a:cubicBezTo>
                  <a:pt x="1765" y="281"/>
                  <a:pt x="1765" y="281"/>
                  <a:pt x="1765" y="281"/>
                </a:cubicBezTo>
                <a:cubicBezTo>
                  <a:pt x="1765" y="282"/>
                  <a:pt x="1765" y="282"/>
                  <a:pt x="1765" y="283"/>
                </a:cubicBezTo>
                <a:cubicBezTo>
                  <a:pt x="1765" y="283"/>
                  <a:pt x="1764" y="283"/>
                  <a:pt x="1764" y="283"/>
                </a:cubicBezTo>
                <a:cubicBezTo>
                  <a:pt x="1764" y="283"/>
                  <a:pt x="1764" y="282"/>
                  <a:pt x="1763" y="282"/>
                </a:cubicBezTo>
                <a:cubicBezTo>
                  <a:pt x="1763" y="282"/>
                  <a:pt x="1763" y="283"/>
                  <a:pt x="1763" y="283"/>
                </a:cubicBezTo>
                <a:cubicBezTo>
                  <a:pt x="1763" y="283"/>
                  <a:pt x="1763" y="283"/>
                  <a:pt x="1763" y="283"/>
                </a:cubicBezTo>
                <a:cubicBezTo>
                  <a:pt x="1763" y="284"/>
                  <a:pt x="1762" y="284"/>
                  <a:pt x="1762" y="284"/>
                </a:cubicBezTo>
                <a:cubicBezTo>
                  <a:pt x="1761" y="284"/>
                  <a:pt x="1761" y="284"/>
                  <a:pt x="1761" y="283"/>
                </a:cubicBezTo>
                <a:cubicBezTo>
                  <a:pt x="1761" y="284"/>
                  <a:pt x="1761" y="284"/>
                  <a:pt x="1761" y="284"/>
                </a:cubicBezTo>
                <a:cubicBezTo>
                  <a:pt x="1761" y="284"/>
                  <a:pt x="1761" y="284"/>
                  <a:pt x="1760" y="284"/>
                </a:cubicBezTo>
                <a:cubicBezTo>
                  <a:pt x="1760" y="284"/>
                  <a:pt x="1760" y="284"/>
                  <a:pt x="1760" y="285"/>
                </a:cubicBezTo>
                <a:cubicBezTo>
                  <a:pt x="1760" y="284"/>
                  <a:pt x="1759" y="284"/>
                  <a:pt x="1759" y="284"/>
                </a:cubicBezTo>
                <a:cubicBezTo>
                  <a:pt x="1759" y="284"/>
                  <a:pt x="1759" y="284"/>
                  <a:pt x="1758" y="284"/>
                </a:cubicBezTo>
                <a:cubicBezTo>
                  <a:pt x="1758" y="284"/>
                  <a:pt x="1759" y="285"/>
                  <a:pt x="1759" y="285"/>
                </a:cubicBezTo>
                <a:cubicBezTo>
                  <a:pt x="1759" y="285"/>
                  <a:pt x="1759" y="285"/>
                  <a:pt x="1759" y="285"/>
                </a:cubicBezTo>
                <a:cubicBezTo>
                  <a:pt x="1758" y="285"/>
                  <a:pt x="1758" y="285"/>
                  <a:pt x="1757" y="285"/>
                </a:cubicBezTo>
                <a:cubicBezTo>
                  <a:pt x="1757" y="286"/>
                  <a:pt x="1757" y="286"/>
                  <a:pt x="1757" y="286"/>
                </a:cubicBezTo>
                <a:cubicBezTo>
                  <a:pt x="1757" y="286"/>
                  <a:pt x="1757" y="286"/>
                  <a:pt x="1757" y="287"/>
                </a:cubicBezTo>
                <a:cubicBezTo>
                  <a:pt x="1757" y="286"/>
                  <a:pt x="1756" y="286"/>
                  <a:pt x="1756" y="286"/>
                </a:cubicBezTo>
                <a:cubicBezTo>
                  <a:pt x="1756" y="286"/>
                  <a:pt x="1756" y="286"/>
                  <a:pt x="1756" y="286"/>
                </a:cubicBezTo>
                <a:cubicBezTo>
                  <a:pt x="1755" y="286"/>
                  <a:pt x="1755" y="286"/>
                  <a:pt x="1755" y="286"/>
                </a:cubicBezTo>
                <a:cubicBezTo>
                  <a:pt x="1755" y="286"/>
                  <a:pt x="1755" y="286"/>
                  <a:pt x="1755" y="286"/>
                </a:cubicBezTo>
                <a:cubicBezTo>
                  <a:pt x="1756" y="287"/>
                  <a:pt x="1756" y="287"/>
                  <a:pt x="1757" y="287"/>
                </a:cubicBezTo>
                <a:cubicBezTo>
                  <a:pt x="1756" y="288"/>
                  <a:pt x="1756" y="288"/>
                  <a:pt x="1756" y="288"/>
                </a:cubicBezTo>
                <a:cubicBezTo>
                  <a:pt x="1755" y="288"/>
                  <a:pt x="1755" y="288"/>
                  <a:pt x="1754" y="287"/>
                </a:cubicBezTo>
                <a:cubicBezTo>
                  <a:pt x="1754" y="288"/>
                  <a:pt x="1754" y="288"/>
                  <a:pt x="1754" y="288"/>
                </a:cubicBezTo>
                <a:cubicBezTo>
                  <a:pt x="1754" y="288"/>
                  <a:pt x="1754" y="288"/>
                  <a:pt x="1755" y="288"/>
                </a:cubicBezTo>
                <a:cubicBezTo>
                  <a:pt x="1755" y="289"/>
                  <a:pt x="1755" y="289"/>
                  <a:pt x="1755" y="290"/>
                </a:cubicBezTo>
                <a:cubicBezTo>
                  <a:pt x="1755" y="290"/>
                  <a:pt x="1754" y="290"/>
                  <a:pt x="1754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54" y="291"/>
                  <a:pt x="1753" y="291"/>
                  <a:pt x="1753" y="291"/>
                </a:cubicBezTo>
                <a:cubicBezTo>
                  <a:pt x="1753" y="291"/>
                  <a:pt x="1753" y="291"/>
                  <a:pt x="1753" y="292"/>
                </a:cubicBezTo>
                <a:cubicBezTo>
                  <a:pt x="1752" y="292"/>
                  <a:pt x="1752" y="292"/>
                  <a:pt x="1751" y="292"/>
                </a:cubicBezTo>
                <a:cubicBezTo>
                  <a:pt x="1751" y="293"/>
                  <a:pt x="1751" y="293"/>
                  <a:pt x="1750" y="294"/>
                </a:cubicBezTo>
                <a:cubicBezTo>
                  <a:pt x="1750" y="294"/>
                  <a:pt x="1750" y="294"/>
                  <a:pt x="1749" y="294"/>
                </a:cubicBezTo>
                <a:cubicBezTo>
                  <a:pt x="1749" y="294"/>
                  <a:pt x="1749" y="295"/>
                  <a:pt x="1749" y="295"/>
                </a:cubicBezTo>
                <a:cubicBezTo>
                  <a:pt x="1749" y="295"/>
                  <a:pt x="1749" y="295"/>
                  <a:pt x="1750" y="295"/>
                </a:cubicBezTo>
                <a:cubicBezTo>
                  <a:pt x="1750" y="295"/>
                  <a:pt x="1750" y="296"/>
                  <a:pt x="1750" y="296"/>
                </a:cubicBezTo>
                <a:cubicBezTo>
                  <a:pt x="1749" y="296"/>
                  <a:pt x="1749" y="296"/>
                  <a:pt x="1749" y="296"/>
                </a:cubicBezTo>
                <a:cubicBezTo>
                  <a:pt x="1749" y="297"/>
                  <a:pt x="1750" y="297"/>
                  <a:pt x="1750" y="298"/>
                </a:cubicBezTo>
                <a:cubicBezTo>
                  <a:pt x="1750" y="298"/>
                  <a:pt x="1750" y="298"/>
                  <a:pt x="1750" y="299"/>
                </a:cubicBezTo>
                <a:cubicBezTo>
                  <a:pt x="1750" y="298"/>
                  <a:pt x="1749" y="298"/>
                  <a:pt x="1749" y="298"/>
                </a:cubicBezTo>
                <a:cubicBezTo>
                  <a:pt x="1749" y="298"/>
                  <a:pt x="1748" y="298"/>
                  <a:pt x="1748" y="298"/>
                </a:cubicBezTo>
                <a:cubicBezTo>
                  <a:pt x="1747" y="297"/>
                  <a:pt x="1747" y="297"/>
                  <a:pt x="1747" y="297"/>
                </a:cubicBezTo>
                <a:cubicBezTo>
                  <a:pt x="1747" y="297"/>
                  <a:pt x="1747" y="297"/>
                  <a:pt x="1746" y="297"/>
                </a:cubicBezTo>
                <a:cubicBezTo>
                  <a:pt x="1746" y="296"/>
                  <a:pt x="1746" y="295"/>
                  <a:pt x="1745" y="295"/>
                </a:cubicBezTo>
                <a:cubicBezTo>
                  <a:pt x="1745" y="295"/>
                  <a:pt x="1746" y="295"/>
                  <a:pt x="1746" y="295"/>
                </a:cubicBezTo>
                <a:cubicBezTo>
                  <a:pt x="1746" y="295"/>
                  <a:pt x="1746" y="295"/>
                  <a:pt x="1745" y="294"/>
                </a:cubicBezTo>
                <a:cubicBezTo>
                  <a:pt x="1745" y="294"/>
                  <a:pt x="1745" y="294"/>
                  <a:pt x="1744" y="294"/>
                </a:cubicBezTo>
                <a:cubicBezTo>
                  <a:pt x="1744" y="294"/>
                  <a:pt x="1744" y="294"/>
                  <a:pt x="1744" y="294"/>
                </a:cubicBezTo>
                <a:cubicBezTo>
                  <a:pt x="1744" y="293"/>
                  <a:pt x="1744" y="293"/>
                  <a:pt x="1744" y="293"/>
                </a:cubicBezTo>
                <a:cubicBezTo>
                  <a:pt x="1743" y="292"/>
                  <a:pt x="1742" y="291"/>
                  <a:pt x="1741" y="291"/>
                </a:cubicBezTo>
                <a:cubicBezTo>
                  <a:pt x="1741" y="290"/>
                  <a:pt x="1740" y="290"/>
                  <a:pt x="1740" y="290"/>
                </a:cubicBezTo>
                <a:cubicBezTo>
                  <a:pt x="1739" y="290"/>
                  <a:pt x="1738" y="290"/>
                  <a:pt x="1738" y="290"/>
                </a:cubicBezTo>
                <a:cubicBezTo>
                  <a:pt x="1738" y="290"/>
                  <a:pt x="1737" y="289"/>
                  <a:pt x="1737" y="289"/>
                </a:cubicBezTo>
                <a:cubicBezTo>
                  <a:pt x="1737" y="289"/>
                  <a:pt x="1736" y="289"/>
                  <a:pt x="1736" y="289"/>
                </a:cubicBezTo>
                <a:cubicBezTo>
                  <a:pt x="1735" y="289"/>
                  <a:pt x="1735" y="289"/>
                  <a:pt x="1734" y="289"/>
                </a:cubicBezTo>
                <a:cubicBezTo>
                  <a:pt x="1734" y="289"/>
                  <a:pt x="1734" y="289"/>
                  <a:pt x="1733" y="289"/>
                </a:cubicBezTo>
                <a:cubicBezTo>
                  <a:pt x="1733" y="289"/>
                  <a:pt x="1733" y="290"/>
                  <a:pt x="1732" y="290"/>
                </a:cubicBezTo>
                <a:cubicBezTo>
                  <a:pt x="1732" y="290"/>
                  <a:pt x="1732" y="290"/>
                  <a:pt x="1731" y="290"/>
                </a:cubicBezTo>
                <a:cubicBezTo>
                  <a:pt x="1731" y="290"/>
                  <a:pt x="1731" y="289"/>
                  <a:pt x="1730" y="289"/>
                </a:cubicBezTo>
                <a:cubicBezTo>
                  <a:pt x="1730" y="290"/>
                  <a:pt x="1731" y="290"/>
                  <a:pt x="1731" y="290"/>
                </a:cubicBezTo>
                <a:cubicBezTo>
                  <a:pt x="1730" y="291"/>
                  <a:pt x="1730" y="291"/>
                  <a:pt x="1730" y="291"/>
                </a:cubicBezTo>
                <a:cubicBezTo>
                  <a:pt x="1730" y="291"/>
                  <a:pt x="1730" y="291"/>
                  <a:pt x="1730" y="292"/>
                </a:cubicBezTo>
                <a:cubicBezTo>
                  <a:pt x="1730" y="292"/>
                  <a:pt x="1729" y="292"/>
                  <a:pt x="1729" y="292"/>
                </a:cubicBezTo>
                <a:cubicBezTo>
                  <a:pt x="1729" y="293"/>
                  <a:pt x="1728" y="293"/>
                  <a:pt x="1728" y="294"/>
                </a:cubicBezTo>
                <a:cubicBezTo>
                  <a:pt x="1728" y="294"/>
                  <a:pt x="1727" y="294"/>
                  <a:pt x="1727" y="294"/>
                </a:cubicBezTo>
                <a:cubicBezTo>
                  <a:pt x="1727" y="293"/>
                  <a:pt x="1727" y="293"/>
                  <a:pt x="1727" y="293"/>
                </a:cubicBezTo>
                <a:cubicBezTo>
                  <a:pt x="1727" y="292"/>
                  <a:pt x="1727" y="291"/>
                  <a:pt x="1726" y="290"/>
                </a:cubicBezTo>
                <a:cubicBezTo>
                  <a:pt x="1727" y="290"/>
                  <a:pt x="1727" y="290"/>
                  <a:pt x="1727" y="289"/>
                </a:cubicBezTo>
                <a:cubicBezTo>
                  <a:pt x="1726" y="289"/>
                  <a:pt x="1726" y="289"/>
                  <a:pt x="1726" y="289"/>
                </a:cubicBezTo>
                <a:cubicBezTo>
                  <a:pt x="1726" y="288"/>
                  <a:pt x="1726" y="288"/>
                  <a:pt x="1725" y="288"/>
                </a:cubicBezTo>
                <a:cubicBezTo>
                  <a:pt x="1725" y="288"/>
                  <a:pt x="1725" y="288"/>
                  <a:pt x="1725" y="288"/>
                </a:cubicBezTo>
                <a:cubicBezTo>
                  <a:pt x="1724" y="289"/>
                  <a:pt x="1724" y="289"/>
                  <a:pt x="1723" y="289"/>
                </a:cubicBezTo>
                <a:cubicBezTo>
                  <a:pt x="1723" y="289"/>
                  <a:pt x="1722" y="289"/>
                  <a:pt x="1722" y="289"/>
                </a:cubicBezTo>
                <a:cubicBezTo>
                  <a:pt x="1722" y="289"/>
                  <a:pt x="1722" y="289"/>
                  <a:pt x="1721" y="290"/>
                </a:cubicBezTo>
                <a:cubicBezTo>
                  <a:pt x="1722" y="290"/>
                  <a:pt x="1722" y="290"/>
                  <a:pt x="1722" y="290"/>
                </a:cubicBezTo>
                <a:cubicBezTo>
                  <a:pt x="1722" y="291"/>
                  <a:pt x="1721" y="291"/>
                  <a:pt x="1721" y="291"/>
                </a:cubicBezTo>
                <a:cubicBezTo>
                  <a:pt x="1720" y="291"/>
                  <a:pt x="1720" y="291"/>
                  <a:pt x="1720" y="290"/>
                </a:cubicBezTo>
                <a:cubicBezTo>
                  <a:pt x="1720" y="290"/>
                  <a:pt x="1720" y="290"/>
                  <a:pt x="1720" y="290"/>
                </a:cubicBezTo>
                <a:cubicBezTo>
                  <a:pt x="1719" y="290"/>
                  <a:pt x="1719" y="290"/>
                  <a:pt x="1719" y="289"/>
                </a:cubicBezTo>
                <a:cubicBezTo>
                  <a:pt x="1719" y="289"/>
                  <a:pt x="1719" y="289"/>
                  <a:pt x="1718" y="289"/>
                </a:cubicBezTo>
                <a:cubicBezTo>
                  <a:pt x="1718" y="289"/>
                  <a:pt x="1718" y="290"/>
                  <a:pt x="1717" y="290"/>
                </a:cubicBezTo>
                <a:cubicBezTo>
                  <a:pt x="1717" y="290"/>
                  <a:pt x="1717" y="290"/>
                  <a:pt x="1717" y="290"/>
                </a:cubicBezTo>
                <a:cubicBezTo>
                  <a:pt x="1716" y="289"/>
                  <a:pt x="1716" y="289"/>
                  <a:pt x="1716" y="289"/>
                </a:cubicBezTo>
                <a:cubicBezTo>
                  <a:pt x="1716" y="289"/>
                  <a:pt x="1715" y="289"/>
                  <a:pt x="1715" y="289"/>
                </a:cubicBezTo>
                <a:cubicBezTo>
                  <a:pt x="1715" y="289"/>
                  <a:pt x="1715" y="289"/>
                  <a:pt x="1715" y="289"/>
                </a:cubicBezTo>
                <a:cubicBezTo>
                  <a:pt x="1715" y="289"/>
                  <a:pt x="1715" y="290"/>
                  <a:pt x="1715" y="290"/>
                </a:cubicBezTo>
                <a:cubicBezTo>
                  <a:pt x="1715" y="290"/>
                  <a:pt x="1715" y="290"/>
                  <a:pt x="1714" y="290"/>
                </a:cubicBezTo>
                <a:cubicBezTo>
                  <a:pt x="1714" y="290"/>
                  <a:pt x="1714" y="290"/>
                  <a:pt x="1714" y="290"/>
                </a:cubicBezTo>
                <a:cubicBezTo>
                  <a:pt x="1714" y="291"/>
                  <a:pt x="1714" y="291"/>
                  <a:pt x="1713" y="291"/>
                </a:cubicBezTo>
                <a:cubicBezTo>
                  <a:pt x="1714" y="291"/>
                  <a:pt x="1714" y="292"/>
                  <a:pt x="1714" y="292"/>
                </a:cubicBezTo>
                <a:cubicBezTo>
                  <a:pt x="1714" y="292"/>
                  <a:pt x="1714" y="293"/>
                  <a:pt x="1714" y="293"/>
                </a:cubicBezTo>
                <a:cubicBezTo>
                  <a:pt x="1714" y="293"/>
                  <a:pt x="1714" y="293"/>
                  <a:pt x="1713" y="293"/>
                </a:cubicBezTo>
                <a:cubicBezTo>
                  <a:pt x="1713" y="293"/>
                  <a:pt x="1713" y="293"/>
                  <a:pt x="1713" y="293"/>
                </a:cubicBezTo>
                <a:cubicBezTo>
                  <a:pt x="1714" y="294"/>
                  <a:pt x="1714" y="294"/>
                  <a:pt x="1714" y="294"/>
                </a:cubicBezTo>
                <a:cubicBezTo>
                  <a:pt x="1715" y="294"/>
                  <a:pt x="1715" y="295"/>
                  <a:pt x="1715" y="295"/>
                </a:cubicBezTo>
                <a:cubicBezTo>
                  <a:pt x="1715" y="295"/>
                  <a:pt x="1715" y="295"/>
                  <a:pt x="1715" y="295"/>
                </a:cubicBezTo>
                <a:cubicBezTo>
                  <a:pt x="1715" y="295"/>
                  <a:pt x="1715" y="295"/>
                  <a:pt x="1715" y="295"/>
                </a:cubicBezTo>
                <a:cubicBezTo>
                  <a:pt x="1714" y="295"/>
                  <a:pt x="1714" y="296"/>
                  <a:pt x="1714" y="296"/>
                </a:cubicBezTo>
                <a:cubicBezTo>
                  <a:pt x="1714" y="296"/>
                  <a:pt x="1715" y="296"/>
                  <a:pt x="1715" y="296"/>
                </a:cubicBezTo>
                <a:cubicBezTo>
                  <a:pt x="1715" y="297"/>
                  <a:pt x="1715" y="297"/>
                  <a:pt x="1715" y="297"/>
                </a:cubicBezTo>
                <a:cubicBezTo>
                  <a:pt x="1715" y="297"/>
                  <a:pt x="1715" y="297"/>
                  <a:pt x="1715" y="297"/>
                </a:cubicBezTo>
                <a:cubicBezTo>
                  <a:pt x="1715" y="297"/>
                  <a:pt x="1715" y="297"/>
                  <a:pt x="1714" y="297"/>
                </a:cubicBezTo>
                <a:cubicBezTo>
                  <a:pt x="1714" y="297"/>
                  <a:pt x="1714" y="297"/>
                  <a:pt x="1714" y="296"/>
                </a:cubicBezTo>
                <a:cubicBezTo>
                  <a:pt x="1713" y="297"/>
                  <a:pt x="1713" y="297"/>
                  <a:pt x="1713" y="297"/>
                </a:cubicBezTo>
                <a:cubicBezTo>
                  <a:pt x="1713" y="297"/>
                  <a:pt x="1714" y="297"/>
                  <a:pt x="1714" y="298"/>
                </a:cubicBezTo>
                <a:cubicBezTo>
                  <a:pt x="1714" y="298"/>
                  <a:pt x="1714" y="298"/>
                  <a:pt x="1715" y="298"/>
                </a:cubicBezTo>
                <a:cubicBezTo>
                  <a:pt x="1715" y="298"/>
                  <a:pt x="1714" y="298"/>
                  <a:pt x="1714" y="299"/>
                </a:cubicBezTo>
                <a:cubicBezTo>
                  <a:pt x="1714" y="299"/>
                  <a:pt x="1714" y="299"/>
                  <a:pt x="1714" y="299"/>
                </a:cubicBezTo>
                <a:cubicBezTo>
                  <a:pt x="1714" y="299"/>
                  <a:pt x="1714" y="300"/>
                  <a:pt x="1714" y="300"/>
                </a:cubicBezTo>
                <a:cubicBezTo>
                  <a:pt x="1713" y="300"/>
                  <a:pt x="1713" y="300"/>
                  <a:pt x="1713" y="300"/>
                </a:cubicBezTo>
                <a:cubicBezTo>
                  <a:pt x="1713" y="301"/>
                  <a:pt x="1713" y="301"/>
                  <a:pt x="1713" y="301"/>
                </a:cubicBezTo>
                <a:cubicBezTo>
                  <a:pt x="1712" y="302"/>
                  <a:pt x="1712" y="302"/>
                  <a:pt x="1712" y="302"/>
                </a:cubicBezTo>
                <a:cubicBezTo>
                  <a:pt x="1712" y="302"/>
                  <a:pt x="1712" y="302"/>
                  <a:pt x="1712" y="303"/>
                </a:cubicBezTo>
                <a:cubicBezTo>
                  <a:pt x="1712" y="303"/>
                  <a:pt x="1712" y="303"/>
                  <a:pt x="1712" y="303"/>
                </a:cubicBezTo>
                <a:cubicBezTo>
                  <a:pt x="1712" y="303"/>
                  <a:pt x="1712" y="304"/>
                  <a:pt x="1712" y="304"/>
                </a:cubicBezTo>
                <a:cubicBezTo>
                  <a:pt x="1712" y="304"/>
                  <a:pt x="1712" y="305"/>
                  <a:pt x="1712" y="305"/>
                </a:cubicBezTo>
                <a:cubicBezTo>
                  <a:pt x="1712" y="305"/>
                  <a:pt x="1712" y="305"/>
                  <a:pt x="1712" y="305"/>
                </a:cubicBezTo>
                <a:cubicBezTo>
                  <a:pt x="1712" y="306"/>
                  <a:pt x="1712" y="306"/>
                  <a:pt x="1712" y="306"/>
                </a:cubicBezTo>
                <a:cubicBezTo>
                  <a:pt x="1712" y="307"/>
                  <a:pt x="1713" y="307"/>
                  <a:pt x="1713" y="307"/>
                </a:cubicBezTo>
                <a:cubicBezTo>
                  <a:pt x="1713" y="308"/>
                  <a:pt x="1713" y="308"/>
                  <a:pt x="1714" y="309"/>
                </a:cubicBezTo>
                <a:cubicBezTo>
                  <a:pt x="1714" y="309"/>
                  <a:pt x="1715" y="310"/>
                  <a:pt x="1715" y="310"/>
                </a:cubicBezTo>
                <a:cubicBezTo>
                  <a:pt x="1715" y="310"/>
                  <a:pt x="1715" y="310"/>
                  <a:pt x="1715" y="310"/>
                </a:cubicBezTo>
                <a:cubicBezTo>
                  <a:pt x="1716" y="310"/>
                  <a:pt x="1716" y="310"/>
                  <a:pt x="1716" y="309"/>
                </a:cubicBezTo>
                <a:cubicBezTo>
                  <a:pt x="1716" y="309"/>
                  <a:pt x="1715" y="308"/>
                  <a:pt x="1715" y="308"/>
                </a:cubicBezTo>
                <a:cubicBezTo>
                  <a:pt x="1715" y="308"/>
                  <a:pt x="1715" y="308"/>
                  <a:pt x="1715" y="307"/>
                </a:cubicBezTo>
                <a:cubicBezTo>
                  <a:pt x="1715" y="307"/>
                  <a:pt x="1716" y="307"/>
                  <a:pt x="1716" y="307"/>
                </a:cubicBezTo>
                <a:cubicBezTo>
                  <a:pt x="1716" y="308"/>
                  <a:pt x="1717" y="308"/>
                  <a:pt x="1717" y="308"/>
                </a:cubicBezTo>
                <a:cubicBezTo>
                  <a:pt x="1718" y="308"/>
                  <a:pt x="1718" y="309"/>
                  <a:pt x="1719" y="310"/>
                </a:cubicBezTo>
                <a:cubicBezTo>
                  <a:pt x="1719" y="310"/>
                  <a:pt x="1719" y="310"/>
                  <a:pt x="1720" y="310"/>
                </a:cubicBezTo>
                <a:cubicBezTo>
                  <a:pt x="1720" y="310"/>
                  <a:pt x="1720" y="310"/>
                  <a:pt x="1720" y="310"/>
                </a:cubicBezTo>
                <a:cubicBezTo>
                  <a:pt x="1720" y="311"/>
                  <a:pt x="1720" y="311"/>
                  <a:pt x="1720" y="311"/>
                </a:cubicBezTo>
                <a:cubicBezTo>
                  <a:pt x="1720" y="311"/>
                  <a:pt x="1720" y="311"/>
                  <a:pt x="1720" y="311"/>
                </a:cubicBezTo>
                <a:cubicBezTo>
                  <a:pt x="1720" y="312"/>
                  <a:pt x="1720" y="312"/>
                  <a:pt x="1720" y="312"/>
                </a:cubicBezTo>
                <a:cubicBezTo>
                  <a:pt x="1720" y="312"/>
                  <a:pt x="1719" y="312"/>
                  <a:pt x="1719" y="312"/>
                </a:cubicBezTo>
                <a:cubicBezTo>
                  <a:pt x="1719" y="313"/>
                  <a:pt x="1719" y="313"/>
                  <a:pt x="1719" y="313"/>
                </a:cubicBezTo>
                <a:cubicBezTo>
                  <a:pt x="1719" y="313"/>
                  <a:pt x="1719" y="313"/>
                  <a:pt x="1719" y="313"/>
                </a:cubicBezTo>
                <a:cubicBezTo>
                  <a:pt x="1718" y="313"/>
                  <a:pt x="1718" y="313"/>
                  <a:pt x="1718" y="313"/>
                </a:cubicBezTo>
                <a:cubicBezTo>
                  <a:pt x="1718" y="314"/>
                  <a:pt x="1718" y="315"/>
                  <a:pt x="1718" y="315"/>
                </a:cubicBezTo>
                <a:cubicBezTo>
                  <a:pt x="1718" y="315"/>
                  <a:pt x="1718" y="316"/>
                  <a:pt x="1718" y="316"/>
                </a:cubicBezTo>
                <a:cubicBezTo>
                  <a:pt x="1718" y="317"/>
                  <a:pt x="1718" y="317"/>
                  <a:pt x="1718" y="317"/>
                </a:cubicBezTo>
                <a:cubicBezTo>
                  <a:pt x="1718" y="318"/>
                  <a:pt x="1718" y="318"/>
                  <a:pt x="1719" y="318"/>
                </a:cubicBezTo>
                <a:cubicBezTo>
                  <a:pt x="1719" y="318"/>
                  <a:pt x="1719" y="318"/>
                  <a:pt x="1719" y="318"/>
                </a:cubicBezTo>
                <a:cubicBezTo>
                  <a:pt x="1719" y="318"/>
                  <a:pt x="1719" y="318"/>
                  <a:pt x="1719" y="318"/>
                </a:cubicBezTo>
                <a:cubicBezTo>
                  <a:pt x="1720" y="318"/>
                  <a:pt x="1720" y="318"/>
                  <a:pt x="1721" y="318"/>
                </a:cubicBezTo>
                <a:cubicBezTo>
                  <a:pt x="1721" y="318"/>
                  <a:pt x="1721" y="318"/>
                  <a:pt x="1721" y="318"/>
                </a:cubicBezTo>
                <a:cubicBezTo>
                  <a:pt x="1721" y="318"/>
                  <a:pt x="1721" y="318"/>
                  <a:pt x="1721" y="318"/>
                </a:cubicBezTo>
                <a:cubicBezTo>
                  <a:pt x="1722" y="318"/>
                  <a:pt x="1722" y="319"/>
                  <a:pt x="1722" y="319"/>
                </a:cubicBezTo>
                <a:cubicBezTo>
                  <a:pt x="1722" y="319"/>
                  <a:pt x="1722" y="320"/>
                  <a:pt x="1721" y="320"/>
                </a:cubicBezTo>
                <a:cubicBezTo>
                  <a:pt x="1722" y="321"/>
                  <a:pt x="1723" y="322"/>
                  <a:pt x="1723" y="323"/>
                </a:cubicBezTo>
                <a:cubicBezTo>
                  <a:pt x="1723" y="323"/>
                  <a:pt x="1723" y="324"/>
                  <a:pt x="1724" y="324"/>
                </a:cubicBezTo>
                <a:cubicBezTo>
                  <a:pt x="1723" y="324"/>
                  <a:pt x="1723" y="324"/>
                  <a:pt x="1723" y="325"/>
                </a:cubicBezTo>
                <a:cubicBezTo>
                  <a:pt x="1723" y="325"/>
                  <a:pt x="1722" y="325"/>
                  <a:pt x="1722" y="325"/>
                </a:cubicBezTo>
                <a:cubicBezTo>
                  <a:pt x="1722" y="325"/>
                  <a:pt x="1722" y="325"/>
                  <a:pt x="1722" y="325"/>
                </a:cubicBezTo>
                <a:cubicBezTo>
                  <a:pt x="1721" y="325"/>
                  <a:pt x="1721" y="324"/>
                  <a:pt x="1720" y="324"/>
                </a:cubicBezTo>
                <a:cubicBezTo>
                  <a:pt x="1720" y="324"/>
                  <a:pt x="1719" y="323"/>
                  <a:pt x="1719" y="323"/>
                </a:cubicBezTo>
                <a:cubicBezTo>
                  <a:pt x="1719" y="323"/>
                  <a:pt x="1719" y="322"/>
                  <a:pt x="1719" y="322"/>
                </a:cubicBezTo>
                <a:cubicBezTo>
                  <a:pt x="1720" y="322"/>
                  <a:pt x="1720" y="322"/>
                  <a:pt x="1720" y="321"/>
                </a:cubicBezTo>
                <a:cubicBezTo>
                  <a:pt x="1720" y="321"/>
                  <a:pt x="1720" y="321"/>
                  <a:pt x="1721" y="321"/>
                </a:cubicBezTo>
                <a:cubicBezTo>
                  <a:pt x="1721" y="320"/>
                  <a:pt x="1721" y="320"/>
                  <a:pt x="1721" y="320"/>
                </a:cubicBezTo>
                <a:cubicBezTo>
                  <a:pt x="1720" y="320"/>
                  <a:pt x="1720" y="320"/>
                  <a:pt x="1720" y="320"/>
                </a:cubicBezTo>
                <a:cubicBezTo>
                  <a:pt x="1720" y="320"/>
                  <a:pt x="1720" y="320"/>
                  <a:pt x="1720" y="320"/>
                </a:cubicBezTo>
                <a:cubicBezTo>
                  <a:pt x="1720" y="321"/>
                  <a:pt x="1720" y="321"/>
                  <a:pt x="1720" y="321"/>
                </a:cubicBezTo>
                <a:cubicBezTo>
                  <a:pt x="1719" y="321"/>
                  <a:pt x="1719" y="321"/>
                  <a:pt x="1719" y="321"/>
                </a:cubicBezTo>
                <a:cubicBezTo>
                  <a:pt x="1718" y="321"/>
                  <a:pt x="1718" y="321"/>
                  <a:pt x="1717" y="321"/>
                </a:cubicBezTo>
                <a:cubicBezTo>
                  <a:pt x="1717" y="321"/>
                  <a:pt x="1717" y="321"/>
                  <a:pt x="1717" y="322"/>
                </a:cubicBezTo>
                <a:cubicBezTo>
                  <a:pt x="1718" y="322"/>
                  <a:pt x="1718" y="322"/>
                  <a:pt x="1719" y="322"/>
                </a:cubicBezTo>
                <a:cubicBezTo>
                  <a:pt x="1719" y="322"/>
                  <a:pt x="1718" y="322"/>
                  <a:pt x="1718" y="323"/>
                </a:cubicBezTo>
                <a:cubicBezTo>
                  <a:pt x="1718" y="323"/>
                  <a:pt x="1718" y="323"/>
                  <a:pt x="1717" y="323"/>
                </a:cubicBezTo>
                <a:cubicBezTo>
                  <a:pt x="1717" y="324"/>
                  <a:pt x="1717" y="324"/>
                  <a:pt x="1717" y="324"/>
                </a:cubicBezTo>
                <a:cubicBezTo>
                  <a:pt x="1717" y="324"/>
                  <a:pt x="1717" y="324"/>
                  <a:pt x="1717" y="325"/>
                </a:cubicBezTo>
                <a:cubicBezTo>
                  <a:pt x="1716" y="325"/>
                  <a:pt x="1716" y="326"/>
                  <a:pt x="1716" y="327"/>
                </a:cubicBezTo>
                <a:cubicBezTo>
                  <a:pt x="1716" y="327"/>
                  <a:pt x="1716" y="328"/>
                  <a:pt x="1716" y="328"/>
                </a:cubicBezTo>
                <a:cubicBezTo>
                  <a:pt x="1716" y="328"/>
                  <a:pt x="1716" y="328"/>
                  <a:pt x="1716" y="328"/>
                </a:cubicBezTo>
                <a:cubicBezTo>
                  <a:pt x="1716" y="330"/>
                  <a:pt x="1717" y="331"/>
                  <a:pt x="1718" y="332"/>
                </a:cubicBezTo>
                <a:cubicBezTo>
                  <a:pt x="1718" y="332"/>
                  <a:pt x="1718" y="332"/>
                  <a:pt x="1718" y="332"/>
                </a:cubicBezTo>
                <a:cubicBezTo>
                  <a:pt x="1719" y="333"/>
                  <a:pt x="1719" y="334"/>
                  <a:pt x="1719" y="335"/>
                </a:cubicBezTo>
                <a:cubicBezTo>
                  <a:pt x="1720" y="335"/>
                  <a:pt x="1720" y="335"/>
                  <a:pt x="1720" y="336"/>
                </a:cubicBezTo>
                <a:cubicBezTo>
                  <a:pt x="1720" y="336"/>
                  <a:pt x="1720" y="336"/>
                  <a:pt x="1719" y="336"/>
                </a:cubicBezTo>
                <a:cubicBezTo>
                  <a:pt x="1719" y="336"/>
                  <a:pt x="1719" y="337"/>
                  <a:pt x="1719" y="337"/>
                </a:cubicBezTo>
                <a:cubicBezTo>
                  <a:pt x="1718" y="337"/>
                  <a:pt x="1717" y="337"/>
                  <a:pt x="1716" y="336"/>
                </a:cubicBezTo>
                <a:cubicBezTo>
                  <a:pt x="1716" y="336"/>
                  <a:pt x="1716" y="336"/>
                  <a:pt x="1716" y="336"/>
                </a:cubicBezTo>
                <a:cubicBezTo>
                  <a:pt x="1715" y="336"/>
                  <a:pt x="1714" y="336"/>
                  <a:pt x="1713" y="336"/>
                </a:cubicBezTo>
                <a:cubicBezTo>
                  <a:pt x="1713" y="336"/>
                  <a:pt x="1713" y="335"/>
                  <a:pt x="1713" y="335"/>
                </a:cubicBezTo>
                <a:cubicBezTo>
                  <a:pt x="1713" y="336"/>
                  <a:pt x="1713" y="336"/>
                  <a:pt x="1713" y="336"/>
                </a:cubicBezTo>
                <a:cubicBezTo>
                  <a:pt x="1712" y="336"/>
                  <a:pt x="1712" y="336"/>
                  <a:pt x="1711" y="337"/>
                </a:cubicBezTo>
                <a:cubicBezTo>
                  <a:pt x="1711" y="337"/>
                  <a:pt x="1711" y="337"/>
                  <a:pt x="1711" y="338"/>
                </a:cubicBezTo>
                <a:cubicBezTo>
                  <a:pt x="1711" y="338"/>
                  <a:pt x="1710" y="338"/>
                  <a:pt x="1710" y="338"/>
                </a:cubicBezTo>
                <a:cubicBezTo>
                  <a:pt x="1710" y="338"/>
                  <a:pt x="1710" y="338"/>
                  <a:pt x="1711" y="339"/>
                </a:cubicBezTo>
                <a:cubicBezTo>
                  <a:pt x="1710" y="339"/>
                  <a:pt x="1710" y="340"/>
                  <a:pt x="1709" y="340"/>
                </a:cubicBezTo>
                <a:cubicBezTo>
                  <a:pt x="1709" y="341"/>
                  <a:pt x="1709" y="342"/>
                  <a:pt x="1709" y="342"/>
                </a:cubicBezTo>
                <a:cubicBezTo>
                  <a:pt x="1710" y="343"/>
                  <a:pt x="1710" y="343"/>
                  <a:pt x="1710" y="344"/>
                </a:cubicBezTo>
                <a:cubicBezTo>
                  <a:pt x="1710" y="344"/>
                  <a:pt x="1710" y="344"/>
                  <a:pt x="1710" y="344"/>
                </a:cubicBezTo>
                <a:cubicBezTo>
                  <a:pt x="1710" y="345"/>
                  <a:pt x="1711" y="345"/>
                  <a:pt x="1711" y="346"/>
                </a:cubicBezTo>
                <a:cubicBezTo>
                  <a:pt x="1711" y="346"/>
                  <a:pt x="1712" y="346"/>
                  <a:pt x="1712" y="347"/>
                </a:cubicBezTo>
                <a:cubicBezTo>
                  <a:pt x="1711" y="346"/>
                  <a:pt x="1711" y="346"/>
                  <a:pt x="1711" y="346"/>
                </a:cubicBezTo>
                <a:cubicBezTo>
                  <a:pt x="1710" y="346"/>
                  <a:pt x="1710" y="346"/>
                  <a:pt x="1710" y="346"/>
                </a:cubicBezTo>
                <a:cubicBezTo>
                  <a:pt x="1710" y="346"/>
                  <a:pt x="1709" y="346"/>
                  <a:pt x="1709" y="345"/>
                </a:cubicBezTo>
                <a:cubicBezTo>
                  <a:pt x="1709" y="346"/>
                  <a:pt x="1708" y="346"/>
                  <a:pt x="1708" y="346"/>
                </a:cubicBezTo>
                <a:cubicBezTo>
                  <a:pt x="1708" y="346"/>
                  <a:pt x="1707" y="345"/>
                  <a:pt x="1707" y="345"/>
                </a:cubicBezTo>
                <a:cubicBezTo>
                  <a:pt x="1707" y="345"/>
                  <a:pt x="1706" y="345"/>
                  <a:pt x="1705" y="345"/>
                </a:cubicBezTo>
                <a:cubicBezTo>
                  <a:pt x="1705" y="345"/>
                  <a:pt x="1705" y="345"/>
                  <a:pt x="1704" y="344"/>
                </a:cubicBezTo>
                <a:cubicBezTo>
                  <a:pt x="1704" y="345"/>
                  <a:pt x="1704" y="345"/>
                  <a:pt x="1704" y="345"/>
                </a:cubicBezTo>
                <a:cubicBezTo>
                  <a:pt x="1704" y="345"/>
                  <a:pt x="1704" y="345"/>
                  <a:pt x="1704" y="346"/>
                </a:cubicBezTo>
                <a:cubicBezTo>
                  <a:pt x="1704" y="346"/>
                  <a:pt x="1705" y="346"/>
                  <a:pt x="1705" y="346"/>
                </a:cubicBezTo>
                <a:cubicBezTo>
                  <a:pt x="1705" y="346"/>
                  <a:pt x="1705" y="346"/>
                  <a:pt x="1705" y="347"/>
                </a:cubicBezTo>
                <a:cubicBezTo>
                  <a:pt x="1704" y="347"/>
                  <a:pt x="1704" y="347"/>
                  <a:pt x="1704" y="347"/>
                </a:cubicBezTo>
                <a:cubicBezTo>
                  <a:pt x="1704" y="347"/>
                  <a:pt x="1705" y="348"/>
                  <a:pt x="1705" y="348"/>
                </a:cubicBezTo>
                <a:cubicBezTo>
                  <a:pt x="1705" y="348"/>
                  <a:pt x="1704" y="348"/>
                  <a:pt x="1704" y="348"/>
                </a:cubicBezTo>
                <a:cubicBezTo>
                  <a:pt x="1704" y="348"/>
                  <a:pt x="1704" y="348"/>
                  <a:pt x="1704" y="348"/>
                </a:cubicBezTo>
                <a:cubicBezTo>
                  <a:pt x="1704" y="348"/>
                  <a:pt x="1704" y="349"/>
                  <a:pt x="1704" y="349"/>
                </a:cubicBezTo>
                <a:cubicBezTo>
                  <a:pt x="1704" y="349"/>
                  <a:pt x="1704" y="349"/>
                  <a:pt x="1703" y="349"/>
                </a:cubicBezTo>
                <a:cubicBezTo>
                  <a:pt x="1704" y="350"/>
                  <a:pt x="1704" y="350"/>
                  <a:pt x="1704" y="350"/>
                </a:cubicBezTo>
                <a:cubicBezTo>
                  <a:pt x="1704" y="350"/>
                  <a:pt x="1704" y="350"/>
                  <a:pt x="1705" y="350"/>
                </a:cubicBezTo>
                <a:cubicBezTo>
                  <a:pt x="1705" y="350"/>
                  <a:pt x="1705" y="351"/>
                  <a:pt x="1705" y="351"/>
                </a:cubicBezTo>
                <a:cubicBezTo>
                  <a:pt x="1705" y="351"/>
                  <a:pt x="1705" y="351"/>
                  <a:pt x="1704" y="351"/>
                </a:cubicBezTo>
                <a:cubicBezTo>
                  <a:pt x="1704" y="351"/>
                  <a:pt x="1704" y="352"/>
                  <a:pt x="1704" y="352"/>
                </a:cubicBezTo>
                <a:cubicBezTo>
                  <a:pt x="1704" y="352"/>
                  <a:pt x="1704" y="353"/>
                  <a:pt x="1704" y="353"/>
                </a:cubicBezTo>
                <a:cubicBezTo>
                  <a:pt x="1704" y="353"/>
                  <a:pt x="1703" y="354"/>
                  <a:pt x="1703" y="354"/>
                </a:cubicBezTo>
                <a:cubicBezTo>
                  <a:pt x="1703" y="354"/>
                  <a:pt x="1702" y="354"/>
                  <a:pt x="1702" y="355"/>
                </a:cubicBezTo>
                <a:cubicBezTo>
                  <a:pt x="1702" y="355"/>
                  <a:pt x="1702" y="355"/>
                  <a:pt x="1702" y="355"/>
                </a:cubicBezTo>
                <a:cubicBezTo>
                  <a:pt x="1702" y="355"/>
                  <a:pt x="1702" y="355"/>
                  <a:pt x="1702" y="355"/>
                </a:cubicBezTo>
                <a:cubicBezTo>
                  <a:pt x="1701" y="356"/>
                  <a:pt x="1701" y="356"/>
                  <a:pt x="1700" y="356"/>
                </a:cubicBezTo>
                <a:cubicBezTo>
                  <a:pt x="1700" y="356"/>
                  <a:pt x="1700" y="356"/>
                  <a:pt x="1700" y="356"/>
                </a:cubicBezTo>
                <a:cubicBezTo>
                  <a:pt x="1700" y="356"/>
                  <a:pt x="1700" y="356"/>
                  <a:pt x="1699" y="356"/>
                </a:cubicBezTo>
                <a:cubicBezTo>
                  <a:pt x="1699" y="357"/>
                  <a:pt x="1699" y="357"/>
                  <a:pt x="1698" y="357"/>
                </a:cubicBezTo>
                <a:cubicBezTo>
                  <a:pt x="1698" y="358"/>
                  <a:pt x="1697" y="358"/>
                  <a:pt x="1696" y="359"/>
                </a:cubicBezTo>
                <a:cubicBezTo>
                  <a:pt x="1696" y="358"/>
                  <a:pt x="1697" y="358"/>
                  <a:pt x="1697" y="358"/>
                </a:cubicBezTo>
                <a:cubicBezTo>
                  <a:pt x="1697" y="358"/>
                  <a:pt x="1697" y="358"/>
                  <a:pt x="1697" y="357"/>
                </a:cubicBezTo>
                <a:cubicBezTo>
                  <a:pt x="1697" y="357"/>
                  <a:pt x="1697" y="357"/>
                  <a:pt x="1697" y="357"/>
                </a:cubicBezTo>
                <a:cubicBezTo>
                  <a:pt x="1697" y="356"/>
                  <a:pt x="1697" y="356"/>
                  <a:pt x="1697" y="356"/>
                </a:cubicBezTo>
                <a:cubicBezTo>
                  <a:pt x="1696" y="356"/>
                  <a:pt x="1696" y="355"/>
                  <a:pt x="1695" y="355"/>
                </a:cubicBezTo>
                <a:cubicBezTo>
                  <a:pt x="1695" y="354"/>
                  <a:pt x="1695" y="354"/>
                  <a:pt x="1694" y="353"/>
                </a:cubicBezTo>
                <a:cubicBezTo>
                  <a:pt x="1695" y="353"/>
                  <a:pt x="1695" y="353"/>
                  <a:pt x="1695" y="352"/>
                </a:cubicBezTo>
                <a:cubicBezTo>
                  <a:pt x="1695" y="351"/>
                  <a:pt x="1694" y="350"/>
                  <a:pt x="1694" y="348"/>
                </a:cubicBezTo>
                <a:cubicBezTo>
                  <a:pt x="1694" y="348"/>
                  <a:pt x="1694" y="347"/>
                  <a:pt x="1693" y="346"/>
                </a:cubicBezTo>
                <a:cubicBezTo>
                  <a:pt x="1694" y="347"/>
                  <a:pt x="1694" y="347"/>
                  <a:pt x="1694" y="347"/>
                </a:cubicBezTo>
                <a:cubicBezTo>
                  <a:pt x="1694" y="347"/>
                  <a:pt x="1695" y="347"/>
                  <a:pt x="1695" y="347"/>
                </a:cubicBezTo>
                <a:cubicBezTo>
                  <a:pt x="1695" y="347"/>
                  <a:pt x="1696" y="347"/>
                  <a:pt x="1696" y="346"/>
                </a:cubicBezTo>
                <a:cubicBezTo>
                  <a:pt x="1695" y="346"/>
                  <a:pt x="1695" y="346"/>
                  <a:pt x="1695" y="346"/>
                </a:cubicBezTo>
                <a:cubicBezTo>
                  <a:pt x="1694" y="346"/>
                  <a:pt x="1694" y="346"/>
                  <a:pt x="1693" y="346"/>
                </a:cubicBezTo>
                <a:cubicBezTo>
                  <a:pt x="1693" y="345"/>
                  <a:pt x="1692" y="345"/>
                  <a:pt x="1692" y="344"/>
                </a:cubicBezTo>
                <a:cubicBezTo>
                  <a:pt x="1691" y="342"/>
                  <a:pt x="1691" y="340"/>
                  <a:pt x="1690" y="338"/>
                </a:cubicBezTo>
                <a:cubicBezTo>
                  <a:pt x="1689" y="336"/>
                  <a:pt x="1688" y="335"/>
                  <a:pt x="1687" y="333"/>
                </a:cubicBezTo>
                <a:cubicBezTo>
                  <a:pt x="1688" y="333"/>
                  <a:pt x="1688" y="333"/>
                  <a:pt x="1688" y="332"/>
                </a:cubicBezTo>
                <a:cubicBezTo>
                  <a:pt x="1687" y="332"/>
                  <a:pt x="1687" y="331"/>
                  <a:pt x="1687" y="331"/>
                </a:cubicBezTo>
                <a:cubicBezTo>
                  <a:pt x="1686" y="329"/>
                  <a:pt x="1686" y="328"/>
                  <a:pt x="1685" y="327"/>
                </a:cubicBezTo>
                <a:cubicBezTo>
                  <a:pt x="1685" y="325"/>
                  <a:pt x="1684" y="324"/>
                  <a:pt x="1684" y="322"/>
                </a:cubicBezTo>
                <a:cubicBezTo>
                  <a:pt x="1684" y="320"/>
                  <a:pt x="1683" y="319"/>
                  <a:pt x="1683" y="318"/>
                </a:cubicBezTo>
                <a:cubicBezTo>
                  <a:pt x="1683" y="317"/>
                  <a:pt x="1684" y="317"/>
                  <a:pt x="1684" y="316"/>
                </a:cubicBezTo>
                <a:cubicBezTo>
                  <a:pt x="1683" y="316"/>
                  <a:pt x="1683" y="315"/>
                  <a:pt x="1683" y="314"/>
                </a:cubicBezTo>
                <a:cubicBezTo>
                  <a:pt x="1683" y="313"/>
                  <a:pt x="1683" y="313"/>
                  <a:pt x="1683" y="312"/>
                </a:cubicBezTo>
                <a:cubicBezTo>
                  <a:pt x="1683" y="311"/>
                  <a:pt x="1683" y="311"/>
                  <a:pt x="1683" y="310"/>
                </a:cubicBezTo>
                <a:cubicBezTo>
                  <a:pt x="1683" y="310"/>
                  <a:pt x="1684" y="309"/>
                  <a:pt x="1684" y="309"/>
                </a:cubicBezTo>
                <a:cubicBezTo>
                  <a:pt x="1684" y="309"/>
                  <a:pt x="1685" y="309"/>
                  <a:pt x="1686" y="308"/>
                </a:cubicBezTo>
                <a:cubicBezTo>
                  <a:pt x="1686" y="308"/>
                  <a:pt x="1686" y="308"/>
                  <a:pt x="1686" y="307"/>
                </a:cubicBezTo>
                <a:cubicBezTo>
                  <a:pt x="1687" y="307"/>
                  <a:pt x="1687" y="307"/>
                  <a:pt x="1687" y="308"/>
                </a:cubicBezTo>
                <a:cubicBezTo>
                  <a:pt x="1687" y="307"/>
                  <a:pt x="1687" y="307"/>
                  <a:pt x="1687" y="307"/>
                </a:cubicBezTo>
                <a:cubicBezTo>
                  <a:pt x="1687" y="307"/>
                  <a:pt x="1687" y="307"/>
                  <a:pt x="1688" y="307"/>
                </a:cubicBezTo>
                <a:cubicBezTo>
                  <a:pt x="1688" y="306"/>
                  <a:pt x="1688" y="305"/>
                  <a:pt x="1688" y="305"/>
                </a:cubicBezTo>
                <a:cubicBezTo>
                  <a:pt x="1688" y="304"/>
                  <a:pt x="1688" y="303"/>
                  <a:pt x="1687" y="302"/>
                </a:cubicBezTo>
                <a:cubicBezTo>
                  <a:pt x="1687" y="302"/>
                  <a:pt x="1686" y="302"/>
                  <a:pt x="1686" y="302"/>
                </a:cubicBezTo>
                <a:cubicBezTo>
                  <a:pt x="1686" y="302"/>
                  <a:pt x="1686" y="301"/>
                  <a:pt x="1686" y="301"/>
                </a:cubicBezTo>
                <a:cubicBezTo>
                  <a:pt x="1686" y="301"/>
                  <a:pt x="1687" y="301"/>
                  <a:pt x="1687" y="301"/>
                </a:cubicBezTo>
                <a:cubicBezTo>
                  <a:pt x="1688" y="302"/>
                  <a:pt x="1688" y="302"/>
                  <a:pt x="1689" y="303"/>
                </a:cubicBezTo>
                <a:cubicBezTo>
                  <a:pt x="1690" y="302"/>
                  <a:pt x="1690" y="302"/>
                  <a:pt x="1691" y="302"/>
                </a:cubicBezTo>
                <a:cubicBezTo>
                  <a:pt x="1691" y="302"/>
                  <a:pt x="1691" y="302"/>
                  <a:pt x="1691" y="302"/>
                </a:cubicBezTo>
                <a:cubicBezTo>
                  <a:pt x="1691" y="301"/>
                  <a:pt x="1691" y="301"/>
                  <a:pt x="1691" y="300"/>
                </a:cubicBezTo>
                <a:cubicBezTo>
                  <a:pt x="1692" y="300"/>
                  <a:pt x="1692" y="301"/>
                  <a:pt x="1693" y="301"/>
                </a:cubicBezTo>
                <a:cubicBezTo>
                  <a:pt x="1693" y="301"/>
                  <a:pt x="1694" y="301"/>
                  <a:pt x="1694" y="301"/>
                </a:cubicBezTo>
                <a:cubicBezTo>
                  <a:pt x="1694" y="301"/>
                  <a:pt x="1694" y="301"/>
                  <a:pt x="1693" y="300"/>
                </a:cubicBezTo>
                <a:cubicBezTo>
                  <a:pt x="1694" y="300"/>
                  <a:pt x="1695" y="299"/>
                  <a:pt x="1696" y="299"/>
                </a:cubicBezTo>
                <a:cubicBezTo>
                  <a:pt x="1696" y="298"/>
                  <a:pt x="1696" y="298"/>
                  <a:pt x="1696" y="297"/>
                </a:cubicBezTo>
                <a:cubicBezTo>
                  <a:pt x="1696" y="297"/>
                  <a:pt x="1696" y="297"/>
                  <a:pt x="1697" y="296"/>
                </a:cubicBezTo>
                <a:cubicBezTo>
                  <a:pt x="1696" y="296"/>
                  <a:pt x="1696" y="295"/>
                  <a:pt x="1696" y="295"/>
                </a:cubicBezTo>
                <a:cubicBezTo>
                  <a:pt x="1697" y="295"/>
                  <a:pt x="1697" y="295"/>
                  <a:pt x="1697" y="295"/>
                </a:cubicBezTo>
                <a:cubicBezTo>
                  <a:pt x="1698" y="295"/>
                  <a:pt x="1698" y="294"/>
                  <a:pt x="1698" y="294"/>
                </a:cubicBezTo>
                <a:cubicBezTo>
                  <a:pt x="1698" y="294"/>
                  <a:pt x="1698" y="294"/>
                  <a:pt x="1698" y="293"/>
                </a:cubicBezTo>
                <a:cubicBezTo>
                  <a:pt x="1698" y="293"/>
                  <a:pt x="1698" y="293"/>
                  <a:pt x="1698" y="293"/>
                </a:cubicBezTo>
                <a:cubicBezTo>
                  <a:pt x="1699" y="293"/>
                  <a:pt x="1699" y="293"/>
                  <a:pt x="1699" y="293"/>
                </a:cubicBezTo>
                <a:cubicBezTo>
                  <a:pt x="1699" y="293"/>
                  <a:pt x="1699" y="292"/>
                  <a:pt x="1699" y="292"/>
                </a:cubicBezTo>
                <a:cubicBezTo>
                  <a:pt x="1699" y="292"/>
                  <a:pt x="1699" y="291"/>
                  <a:pt x="1699" y="291"/>
                </a:cubicBezTo>
                <a:cubicBezTo>
                  <a:pt x="1699" y="291"/>
                  <a:pt x="1699" y="291"/>
                  <a:pt x="1699" y="291"/>
                </a:cubicBezTo>
                <a:cubicBezTo>
                  <a:pt x="1699" y="291"/>
                  <a:pt x="1700" y="290"/>
                  <a:pt x="1700" y="290"/>
                </a:cubicBezTo>
                <a:cubicBezTo>
                  <a:pt x="1700" y="290"/>
                  <a:pt x="1700" y="290"/>
                  <a:pt x="1700" y="289"/>
                </a:cubicBezTo>
                <a:cubicBezTo>
                  <a:pt x="1700" y="289"/>
                  <a:pt x="1700" y="289"/>
                  <a:pt x="1700" y="289"/>
                </a:cubicBezTo>
                <a:cubicBezTo>
                  <a:pt x="1701" y="289"/>
                  <a:pt x="1701" y="289"/>
                  <a:pt x="1701" y="289"/>
                </a:cubicBezTo>
                <a:cubicBezTo>
                  <a:pt x="1702" y="289"/>
                  <a:pt x="1702" y="289"/>
                  <a:pt x="1702" y="289"/>
                </a:cubicBezTo>
                <a:cubicBezTo>
                  <a:pt x="1702" y="288"/>
                  <a:pt x="1702" y="288"/>
                  <a:pt x="1702" y="287"/>
                </a:cubicBezTo>
                <a:cubicBezTo>
                  <a:pt x="1703" y="287"/>
                  <a:pt x="1703" y="287"/>
                  <a:pt x="1703" y="286"/>
                </a:cubicBezTo>
                <a:cubicBezTo>
                  <a:pt x="1703" y="286"/>
                  <a:pt x="1703" y="286"/>
                  <a:pt x="1703" y="286"/>
                </a:cubicBezTo>
                <a:cubicBezTo>
                  <a:pt x="1703" y="286"/>
                  <a:pt x="1703" y="285"/>
                  <a:pt x="1703" y="285"/>
                </a:cubicBezTo>
                <a:cubicBezTo>
                  <a:pt x="1703" y="285"/>
                  <a:pt x="1704" y="285"/>
                  <a:pt x="1704" y="285"/>
                </a:cubicBezTo>
                <a:cubicBezTo>
                  <a:pt x="1704" y="284"/>
                  <a:pt x="1705" y="284"/>
                  <a:pt x="1705" y="284"/>
                </a:cubicBezTo>
                <a:cubicBezTo>
                  <a:pt x="1704" y="284"/>
                  <a:pt x="1704" y="284"/>
                  <a:pt x="1704" y="283"/>
                </a:cubicBezTo>
                <a:cubicBezTo>
                  <a:pt x="1704" y="283"/>
                  <a:pt x="1704" y="283"/>
                  <a:pt x="1704" y="282"/>
                </a:cubicBezTo>
                <a:cubicBezTo>
                  <a:pt x="1704" y="282"/>
                  <a:pt x="1704" y="282"/>
                  <a:pt x="1705" y="282"/>
                </a:cubicBezTo>
                <a:cubicBezTo>
                  <a:pt x="1705" y="282"/>
                  <a:pt x="1705" y="282"/>
                  <a:pt x="1705" y="282"/>
                </a:cubicBezTo>
                <a:cubicBezTo>
                  <a:pt x="1705" y="282"/>
                  <a:pt x="1706" y="282"/>
                  <a:pt x="1706" y="282"/>
                </a:cubicBezTo>
                <a:cubicBezTo>
                  <a:pt x="1706" y="282"/>
                  <a:pt x="1706" y="282"/>
                  <a:pt x="1706" y="282"/>
                </a:cubicBezTo>
                <a:cubicBezTo>
                  <a:pt x="1707" y="282"/>
                  <a:pt x="1707" y="282"/>
                  <a:pt x="1708" y="282"/>
                </a:cubicBezTo>
                <a:cubicBezTo>
                  <a:pt x="1708" y="281"/>
                  <a:pt x="1708" y="281"/>
                  <a:pt x="1708" y="281"/>
                </a:cubicBezTo>
                <a:cubicBezTo>
                  <a:pt x="1709" y="281"/>
                  <a:pt x="1709" y="281"/>
                  <a:pt x="1710" y="281"/>
                </a:cubicBezTo>
                <a:cubicBezTo>
                  <a:pt x="1710" y="281"/>
                  <a:pt x="1710" y="281"/>
                  <a:pt x="1710" y="281"/>
                </a:cubicBezTo>
                <a:cubicBezTo>
                  <a:pt x="1711" y="281"/>
                  <a:pt x="1711" y="281"/>
                  <a:pt x="1712" y="281"/>
                </a:cubicBezTo>
                <a:cubicBezTo>
                  <a:pt x="1712" y="281"/>
                  <a:pt x="1712" y="281"/>
                  <a:pt x="1712" y="281"/>
                </a:cubicBezTo>
                <a:cubicBezTo>
                  <a:pt x="1712" y="281"/>
                  <a:pt x="1713" y="281"/>
                  <a:pt x="1713" y="281"/>
                </a:cubicBezTo>
                <a:cubicBezTo>
                  <a:pt x="1713" y="281"/>
                  <a:pt x="1713" y="281"/>
                  <a:pt x="1713" y="280"/>
                </a:cubicBezTo>
                <a:cubicBezTo>
                  <a:pt x="1712" y="280"/>
                  <a:pt x="1712" y="280"/>
                  <a:pt x="1712" y="280"/>
                </a:cubicBezTo>
                <a:cubicBezTo>
                  <a:pt x="1711" y="280"/>
                  <a:pt x="1711" y="280"/>
                  <a:pt x="1711" y="280"/>
                </a:cubicBezTo>
                <a:cubicBezTo>
                  <a:pt x="1710" y="280"/>
                  <a:pt x="1710" y="279"/>
                  <a:pt x="1710" y="279"/>
                </a:cubicBezTo>
                <a:cubicBezTo>
                  <a:pt x="1710" y="279"/>
                  <a:pt x="1710" y="278"/>
                  <a:pt x="1711" y="278"/>
                </a:cubicBezTo>
                <a:cubicBezTo>
                  <a:pt x="1711" y="278"/>
                  <a:pt x="1711" y="277"/>
                  <a:pt x="1712" y="277"/>
                </a:cubicBezTo>
                <a:cubicBezTo>
                  <a:pt x="1712" y="277"/>
                  <a:pt x="1712" y="277"/>
                  <a:pt x="1712" y="276"/>
                </a:cubicBezTo>
                <a:cubicBezTo>
                  <a:pt x="1711" y="276"/>
                  <a:pt x="1711" y="276"/>
                  <a:pt x="1711" y="276"/>
                </a:cubicBezTo>
                <a:cubicBezTo>
                  <a:pt x="1711" y="275"/>
                  <a:pt x="1711" y="275"/>
                  <a:pt x="1711" y="275"/>
                </a:cubicBezTo>
                <a:cubicBezTo>
                  <a:pt x="1711" y="275"/>
                  <a:pt x="1710" y="275"/>
                  <a:pt x="1710" y="276"/>
                </a:cubicBezTo>
                <a:cubicBezTo>
                  <a:pt x="1710" y="276"/>
                  <a:pt x="1710" y="275"/>
                  <a:pt x="1710" y="275"/>
                </a:cubicBezTo>
                <a:cubicBezTo>
                  <a:pt x="1710" y="275"/>
                  <a:pt x="1710" y="274"/>
                  <a:pt x="1710" y="274"/>
                </a:cubicBezTo>
                <a:cubicBezTo>
                  <a:pt x="1711" y="274"/>
                  <a:pt x="1711" y="274"/>
                  <a:pt x="1711" y="273"/>
                </a:cubicBezTo>
                <a:cubicBezTo>
                  <a:pt x="1711" y="273"/>
                  <a:pt x="1711" y="273"/>
                  <a:pt x="1711" y="273"/>
                </a:cubicBezTo>
                <a:cubicBezTo>
                  <a:pt x="1711" y="273"/>
                  <a:pt x="1711" y="272"/>
                  <a:pt x="1711" y="272"/>
                </a:cubicBezTo>
                <a:cubicBezTo>
                  <a:pt x="1711" y="272"/>
                  <a:pt x="1711" y="272"/>
                  <a:pt x="1710" y="271"/>
                </a:cubicBezTo>
                <a:cubicBezTo>
                  <a:pt x="1710" y="271"/>
                  <a:pt x="1711" y="271"/>
                  <a:pt x="1711" y="271"/>
                </a:cubicBezTo>
                <a:cubicBezTo>
                  <a:pt x="1711" y="271"/>
                  <a:pt x="1711" y="271"/>
                  <a:pt x="1711" y="271"/>
                </a:cubicBezTo>
                <a:cubicBezTo>
                  <a:pt x="1711" y="271"/>
                  <a:pt x="1711" y="271"/>
                  <a:pt x="1711" y="271"/>
                </a:cubicBezTo>
                <a:cubicBezTo>
                  <a:pt x="1710" y="270"/>
                  <a:pt x="1710" y="270"/>
                  <a:pt x="1710" y="269"/>
                </a:cubicBezTo>
                <a:cubicBezTo>
                  <a:pt x="1710" y="269"/>
                  <a:pt x="1710" y="269"/>
                  <a:pt x="1710" y="269"/>
                </a:cubicBezTo>
                <a:cubicBezTo>
                  <a:pt x="1710" y="269"/>
                  <a:pt x="1710" y="268"/>
                  <a:pt x="1709" y="268"/>
                </a:cubicBezTo>
                <a:cubicBezTo>
                  <a:pt x="1709" y="268"/>
                  <a:pt x="1709" y="268"/>
                  <a:pt x="1710" y="267"/>
                </a:cubicBezTo>
                <a:cubicBezTo>
                  <a:pt x="1709" y="267"/>
                  <a:pt x="1709" y="267"/>
                  <a:pt x="1709" y="266"/>
                </a:cubicBezTo>
                <a:cubicBezTo>
                  <a:pt x="1709" y="266"/>
                  <a:pt x="1710" y="266"/>
                  <a:pt x="1710" y="266"/>
                </a:cubicBezTo>
                <a:cubicBezTo>
                  <a:pt x="1710" y="266"/>
                  <a:pt x="1711" y="266"/>
                  <a:pt x="1712" y="265"/>
                </a:cubicBezTo>
                <a:cubicBezTo>
                  <a:pt x="1712" y="266"/>
                  <a:pt x="1712" y="266"/>
                  <a:pt x="1713" y="266"/>
                </a:cubicBezTo>
                <a:cubicBezTo>
                  <a:pt x="1713" y="266"/>
                  <a:pt x="1714" y="266"/>
                  <a:pt x="1714" y="266"/>
                </a:cubicBezTo>
                <a:cubicBezTo>
                  <a:pt x="1714" y="266"/>
                  <a:pt x="1714" y="266"/>
                  <a:pt x="1713" y="266"/>
                </a:cubicBezTo>
                <a:cubicBezTo>
                  <a:pt x="1714" y="266"/>
                  <a:pt x="1715" y="266"/>
                  <a:pt x="1715" y="266"/>
                </a:cubicBezTo>
                <a:cubicBezTo>
                  <a:pt x="1715" y="266"/>
                  <a:pt x="1715" y="266"/>
                  <a:pt x="1714" y="266"/>
                </a:cubicBezTo>
                <a:cubicBezTo>
                  <a:pt x="1714" y="265"/>
                  <a:pt x="1714" y="265"/>
                  <a:pt x="1713" y="265"/>
                </a:cubicBezTo>
                <a:cubicBezTo>
                  <a:pt x="1713" y="265"/>
                  <a:pt x="1713" y="265"/>
                  <a:pt x="1713" y="265"/>
                </a:cubicBezTo>
                <a:cubicBezTo>
                  <a:pt x="1712" y="264"/>
                  <a:pt x="1712" y="264"/>
                  <a:pt x="1711" y="264"/>
                </a:cubicBezTo>
                <a:cubicBezTo>
                  <a:pt x="1711" y="264"/>
                  <a:pt x="1710" y="263"/>
                  <a:pt x="1710" y="263"/>
                </a:cubicBezTo>
                <a:cubicBezTo>
                  <a:pt x="1710" y="263"/>
                  <a:pt x="1710" y="263"/>
                  <a:pt x="1709" y="263"/>
                </a:cubicBezTo>
                <a:cubicBezTo>
                  <a:pt x="1709" y="262"/>
                  <a:pt x="1709" y="262"/>
                  <a:pt x="1708" y="262"/>
                </a:cubicBezTo>
                <a:cubicBezTo>
                  <a:pt x="1708" y="262"/>
                  <a:pt x="1707" y="262"/>
                  <a:pt x="1707" y="262"/>
                </a:cubicBezTo>
                <a:cubicBezTo>
                  <a:pt x="1706" y="262"/>
                  <a:pt x="1706" y="262"/>
                  <a:pt x="1706" y="262"/>
                </a:cubicBezTo>
                <a:cubicBezTo>
                  <a:pt x="1705" y="262"/>
                  <a:pt x="1704" y="262"/>
                  <a:pt x="1704" y="262"/>
                </a:cubicBezTo>
                <a:cubicBezTo>
                  <a:pt x="1704" y="262"/>
                  <a:pt x="1704" y="263"/>
                  <a:pt x="1704" y="263"/>
                </a:cubicBezTo>
                <a:cubicBezTo>
                  <a:pt x="1704" y="263"/>
                  <a:pt x="1704" y="263"/>
                  <a:pt x="1704" y="263"/>
                </a:cubicBezTo>
                <a:cubicBezTo>
                  <a:pt x="1704" y="264"/>
                  <a:pt x="1704" y="264"/>
                  <a:pt x="1705" y="264"/>
                </a:cubicBezTo>
                <a:cubicBezTo>
                  <a:pt x="1705" y="265"/>
                  <a:pt x="1705" y="265"/>
                  <a:pt x="1705" y="265"/>
                </a:cubicBezTo>
                <a:cubicBezTo>
                  <a:pt x="1704" y="265"/>
                  <a:pt x="1704" y="265"/>
                  <a:pt x="1704" y="265"/>
                </a:cubicBezTo>
                <a:cubicBezTo>
                  <a:pt x="1704" y="266"/>
                  <a:pt x="1704" y="266"/>
                  <a:pt x="1704" y="266"/>
                </a:cubicBezTo>
                <a:cubicBezTo>
                  <a:pt x="1704" y="267"/>
                  <a:pt x="1704" y="267"/>
                  <a:pt x="1705" y="267"/>
                </a:cubicBezTo>
                <a:cubicBezTo>
                  <a:pt x="1705" y="267"/>
                  <a:pt x="1705" y="268"/>
                  <a:pt x="1705" y="268"/>
                </a:cubicBezTo>
                <a:cubicBezTo>
                  <a:pt x="1705" y="268"/>
                  <a:pt x="1705" y="268"/>
                  <a:pt x="1705" y="268"/>
                </a:cubicBezTo>
                <a:cubicBezTo>
                  <a:pt x="1705" y="269"/>
                  <a:pt x="1705" y="269"/>
                  <a:pt x="1705" y="270"/>
                </a:cubicBezTo>
                <a:cubicBezTo>
                  <a:pt x="1706" y="270"/>
                  <a:pt x="1706" y="271"/>
                  <a:pt x="1707" y="271"/>
                </a:cubicBezTo>
                <a:cubicBezTo>
                  <a:pt x="1706" y="271"/>
                  <a:pt x="1706" y="271"/>
                  <a:pt x="1706" y="272"/>
                </a:cubicBezTo>
                <a:cubicBezTo>
                  <a:pt x="1706" y="272"/>
                  <a:pt x="1706" y="272"/>
                  <a:pt x="1707" y="272"/>
                </a:cubicBezTo>
                <a:cubicBezTo>
                  <a:pt x="1706" y="273"/>
                  <a:pt x="1706" y="273"/>
                  <a:pt x="1706" y="273"/>
                </a:cubicBezTo>
                <a:cubicBezTo>
                  <a:pt x="1706" y="272"/>
                  <a:pt x="1706" y="272"/>
                  <a:pt x="1705" y="272"/>
                </a:cubicBezTo>
                <a:cubicBezTo>
                  <a:pt x="1705" y="272"/>
                  <a:pt x="1705" y="271"/>
                  <a:pt x="1705" y="271"/>
                </a:cubicBezTo>
                <a:cubicBezTo>
                  <a:pt x="1705" y="271"/>
                  <a:pt x="1704" y="271"/>
                  <a:pt x="1704" y="271"/>
                </a:cubicBezTo>
                <a:cubicBezTo>
                  <a:pt x="1703" y="271"/>
                  <a:pt x="1703" y="271"/>
                  <a:pt x="1703" y="271"/>
                </a:cubicBezTo>
                <a:cubicBezTo>
                  <a:pt x="1702" y="271"/>
                  <a:pt x="1702" y="271"/>
                  <a:pt x="1701" y="272"/>
                </a:cubicBezTo>
                <a:cubicBezTo>
                  <a:pt x="1702" y="272"/>
                  <a:pt x="1702" y="272"/>
                  <a:pt x="1702" y="272"/>
                </a:cubicBezTo>
                <a:cubicBezTo>
                  <a:pt x="1702" y="273"/>
                  <a:pt x="1701" y="273"/>
                  <a:pt x="1701" y="273"/>
                </a:cubicBezTo>
                <a:cubicBezTo>
                  <a:pt x="1701" y="273"/>
                  <a:pt x="1701" y="273"/>
                  <a:pt x="1701" y="273"/>
                </a:cubicBezTo>
                <a:cubicBezTo>
                  <a:pt x="1701" y="273"/>
                  <a:pt x="1701" y="273"/>
                  <a:pt x="1701" y="273"/>
                </a:cubicBezTo>
                <a:cubicBezTo>
                  <a:pt x="1701" y="274"/>
                  <a:pt x="1701" y="274"/>
                  <a:pt x="1701" y="274"/>
                </a:cubicBezTo>
                <a:cubicBezTo>
                  <a:pt x="1701" y="274"/>
                  <a:pt x="1701" y="274"/>
                  <a:pt x="1701" y="274"/>
                </a:cubicBezTo>
                <a:cubicBezTo>
                  <a:pt x="1700" y="274"/>
                  <a:pt x="1700" y="274"/>
                  <a:pt x="1699" y="274"/>
                </a:cubicBezTo>
                <a:cubicBezTo>
                  <a:pt x="1700" y="275"/>
                  <a:pt x="1700" y="275"/>
                  <a:pt x="1700" y="275"/>
                </a:cubicBezTo>
                <a:cubicBezTo>
                  <a:pt x="1700" y="275"/>
                  <a:pt x="1699" y="275"/>
                  <a:pt x="1699" y="275"/>
                </a:cubicBezTo>
                <a:cubicBezTo>
                  <a:pt x="1699" y="276"/>
                  <a:pt x="1699" y="277"/>
                  <a:pt x="1698" y="277"/>
                </a:cubicBezTo>
                <a:cubicBezTo>
                  <a:pt x="1698" y="277"/>
                  <a:pt x="1698" y="277"/>
                  <a:pt x="1698" y="277"/>
                </a:cubicBezTo>
                <a:cubicBezTo>
                  <a:pt x="1698" y="277"/>
                  <a:pt x="1698" y="278"/>
                  <a:pt x="1697" y="278"/>
                </a:cubicBezTo>
                <a:cubicBezTo>
                  <a:pt x="1697" y="278"/>
                  <a:pt x="1697" y="278"/>
                  <a:pt x="1697" y="278"/>
                </a:cubicBezTo>
                <a:cubicBezTo>
                  <a:pt x="1696" y="278"/>
                  <a:pt x="1696" y="278"/>
                  <a:pt x="1695" y="278"/>
                </a:cubicBezTo>
                <a:cubicBezTo>
                  <a:pt x="1695" y="278"/>
                  <a:pt x="1695" y="278"/>
                  <a:pt x="1695" y="278"/>
                </a:cubicBezTo>
                <a:cubicBezTo>
                  <a:pt x="1695" y="277"/>
                  <a:pt x="1695" y="277"/>
                  <a:pt x="1695" y="277"/>
                </a:cubicBezTo>
                <a:cubicBezTo>
                  <a:pt x="1695" y="276"/>
                  <a:pt x="1696" y="276"/>
                  <a:pt x="1696" y="276"/>
                </a:cubicBezTo>
                <a:cubicBezTo>
                  <a:pt x="1696" y="276"/>
                  <a:pt x="1696" y="276"/>
                  <a:pt x="1696" y="275"/>
                </a:cubicBezTo>
                <a:cubicBezTo>
                  <a:pt x="1695" y="275"/>
                  <a:pt x="1695" y="275"/>
                  <a:pt x="1695" y="275"/>
                </a:cubicBezTo>
                <a:cubicBezTo>
                  <a:pt x="1695" y="275"/>
                  <a:pt x="1694" y="275"/>
                  <a:pt x="1694" y="275"/>
                </a:cubicBezTo>
                <a:cubicBezTo>
                  <a:pt x="1694" y="275"/>
                  <a:pt x="1694" y="276"/>
                  <a:pt x="1694" y="276"/>
                </a:cubicBezTo>
                <a:cubicBezTo>
                  <a:pt x="1693" y="276"/>
                  <a:pt x="1693" y="276"/>
                  <a:pt x="1693" y="276"/>
                </a:cubicBezTo>
                <a:cubicBezTo>
                  <a:pt x="1693" y="275"/>
                  <a:pt x="1693" y="275"/>
                  <a:pt x="1693" y="274"/>
                </a:cubicBezTo>
                <a:cubicBezTo>
                  <a:pt x="1693" y="274"/>
                  <a:pt x="1693" y="274"/>
                  <a:pt x="1692" y="274"/>
                </a:cubicBezTo>
                <a:cubicBezTo>
                  <a:pt x="1692" y="274"/>
                  <a:pt x="1692" y="273"/>
                  <a:pt x="1692" y="273"/>
                </a:cubicBezTo>
                <a:cubicBezTo>
                  <a:pt x="1692" y="273"/>
                  <a:pt x="1691" y="273"/>
                  <a:pt x="1691" y="273"/>
                </a:cubicBezTo>
                <a:cubicBezTo>
                  <a:pt x="1691" y="273"/>
                  <a:pt x="1691" y="273"/>
                  <a:pt x="1691" y="273"/>
                </a:cubicBezTo>
                <a:cubicBezTo>
                  <a:pt x="1691" y="273"/>
                  <a:pt x="1691" y="273"/>
                  <a:pt x="1691" y="273"/>
                </a:cubicBezTo>
                <a:cubicBezTo>
                  <a:pt x="1691" y="273"/>
                  <a:pt x="1691" y="273"/>
                  <a:pt x="1692" y="273"/>
                </a:cubicBezTo>
                <a:cubicBezTo>
                  <a:pt x="1692" y="272"/>
                  <a:pt x="1692" y="272"/>
                  <a:pt x="1691" y="272"/>
                </a:cubicBezTo>
                <a:cubicBezTo>
                  <a:pt x="1692" y="272"/>
                  <a:pt x="1692" y="272"/>
                  <a:pt x="1692" y="272"/>
                </a:cubicBezTo>
                <a:cubicBezTo>
                  <a:pt x="1692" y="272"/>
                  <a:pt x="1692" y="272"/>
                  <a:pt x="1692" y="272"/>
                </a:cubicBezTo>
                <a:cubicBezTo>
                  <a:pt x="1692" y="271"/>
                  <a:pt x="1692" y="271"/>
                  <a:pt x="1692" y="271"/>
                </a:cubicBezTo>
                <a:cubicBezTo>
                  <a:pt x="1692" y="271"/>
                  <a:pt x="1692" y="271"/>
                  <a:pt x="1692" y="270"/>
                </a:cubicBezTo>
                <a:cubicBezTo>
                  <a:pt x="1692" y="270"/>
                  <a:pt x="1692" y="270"/>
                  <a:pt x="1693" y="270"/>
                </a:cubicBezTo>
                <a:cubicBezTo>
                  <a:pt x="1693" y="270"/>
                  <a:pt x="1693" y="270"/>
                  <a:pt x="1693" y="269"/>
                </a:cubicBezTo>
                <a:cubicBezTo>
                  <a:pt x="1692" y="269"/>
                  <a:pt x="1692" y="269"/>
                  <a:pt x="1692" y="269"/>
                </a:cubicBezTo>
                <a:cubicBezTo>
                  <a:pt x="1692" y="269"/>
                  <a:pt x="1692" y="269"/>
                  <a:pt x="1693" y="269"/>
                </a:cubicBezTo>
                <a:cubicBezTo>
                  <a:pt x="1693" y="268"/>
                  <a:pt x="1693" y="268"/>
                  <a:pt x="1693" y="268"/>
                </a:cubicBezTo>
                <a:cubicBezTo>
                  <a:pt x="1693" y="268"/>
                  <a:pt x="1692" y="267"/>
                  <a:pt x="1692" y="267"/>
                </a:cubicBezTo>
                <a:cubicBezTo>
                  <a:pt x="1692" y="267"/>
                  <a:pt x="1692" y="266"/>
                  <a:pt x="1692" y="266"/>
                </a:cubicBezTo>
                <a:cubicBezTo>
                  <a:pt x="1692" y="266"/>
                  <a:pt x="1692" y="266"/>
                  <a:pt x="1691" y="266"/>
                </a:cubicBezTo>
                <a:cubicBezTo>
                  <a:pt x="1691" y="266"/>
                  <a:pt x="1691" y="267"/>
                  <a:pt x="1691" y="267"/>
                </a:cubicBezTo>
                <a:cubicBezTo>
                  <a:pt x="1691" y="267"/>
                  <a:pt x="1690" y="267"/>
                  <a:pt x="1690" y="267"/>
                </a:cubicBezTo>
                <a:cubicBezTo>
                  <a:pt x="1690" y="267"/>
                  <a:pt x="1690" y="267"/>
                  <a:pt x="1690" y="268"/>
                </a:cubicBezTo>
                <a:cubicBezTo>
                  <a:pt x="1689" y="268"/>
                  <a:pt x="1689" y="268"/>
                  <a:pt x="1689" y="268"/>
                </a:cubicBezTo>
                <a:cubicBezTo>
                  <a:pt x="1688" y="268"/>
                  <a:pt x="1688" y="268"/>
                  <a:pt x="1688" y="268"/>
                </a:cubicBezTo>
                <a:cubicBezTo>
                  <a:pt x="1688" y="267"/>
                  <a:pt x="1688" y="267"/>
                  <a:pt x="1688" y="267"/>
                </a:cubicBezTo>
                <a:cubicBezTo>
                  <a:pt x="1688" y="267"/>
                  <a:pt x="1688" y="266"/>
                  <a:pt x="1687" y="266"/>
                </a:cubicBezTo>
                <a:cubicBezTo>
                  <a:pt x="1687" y="266"/>
                  <a:pt x="1687" y="266"/>
                  <a:pt x="1687" y="266"/>
                </a:cubicBezTo>
                <a:cubicBezTo>
                  <a:pt x="1687" y="266"/>
                  <a:pt x="1687" y="266"/>
                  <a:pt x="1687" y="266"/>
                </a:cubicBezTo>
                <a:cubicBezTo>
                  <a:pt x="1686" y="265"/>
                  <a:pt x="1686" y="265"/>
                  <a:pt x="1686" y="265"/>
                </a:cubicBezTo>
                <a:cubicBezTo>
                  <a:pt x="1685" y="265"/>
                  <a:pt x="1685" y="265"/>
                  <a:pt x="1685" y="265"/>
                </a:cubicBezTo>
                <a:cubicBezTo>
                  <a:pt x="1685" y="265"/>
                  <a:pt x="1685" y="265"/>
                  <a:pt x="1685" y="265"/>
                </a:cubicBezTo>
                <a:cubicBezTo>
                  <a:pt x="1684" y="265"/>
                  <a:pt x="1684" y="265"/>
                  <a:pt x="1684" y="266"/>
                </a:cubicBezTo>
                <a:cubicBezTo>
                  <a:pt x="1684" y="266"/>
                  <a:pt x="1684" y="265"/>
                  <a:pt x="1683" y="265"/>
                </a:cubicBezTo>
                <a:cubicBezTo>
                  <a:pt x="1683" y="265"/>
                  <a:pt x="1683" y="266"/>
                  <a:pt x="1683" y="266"/>
                </a:cubicBezTo>
                <a:cubicBezTo>
                  <a:pt x="1682" y="265"/>
                  <a:pt x="1682" y="265"/>
                  <a:pt x="1681" y="265"/>
                </a:cubicBezTo>
                <a:cubicBezTo>
                  <a:pt x="1681" y="265"/>
                  <a:pt x="1680" y="265"/>
                  <a:pt x="1680" y="265"/>
                </a:cubicBezTo>
                <a:cubicBezTo>
                  <a:pt x="1680" y="265"/>
                  <a:pt x="1680" y="265"/>
                  <a:pt x="1679" y="265"/>
                </a:cubicBezTo>
                <a:cubicBezTo>
                  <a:pt x="1679" y="265"/>
                  <a:pt x="1679" y="265"/>
                  <a:pt x="1679" y="265"/>
                </a:cubicBezTo>
                <a:cubicBezTo>
                  <a:pt x="1678" y="265"/>
                  <a:pt x="1678" y="264"/>
                  <a:pt x="1677" y="264"/>
                </a:cubicBezTo>
                <a:cubicBezTo>
                  <a:pt x="1677" y="264"/>
                  <a:pt x="1676" y="265"/>
                  <a:pt x="1676" y="265"/>
                </a:cubicBezTo>
                <a:cubicBezTo>
                  <a:pt x="1675" y="265"/>
                  <a:pt x="1675" y="265"/>
                  <a:pt x="1675" y="265"/>
                </a:cubicBezTo>
                <a:cubicBezTo>
                  <a:pt x="1675" y="265"/>
                  <a:pt x="1675" y="265"/>
                  <a:pt x="1675" y="266"/>
                </a:cubicBezTo>
                <a:cubicBezTo>
                  <a:pt x="1674" y="266"/>
                  <a:pt x="1674" y="266"/>
                  <a:pt x="1673" y="266"/>
                </a:cubicBezTo>
                <a:cubicBezTo>
                  <a:pt x="1673" y="266"/>
                  <a:pt x="1673" y="266"/>
                  <a:pt x="1673" y="266"/>
                </a:cubicBezTo>
                <a:cubicBezTo>
                  <a:pt x="1673" y="266"/>
                  <a:pt x="1674" y="267"/>
                  <a:pt x="1674" y="267"/>
                </a:cubicBezTo>
                <a:cubicBezTo>
                  <a:pt x="1674" y="267"/>
                  <a:pt x="1674" y="267"/>
                  <a:pt x="1674" y="268"/>
                </a:cubicBezTo>
                <a:cubicBezTo>
                  <a:pt x="1674" y="268"/>
                  <a:pt x="1674" y="269"/>
                  <a:pt x="1674" y="269"/>
                </a:cubicBezTo>
                <a:cubicBezTo>
                  <a:pt x="1674" y="269"/>
                  <a:pt x="1674" y="269"/>
                  <a:pt x="1673" y="269"/>
                </a:cubicBezTo>
                <a:cubicBezTo>
                  <a:pt x="1673" y="270"/>
                  <a:pt x="1672" y="271"/>
                  <a:pt x="1672" y="271"/>
                </a:cubicBezTo>
                <a:cubicBezTo>
                  <a:pt x="1672" y="272"/>
                  <a:pt x="1672" y="273"/>
                  <a:pt x="1673" y="273"/>
                </a:cubicBezTo>
                <a:cubicBezTo>
                  <a:pt x="1672" y="273"/>
                  <a:pt x="1672" y="273"/>
                  <a:pt x="1671" y="273"/>
                </a:cubicBezTo>
                <a:cubicBezTo>
                  <a:pt x="1671" y="273"/>
                  <a:pt x="1672" y="273"/>
                  <a:pt x="1672" y="273"/>
                </a:cubicBezTo>
                <a:cubicBezTo>
                  <a:pt x="1672" y="273"/>
                  <a:pt x="1671" y="274"/>
                  <a:pt x="1671" y="274"/>
                </a:cubicBezTo>
                <a:cubicBezTo>
                  <a:pt x="1671" y="274"/>
                  <a:pt x="1670" y="274"/>
                  <a:pt x="1670" y="274"/>
                </a:cubicBezTo>
                <a:cubicBezTo>
                  <a:pt x="1670" y="274"/>
                  <a:pt x="1670" y="275"/>
                  <a:pt x="1669" y="275"/>
                </a:cubicBezTo>
                <a:cubicBezTo>
                  <a:pt x="1669" y="275"/>
                  <a:pt x="1669" y="275"/>
                  <a:pt x="1668" y="275"/>
                </a:cubicBezTo>
                <a:cubicBezTo>
                  <a:pt x="1668" y="276"/>
                  <a:pt x="1668" y="276"/>
                  <a:pt x="1668" y="276"/>
                </a:cubicBezTo>
                <a:cubicBezTo>
                  <a:pt x="1668" y="276"/>
                  <a:pt x="1667" y="277"/>
                  <a:pt x="1667" y="277"/>
                </a:cubicBezTo>
                <a:cubicBezTo>
                  <a:pt x="1667" y="278"/>
                  <a:pt x="1667" y="278"/>
                  <a:pt x="1668" y="278"/>
                </a:cubicBezTo>
                <a:cubicBezTo>
                  <a:pt x="1667" y="278"/>
                  <a:pt x="1667" y="278"/>
                  <a:pt x="1667" y="279"/>
                </a:cubicBezTo>
                <a:cubicBezTo>
                  <a:pt x="1667" y="279"/>
                  <a:pt x="1667" y="280"/>
                  <a:pt x="1667" y="280"/>
                </a:cubicBezTo>
                <a:cubicBezTo>
                  <a:pt x="1667" y="280"/>
                  <a:pt x="1667" y="280"/>
                  <a:pt x="1667" y="280"/>
                </a:cubicBezTo>
                <a:cubicBezTo>
                  <a:pt x="1667" y="280"/>
                  <a:pt x="1667" y="281"/>
                  <a:pt x="1666" y="281"/>
                </a:cubicBezTo>
                <a:cubicBezTo>
                  <a:pt x="1667" y="281"/>
                  <a:pt x="1667" y="281"/>
                  <a:pt x="1667" y="281"/>
                </a:cubicBezTo>
                <a:cubicBezTo>
                  <a:pt x="1667" y="281"/>
                  <a:pt x="1667" y="281"/>
                  <a:pt x="1668" y="281"/>
                </a:cubicBezTo>
                <a:cubicBezTo>
                  <a:pt x="1668" y="281"/>
                  <a:pt x="1668" y="282"/>
                  <a:pt x="1669" y="282"/>
                </a:cubicBezTo>
                <a:cubicBezTo>
                  <a:pt x="1669" y="282"/>
                  <a:pt x="1669" y="282"/>
                  <a:pt x="1669" y="281"/>
                </a:cubicBezTo>
                <a:cubicBezTo>
                  <a:pt x="1669" y="281"/>
                  <a:pt x="1669" y="281"/>
                  <a:pt x="1669" y="281"/>
                </a:cubicBezTo>
                <a:cubicBezTo>
                  <a:pt x="1669" y="282"/>
                  <a:pt x="1670" y="282"/>
                  <a:pt x="1670" y="282"/>
                </a:cubicBezTo>
                <a:cubicBezTo>
                  <a:pt x="1670" y="282"/>
                  <a:pt x="1670" y="282"/>
                  <a:pt x="1670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2" y="283"/>
                  <a:pt x="1672" y="283"/>
                  <a:pt x="1672" y="283"/>
                </a:cubicBezTo>
                <a:cubicBezTo>
                  <a:pt x="1672" y="283"/>
                  <a:pt x="1672" y="283"/>
                  <a:pt x="1672" y="284"/>
                </a:cubicBezTo>
                <a:cubicBezTo>
                  <a:pt x="1672" y="284"/>
                  <a:pt x="1672" y="284"/>
                  <a:pt x="1672" y="284"/>
                </a:cubicBezTo>
                <a:cubicBezTo>
                  <a:pt x="1672" y="284"/>
                  <a:pt x="1672" y="284"/>
                  <a:pt x="1673" y="285"/>
                </a:cubicBezTo>
                <a:cubicBezTo>
                  <a:pt x="1672" y="285"/>
                  <a:pt x="1672" y="285"/>
                  <a:pt x="1672" y="285"/>
                </a:cubicBezTo>
                <a:cubicBezTo>
                  <a:pt x="1672" y="285"/>
                  <a:pt x="1672" y="285"/>
                  <a:pt x="1671" y="285"/>
                </a:cubicBezTo>
                <a:cubicBezTo>
                  <a:pt x="1671" y="285"/>
                  <a:pt x="1671" y="285"/>
                  <a:pt x="1671" y="285"/>
                </a:cubicBezTo>
                <a:cubicBezTo>
                  <a:pt x="1670" y="284"/>
                  <a:pt x="1670" y="284"/>
                  <a:pt x="1670" y="284"/>
                </a:cubicBezTo>
                <a:cubicBezTo>
                  <a:pt x="1670" y="284"/>
                  <a:pt x="1669" y="284"/>
                  <a:pt x="1669" y="284"/>
                </a:cubicBezTo>
                <a:cubicBezTo>
                  <a:pt x="1669" y="284"/>
                  <a:pt x="1669" y="284"/>
                  <a:pt x="1669" y="284"/>
                </a:cubicBezTo>
                <a:cubicBezTo>
                  <a:pt x="1669" y="285"/>
                  <a:pt x="1669" y="285"/>
                  <a:pt x="1669" y="285"/>
                </a:cubicBezTo>
                <a:cubicBezTo>
                  <a:pt x="1669" y="285"/>
                  <a:pt x="1668" y="285"/>
                  <a:pt x="1667" y="285"/>
                </a:cubicBezTo>
                <a:cubicBezTo>
                  <a:pt x="1667" y="285"/>
                  <a:pt x="1667" y="285"/>
                  <a:pt x="1667" y="285"/>
                </a:cubicBezTo>
                <a:cubicBezTo>
                  <a:pt x="1667" y="285"/>
                  <a:pt x="1667" y="284"/>
                  <a:pt x="1667" y="284"/>
                </a:cubicBezTo>
                <a:cubicBezTo>
                  <a:pt x="1667" y="284"/>
                  <a:pt x="1667" y="284"/>
                  <a:pt x="1666" y="284"/>
                </a:cubicBezTo>
                <a:cubicBezTo>
                  <a:pt x="1666" y="284"/>
                  <a:pt x="1666" y="284"/>
                  <a:pt x="1666" y="284"/>
                </a:cubicBezTo>
                <a:cubicBezTo>
                  <a:pt x="1665" y="283"/>
                  <a:pt x="1665" y="283"/>
                  <a:pt x="1665" y="283"/>
                </a:cubicBezTo>
                <a:cubicBezTo>
                  <a:pt x="1665" y="283"/>
                  <a:pt x="1665" y="283"/>
                  <a:pt x="1664" y="283"/>
                </a:cubicBezTo>
                <a:cubicBezTo>
                  <a:pt x="1664" y="283"/>
                  <a:pt x="1664" y="283"/>
                  <a:pt x="1664" y="283"/>
                </a:cubicBezTo>
                <a:cubicBezTo>
                  <a:pt x="1664" y="284"/>
                  <a:pt x="1664" y="284"/>
                  <a:pt x="1664" y="284"/>
                </a:cubicBezTo>
                <a:cubicBezTo>
                  <a:pt x="1664" y="284"/>
                  <a:pt x="1664" y="284"/>
                  <a:pt x="1664" y="284"/>
                </a:cubicBezTo>
                <a:cubicBezTo>
                  <a:pt x="1663" y="284"/>
                  <a:pt x="1663" y="284"/>
                  <a:pt x="1663" y="284"/>
                </a:cubicBezTo>
                <a:cubicBezTo>
                  <a:pt x="1663" y="284"/>
                  <a:pt x="1662" y="284"/>
                  <a:pt x="1662" y="284"/>
                </a:cubicBezTo>
                <a:cubicBezTo>
                  <a:pt x="1662" y="284"/>
                  <a:pt x="1662" y="285"/>
                  <a:pt x="1662" y="285"/>
                </a:cubicBezTo>
                <a:cubicBezTo>
                  <a:pt x="1662" y="285"/>
                  <a:pt x="1662" y="285"/>
                  <a:pt x="1662" y="285"/>
                </a:cubicBezTo>
                <a:cubicBezTo>
                  <a:pt x="1661" y="285"/>
                  <a:pt x="1661" y="285"/>
                  <a:pt x="1661" y="285"/>
                </a:cubicBezTo>
                <a:cubicBezTo>
                  <a:pt x="1661" y="284"/>
                  <a:pt x="1660" y="284"/>
                  <a:pt x="1660" y="283"/>
                </a:cubicBezTo>
                <a:cubicBezTo>
                  <a:pt x="1660" y="283"/>
                  <a:pt x="1660" y="283"/>
                  <a:pt x="1659" y="283"/>
                </a:cubicBezTo>
                <a:cubicBezTo>
                  <a:pt x="1659" y="283"/>
                  <a:pt x="1660" y="284"/>
                  <a:pt x="1660" y="284"/>
                </a:cubicBezTo>
                <a:cubicBezTo>
                  <a:pt x="1659" y="284"/>
                  <a:pt x="1659" y="284"/>
                  <a:pt x="1659" y="284"/>
                </a:cubicBezTo>
                <a:cubicBezTo>
                  <a:pt x="1659" y="284"/>
                  <a:pt x="1659" y="284"/>
                  <a:pt x="1659" y="284"/>
                </a:cubicBezTo>
                <a:cubicBezTo>
                  <a:pt x="1658" y="284"/>
                  <a:pt x="1658" y="284"/>
                  <a:pt x="1658" y="284"/>
                </a:cubicBezTo>
                <a:cubicBezTo>
                  <a:pt x="1657" y="284"/>
                  <a:pt x="1657" y="284"/>
                  <a:pt x="1656" y="284"/>
                </a:cubicBezTo>
                <a:cubicBezTo>
                  <a:pt x="1656" y="284"/>
                  <a:pt x="1656" y="284"/>
                  <a:pt x="1655" y="284"/>
                </a:cubicBezTo>
                <a:cubicBezTo>
                  <a:pt x="1655" y="284"/>
                  <a:pt x="1655" y="283"/>
                  <a:pt x="1654" y="282"/>
                </a:cubicBezTo>
                <a:cubicBezTo>
                  <a:pt x="1654" y="282"/>
                  <a:pt x="1654" y="282"/>
                  <a:pt x="1654" y="282"/>
                </a:cubicBezTo>
                <a:cubicBezTo>
                  <a:pt x="1653" y="282"/>
                  <a:pt x="1653" y="282"/>
                  <a:pt x="1653" y="282"/>
                </a:cubicBezTo>
                <a:cubicBezTo>
                  <a:pt x="1653" y="282"/>
                  <a:pt x="1653" y="282"/>
                  <a:pt x="1654" y="282"/>
                </a:cubicBezTo>
                <a:cubicBezTo>
                  <a:pt x="1654" y="282"/>
                  <a:pt x="1654" y="282"/>
                  <a:pt x="1655" y="282"/>
                </a:cubicBezTo>
                <a:cubicBezTo>
                  <a:pt x="1655" y="282"/>
                  <a:pt x="1655" y="281"/>
                  <a:pt x="1655" y="281"/>
                </a:cubicBezTo>
                <a:cubicBezTo>
                  <a:pt x="1655" y="281"/>
                  <a:pt x="1655" y="281"/>
                  <a:pt x="1655" y="281"/>
                </a:cubicBezTo>
                <a:cubicBezTo>
                  <a:pt x="1656" y="281"/>
                  <a:pt x="1656" y="281"/>
                  <a:pt x="1657" y="282"/>
                </a:cubicBezTo>
                <a:cubicBezTo>
                  <a:pt x="1658" y="282"/>
                  <a:pt x="1658" y="282"/>
                  <a:pt x="1659" y="281"/>
                </a:cubicBezTo>
                <a:cubicBezTo>
                  <a:pt x="1659" y="281"/>
                  <a:pt x="1659" y="281"/>
                  <a:pt x="1659" y="281"/>
                </a:cubicBezTo>
                <a:cubicBezTo>
                  <a:pt x="1659" y="281"/>
                  <a:pt x="1659" y="281"/>
                  <a:pt x="1658" y="281"/>
                </a:cubicBezTo>
                <a:cubicBezTo>
                  <a:pt x="1658" y="281"/>
                  <a:pt x="1658" y="281"/>
                  <a:pt x="1657" y="281"/>
                </a:cubicBezTo>
                <a:cubicBezTo>
                  <a:pt x="1657" y="280"/>
                  <a:pt x="1656" y="280"/>
                  <a:pt x="1656" y="280"/>
                </a:cubicBezTo>
                <a:cubicBezTo>
                  <a:pt x="1656" y="280"/>
                  <a:pt x="1656" y="280"/>
                  <a:pt x="1656" y="280"/>
                </a:cubicBezTo>
                <a:cubicBezTo>
                  <a:pt x="1656" y="279"/>
                  <a:pt x="1655" y="279"/>
                  <a:pt x="1655" y="279"/>
                </a:cubicBezTo>
                <a:cubicBezTo>
                  <a:pt x="1655" y="279"/>
                  <a:pt x="1654" y="278"/>
                  <a:pt x="1654" y="278"/>
                </a:cubicBezTo>
                <a:cubicBezTo>
                  <a:pt x="1654" y="278"/>
                  <a:pt x="1653" y="278"/>
                  <a:pt x="1653" y="278"/>
                </a:cubicBezTo>
                <a:cubicBezTo>
                  <a:pt x="1652" y="277"/>
                  <a:pt x="1652" y="277"/>
                  <a:pt x="1651" y="277"/>
                </a:cubicBezTo>
                <a:cubicBezTo>
                  <a:pt x="1651" y="277"/>
                  <a:pt x="1651" y="277"/>
                  <a:pt x="1651" y="278"/>
                </a:cubicBezTo>
                <a:cubicBezTo>
                  <a:pt x="1651" y="278"/>
                  <a:pt x="1651" y="278"/>
                  <a:pt x="1650" y="277"/>
                </a:cubicBezTo>
                <a:cubicBezTo>
                  <a:pt x="1650" y="277"/>
                  <a:pt x="1650" y="277"/>
                  <a:pt x="1650" y="277"/>
                </a:cubicBezTo>
                <a:cubicBezTo>
                  <a:pt x="1650" y="277"/>
                  <a:pt x="1650" y="277"/>
                  <a:pt x="1650" y="277"/>
                </a:cubicBezTo>
                <a:cubicBezTo>
                  <a:pt x="1650" y="276"/>
                  <a:pt x="1649" y="276"/>
                  <a:pt x="1649" y="276"/>
                </a:cubicBezTo>
                <a:cubicBezTo>
                  <a:pt x="1648" y="276"/>
                  <a:pt x="1647" y="275"/>
                  <a:pt x="1647" y="275"/>
                </a:cubicBezTo>
                <a:cubicBezTo>
                  <a:pt x="1646" y="275"/>
                  <a:pt x="1646" y="275"/>
                  <a:pt x="1646" y="275"/>
                </a:cubicBezTo>
                <a:cubicBezTo>
                  <a:pt x="1646" y="275"/>
                  <a:pt x="1645" y="275"/>
                  <a:pt x="1645" y="274"/>
                </a:cubicBezTo>
                <a:cubicBezTo>
                  <a:pt x="1645" y="274"/>
                  <a:pt x="1644" y="274"/>
                  <a:pt x="1644" y="274"/>
                </a:cubicBezTo>
                <a:cubicBezTo>
                  <a:pt x="1643" y="274"/>
                  <a:pt x="1642" y="274"/>
                  <a:pt x="1642" y="274"/>
                </a:cubicBezTo>
                <a:cubicBezTo>
                  <a:pt x="1641" y="274"/>
                  <a:pt x="1641" y="274"/>
                  <a:pt x="1641" y="274"/>
                </a:cubicBezTo>
                <a:cubicBezTo>
                  <a:pt x="1641" y="274"/>
                  <a:pt x="1641" y="274"/>
                  <a:pt x="1641" y="274"/>
                </a:cubicBezTo>
                <a:cubicBezTo>
                  <a:pt x="1641" y="275"/>
                  <a:pt x="1642" y="275"/>
                  <a:pt x="1642" y="275"/>
                </a:cubicBezTo>
                <a:cubicBezTo>
                  <a:pt x="1641" y="275"/>
                  <a:pt x="1641" y="275"/>
                  <a:pt x="1640" y="275"/>
                </a:cubicBezTo>
                <a:cubicBezTo>
                  <a:pt x="1640" y="275"/>
                  <a:pt x="1640" y="275"/>
                  <a:pt x="1640" y="275"/>
                </a:cubicBezTo>
                <a:cubicBezTo>
                  <a:pt x="1640" y="275"/>
                  <a:pt x="1639" y="275"/>
                  <a:pt x="1639" y="275"/>
                </a:cubicBezTo>
                <a:cubicBezTo>
                  <a:pt x="1639" y="275"/>
                  <a:pt x="1640" y="276"/>
                  <a:pt x="1640" y="276"/>
                </a:cubicBezTo>
                <a:cubicBezTo>
                  <a:pt x="1640" y="276"/>
                  <a:pt x="1641" y="276"/>
                  <a:pt x="1641" y="276"/>
                </a:cubicBezTo>
                <a:cubicBezTo>
                  <a:pt x="1641" y="276"/>
                  <a:pt x="1641" y="276"/>
                  <a:pt x="1641" y="277"/>
                </a:cubicBezTo>
                <a:cubicBezTo>
                  <a:pt x="1641" y="277"/>
                  <a:pt x="1641" y="277"/>
                  <a:pt x="1641" y="277"/>
                </a:cubicBezTo>
                <a:cubicBezTo>
                  <a:pt x="1640" y="277"/>
                  <a:pt x="1640" y="277"/>
                  <a:pt x="1639" y="277"/>
                </a:cubicBezTo>
                <a:cubicBezTo>
                  <a:pt x="1639" y="276"/>
                  <a:pt x="1638" y="276"/>
                  <a:pt x="1638" y="276"/>
                </a:cubicBezTo>
                <a:cubicBezTo>
                  <a:pt x="1638" y="276"/>
                  <a:pt x="1637" y="275"/>
                  <a:pt x="1636" y="275"/>
                </a:cubicBezTo>
                <a:cubicBezTo>
                  <a:pt x="1636" y="275"/>
                  <a:pt x="1636" y="275"/>
                  <a:pt x="1636" y="275"/>
                </a:cubicBezTo>
                <a:cubicBezTo>
                  <a:pt x="1636" y="275"/>
                  <a:pt x="1636" y="276"/>
                  <a:pt x="1636" y="276"/>
                </a:cubicBezTo>
                <a:cubicBezTo>
                  <a:pt x="1635" y="276"/>
                  <a:pt x="1635" y="276"/>
                  <a:pt x="1635" y="276"/>
                </a:cubicBezTo>
                <a:cubicBezTo>
                  <a:pt x="1635" y="276"/>
                  <a:pt x="1634" y="276"/>
                  <a:pt x="1634" y="276"/>
                </a:cubicBezTo>
                <a:cubicBezTo>
                  <a:pt x="1634" y="276"/>
                  <a:pt x="1634" y="276"/>
                  <a:pt x="1634" y="276"/>
                </a:cubicBezTo>
                <a:cubicBezTo>
                  <a:pt x="1634" y="275"/>
                  <a:pt x="1633" y="275"/>
                  <a:pt x="1633" y="275"/>
                </a:cubicBezTo>
                <a:cubicBezTo>
                  <a:pt x="1633" y="275"/>
                  <a:pt x="1632" y="274"/>
                  <a:pt x="1631" y="274"/>
                </a:cubicBezTo>
                <a:cubicBezTo>
                  <a:pt x="1631" y="274"/>
                  <a:pt x="1631" y="274"/>
                  <a:pt x="1630" y="274"/>
                </a:cubicBezTo>
                <a:cubicBezTo>
                  <a:pt x="1629" y="274"/>
                  <a:pt x="1629" y="273"/>
                  <a:pt x="1628" y="273"/>
                </a:cubicBezTo>
                <a:cubicBezTo>
                  <a:pt x="1628" y="273"/>
                  <a:pt x="1627" y="273"/>
                  <a:pt x="1627" y="273"/>
                </a:cubicBezTo>
                <a:cubicBezTo>
                  <a:pt x="1627" y="273"/>
                  <a:pt x="1627" y="273"/>
                  <a:pt x="1627" y="273"/>
                </a:cubicBezTo>
                <a:cubicBezTo>
                  <a:pt x="1627" y="274"/>
                  <a:pt x="1627" y="274"/>
                  <a:pt x="1628" y="275"/>
                </a:cubicBezTo>
                <a:cubicBezTo>
                  <a:pt x="1627" y="275"/>
                  <a:pt x="1627" y="275"/>
                  <a:pt x="1627" y="275"/>
                </a:cubicBezTo>
                <a:cubicBezTo>
                  <a:pt x="1626" y="275"/>
                  <a:pt x="1626" y="275"/>
                  <a:pt x="1626" y="275"/>
                </a:cubicBezTo>
                <a:cubicBezTo>
                  <a:pt x="1626" y="275"/>
                  <a:pt x="1625" y="275"/>
                  <a:pt x="1625" y="274"/>
                </a:cubicBezTo>
                <a:cubicBezTo>
                  <a:pt x="1625" y="274"/>
                  <a:pt x="1625" y="274"/>
                  <a:pt x="1624" y="274"/>
                </a:cubicBezTo>
                <a:cubicBezTo>
                  <a:pt x="1625" y="274"/>
                  <a:pt x="1625" y="273"/>
                  <a:pt x="1625" y="273"/>
                </a:cubicBezTo>
                <a:cubicBezTo>
                  <a:pt x="1625" y="273"/>
                  <a:pt x="1625" y="273"/>
                  <a:pt x="1624" y="272"/>
                </a:cubicBezTo>
                <a:cubicBezTo>
                  <a:pt x="1624" y="273"/>
                  <a:pt x="1624" y="273"/>
                  <a:pt x="1624" y="273"/>
                </a:cubicBezTo>
                <a:cubicBezTo>
                  <a:pt x="1623" y="273"/>
                  <a:pt x="1623" y="273"/>
                  <a:pt x="1623" y="273"/>
                </a:cubicBezTo>
                <a:cubicBezTo>
                  <a:pt x="1622" y="272"/>
                  <a:pt x="1622" y="272"/>
                  <a:pt x="1622" y="272"/>
                </a:cubicBezTo>
                <a:cubicBezTo>
                  <a:pt x="1621" y="272"/>
                  <a:pt x="1621" y="272"/>
                  <a:pt x="1620" y="272"/>
                </a:cubicBezTo>
                <a:cubicBezTo>
                  <a:pt x="1620" y="272"/>
                  <a:pt x="1620" y="272"/>
                  <a:pt x="1619" y="272"/>
                </a:cubicBezTo>
                <a:cubicBezTo>
                  <a:pt x="1619" y="272"/>
                  <a:pt x="1618" y="272"/>
                  <a:pt x="1618" y="272"/>
                </a:cubicBezTo>
                <a:cubicBezTo>
                  <a:pt x="1617" y="272"/>
                  <a:pt x="1616" y="271"/>
                  <a:pt x="1616" y="271"/>
                </a:cubicBezTo>
                <a:cubicBezTo>
                  <a:pt x="1615" y="271"/>
                  <a:pt x="1614" y="271"/>
                  <a:pt x="1614" y="272"/>
                </a:cubicBezTo>
                <a:cubicBezTo>
                  <a:pt x="1613" y="271"/>
                  <a:pt x="1613" y="271"/>
                  <a:pt x="1612" y="271"/>
                </a:cubicBezTo>
                <a:cubicBezTo>
                  <a:pt x="1612" y="271"/>
                  <a:pt x="1612" y="271"/>
                  <a:pt x="1612" y="270"/>
                </a:cubicBezTo>
                <a:cubicBezTo>
                  <a:pt x="1612" y="270"/>
                  <a:pt x="1611" y="270"/>
                  <a:pt x="1611" y="270"/>
                </a:cubicBezTo>
                <a:cubicBezTo>
                  <a:pt x="1611" y="270"/>
                  <a:pt x="1611" y="271"/>
                  <a:pt x="1611" y="271"/>
                </a:cubicBezTo>
                <a:cubicBezTo>
                  <a:pt x="1610" y="271"/>
                  <a:pt x="1609" y="271"/>
                  <a:pt x="1608" y="271"/>
                </a:cubicBezTo>
                <a:cubicBezTo>
                  <a:pt x="1608" y="271"/>
                  <a:pt x="1608" y="271"/>
                  <a:pt x="1608" y="272"/>
                </a:cubicBezTo>
                <a:cubicBezTo>
                  <a:pt x="1607" y="272"/>
                  <a:pt x="1607" y="272"/>
                  <a:pt x="1606" y="272"/>
                </a:cubicBezTo>
                <a:cubicBezTo>
                  <a:pt x="1606" y="272"/>
                  <a:pt x="1606" y="272"/>
                  <a:pt x="1606" y="273"/>
                </a:cubicBezTo>
                <a:cubicBezTo>
                  <a:pt x="1606" y="273"/>
                  <a:pt x="1606" y="274"/>
                  <a:pt x="1607" y="275"/>
                </a:cubicBezTo>
                <a:cubicBezTo>
                  <a:pt x="1606" y="275"/>
                  <a:pt x="1606" y="275"/>
                  <a:pt x="1606" y="276"/>
                </a:cubicBezTo>
                <a:cubicBezTo>
                  <a:pt x="1605" y="276"/>
                  <a:pt x="1604" y="276"/>
                  <a:pt x="1604" y="276"/>
                </a:cubicBezTo>
                <a:cubicBezTo>
                  <a:pt x="1603" y="277"/>
                  <a:pt x="1603" y="277"/>
                  <a:pt x="1602" y="277"/>
                </a:cubicBezTo>
                <a:cubicBezTo>
                  <a:pt x="1602" y="277"/>
                  <a:pt x="1602" y="278"/>
                  <a:pt x="1602" y="278"/>
                </a:cubicBezTo>
                <a:cubicBezTo>
                  <a:pt x="1602" y="279"/>
                  <a:pt x="1602" y="279"/>
                  <a:pt x="1602" y="279"/>
                </a:cubicBezTo>
                <a:cubicBezTo>
                  <a:pt x="1602" y="280"/>
                  <a:pt x="1602" y="280"/>
                  <a:pt x="1602" y="280"/>
                </a:cubicBezTo>
                <a:cubicBezTo>
                  <a:pt x="1602" y="280"/>
                  <a:pt x="1602" y="281"/>
                  <a:pt x="1602" y="281"/>
                </a:cubicBezTo>
                <a:cubicBezTo>
                  <a:pt x="1602" y="281"/>
                  <a:pt x="1602" y="281"/>
                  <a:pt x="1601" y="281"/>
                </a:cubicBezTo>
                <a:cubicBezTo>
                  <a:pt x="1601" y="281"/>
                  <a:pt x="1601" y="281"/>
                  <a:pt x="1601" y="281"/>
                </a:cubicBezTo>
                <a:cubicBezTo>
                  <a:pt x="1601" y="281"/>
                  <a:pt x="1600" y="281"/>
                  <a:pt x="1600" y="281"/>
                </a:cubicBezTo>
                <a:cubicBezTo>
                  <a:pt x="1600" y="282"/>
                  <a:pt x="1600" y="282"/>
                  <a:pt x="1600" y="282"/>
                </a:cubicBezTo>
                <a:cubicBezTo>
                  <a:pt x="1600" y="282"/>
                  <a:pt x="1600" y="283"/>
                  <a:pt x="1600" y="283"/>
                </a:cubicBezTo>
                <a:cubicBezTo>
                  <a:pt x="1599" y="283"/>
                  <a:pt x="1599" y="283"/>
                  <a:pt x="1599" y="283"/>
                </a:cubicBezTo>
                <a:cubicBezTo>
                  <a:pt x="1598" y="283"/>
                  <a:pt x="1598" y="284"/>
                  <a:pt x="1598" y="284"/>
                </a:cubicBezTo>
                <a:cubicBezTo>
                  <a:pt x="1597" y="284"/>
                  <a:pt x="1597" y="284"/>
                  <a:pt x="1596" y="285"/>
                </a:cubicBezTo>
                <a:cubicBezTo>
                  <a:pt x="1596" y="285"/>
                  <a:pt x="1596" y="285"/>
                  <a:pt x="1596" y="285"/>
                </a:cubicBezTo>
                <a:cubicBezTo>
                  <a:pt x="1596" y="285"/>
                  <a:pt x="1595" y="285"/>
                  <a:pt x="1595" y="285"/>
                </a:cubicBezTo>
                <a:cubicBezTo>
                  <a:pt x="1595" y="286"/>
                  <a:pt x="1595" y="286"/>
                  <a:pt x="1594" y="287"/>
                </a:cubicBezTo>
                <a:cubicBezTo>
                  <a:pt x="1594" y="286"/>
                  <a:pt x="1594" y="286"/>
                  <a:pt x="1594" y="286"/>
                </a:cubicBezTo>
                <a:cubicBezTo>
                  <a:pt x="1593" y="287"/>
                  <a:pt x="1593" y="287"/>
                  <a:pt x="1593" y="288"/>
                </a:cubicBezTo>
                <a:cubicBezTo>
                  <a:pt x="1592" y="288"/>
                  <a:pt x="1592" y="289"/>
                  <a:pt x="1592" y="289"/>
                </a:cubicBezTo>
                <a:cubicBezTo>
                  <a:pt x="1592" y="289"/>
                  <a:pt x="1592" y="289"/>
                  <a:pt x="1592" y="289"/>
                </a:cubicBezTo>
                <a:cubicBezTo>
                  <a:pt x="1592" y="290"/>
                  <a:pt x="1592" y="290"/>
                  <a:pt x="1592" y="290"/>
                </a:cubicBezTo>
                <a:cubicBezTo>
                  <a:pt x="1591" y="291"/>
                  <a:pt x="1591" y="291"/>
                  <a:pt x="1591" y="291"/>
                </a:cubicBezTo>
                <a:cubicBezTo>
                  <a:pt x="1591" y="291"/>
                  <a:pt x="1590" y="291"/>
                  <a:pt x="1590" y="292"/>
                </a:cubicBezTo>
                <a:cubicBezTo>
                  <a:pt x="1590" y="292"/>
                  <a:pt x="1589" y="292"/>
                  <a:pt x="1589" y="292"/>
                </a:cubicBezTo>
                <a:cubicBezTo>
                  <a:pt x="1589" y="292"/>
                  <a:pt x="1589" y="292"/>
                  <a:pt x="1589" y="293"/>
                </a:cubicBezTo>
                <a:cubicBezTo>
                  <a:pt x="1589" y="293"/>
                  <a:pt x="1588" y="293"/>
                  <a:pt x="1588" y="293"/>
                </a:cubicBezTo>
                <a:cubicBezTo>
                  <a:pt x="1588" y="293"/>
                  <a:pt x="1588" y="293"/>
                  <a:pt x="1588" y="293"/>
                </a:cubicBezTo>
                <a:cubicBezTo>
                  <a:pt x="1587" y="294"/>
                  <a:pt x="1586" y="294"/>
                  <a:pt x="1586" y="294"/>
                </a:cubicBezTo>
                <a:cubicBezTo>
                  <a:pt x="1586" y="294"/>
                  <a:pt x="1585" y="294"/>
                  <a:pt x="1585" y="295"/>
                </a:cubicBezTo>
                <a:cubicBezTo>
                  <a:pt x="1585" y="295"/>
                  <a:pt x="1584" y="295"/>
                  <a:pt x="1583" y="295"/>
                </a:cubicBezTo>
                <a:cubicBezTo>
                  <a:pt x="1583" y="295"/>
                  <a:pt x="1583" y="296"/>
                  <a:pt x="1583" y="296"/>
                </a:cubicBezTo>
                <a:cubicBezTo>
                  <a:pt x="1583" y="296"/>
                  <a:pt x="1582" y="296"/>
                  <a:pt x="1582" y="296"/>
                </a:cubicBezTo>
                <a:cubicBezTo>
                  <a:pt x="1582" y="297"/>
                  <a:pt x="1581" y="297"/>
                  <a:pt x="1581" y="297"/>
                </a:cubicBezTo>
                <a:cubicBezTo>
                  <a:pt x="1581" y="297"/>
                  <a:pt x="1581" y="297"/>
                  <a:pt x="1580" y="297"/>
                </a:cubicBezTo>
                <a:cubicBezTo>
                  <a:pt x="1581" y="298"/>
                  <a:pt x="1581" y="298"/>
                  <a:pt x="1581" y="298"/>
                </a:cubicBezTo>
                <a:cubicBezTo>
                  <a:pt x="1581" y="299"/>
                  <a:pt x="1581" y="299"/>
                  <a:pt x="1582" y="299"/>
                </a:cubicBezTo>
                <a:cubicBezTo>
                  <a:pt x="1582" y="299"/>
                  <a:pt x="1582" y="299"/>
                  <a:pt x="1583" y="299"/>
                </a:cubicBezTo>
                <a:cubicBezTo>
                  <a:pt x="1583" y="300"/>
                  <a:pt x="1583" y="300"/>
                  <a:pt x="1583" y="300"/>
                </a:cubicBezTo>
                <a:cubicBezTo>
                  <a:pt x="1584" y="300"/>
                  <a:pt x="1584" y="300"/>
                  <a:pt x="1585" y="301"/>
                </a:cubicBezTo>
                <a:cubicBezTo>
                  <a:pt x="1585" y="300"/>
                  <a:pt x="1586" y="300"/>
                  <a:pt x="1586" y="300"/>
                </a:cubicBezTo>
                <a:cubicBezTo>
                  <a:pt x="1586" y="300"/>
                  <a:pt x="1587" y="300"/>
                  <a:pt x="1587" y="300"/>
                </a:cubicBezTo>
                <a:cubicBezTo>
                  <a:pt x="1587" y="300"/>
                  <a:pt x="1588" y="300"/>
                  <a:pt x="1588" y="300"/>
                </a:cubicBezTo>
                <a:cubicBezTo>
                  <a:pt x="1588" y="300"/>
                  <a:pt x="1588" y="301"/>
                  <a:pt x="1588" y="301"/>
                </a:cubicBezTo>
                <a:cubicBezTo>
                  <a:pt x="1589" y="301"/>
                  <a:pt x="1589" y="301"/>
                  <a:pt x="1590" y="301"/>
                </a:cubicBezTo>
                <a:cubicBezTo>
                  <a:pt x="1590" y="301"/>
                  <a:pt x="1589" y="302"/>
                  <a:pt x="1589" y="303"/>
                </a:cubicBezTo>
                <a:cubicBezTo>
                  <a:pt x="1589" y="303"/>
                  <a:pt x="1590" y="304"/>
                  <a:pt x="1590" y="304"/>
                </a:cubicBezTo>
                <a:cubicBezTo>
                  <a:pt x="1590" y="305"/>
                  <a:pt x="1590" y="305"/>
                  <a:pt x="1590" y="305"/>
                </a:cubicBezTo>
                <a:cubicBezTo>
                  <a:pt x="1590" y="306"/>
                  <a:pt x="1590" y="306"/>
                  <a:pt x="1589" y="306"/>
                </a:cubicBezTo>
                <a:cubicBezTo>
                  <a:pt x="1590" y="307"/>
                  <a:pt x="1590" y="307"/>
                  <a:pt x="1590" y="307"/>
                </a:cubicBezTo>
                <a:cubicBezTo>
                  <a:pt x="1591" y="307"/>
                  <a:pt x="1591" y="307"/>
                  <a:pt x="1591" y="307"/>
                </a:cubicBezTo>
                <a:cubicBezTo>
                  <a:pt x="1592" y="307"/>
                  <a:pt x="1592" y="307"/>
                  <a:pt x="1592" y="307"/>
                </a:cubicBezTo>
                <a:cubicBezTo>
                  <a:pt x="1592" y="307"/>
                  <a:pt x="1592" y="307"/>
                  <a:pt x="1592" y="307"/>
                </a:cubicBezTo>
                <a:cubicBezTo>
                  <a:pt x="1593" y="307"/>
                  <a:pt x="1593" y="307"/>
                  <a:pt x="1593" y="307"/>
                </a:cubicBezTo>
                <a:cubicBezTo>
                  <a:pt x="1593" y="307"/>
                  <a:pt x="1594" y="307"/>
                  <a:pt x="1594" y="307"/>
                </a:cubicBezTo>
                <a:cubicBezTo>
                  <a:pt x="1594" y="307"/>
                  <a:pt x="1594" y="307"/>
                  <a:pt x="1594" y="307"/>
                </a:cubicBezTo>
                <a:cubicBezTo>
                  <a:pt x="1595" y="307"/>
                  <a:pt x="1595" y="307"/>
                  <a:pt x="1595" y="307"/>
                </a:cubicBezTo>
                <a:cubicBezTo>
                  <a:pt x="1595" y="307"/>
                  <a:pt x="1596" y="308"/>
                  <a:pt x="1596" y="308"/>
                </a:cubicBezTo>
                <a:cubicBezTo>
                  <a:pt x="1596" y="308"/>
                  <a:pt x="1596" y="308"/>
                  <a:pt x="1596" y="308"/>
                </a:cubicBezTo>
                <a:cubicBezTo>
                  <a:pt x="1595" y="308"/>
                  <a:pt x="1595" y="308"/>
                  <a:pt x="1595" y="308"/>
                </a:cubicBezTo>
                <a:cubicBezTo>
                  <a:pt x="1595" y="309"/>
                  <a:pt x="1595" y="309"/>
                  <a:pt x="1595" y="309"/>
                </a:cubicBezTo>
                <a:cubicBezTo>
                  <a:pt x="1594" y="309"/>
                  <a:pt x="1594" y="309"/>
                  <a:pt x="1594" y="309"/>
                </a:cubicBezTo>
                <a:cubicBezTo>
                  <a:pt x="1594" y="309"/>
                  <a:pt x="1593" y="309"/>
                  <a:pt x="1593" y="309"/>
                </a:cubicBezTo>
                <a:cubicBezTo>
                  <a:pt x="1593" y="309"/>
                  <a:pt x="1593" y="310"/>
                  <a:pt x="1593" y="310"/>
                </a:cubicBezTo>
                <a:cubicBezTo>
                  <a:pt x="1594" y="310"/>
                  <a:pt x="1595" y="310"/>
                  <a:pt x="1596" y="310"/>
                </a:cubicBezTo>
                <a:cubicBezTo>
                  <a:pt x="1596" y="310"/>
                  <a:pt x="1597" y="310"/>
                  <a:pt x="1597" y="310"/>
                </a:cubicBezTo>
                <a:cubicBezTo>
                  <a:pt x="1597" y="310"/>
                  <a:pt x="1598" y="310"/>
                  <a:pt x="1598" y="309"/>
                </a:cubicBezTo>
                <a:cubicBezTo>
                  <a:pt x="1598" y="309"/>
                  <a:pt x="1598" y="309"/>
                  <a:pt x="1598" y="309"/>
                </a:cubicBezTo>
                <a:cubicBezTo>
                  <a:pt x="1598" y="308"/>
                  <a:pt x="1598" y="308"/>
                  <a:pt x="1599" y="308"/>
                </a:cubicBezTo>
                <a:cubicBezTo>
                  <a:pt x="1599" y="309"/>
                  <a:pt x="1599" y="309"/>
                  <a:pt x="1599" y="309"/>
                </a:cubicBezTo>
                <a:cubicBezTo>
                  <a:pt x="1599" y="310"/>
                  <a:pt x="1599" y="310"/>
                  <a:pt x="1598" y="310"/>
                </a:cubicBezTo>
                <a:cubicBezTo>
                  <a:pt x="1598" y="311"/>
                  <a:pt x="1598" y="311"/>
                  <a:pt x="1598" y="311"/>
                </a:cubicBezTo>
                <a:cubicBezTo>
                  <a:pt x="1598" y="311"/>
                  <a:pt x="1599" y="311"/>
                  <a:pt x="1599" y="311"/>
                </a:cubicBezTo>
                <a:cubicBezTo>
                  <a:pt x="1599" y="311"/>
                  <a:pt x="1599" y="311"/>
                  <a:pt x="1600" y="310"/>
                </a:cubicBezTo>
                <a:cubicBezTo>
                  <a:pt x="1600" y="310"/>
                  <a:pt x="1600" y="309"/>
                  <a:pt x="1600" y="309"/>
                </a:cubicBezTo>
                <a:cubicBezTo>
                  <a:pt x="1600" y="309"/>
                  <a:pt x="1600" y="309"/>
                  <a:pt x="1600" y="308"/>
                </a:cubicBezTo>
                <a:cubicBezTo>
                  <a:pt x="1600" y="308"/>
                  <a:pt x="1600" y="308"/>
                  <a:pt x="1600" y="308"/>
                </a:cubicBezTo>
                <a:cubicBezTo>
                  <a:pt x="1600" y="307"/>
                  <a:pt x="1600" y="307"/>
                  <a:pt x="1600" y="306"/>
                </a:cubicBezTo>
                <a:cubicBezTo>
                  <a:pt x="1600" y="306"/>
                  <a:pt x="1600" y="306"/>
                  <a:pt x="1601" y="306"/>
                </a:cubicBezTo>
                <a:cubicBezTo>
                  <a:pt x="1601" y="307"/>
                  <a:pt x="1601" y="307"/>
                  <a:pt x="1601" y="307"/>
                </a:cubicBezTo>
                <a:cubicBezTo>
                  <a:pt x="1601" y="307"/>
                  <a:pt x="1601" y="307"/>
                  <a:pt x="1601" y="308"/>
                </a:cubicBezTo>
                <a:cubicBezTo>
                  <a:pt x="1601" y="308"/>
                  <a:pt x="1601" y="308"/>
                  <a:pt x="1602" y="308"/>
                </a:cubicBezTo>
                <a:cubicBezTo>
                  <a:pt x="1602" y="308"/>
                  <a:pt x="1602" y="308"/>
                  <a:pt x="1602" y="308"/>
                </a:cubicBezTo>
                <a:cubicBezTo>
                  <a:pt x="1602" y="308"/>
                  <a:pt x="1603" y="308"/>
                  <a:pt x="1603" y="308"/>
                </a:cubicBezTo>
                <a:cubicBezTo>
                  <a:pt x="1603" y="308"/>
                  <a:pt x="1603" y="308"/>
                  <a:pt x="1604" y="308"/>
                </a:cubicBezTo>
                <a:cubicBezTo>
                  <a:pt x="1604" y="308"/>
                  <a:pt x="1605" y="308"/>
                  <a:pt x="1605" y="308"/>
                </a:cubicBezTo>
                <a:cubicBezTo>
                  <a:pt x="1606" y="308"/>
                  <a:pt x="1606" y="309"/>
                  <a:pt x="1606" y="309"/>
                </a:cubicBezTo>
                <a:cubicBezTo>
                  <a:pt x="1607" y="309"/>
                  <a:pt x="1607" y="310"/>
                  <a:pt x="1607" y="310"/>
                </a:cubicBezTo>
                <a:cubicBezTo>
                  <a:pt x="1608" y="310"/>
                  <a:pt x="1608" y="310"/>
                  <a:pt x="1608" y="310"/>
                </a:cubicBezTo>
                <a:cubicBezTo>
                  <a:pt x="1608" y="311"/>
                  <a:pt x="1608" y="311"/>
                  <a:pt x="1608" y="312"/>
                </a:cubicBezTo>
                <a:cubicBezTo>
                  <a:pt x="1609" y="312"/>
                  <a:pt x="1609" y="312"/>
                  <a:pt x="1609" y="312"/>
                </a:cubicBezTo>
                <a:cubicBezTo>
                  <a:pt x="1609" y="312"/>
                  <a:pt x="1610" y="312"/>
                  <a:pt x="1610" y="313"/>
                </a:cubicBezTo>
                <a:cubicBezTo>
                  <a:pt x="1610" y="313"/>
                  <a:pt x="1611" y="313"/>
                  <a:pt x="1611" y="313"/>
                </a:cubicBezTo>
                <a:cubicBezTo>
                  <a:pt x="1611" y="314"/>
                  <a:pt x="1612" y="314"/>
                  <a:pt x="1613" y="315"/>
                </a:cubicBezTo>
                <a:cubicBezTo>
                  <a:pt x="1613" y="315"/>
                  <a:pt x="1613" y="315"/>
                  <a:pt x="1613" y="315"/>
                </a:cubicBezTo>
                <a:cubicBezTo>
                  <a:pt x="1613" y="316"/>
                  <a:pt x="1613" y="316"/>
                  <a:pt x="1614" y="316"/>
                </a:cubicBezTo>
                <a:cubicBezTo>
                  <a:pt x="1614" y="316"/>
                  <a:pt x="1614" y="316"/>
                  <a:pt x="1614" y="317"/>
                </a:cubicBezTo>
                <a:cubicBezTo>
                  <a:pt x="1614" y="317"/>
                  <a:pt x="1615" y="317"/>
                  <a:pt x="1615" y="317"/>
                </a:cubicBezTo>
                <a:cubicBezTo>
                  <a:pt x="1615" y="317"/>
                  <a:pt x="1615" y="318"/>
                  <a:pt x="1615" y="318"/>
                </a:cubicBezTo>
                <a:cubicBezTo>
                  <a:pt x="1615" y="318"/>
                  <a:pt x="1615" y="318"/>
                  <a:pt x="1614" y="319"/>
                </a:cubicBezTo>
                <a:cubicBezTo>
                  <a:pt x="1614" y="319"/>
                  <a:pt x="1614" y="319"/>
                  <a:pt x="1614" y="319"/>
                </a:cubicBezTo>
                <a:cubicBezTo>
                  <a:pt x="1614" y="319"/>
                  <a:pt x="1614" y="319"/>
                  <a:pt x="1613" y="319"/>
                </a:cubicBezTo>
                <a:cubicBezTo>
                  <a:pt x="1614" y="320"/>
                  <a:pt x="1614" y="320"/>
                  <a:pt x="1614" y="320"/>
                </a:cubicBezTo>
                <a:cubicBezTo>
                  <a:pt x="1614" y="320"/>
                  <a:pt x="1615" y="320"/>
                  <a:pt x="1615" y="321"/>
                </a:cubicBezTo>
                <a:cubicBezTo>
                  <a:pt x="1615" y="321"/>
                  <a:pt x="1615" y="322"/>
                  <a:pt x="1616" y="322"/>
                </a:cubicBezTo>
                <a:cubicBezTo>
                  <a:pt x="1616" y="322"/>
                  <a:pt x="1616" y="323"/>
                  <a:pt x="1616" y="323"/>
                </a:cubicBezTo>
                <a:cubicBezTo>
                  <a:pt x="1615" y="323"/>
                  <a:pt x="1615" y="323"/>
                  <a:pt x="1615" y="323"/>
                </a:cubicBezTo>
                <a:cubicBezTo>
                  <a:pt x="1615" y="323"/>
                  <a:pt x="1615" y="324"/>
                  <a:pt x="1614" y="324"/>
                </a:cubicBezTo>
                <a:cubicBezTo>
                  <a:pt x="1615" y="324"/>
                  <a:pt x="1615" y="325"/>
                  <a:pt x="1615" y="325"/>
                </a:cubicBezTo>
                <a:cubicBezTo>
                  <a:pt x="1616" y="325"/>
                  <a:pt x="1616" y="325"/>
                  <a:pt x="1616" y="325"/>
                </a:cubicBezTo>
                <a:cubicBezTo>
                  <a:pt x="1616" y="325"/>
                  <a:pt x="1617" y="325"/>
                  <a:pt x="1617" y="325"/>
                </a:cubicBezTo>
                <a:cubicBezTo>
                  <a:pt x="1617" y="326"/>
                  <a:pt x="1617" y="326"/>
                  <a:pt x="1617" y="326"/>
                </a:cubicBezTo>
                <a:cubicBezTo>
                  <a:pt x="1617" y="326"/>
                  <a:pt x="1617" y="326"/>
                  <a:pt x="1616" y="326"/>
                </a:cubicBezTo>
                <a:cubicBezTo>
                  <a:pt x="1616" y="326"/>
                  <a:pt x="1616" y="327"/>
                  <a:pt x="1616" y="327"/>
                </a:cubicBezTo>
                <a:cubicBezTo>
                  <a:pt x="1616" y="327"/>
                  <a:pt x="1617" y="328"/>
                  <a:pt x="1617" y="328"/>
                </a:cubicBezTo>
                <a:cubicBezTo>
                  <a:pt x="1617" y="328"/>
                  <a:pt x="1616" y="328"/>
                  <a:pt x="1616" y="328"/>
                </a:cubicBezTo>
                <a:cubicBezTo>
                  <a:pt x="1616" y="328"/>
                  <a:pt x="1616" y="328"/>
                  <a:pt x="1616" y="328"/>
                </a:cubicBezTo>
                <a:cubicBezTo>
                  <a:pt x="1616" y="329"/>
                  <a:pt x="1616" y="329"/>
                  <a:pt x="1616" y="329"/>
                </a:cubicBezTo>
                <a:cubicBezTo>
                  <a:pt x="1616" y="329"/>
                  <a:pt x="1615" y="330"/>
                  <a:pt x="1615" y="330"/>
                </a:cubicBezTo>
                <a:cubicBezTo>
                  <a:pt x="1615" y="330"/>
                  <a:pt x="1615" y="330"/>
                  <a:pt x="1615" y="330"/>
                </a:cubicBezTo>
                <a:cubicBezTo>
                  <a:pt x="1615" y="330"/>
                  <a:pt x="1615" y="330"/>
                  <a:pt x="1615" y="331"/>
                </a:cubicBezTo>
                <a:cubicBezTo>
                  <a:pt x="1615" y="331"/>
                  <a:pt x="1615" y="331"/>
                  <a:pt x="1615" y="331"/>
                </a:cubicBezTo>
                <a:cubicBezTo>
                  <a:pt x="1615" y="331"/>
                  <a:pt x="1615" y="331"/>
                  <a:pt x="1615" y="331"/>
                </a:cubicBezTo>
                <a:cubicBezTo>
                  <a:pt x="1615" y="331"/>
                  <a:pt x="1615" y="331"/>
                  <a:pt x="1614" y="332"/>
                </a:cubicBezTo>
                <a:cubicBezTo>
                  <a:pt x="1614" y="332"/>
                  <a:pt x="1614" y="333"/>
                  <a:pt x="1615" y="333"/>
                </a:cubicBezTo>
                <a:cubicBezTo>
                  <a:pt x="1614" y="334"/>
                  <a:pt x="1614" y="334"/>
                  <a:pt x="1614" y="334"/>
                </a:cubicBezTo>
                <a:cubicBezTo>
                  <a:pt x="1614" y="334"/>
                  <a:pt x="1614" y="335"/>
                  <a:pt x="1614" y="335"/>
                </a:cubicBezTo>
                <a:cubicBezTo>
                  <a:pt x="1614" y="335"/>
                  <a:pt x="1614" y="336"/>
                  <a:pt x="1614" y="336"/>
                </a:cubicBezTo>
                <a:cubicBezTo>
                  <a:pt x="1614" y="336"/>
                  <a:pt x="1613" y="336"/>
                  <a:pt x="1613" y="336"/>
                </a:cubicBezTo>
                <a:cubicBezTo>
                  <a:pt x="1613" y="337"/>
                  <a:pt x="1613" y="338"/>
                  <a:pt x="1614" y="339"/>
                </a:cubicBezTo>
                <a:cubicBezTo>
                  <a:pt x="1614" y="339"/>
                  <a:pt x="1614" y="339"/>
                  <a:pt x="1614" y="339"/>
                </a:cubicBezTo>
                <a:cubicBezTo>
                  <a:pt x="1615" y="339"/>
                  <a:pt x="1615" y="339"/>
                  <a:pt x="1615" y="339"/>
                </a:cubicBezTo>
                <a:cubicBezTo>
                  <a:pt x="1615" y="339"/>
                  <a:pt x="1615" y="340"/>
                  <a:pt x="1615" y="340"/>
                </a:cubicBezTo>
                <a:cubicBezTo>
                  <a:pt x="1615" y="340"/>
                  <a:pt x="1615" y="340"/>
                  <a:pt x="1614" y="340"/>
                </a:cubicBezTo>
                <a:cubicBezTo>
                  <a:pt x="1614" y="340"/>
                  <a:pt x="1614" y="340"/>
                  <a:pt x="1614" y="340"/>
                </a:cubicBezTo>
                <a:cubicBezTo>
                  <a:pt x="1614" y="341"/>
                  <a:pt x="1614" y="341"/>
                  <a:pt x="1614" y="341"/>
                </a:cubicBezTo>
                <a:cubicBezTo>
                  <a:pt x="1614" y="341"/>
                  <a:pt x="1614" y="341"/>
                  <a:pt x="1614" y="341"/>
                </a:cubicBezTo>
                <a:cubicBezTo>
                  <a:pt x="1615" y="342"/>
                  <a:pt x="1615" y="342"/>
                  <a:pt x="1616" y="343"/>
                </a:cubicBezTo>
                <a:cubicBezTo>
                  <a:pt x="1615" y="343"/>
                  <a:pt x="1615" y="344"/>
                  <a:pt x="1615" y="344"/>
                </a:cubicBezTo>
                <a:cubicBezTo>
                  <a:pt x="1615" y="344"/>
                  <a:pt x="1615" y="345"/>
                  <a:pt x="1615" y="345"/>
                </a:cubicBezTo>
                <a:cubicBezTo>
                  <a:pt x="1615" y="345"/>
                  <a:pt x="1615" y="345"/>
                  <a:pt x="1615" y="345"/>
                </a:cubicBezTo>
                <a:cubicBezTo>
                  <a:pt x="1615" y="346"/>
                  <a:pt x="1615" y="346"/>
                  <a:pt x="1614" y="347"/>
                </a:cubicBezTo>
                <a:cubicBezTo>
                  <a:pt x="1615" y="347"/>
                  <a:pt x="1615" y="347"/>
                  <a:pt x="1615" y="347"/>
                </a:cubicBezTo>
                <a:cubicBezTo>
                  <a:pt x="1615" y="348"/>
                  <a:pt x="1615" y="348"/>
                  <a:pt x="1615" y="348"/>
                </a:cubicBezTo>
                <a:cubicBezTo>
                  <a:pt x="1615" y="348"/>
                  <a:pt x="1615" y="348"/>
                  <a:pt x="1614" y="348"/>
                </a:cubicBezTo>
                <a:cubicBezTo>
                  <a:pt x="1614" y="349"/>
                  <a:pt x="1614" y="349"/>
                  <a:pt x="1614" y="349"/>
                </a:cubicBezTo>
                <a:cubicBezTo>
                  <a:pt x="1614" y="350"/>
                  <a:pt x="1614" y="350"/>
                  <a:pt x="1614" y="350"/>
                </a:cubicBezTo>
                <a:cubicBezTo>
                  <a:pt x="1614" y="350"/>
                  <a:pt x="1614" y="351"/>
                  <a:pt x="1614" y="351"/>
                </a:cubicBezTo>
                <a:cubicBezTo>
                  <a:pt x="1613" y="351"/>
                  <a:pt x="1613" y="351"/>
                  <a:pt x="1612" y="352"/>
                </a:cubicBezTo>
                <a:cubicBezTo>
                  <a:pt x="1612" y="352"/>
                  <a:pt x="1612" y="352"/>
                  <a:pt x="1612" y="352"/>
                </a:cubicBezTo>
                <a:cubicBezTo>
                  <a:pt x="1611" y="353"/>
                  <a:pt x="1611" y="353"/>
                  <a:pt x="1610" y="353"/>
                </a:cubicBezTo>
                <a:cubicBezTo>
                  <a:pt x="1610" y="354"/>
                  <a:pt x="1610" y="354"/>
                  <a:pt x="1610" y="355"/>
                </a:cubicBezTo>
                <a:cubicBezTo>
                  <a:pt x="1610" y="355"/>
                  <a:pt x="1610" y="355"/>
                  <a:pt x="1610" y="355"/>
                </a:cubicBezTo>
                <a:cubicBezTo>
                  <a:pt x="1610" y="355"/>
                  <a:pt x="1610" y="355"/>
                  <a:pt x="1610" y="356"/>
                </a:cubicBezTo>
                <a:cubicBezTo>
                  <a:pt x="1609" y="356"/>
                  <a:pt x="1609" y="356"/>
                  <a:pt x="1609" y="356"/>
                </a:cubicBezTo>
                <a:cubicBezTo>
                  <a:pt x="1608" y="356"/>
                  <a:pt x="1608" y="357"/>
                  <a:pt x="1608" y="357"/>
                </a:cubicBezTo>
                <a:cubicBezTo>
                  <a:pt x="1608" y="357"/>
                  <a:pt x="1607" y="357"/>
                  <a:pt x="1607" y="358"/>
                </a:cubicBezTo>
                <a:cubicBezTo>
                  <a:pt x="1607" y="358"/>
                  <a:pt x="1607" y="358"/>
                  <a:pt x="1607" y="358"/>
                </a:cubicBezTo>
                <a:cubicBezTo>
                  <a:pt x="1607" y="358"/>
                  <a:pt x="1607" y="358"/>
                  <a:pt x="1607" y="358"/>
                </a:cubicBezTo>
                <a:cubicBezTo>
                  <a:pt x="1607" y="359"/>
                  <a:pt x="1607" y="359"/>
                  <a:pt x="1606" y="359"/>
                </a:cubicBezTo>
                <a:cubicBezTo>
                  <a:pt x="1606" y="359"/>
                  <a:pt x="1606" y="360"/>
                  <a:pt x="1606" y="361"/>
                </a:cubicBezTo>
                <a:cubicBezTo>
                  <a:pt x="1606" y="361"/>
                  <a:pt x="1605" y="361"/>
                  <a:pt x="1605" y="361"/>
                </a:cubicBezTo>
                <a:cubicBezTo>
                  <a:pt x="1605" y="361"/>
                  <a:pt x="1605" y="362"/>
                  <a:pt x="1605" y="362"/>
                </a:cubicBezTo>
                <a:cubicBezTo>
                  <a:pt x="1605" y="362"/>
                  <a:pt x="1605" y="362"/>
                  <a:pt x="1605" y="362"/>
                </a:cubicBezTo>
                <a:cubicBezTo>
                  <a:pt x="1605" y="362"/>
                  <a:pt x="1605" y="363"/>
                  <a:pt x="1605" y="363"/>
                </a:cubicBezTo>
                <a:cubicBezTo>
                  <a:pt x="1604" y="363"/>
                  <a:pt x="1604" y="363"/>
                  <a:pt x="1603" y="363"/>
                </a:cubicBezTo>
                <a:cubicBezTo>
                  <a:pt x="1603" y="364"/>
                  <a:pt x="1603" y="364"/>
                  <a:pt x="1602" y="364"/>
                </a:cubicBezTo>
                <a:cubicBezTo>
                  <a:pt x="1602" y="364"/>
                  <a:pt x="1602" y="364"/>
                  <a:pt x="1601" y="364"/>
                </a:cubicBezTo>
                <a:cubicBezTo>
                  <a:pt x="1601" y="365"/>
                  <a:pt x="1601" y="365"/>
                  <a:pt x="1601" y="365"/>
                </a:cubicBezTo>
                <a:cubicBezTo>
                  <a:pt x="1600" y="365"/>
                  <a:pt x="1600" y="365"/>
                  <a:pt x="1599" y="365"/>
                </a:cubicBezTo>
                <a:cubicBezTo>
                  <a:pt x="1599" y="366"/>
                  <a:pt x="1598" y="367"/>
                  <a:pt x="1597" y="368"/>
                </a:cubicBezTo>
                <a:cubicBezTo>
                  <a:pt x="1597" y="368"/>
                  <a:pt x="1597" y="368"/>
                  <a:pt x="1597" y="368"/>
                </a:cubicBezTo>
                <a:cubicBezTo>
                  <a:pt x="1596" y="368"/>
                  <a:pt x="1596" y="369"/>
                  <a:pt x="1596" y="369"/>
                </a:cubicBezTo>
                <a:cubicBezTo>
                  <a:pt x="1596" y="369"/>
                  <a:pt x="1596" y="369"/>
                  <a:pt x="1596" y="369"/>
                </a:cubicBezTo>
                <a:cubicBezTo>
                  <a:pt x="1596" y="369"/>
                  <a:pt x="1596" y="369"/>
                  <a:pt x="1596" y="369"/>
                </a:cubicBezTo>
                <a:cubicBezTo>
                  <a:pt x="1595" y="370"/>
                  <a:pt x="1595" y="370"/>
                  <a:pt x="1594" y="370"/>
                </a:cubicBezTo>
                <a:cubicBezTo>
                  <a:pt x="1594" y="370"/>
                  <a:pt x="1594" y="370"/>
                  <a:pt x="1594" y="370"/>
                </a:cubicBezTo>
                <a:cubicBezTo>
                  <a:pt x="1594" y="370"/>
                  <a:pt x="1593" y="370"/>
                  <a:pt x="1593" y="370"/>
                </a:cubicBezTo>
                <a:cubicBezTo>
                  <a:pt x="1593" y="371"/>
                  <a:pt x="1593" y="371"/>
                  <a:pt x="1593" y="371"/>
                </a:cubicBezTo>
                <a:cubicBezTo>
                  <a:pt x="1592" y="371"/>
                  <a:pt x="1592" y="371"/>
                  <a:pt x="1592" y="371"/>
                </a:cubicBezTo>
                <a:cubicBezTo>
                  <a:pt x="1592" y="372"/>
                  <a:pt x="1592" y="372"/>
                  <a:pt x="1592" y="372"/>
                </a:cubicBezTo>
                <a:cubicBezTo>
                  <a:pt x="1592" y="372"/>
                  <a:pt x="1591" y="373"/>
                  <a:pt x="1591" y="373"/>
                </a:cubicBezTo>
                <a:cubicBezTo>
                  <a:pt x="1591" y="373"/>
                  <a:pt x="1591" y="373"/>
                  <a:pt x="1591" y="373"/>
                </a:cubicBezTo>
                <a:cubicBezTo>
                  <a:pt x="1590" y="372"/>
                  <a:pt x="1590" y="372"/>
                  <a:pt x="1590" y="372"/>
                </a:cubicBezTo>
                <a:cubicBezTo>
                  <a:pt x="1590" y="372"/>
                  <a:pt x="1590" y="373"/>
                  <a:pt x="1590" y="373"/>
                </a:cubicBezTo>
                <a:cubicBezTo>
                  <a:pt x="1590" y="373"/>
                  <a:pt x="1590" y="374"/>
                  <a:pt x="1590" y="374"/>
                </a:cubicBezTo>
                <a:cubicBezTo>
                  <a:pt x="1589" y="374"/>
                  <a:pt x="1589" y="374"/>
                  <a:pt x="1588" y="374"/>
                </a:cubicBezTo>
                <a:cubicBezTo>
                  <a:pt x="1588" y="374"/>
                  <a:pt x="1588" y="374"/>
                  <a:pt x="1588" y="374"/>
                </a:cubicBezTo>
                <a:cubicBezTo>
                  <a:pt x="1588" y="374"/>
                  <a:pt x="1587" y="375"/>
                  <a:pt x="1586" y="375"/>
                </a:cubicBezTo>
                <a:cubicBezTo>
                  <a:pt x="1586" y="375"/>
                  <a:pt x="1585" y="375"/>
                  <a:pt x="1585" y="376"/>
                </a:cubicBezTo>
                <a:cubicBezTo>
                  <a:pt x="1585" y="375"/>
                  <a:pt x="1585" y="375"/>
                  <a:pt x="1584" y="375"/>
                </a:cubicBezTo>
                <a:cubicBezTo>
                  <a:pt x="1584" y="375"/>
                  <a:pt x="1584" y="376"/>
                  <a:pt x="1584" y="376"/>
                </a:cubicBezTo>
                <a:cubicBezTo>
                  <a:pt x="1583" y="376"/>
                  <a:pt x="1583" y="375"/>
                  <a:pt x="1582" y="375"/>
                </a:cubicBezTo>
                <a:cubicBezTo>
                  <a:pt x="1582" y="375"/>
                  <a:pt x="1581" y="376"/>
                  <a:pt x="1581" y="376"/>
                </a:cubicBezTo>
                <a:cubicBezTo>
                  <a:pt x="1581" y="375"/>
                  <a:pt x="1581" y="375"/>
                  <a:pt x="1580" y="375"/>
                </a:cubicBezTo>
                <a:cubicBezTo>
                  <a:pt x="1580" y="375"/>
                  <a:pt x="1580" y="375"/>
                  <a:pt x="1580" y="375"/>
                </a:cubicBezTo>
                <a:cubicBezTo>
                  <a:pt x="1579" y="375"/>
                  <a:pt x="1579" y="374"/>
                  <a:pt x="1578" y="374"/>
                </a:cubicBezTo>
                <a:cubicBezTo>
                  <a:pt x="1578" y="374"/>
                  <a:pt x="1577" y="373"/>
                  <a:pt x="1577" y="373"/>
                </a:cubicBezTo>
                <a:cubicBezTo>
                  <a:pt x="1577" y="373"/>
                  <a:pt x="1577" y="372"/>
                  <a:pt x="1577" y="372"/>
                </a:cubicBezTo>
                <a:cubicBezTo>
                  <a:pt x="1577" y="372"/>
                  <a:pt x="1577" y="371"/>
                  <a:pt x="1577" y="371"/>
                </a:cubicBezTo>
                <a:cubicBezTo>
                  <a:pt x="1576" y="371"/>
                  <a:pt x="1576" y="371"/>
                  <a:pt x="1575" y="371"/>
                </a:cubicBezTo>
                <a:cubicBezTo>
                  <a:pt x="1575" y="371"/>
                  <a:pt x="1575" y="371"/>
                  <a:pt x="1574" y="370"/>
                </a:cubicBezTo>
                <a:cubicBezTo>
                  <a:pt x="1574" y="370"/>
                  <a:pt x="1574" y="370"/>
                  <a:pt x="1574" y="371"/>
                </a:cubicBezTo>
                <a:cubicBezTo>
                  <a:pt x="1574" y="371"/>
                  <a:pt x="1574" y="371"/>
                  <a:pt x="1574" y="371"/>
                </a:cubicBezTo>
                <a:cubicBezTo>
                  <a:pt x="1573" y="371"/>
                  <a:pt x="1573" y="371"/>
                  <a:pt x="1573" y="371"/>
                </a:cubicBezTo>
                <a:cubicBezTo>
                  <a:pt x="1572" y="372"/>
                  <a:pt x="1572" y="372"/>
                  <a:pt x="1572" y="373"/>
                </a:cubicBezTo>
                <a:cubicBezTo>
                  <a:pt x="1572" y="373"/>
                  <a:pt x="1572" y="373"/>
                  <a:pt x="1571" y="373"/>
                </a:cubicBezTo>
                <a:cubicBezTo>
                  <a:pt x="1571" y="373"/>
                  <a:pt x="1571" y="373"/>
                  <a:pt x="1570" y="374"/>
                </a:cubicBezTo>
                <a:cubicBezTo>
                  <a:pt x="1570" y="373"/>
                  <a:pt x="1570" y="373"/>
                  <a:pt x="1570" y="373"/>
                </a:cubicBezTo>
                <a:cubicBezTo>
                  <a:pt x="1570" y="373"/>
                  <a:pt x="1569" y="373"/>
                  <a:pt x="1569" y="373"/>
                </a:cubicBezTo>
                <a:cubicBezTo>
                  <a:pt x="1568" y="373"/>
                  <a:pt x="1568" y="373"/>
                  <a:pt x="1568" y="374"/>
                </a:cubicBezTo>
                <a:cubicBezTo>
                  <a:pt x="1568" y="374"/>
                  <a:pt x="1568" y="374"/>
                  <a:pt x="1568" y="374"/>
                </a:cubicBezTo>
                <a:cubicBezTo>
                  <a:pt x="1568" y="374"/>
                  <a:pt x="1568" y="374"/>
                  <a:pt x="1568" y="374"/>
                </a:cubicBezTo>
                <a:cubicBezTo>
                  <a:pt x="1568" y="374"/>
                  <a:pt x="1568" y="374"/>
                  <a:pt x="1567" y="374"/>
                </a:cubicBezTo>
                <a:cubicBezTo>
                  <a:pt x="1567" y="374"/>
                  <a:pt x="1566" y="374"/>
                  <a:pt x="1565" y="374"/>
                </a:cubicBezTo>
                <a:cubicBezTo>
                  <a:pt x="1565" y="374"/>
                  <a:pt x="1565" y="374"/>
                  <a:pt x="1565" y="374"/>
                </a:cubicBezTo>
                <a:cubicBezTo>
                  <a:pt x="1565" y="374"/>
                  <a:pt x="1564" y="374"/>
                  <a:pt x="1564" y="375"/>
                </a:cubicBezTo>
                <a:cubicBezTo>
                  <a:pt x="1564" y="375"/>
                  <a:pt x="1563" y="376"/>
                  <a:pt x="1563" y="376"/>
                </a:cubicBezTo>
                <a:cubicBezTo>
                  <a:pt x="1563" y="377"/>
                  <a:pt x="1563" y="377"/>
                  <a:pt x="1563" y="377"/>
                </a:cubicBezTo>
                <a:cubicBezTo>
                  <a:pt x="1563" y="378"/>
                  <a:pt x="1563" y="378"/>
                  <a:pt x="1564" y="378"/>
                </a:cubicBezTo>
                <a:cubicBezTo>
                  <a:pt x="1563" y="379"/>
                  <a:pt x="1563" y="379"/>
                  <a:pt x="1563" y="380"/>
                </a:cubicBezTo>
                <a:cubicBezTo>
                  <a:pt x="1563" y="380"/>
                  <a:pt x="1563" y="380"/>
                  <a:pt x="1563" y="381"/>
                </a:cubicBezTo>
                <a:cubicBezTo>
                  <a:pt x="1563" y="381"/>
                  <a:pt x="1563" y="381"/>
                  <a:pt x="1563" y="381"/>
                </a:cubicBezTo>
                <a:cubicBezTo>
                  <a:pt x="1562" y="381"/>
                  <a:pt x="1562" y="382"/>
                  <a:pt x="1561" y="382"/>
                </a:cubicBezTo>
                <a:cubicBezTo>
                  <a:pt x="1561" y="382"/>
                  <a:pt x="1561" y="382"/>
                  <a:pt x="1561" y="382"/>
                </a:cubicBezTo>
                <a:cubicBezTo>
                  <a:pt x="1560" y="382"/>
                  <a:pt x="1559" y="383"/>
                  <a:pt x="1558" y="383"/>
                </a:cubicBezTo>
                <a:cubicBezTo>
                  <a:pt x="1558" y="383"/>
                  <a:pt x="1558" y="383"/>
                  <a:pt x="1558" y="383"/>
                </a:cubicBezTo>
                <a:cubicBezTo>
                  <a:pt x="1558" y="384"/>
                  <a:pt x="1558" y="384"/>
                  <a:pt x="1557" y="384"/>
                </a:cubicBezTo>
                <a:cubicBezTo>
                  <a:pt x="1557" y="384"/>
                  <a:pt x="1557" y="384"/>
                  <a:pt x="1557" y="384"/>
                </a:cubicBezTo>
                <a:cubicBezTo>
                  <a:pt x="1557" y="384"/>
                  <a:pt x="1556" y="384"/>
                  <a:pt x="1556" y="384"/>
                </a:cubicBezTo>
                <a:cubicBezTo>
                  <a:pt x="1555" y="384"/>
                  <a:pt x="1555" y="384"/>
                  <a:pt x="1555" y="384"/>
                </a:cubicBezTo>
                <a:cubicBezTo>
                  <a:pt x="1554" y="384"/>
                  <a:pt x="1554" y="384"/>
                  <a:pt x="1554" y="384"/>
                </a:cubicBezTo>
                <a:cubicBezTo>
                  <a:pt x="1553" y="384"/>
                  <a:pt x="1553" y="384"/>
                  <a:pt x="1552" y="384"/>
                </a:cubicBezTo>
                <a:cubicBezTo>
                  <a:pt x="1552" y="385"/>
                  <a:pt x="1552" y="385"/>
                  <a:pt x="1552" y="385"/>
                </a:cubicBezTo>
                <a:cubicBezTo>
                  <a:pt x="1552" y="386"/>
                  <a:pt x="1552" y="386"/>
                  <a:pt x="1552" y="386"/>
                </a:cubicBezTo>
                <a:cubicBezTo>
                  <a:pt x="1552" y="386"/>
                  <a:pt x="1552" y="386"/>
                  <a:pt x="1551" y="386"/>
                </a:cubicBezTo>
                <a:cubicBezTo>
                  <a:pt x="1551" y="387"/>
                  <a:pt x="1551" y="387"/>
                  <a:pt x="1551" y="387"/>
                </a:cubicBezTo>
                <a:cubicBezTo>
                  <a:pt x="1552" y="388"/>
                  <a:pt x="1553" y="388"/>
                  <a:pt x="1553" y="388"/>
                </a:cubicBezTo>
                <a:cubicBezTo>
                  <a:pt x="1553" y="389"/>
                  <a:pt x="1553" y="389"/>
                  <a:pt x="1554" y="389"/>
                </a:cubicBezTo>
                <a:cubicBezTo>
                  <a:pt x="1555" y="390"/>
                  <a:pt x="1556" y="391"/>
                  <a:pt x="1557" y="392"/>
                </a:cubicBezTo>
                <a:cubicBezTo>
                  <a:pt x="1557" y="392"/>
                  <a:pt x="1557" y="392"/>
                  <a:pt x="1557" y="393"/>
                </a:cubicBezTo>
                <a:cubicBezTo>
                  <a:pt x="1557" y="394"/>
                  <a:pt x="1558" y="395"/>
                  <a:pt x="1558" y="396"/>
                </a:cubicBezTo>
                <a:cubicBezTo>
                  <a:pt x="1559" y="397"/>
                  <a:pt x="1559" y="398"/>
                  <a:pt x="1560" y="399"/>
                </a:cubicBezTo>
                <a:cubicBezTo>
                  <a:pt x="1561" y="400"/>
                  <a:pt x="1561" y="401"/>
                  <a:pt x="1562" y="402"/>
                </a:cubicBezTo>
                <a:cubicBezTo>
                  <a:pt x="1562" y="403"/>
                  <a:pt x="1562" y="403"/>
                  <a:pt x="1561" y="404"/>
                </a:cubicBezTo>
                <a:cubicBezTo>
                  <a:pt x="1562" y="404"/>
                  <a:pt x="1562" y="405"/>
                  <a:pt x="1562" y="405"/>
                </a:cubicBezTo>
                <a:cubicBezTo>
                  <a:pt x="1562" y="406"/>
                  <a:pt x="1562" y="407"/>
                  <a:pt x="1562" y="407"/>
                </a:cubicBezTo>
                <a:cubicBezTo>
                  <a:pt x="1562" y="408"/>
                  <a:pt x="1562" y="408"/>
                  <a:pt x="1561" y="408"/>
                </a:cubicBezTo>
                <a:cubicBezTo>
                  <a:pt x="1562" y="408"/>
                  <a:pt x="1562" y="408"/>
                  <a:pt x="1562" y="408"/>
                </a:cubicBezTo>
                <a:cubicBezTo>
                  <a:pt x="1562" y="408"/>
                  <a:pt x="1562" y="408"/>
                  <a:pt x="1562" y="408"/>
                </a:cubicBezTo>
                <a:cubicBezTo>
                  <a:pt x="1562" y="409"/>
                  <a:pt x="1562" y="410"/>
                  <a:pt x="1561" y="411"/>
                </a:cubicBezTo>
                <a:cubicBezTo>
                  <a:pt x="1561" y="411"/>
                  <a:pt x="1561" y="411"/>
                  <a:pt x="1561" y="411"/>
                </a:cubicBezTo>
                <a:cubicBezTo>
                  <a:pt x="1561" y="411"/>
                  <a:pt x="1561" y="411"/>
                  <a:pt x="1561" y="412"/>
                </a:cubicBezTo>
                <a:cubicBezTo>
                  <a:pt x="1560" y="412"/>
                  <a:pt x="1560" y="412"/>
                  <a:pt x="1559" y="412"/>
                </a:cubicBezTo>
                <a:cubicBezTo>
                  <a:pt x="1559" y="412"/>
                  <a:pt x="1558" y="412"/>
                  <a:pt x="1558" y="412"/>
                </a:cubicBezTo>
                <a:cubicBezTo>
                  <a:pt x="1557" y="412"/>
                  <a:pt x="1557" y="412"/>
                  <a:pt x="1556" y="412"/>
                </a:cubicBezTo>
                <a:cubicBezTo>
                  <a:pt x="1556" y="412"/>
                  <a:pt x="1556" y="412"/>
                  <a:pt x="1557" y="413"/>
                </a:cubicBezTo>
                <a:cubicBezTo>
                  <a:pt x="1556" y="413"/>
                  <a:pt x="1556" y="413"/>
                  <a:pt x="1556" y="413"/>
                </a:cubicBezTo>
                <a:cubicBezTo>
                  <a:pt x="1556" y="413"/>
                  <a:pt x="1556" y="412"/>
                  <a:pt x="1556" y="412"/>
                </a:cubicBezTo>
                <a:cubicBezTo>
                  <a:pt x="1555" y="412"/>
                  <a:pt x="1555" y="412"/>
                  <a:pt x="1555" y="412"/>
                </a:cubicBezTo>
                <a:cubicBezTo>
                  <a:pt x="1555" y="412"/>
                  <a:pt x="1554" y="412"/>
                  <a:pt x="1554" y="411"/>
                </a:cubicBezTo>
                <a:cubicBezTo>
                  <a:pt x="1554" y="411"/>
                  <a:pt x="1554" y="411"/>
                  <a:pt x="1554" y="411"/>
                </a:cubicBezTo>
                <a:cubicBezTo>
                  <a:pt x="1554" y="411"/>
                  <a:pt x="1553" y="411"/>
                  <a:pt x="1553" y="411"/>
                </a:cubicBezTo>
                <a:cubicBezTo>
                  <a:pt x="1553" y="411"/>
                  <a:pt x="1553" y="411"/>
                  <a:pt x="1553" y="411"/>
                </a:cubicBezTo>
                <a:cubicBezTo>
                  <a:pt x="1553" y="411"/>
                  <a:pt x="1552" y="411"/>
                  <a:pt x="1552" y="411"/>
                </a:cubicBezTo>
                <a:cubicBezTo>
                  <a:pt x="1551" y="411"/>
                  <a:pt x="1550" y="411"/>
                  <a:pt x="1549" y="411"/>
                </a:cubicBezTo>
                <a:cubicBezTo>
                  <a:pt x="1549" y="411"/>
                  <a:pt x="1549" y="412"/>
                  <a:pt x="1548" y="412"/>
                </a:cubicBezTo>
                <a:cubicBezTo>
                  <a:pt x="1548" y="412"/>
                  <a:pt x="1548" y="411"/>
                  <a:pt x="1548" y="411"/>
                </a:cubicBezTo>
                <a:cubicBezTo>
                  <a:pt x="1548" y="411"/>
                  <a:pt x="1548" y="412"/>
                  <a:pt x="1548" y="412"/>
                </a:cubicBezTo>
                <a:cubicBezTo>
                  <a:pt x="1547" y="412"/>
                  <a:pt x="1547" y="412"/>
                  <a:pt x="1547" y="412"/>
                </a:cubicBezTo>
                <a:cubicBezTo>
                  <a:pt x="1547" y="412"/>
                  <a:pt x="1547" y="412"/>
                  <a:pt x="1547" y="412"/>
                </a:cubicBezTo>
                <a:cubicBezTo>
                  <a:pt x="1547" y="411"/>
                  <a:pt x="1547" y="411"/>
                  <a:pt x="1547" y="411"/>
                </a:cubicBezTo>
                <a:cubicBezTo>
                  <a:pt x="1547" y="411"/>
                  <a:pt x="1547" y="411"/>
                  <a:pt x="1547" y="410"/>
                </a:cubicBezTo>
                <a:cubicBezTo>
                  <a:pt x="1546" y="410"/>
                  <a:pt x="1546" y="410"/>
                  <a:pt x="1546" y="410"/>
                </a:cubicBezTo>
                <a:cubicBezTo>
                  <a:pt x="1546" y="409"/>
                  <a:pt x="1546" y="409"/>
                  <a:pt x="1545" y="408"/>
                </a:cubicBezTo>
                <a:cubicBezTo>
                  <a:pt x="1546" y="408"/>
                  <a:pt x="1546" y="408"/>
                  <a:pt x="1546" y="408"/>
                </a:cubicBezTo>
                <a:cubicBezTo>
                  <a:pt x="1546" y="408"/>
                  <a:pt x="1546" y="408"/>
                  <a:pt x="1546" y="407"/>
                </a:cubicBezTo>
                <a:cubicBezTo>
                  <a:pt x="1546" y="407"/>
                  <a:pt x="1546" y="407"/>
                  <a:pt x="1546" y="407"/>
                </a:cubicBezTo>
                <a:cubicBezTo>
                  <a:pt x="1546" y="407"/>
                  <a:pt x="1546" y="407"/>
                  <a:pt x="1547" y="407"/>
                </a:cubicBezTo>
                <a:cubicBezTo>
                  <a:pt x="1547" y="406"/>
                  <a:pt x="1547" y="406"/>
                  <a:pt x="1547" y="406"/>
                </a:cubicBezTo>
                <a:cubicBezTo>
                  <a:pt x="1547" y="406"/>
                  <a:pt x="1547" y="406"/>
                  <a:pt x="1546" y="405"/>
                </a:cubicBezTo>
                <a:cubicBezTo>
                  <a:pt x="1546" y="405"/>
                  <a:pt x="1546" y="405"/>
                  <a:pt x="1547" y="405"/>
                </a:cubicBezTo>
                <a:cubicBezTo>
                  <a:pt x="1547" y="405"/>
                  <a:pt x="1548" y="405"/>
                  <a:pt x="1548" y="405"/>
                </a:cubicBezTo>
                <a:cubicBezTo>
                  <a:pt x="1548" y="404"/>
                  <a:pt x="1548" y="404"/>
                  <a:pt x="1548" y="403"/>
                </a:cubicBezTo>
                <a:cubicBezTo>
                  <a:pt x="1548" y="403"/>
                  <a:pt x="1548" y="403"/>
                  <a:pt x="1548" y="403"/>
                </a:cubicBezTo>
                <a:cubicBezTo>
                  <a:pt x="1547" y="403"/>
                  <a:pt x="1547" y="403"/>
                  <a:pt x="1547" y="403"/>
                </a:cubicBezTo>
                <a:cubicBezTo>
                  <a:pt x="1547" y="402"/>
                  <a:pt x="1547" y="402"/>
                  <a:pt x="1548" y="402"/>
                </a:cubicBezTo>
                <a:cubicBezTo>
                  <a:pt x="1548" y="401"/>
                  <a:pt x="1547" y="401"/>
                  <a:pt x="1547" y="401"/>
                </a:cubicBezTo>
                <a:cubicBezTo>
                  <a:pt x="1547" y="401"/>
                  <a:pt x="1547" y="401"/>
                  <a:pt x="1547" y="401"/>
                </a:cubicBezTo>
                <a:cubicBezTo>
                  <a:pt x="1546" y="400"/>
                  <a:pt x="1545" y="400"/>
                  <a:pt x="1545" y="399"/>
                </a:cubicBezTo>
                <a:cubicBezTo>
                  <a:pt x="1545" y="399"/>
                  <a:pt x="1546" y="399"/>
                  <a:pt x="1546" y="398"/>
                </a:cubicBezTo>
                <a:cubicBezTo>
                  <a:pt x="1546" y="398"/>
                  <a:pt x="1547" y="399"/>
                  <a:pt x="1547" y="399"/>
                </a:cubicBezTo>
                <a:cubicBezTo>
                  <a:pt x="1547" y="399"/>
                  <a:pt x="1547" y="398"/>
                  <a:pt x="1548" y="398"/>
                </a:cubicBezTo>
                <a:cubicBezTo>
                  <a:pt x="1548" y="398"/>
                  <a:pt x="1548" y="399"/>
                  <a:pt x="1548" y="399"/>
                </a:cubicBezTo>
                <a:cubicBezTo>
                  <a:pt x="1548" y="399"/>
                  <a:pt x="1549" y="399"/>
                  <a:pt x="1549" y="400"/>
                </a:cubicBezTo>
                <a:cubicBezTo>
                  <a:pt x="1549" y="399"/>
                  <a:pt x="1549" y="399"/>
                  <a:pt x="1549" y="399"/>
                </a:cubicBezTo>
                <a:cubicBezTo>
                  <a:pt x="1549" y="399"/>
                  <a:pt x="1549" y="398"/>
                  <a:pt x="1549" y="398"/>
                </a:cubicBezTo>
                <a:cubicBezTo>
                  <a:pt x="1549" y="398"/>
                  <a:pt x="1549" y="398"/>
                  <a:pt x="1549" y="398"/>
                </a:cubicBezTo>
                <a:cubicBezTo>
                  <a:pt x="1549" y="398"/>
                  <a:pt x="1549" y="398"/>
                  <a:pt x="1548" y="397"/>
                </a:cubicBezTo>
                <a:cubicBezTo>
                  <a:pt x="1548" y="397"/>
                  <a:pt x="1548" y="396"/>
                  <a:pt x="1548" y="396"/>
                </a:cubicBezTo>
                <a:cubicBezTo>
                  <a:pt x="1547" y="395"/>
                  <a:pt x="1547" y="394"/>
                  <a:pt x="1546" y="394"/>
                </a:cubicBezTo>
                <a:cubicBezTo>
                  <a:pt x="1546" y="394"/>
                  <a:pt x="1547" y="394"/>
                  <a:pt x="1547" y="394"/>
                </a:cubicBezTo>
                <a:cubicBezTo>
                  <a:pt x="1546" y="394"/>
                  <a:pt x="1546" y="393"/>
                  <a:pt x="1545" y="393"/>
                </a:cubicBezTo>
                <a:cubicBezTo>
                  <a:pt x="1545" y="393"/>
                  <a:pt x="1545" y="393"/>
                  <a:pt x="1544" y="393"/>
                </a:cubicBezTo>
                <a:cubicBezTo>
                  <a:pt x="1544" y="393"/>
                  <a:pt x="1544" y="393"/>
                  <a:pt x="1544" y="393"/>
                </a:cubicBezTo>
                <a:cubicBezTo>
                  <a:pt x="1544" y="393"/>
                  <a:pt x="1544" y="392"/>
                  <a:pt x="1543" y="392"/>
                </a:cubicBezTo>
                <a:cubicBezTo>
                  <a:pt x="1543" y="392"/>
                  <a:pt x="1543" y="392"/>
                  <a:pt x="1543" y="392"/>
                </a:cubicBezTo>
                <a:cubicBezTo>
                  <a:pt x="1543" y="392"/>
                  <a:pt x="1543" y="392"/>
                  <a:pt x="1543" y="392"/>
                </a:cubicBezTo>
                <a:cubicBezTo>
                  <a:pt x="1542" y="393"/>
                  <a:pt x="1542" y="393"/>
                  <a:pt x="1542" y="393"/>
                </a:cubicBezTo>
                <a:cubicBezTo>
                  <a:pt x="1541" y="393"/>
                  <a:pt x="1541" y="393"/>
                  <a:pt x="1541" y="392"/>
                </a:cubicBezTo>
                <a:cubicBezTo>
                  <a:pt x="1541" y="393"/>
                  <a:pt x="1540" y="393"/>
                  <a:pt x="1540" y="393"/>
                </a:cubicBezTo>
                <a:cubicBezTo>
                  <a:pt x="1540" y="392"/>
                  <a:pt x="1540" y="392"/>
                  <a:pt x="1540" y="392"/>
                </a:cubicBezTo>
                <a:cubicBezTo>
                  <a:pt x="1540" y="392"/>
                  <a:pt x="1541" y="392"/>
                  <a:pt x="1541" y="391"/>
                </a:cubicBezTo>
                <a:cubicBezTo>
                  <a:pt x="1541" y="391"/>
                  <a:pt x="1540" y="391"/>
                  <a:pt x="1540" y="391"/>
                </a:cubicBezTo>
                <a:cubicBezTo>
                  <a:pt x="1540" y="391"/>
                  <a:pt x="1539" y="391"/>
                  <a:pt x="1539" y="391"/>
                </a:cubicBezTo>
                <a:cubicBezTo>
                  <a:pt x="1539" y="391"/>
                  <a:pt x="1539" y="391"/>
                  <a:pt x="1539" y="391"/>
                </a:cubicBezTo>
                <a:cubicBezTo>
                  <a:pt x="1539" y="390"/>
                  <a:pt x="1539" y="390"/>
                  <a:pt x="1539" y="390"/>
                </a:cubicBezTo>
                <a:cubicBezTo>
                  <a:pt x="1539" y="390"/>
                  <a:pt x="1539" y="389"/>
                  <a:pt x="1540" y="389"/>
                </a:cubicBezTo>
                <a:cubicBezTo>
                  <a:pt x="1540" y="388"/>
                  <a:pt x="1540" y="388"/>
                  <a:pt x="1541" y="388"/>
                </a:cubicBezTo>
                <a:cubicBezTo>
                  <a:pt x="1541" y="388"/>
                  <a:pt x="1542" y="388"/>
                  <a:pt x="1542" y="388"/>
                </a:cubicBezTo>
                <a:cubicBezTo>
                  <a:pt x="1543" y="388"/>
                  <a:pt x="1543" y="388"/>
                  <a:pt x="1543" y="388"/>
                </a:cubicBezTo>
                <a:cubicBezTo>
                  <a:pt x="1543" y="388"/>
                  <a:pt x="1543" y="388"/>
                  <a:pt x="1542" y="388"/>
                </a:cubicBezTo>
                <a:cubicBezTo>
                  <a:pt x="1542" y="388"/>
                  <a:pt x="1541" y="387"/>
                  <a:pt x="1540" y="387"/>
                </a:cubicBezTo>
                <a:cubicBezTo>
                  <a:pt x="1540" y="387"/>
                  <a:pt x="1540" y="387"/>
                  <a:pt x="1540" y="387"/>
                </a:cubicBezTo>
                <a:cubicBezTo>
                  <a:pt x="1540" y="386"/>
                  <a:pt x="1540" y="386"/>
                  <a:pt x="1541" y="385"/>
                </a:cubicBezTo>
                <a:cubicBezTo>
                  <a:pt x="1541" y="385"/>
                  <a:pt x="1542" y="384"/>
                  <a:pt x="1542" y="384"/>
                </a:cubicBezTo>
                <a:cubicBezTo>
                  <a:pt x="1542" y="384"/>
                  <a:pt x="1542" y="384"/>
                  <a:pt x="1542" y="383"/>
                </a:cubicBezTo>
                <a:cubicBezTo>
                  <a:pt x="1542" y="383"/>
                  <a:pt x="1543" y="383"/>
                  <a:pt x="1543" y="383"/>
                </a:cubicBezTo>
                <a:cubicBezTo>
                  <a:pt x="1543" y="383"/>
                  <a:pt x="1543" y="383"/>
                  <a:pt x="1543" y="383"/>
                </a:cubicBezTo>
                <a:cubicBezTo>
                  <a:pt x="1543" y="383"/>
                  <a:pt x="1543" y="383"/>
                  <a:pt x="1543" y="383"/>
                </a:cubicBezTo>
                <a:cubicBezTo>
                  <a:pt x="1542" y="383"/>
                  <a:pt x="1542" y="383"/>
                  <a:pt x="1542" y="383"/>
                </a:cubicBezTo>
                <a:cubicBezTo>
                  <a:pt x="1541" y="383"/>
                  <a:pt x="1541" y="383"/>
                  <a:pt x="1540" y="382"/>
                </a:cubicBezTo>
                <a:cubicBezTo>
                  <a:pt x="1540" y="382"/>
                  <a:pt x="1540" y="382"/>
                  <a:pt x="1540" y="382"/>
                </a:cubicBezTo>
                <a:cubicBezTo>
                  <a:pt x="1540" y="382"/>
                  <a:pt x="1539" y="381"/>
                  <a:pt x="1539" y="381"/>
                </a:cubicBezTo>
                <a:cubicBezTo>
                  <a:pt x="1539" y="381"/>
                  <a:pt x="1539" y="381"/>
                  <a:pt x="1539" y="381"/>
                </a:cubicBezTo>
                <a:cubicBezTo>
                  <a:pt x="1538" y="382"/>
                  <a:pt x="1538" y="382"/>
                  <a:pt x="1538" y="382"/>
                </a:cubicBezTo>
                <a:cubicBezTo>
                  <a:pt x="1538" y="381"/>
                  <a:pt x="1538" y="381"/>
                  <a:pt x="1538" y="380"/>
                </a:cubicBezTo>
                <a:cubicBezTo>
                  <a:pt x="1538" y="380"/>
                  <a:pt x="1538" y="380"/>
                  <a:pt x="1538" y="380"/>
                </a:cubicBezTo>
                <a:cubicBezTo>
                  <a:pt x="1538" y="380"/>
                  <a:pt x="1538" y="380"/>
                  <a:pt x="1537" y="380"/>
                </a:cubicBezTo>
                <a:cubicBezTo>
                  <a:pt x="1537" y="380"/>
                  <a:pt x="1537" y="380"/>
                  <a:pt x="1538" y="380"/>
                </a:cubicBezTo>
                <a:cubicBezTo>
                  <a:pt x="1537" y="380"/>
                  <a:pt x="1537" y="379"/>
                  <a:pt x="1537" y="379"/>
                </a:cubicBezTo>
                <a:cubicBezTo>
                  <a:pt x="1537" y="379"/>
                  <a:pt x="1536" y="380"/>
                  <a:pt x="1535" y="380"/>
                </a:cubicBezTo>
                <a:cubicBezTo>
                  <a:pt x="1535" y="380"/>
                  <a:pt x="1535" y="380"/>
                  <a:pt x="1534" y="379"/>
                </a:cubicBezTo>
                <a:cubicBezTo>
                  <a:pt x="1534" y="379"/>
                  <a:pt x="1534" y="379"/>
                  <a:pt x="1534" y="379"/>
                </a:cubicBezTo>
                <a:cubicBezTo>
                  <a:pt x="1534" y="379"/>
                  <a:pt x="1533" y="379"/>
                  <a:pt x="1533" y="379"/>
                </a:cubicBezTo>
                <a:cubicBezTo>
                  <a:pt x="1533" y="379"/>
                  <a:pt x="1532" y="379"/>
                  <a:pt x="1532" y="379"/>
                </a:cubicBezTo>
                <a:cubicBezTo>
                  <a:pt x="1531" y="379"/>
                  <a:pt x="1531" y="379"/>
                  <a:pt x="1530" y="379"/>
                </a:cubicBezTo>
                <a:cubicBezTo>
                  <a:pt x="1530" y="379"/>
                  <a:pt x="1530" y="379"/>
                  <a:pt x="1530" y="379"/>
                </a:cubicBezTo>
                <a:cubicBezTo>
                  <a:pt x="1530" y="379"/>
                  <a:pt x="1530" y="379"/>
                  <a:pt x="1529" y="379"/>
                </a:cubicBezTo>
                <a:cubicBezTo>
                  <a:pt x="1529" y="379"/>
                  <a:pt x="1528" y="379"/>
                  <a:pt x="1527" y="379"/>
                </a:cubicBezTo>
                <a:cubicBezTo>
                  <a:pt x="1526" y="379"/>
                  <a:pt x="1526" y="380"/>
                  <a:pt x="1525" y="380"/>
                </a:cubicBezTo>
                <a:cubicBezTo>
                  <a:pt x="1525" y="380"/>
                  <a:pt x="1525" y="380"/>
                  <a:pt x="1525" y="380"/>
                </a:cubicBezTo>
                <a:cubicBezTo>
                  <a:pt x="1525" y="381"/>
                  <a:pt x="1525" y="381"/>
                  <a:pt x="1525" y="381"/>
                </a:cubicBezTo>
                <a:cubicBezTo>
                  <a:pt x="1525" y="381"/>
                  <a:pt x="1524" y="381"/>
                  <a:pt x="1524" y="381"/>
                </a:cubicBezTo>
                <a:cubicBezTo>
                  <a:pt x="1523" y="381"/>
                  <a:pt x="1523" y="381"/>
                  <a:pt x="1522" y="381"/>
                </a:cubicBezTo>
                <a:cubicBezTo>
                  <a:pt x="1522" y="381"/>
                  <a:pt x="1522" y="381"/>
                  <a:pt x="1522" y="381"/>
                </a:cubicBezTo>
                <a:cubicBezTo>
                  <a:pt x="1522" y="381"/>
                  <a:pt x="1521" y="381"/>
                  <a:pt x="1521" y="381"/>
                </a:cubicBezTo>
                <a:cubicBezTo>
                  <a:pt x="1521" y="381"/>
                  <a:pt x="1521" y="381"/>
                  <a:pt x="1520" y="381"/>
                </a:cubicBezTo>
                <a:cubicBezTo>
                  <a:pt x="1520" y="381"/>
                  <a:pt x="1520" y="381"/>
                  <a:pt x="1520" y="381"/>
                </a:cubicBezTo>
                <a:cubicBezTo>
                  <a:pt x="1520" y="380"/>
                  <a:pt x="1520" y="380"/>
                  <a:pt x="1520" y="380"/>
                </a:cubicBezTo>
                <a:cubicBezTo>
                  <a:pt x="1520" y="380"/>
                  <a:pt x="1520" y="380"/>
                  <a:pt x="1520" y="380"/>
                </a:cubicBezTo>
                <a:cubicBezTo>
                  <a:pt x="1521" y="380"/>
                  <a:pt x="1521" y="380"/>
                  <a:pt x="1521" y="380"/>
                </a:cubicBezTo>
                <a:cubicBezTo>
                  <a:pt x="1521" y="380"/>
                  <a:pt x="1522" y="380"/>
                  <a:pt x="1522" y="379"/>
                </a:cubicBezTo>
                <a:cubicBezTo>
                  <a:pt x="1522" y="380"/>
                  <a:pt x="1523" y="380"/>
                  <a:pt x="1523" y="380"/>
                </a:cubicBezTo>
                <a:cubicBezTo>
                  <a:pt x="1523" y="380"/>
                  <a:pt x="1523" y="380"/>
                  <a:pt x="1523" y="380"/>
                </a:cubicBezTo>
                <a:cubicBezTo>
                  <a:pt x="1524" y="380"/>
                  <a:pt x="1524" y="380"/>
                  <a:pt x="1524" y="380"/>
                </a:cubicBezTo>
                <a:cubicBezTo>
                  <a:pt x="1524" y="379"/>
                  <a:pt x="1523" y="379"/>
                  <a:pt x="1523" y="379"/>
                </a:cubicBezTo>
                <a:cubicBezTo>
                  <a:pt x="1523" y="379"/>
                  <a:pt x="1523" y="379"/>
                  <a:pt x="1523" y="379"/>
                </a:cubicBezTo>
                <a:cubicBezTo>
                  <a:pt x="1524" y="379"/>
                  <a:pt x="1524" y="379"/>
                  <a:pt x="1524" y="379"/>
                </a:cubicBezTo>
                <a:cubicBezTo>
                  <a:pt x="1525" y="379"/>
                  <a:pt x="1525" y="378"/>
                  <a:pt x="1525" y="378"/>
                </a:cubicBezTo>
                <a:cubicBezTo>
                  <a:pt x="1525" y="378"/>
                  <a:pt x="1524" y="378"/>
                  <a:pt x="1524" y="379"/>
                </a:cubicBezTo>
                <a:cubicBezTo>
                  <a:pt x="1523" y="378"/>
                  <a:pt x="1523" y="378"/>
                  <a:pt x="1522" y="378"/>
                </a:cubicBezTo>
                <a:cubicBezTo>
                  <a:pt x="1522" y="378"/>
                  <a:pt x="1522" y="378"/>
                  <a:pt x="1522" y="378"/>
                </a:cubicBezTo>
                <a:cubicBezTo>
                  <a:pt x="1522" y="378"/>
                  <a:pt x="1522" y="378"/>
                  <a:pt x="1522" y="377"/>
                </a:cubicBezTo>
                <a:cubicBezTo>
                  <a:pt x="1522" y="377"/>
                  <a:pt x="1523" y="377"/>
                  <a:pt x="1523" y="377"/>
                </a:cubicBezTo>
                <a:cubicBezTo>
                  <a:pt x="1523" y="377"/>
                  <a:pt x="1523" y="377"/>
                  <a:pt x="1523" y="377"/>
                </a:cubicBezTo>
                <a:cubicBezTo>
                  <a:pt x="1523" y="377"/>
                  <a:pt x="1522" y="376"/>
                  <a:pt x="1522" y="376"/>
                </a:cubicBezTo>
                <a:cubicBezTo>
                  <a:pt x="1522" y="376"/>
                  <a:pt x="1522" y="375"/>
                  <a:pt x="1523" y="375"/>
                </a:cubicBezTo>
                <a:cubicBezTo>
                  <a:pt x="1523" y="375"/>
                  <a:pt x="1523" y="375"/>
                  <a:pt x="1523" y="375"/>
                </a:cubicBezTo>
                <a:cubicBezTo>
                  <a:pt x="1523" y="375"/>
                  <a:pt x="1523" y="375"/>
                  <a:pt x="1524" y="375"/>
                </a:cubicBezTo>
                <a:cubicBezTo>
                  <a:pt x="1524" y="375"/>
                  <a:pt x="1524" y="375"/>
                  <a:pt x="1524" y="374"/>
                </a:cubicBezTo>
                <a:cubicBezTo>
                  <a:pt x="1524" y="374"/>
                  <a:pt x="1525" y="374"/>
                  <a:pt x="1525" y="374"/>
                </a:cubicBezTo>
                <a:cubicBezTo>
                  <a:pt x="1526" y="374"/>
                  <a:pt x="1526" y="373"/>
                  <a:pt x="1526" y="373"/>
                </a:cubicBezTo>
                <a:cubicBezTo>
                  <a:pt x="1526" y="373"/>
                  <a:pt x="1526" y="373"/>
                  <a:pt x="1527" y="373"/>
                </a:cubicBezTo>
                <a:cubicBezTo>
                  <a:pt x="1527" y="373"/>
                  <a:pt x="1527" y="373"/>
                  <a:pt x="1527" y="373"/>
                </a:cubicBezTo>
                <a:cubicBezTo>
                  <a:pt x="1526" y="372"/>
                  <a:pt x="1525" y="371"/>
                  <a:pt x="1525" y="371"/>
                </a:cubicBezTo>
                <a:cubicBezTo>
                  <a:pt x="1524" y="370"/>
                  <a:pt x="1524" y="370"/>
                  <a:pt x="1524" y="369"/>
                </a:cubicBezTo>
                <a:cubicBezTo>
                  <a:pt x="1523" y="369"/>
                  <a:pt x="1523" y="369"/>
                  <a:pt x="1523" y="370"/>
                </a:cubicBezTo>
                <a:cubicBezTo>
                  <a:pt x="1523" y="370"/>
                  <a:pt x="1522" y="369"/>
                  <a:pt x="1522" y="369"/>
                </a:cubicBezTo>
                <a:cubicBezTo>
                  <a:pt x="1522" y="369"/>
                  <a:pt x="1522" y="369"/>
                  <a:pt x="1522" y="369"/>
                </a:cubicBezTo>
                <a:cubicBezTo>
                  <a:pt x="1521" y="369"/>
                  <a:pt x="1521" y="369"/>
                  <a:pt x="1520" y="369"/>
                </a:cubicBezTo>
                <a:cubicBezTo>
                  <a:pt x="1520" y="369"/>
                  <a:pt x="1520" y="369"/>
                  <a:pt x="1520" y="369"/>
                </a:cubicBezTo>
                <a:cubicBezTo>
                  <a:pt x="1519" y="369"/>
                  <a:pt x="1519" y="369"/>
                  <a:pt x="1519" y="369"/>
                </a:cubicBezTo>
                <a:cubicBezTo>
                  <a:pt x="1519" y="369"/>
                  <a:pt x="1519" y="370"/>
                  <a:pt x="1519" y="370"/>
                </a:cubicBezTo>
                <a:cubicBezTo>
                  <a:pt x="1518" y="370"/>
                  <a:pt x="1518" y="370"/>
                  <a:pt x="1517" y="370"/>
                </a:cubicBezTo>
                <a:cubicBezTo>
                  <a:pt x="1517" y="371"/>
                  <a:pt x="1517" y="371"/>
                  <a:pt x="1517" y="372"/>
                </a:cubicBezTo>
                <a:cubicBezTo>
                  <a:pt x="1516" y="372"/>
                  <a:pt x="1516" y="372"/>
                  <a:pt x="1516" y="372"/>
                </a:cubicBezTo>
                <a:cubicBezTo>
                  <a:pt x="1516" y="372"/>
                  <a:pt x="1515" y="372"/>
                  <a:pt x="1515" y="372"/>
                </a:cubicBezTo>
                <a:cubicBezTo>
                  <a:pt x="1515" y="372"/>
                  <a:pt x="1514" y="372"/>
                  <a:pt x="1514" y="372"/>
                </a:cubicBezTo>
                <a:cubicBezTo>
                  <a:pt x="1513" y="372"/>
                  <a:pt x="1512" y="372"/>
                  <a:pt x="1512" y="372"/>
                </a:cubicBezTo>
                <a:cubicBezTo>
                  <a:pt x="1511" y="373"/>
                  <a:pt x="1511" y="373"/>
                  <a:pt x="1511" y="374"/>
                </a:cubicBezTo>
                <a:cubicBezTo>
                  <a:pt x="1510" y="374"/>
                  <a:pt x="1510" y="374"/>
                  <a:pt x="1510" y="374"/>
                </a:cubicBezTo>
                <a:cubicBezTo>
                  <a:pt x="1510" y="374"/>
                  <a:pt x="1510" y="374"/>
                  <a:pt x="1510" y="374"/>
                </a:cubicBezTo>
                <a:cubicBezTo>
                  <a:pt x="1510" y="374"/>
                  <a:pt x="1510" y="375"/>
                  <a:pt x="1510" y="375"/>
                </a:cubicBezTo>
                <a:cubicBezTo>
                  <a:pt x="1510" y="375"/>
                  <a:pt x="1510" y="375"/>
                  <a:pt x="1509" y="375"/>
                </a:cubicBezTo>
                <a:cubicBezTo>
                  <a:pt x="1509" y="375"/>
                  <a:pt x="1510" y="375"/>
                  <a:pt x="1510" y="375"/>
                </a:cubicBezTo>
                <a:cubicBezTo>
                  <a:pt x="1509" y="375"/>
                  <a:pt x="1509" y="376"/>
                  <a:pt x="1509" y="376"/>
                </a:cubicBezTo>
                <a:cubicBezTo>
                  <a:pt x="1508" y="376"/>
                  <a:pt x="1508" y="376"/>
                  <a:pt x="1508" y="375"/>
                </a:cubicBezTo>
                <a:cubicBezTo>
                  <a:pt x="1507" y="375"/>
                  <a:pt x="1506" y="375"/>
                  <a:pt x="1506" y="375"/>
                </a:cubicBezTo>
                <a:cubicBezTo>
                  <a:pt x="1505" y="375"/>
                  <a:pt x="1505" y="374"/>
                  <a:pt x="1504" y="374"/>
                </a:cubicBezTo>
                <a:cubicBezTo>
                  <a:pt x="1504" y="374"/>
                  <a:pt x="1504" y="374"/>
                  <a:pt x="1504" y="374"/>
                </a:cubicBezTo>
                <a:cubicBezTo>
                  <a:pt x="1504" y="374"/>
                  <a:pt x="1503" y="374"/>
                  <a:pt x="1503" y="374"/>
                </a:cubicBezTo>
                <a:cubicBezTo>
                  <a:pt x="1503" y="375"/>
                  <a:pt x="1503" y="375"/>
                  <a:pt x="1503" y="375"/>
                </a:cubicBezTo>
                <a:cubicBezTo>
                  <a:pt x="1503" y="375"/>
                  <a:pt x="1502" y="375"/>
                  <a:pt x="1502" y="375"/>
                </a:cubicBezTo>
                <a:cubicBezTo>
                  <a:pt x="1502" y="375"/>
                  <a:pt x="1502" y="376"/>
                  <a:pt x="1502" y="376"/>
                </a:cubicBezTo>
                <a:cubicBezTo>
                  <a:pt x="1502" y="376"/>
                  <a:pt x="1502" y="376"/>
                  <a:pt x="1502" y="376"/>
                </a:cubicBezTo>
                <a:cubicBezTo>
                  <a:pt x="1502" y="376"/>
                  <a:pt x="1502" y="376"/>
                  <a:pt x="1502" y="377"/>
                </a:cubicBezTo>
                <a:cubicBezTo>
                  <a:pt x="1502" y="377"/>
                  <a:pt x="1502" y="377"/>
                  <a:pt x="1502" y="378"/>
                </a:cubicBezTo>
                <a:cubicBezTo>
                  <a:pt x="1502" y="378"/>
                  <a:pt x="1502" y="378"/>
                  <a:pt x="1503" y="378"/>
                </a:cubicBezTo>
                <a:cubicBezTo>
                  <a:pt x="1503" y="379"/>
                  <a:pt x="1504" y="379"/>
                  <a:pt x="1504" y="380"/>
                </a:cubicBezTo>
                <a:cubicBezTo>
                  <a:pt x="1504" y="380"/>
                  <a:pt x="1504" y="380"/>
                  <a:pt x="1504" y="380"/>
                </a:cubicBezTo>
                <a:cubicBezTo>
                  <a:pt x="1504" y="381"/>
                  <a:pt x="1505" y="381"/>
                  <a:pt x="1505" y="381"/>
                </a:cubicBezTo>
                <a:cubicBezTo>
                  <a:pt x="1505" y="381"/>
                  <a:pt x="1505" y="381"/>
                  <a:pt x="1505" y="381"/>
                </a:cubicBezTo>
                <a:cubicBezTo>
                  <a:pt x="1505" y="381"/>
                  <a:pt x="1505" y="381"/>
                  <a:pt x="1505" y="382"/>
                </a:cubicBezTo>
                <a:cubicBezTo>
                  <a:pt x="1505" y="381"/>
                  <a:pt x="1505" y="381"/>
                  <a:pt x="1506" y="381"/>
                </a:cubicBezTo>
                <a:cubicBezTo>
                  <a:pt x="1506" y="381"/>
                  <a:pt x="1506" y="381"/>
                  <a:pt x="1506" y="381"/>
                </a:cubicBezTo>
                <a:cubicBezTo>
                  <a:pt x="1506" y="382"/>
                  <a:pt x="1506" y="382"/>
                  <a:pt x="1506" y="382"/>
                </a:cubicBezTo>
                <a:cubicBezTo>
                  <a:pt x="1506" y="382"/>
                  <a:pt x="1507" y="382"/>
                  <a:pt x="1507" y="382"/>
                </a:cubicBezTo>
                <a:cubicBezTo>
                  <a:pt x="1507" y="382"/>
                  <a:pt x="1508" y="382"/>
                  <a:pt x="1508" y="382"/>
                </a:cubicBezTo>
                <a:cubicBezTo>
                  <a:pt x="1508" y="382"/>
                  <a:pt x="1508" y="383"/>
                  <a:pt x="1508" y="383"/>
                </a:cubicBezTo>
                <a:cubicBezTo>
                  <a:pt x="1508" y="383"/>
                  <a:pt x="1508" y="384"/>
                  <a:pt x="1508" y="384"/>
                </a:cubicBezTo>
                <a:cubicBezTo>
                  <a:pt x="1508" y="385"/>
                  <a:pt x="1508" y="385"/>
                  <a:pt x="1509" y="386"/>
                </a:cubicBezTo>
                <a:cubicBezTo>
                  <a:pt x="1509" y="386"/>
                  <a:pt x="1509" y="387"/>
                  <a:pt x="1510" y="387"/>
                </a:cubicBezTo>
                <a:cubicBezTo>
                  <a:pt x="1510" y="387"/>
                  <a:pt x="1511" y="387"/>
                  <a:pt x="1511" y="387"/>
                </a:cubicBezTo>
                <a:cubicBezTo>
                  <a:pt x="1511" y="387"/>
                  <a:pt x="1512" y="387"/>
                  <a:pt x="1512" y="387"/>
                </a:cubicBezTo>
                <a:cubicBezTo>
                  <a:pt x="1512" y="387"/>
                  <a:pt x="1512" y="387"/>
                  <a:pt x="1513" y="387"/>
                </a:cubicBezTo>
                <a:cubicBezTo>
                  <a:pt x="1513" y="387"/>
                  <a:pt x="1513" y="387"/>
                  <a:pt x="1513" y="387"/>
                </a:cubicBezTo>
                <a:cubicBezTo>
                  <a:pt x="1513" y="386"/>
                  <a:pt x="1513" y="386"/>
                  <a:pt x="1513" y="386"/>
                </a:cubicBezTo>
                <a:cubicBezTo>
                  <a:pt x="1513" y="386"/>
                  <a:pt x="1513" y="386"/>
                  <a:pt x="1513" y="386"/>
                </a:cubicBezTo>
                <a:cubicBezTo>
                  <a:pt x="1513" y="386"/>
                  <a:pt x="1514" y="386"/>
                  <a:pt x="1514" y="386"/>
                </a:cubicBezTo>
                <a:cubicBezTo>
                  <a:pt x="1515" y="386"/>
                  <a:pt x="1515" y="386"/>
                  <a:pt x="1515" y="386"/>
                </a:cubicBezTo>
                <a:cubicBezTo>
                  <a:pt x="1515" y="386"/>
                  <a:pt x="1515" y="385"/>
                  <a:pt x="1515" y="385"/>
                </a:cubicBezTo>
                <a:cubicBezTo>
                  <a:pt x="1515" y="385"/>
                  <a:pt x="1515" y="385"/>
                  <a:pt x="1515" y="385"/>
                </a:cubicBezTo>
                <a:cubicBezTo>
                  <a:pt x="1515" y="385"/>
                  <a:pt x="1516" y="385"/>
                  <a:pt x="1516" y="385"/>
                </a:cubicBezTo>
                <a:cubicBezTo>
                  <a:pt x="1517" y="385"/>
                  <a:pt x="1518" y="385"/>
                  <a:pt x="1519" y="385"/>
                </a:cubicBezTo>
                <a:cubicBezTo>
                  <a:pt x="1519" y="385"/>
                  <a:pt x="1519" y="385"/>
                  <a:pt x="1519" y="386"/>
                </a:cubicBezTo>
                <a:cubicBezTo>
                  <a:pt x="1519" y="386"/>
                  <a:pt x="1519" y="386"/>
                  <a:pt x="1520" y="386"/>
                </a:cubicBezTo>
                <a:cubicBezTo>
                  <a:pt x="1520" y="386"/>
                  <a:pt x="1520" y="386"/>
                  <a:pt x="1520" y="387"/>
                </a:cubicBezTo>
                <a:cubicBezTo>
                  <a:pt x="1520" y="387"/>
                  <a:pt x="1520" y="387"/>
                  <a:pt x="1521" y="387"/>
                </a:cubicBezTo>
                <a:cubicBezTo>
                  <a:pt x="1521" y="387"/>
                  <a:pt x="1521" y="388"/>
                  <a:pt x="1521" y="388"/>
                </a:cubicBezTo>
                <a:cubicBezTo>
                  <a:pt x="1522" y="388"/>
                  <a:pt x="1523" y="388"/>
                  <a:pt x="1524" y="389"/>
                </a:cubicBezTo>
                <a:cubicBezTo>
                  <a:pt x="1524" y="389"/>
                  <a:pt x="1525" y="389"/>
                  <a:pt x="1525" y="389"/>
                </a:cubicBezTo>
                <a:cubicBezTo>
                  <a:pt x="1525" y="389"/>
                  <a:pt x="1526" y="389"/>
                  <a:pt x="1526" y="389"/>
                </a:cubicBezTo>
                <a:cubicBezTo>
                  <a:pt x="1526" y="389"/>
                  <a:pt x="1526" y="389"/>
                  <a:pt x="1526" y="389"/>
                </a:cubicBezTo>
                <a:cubicBezTo>
                  <a:pt x="1526" y="389"/>
                  <a:pt x="1527" y="390"/>
                  <a:pt x="1527" y="390"/>
                </a:cubicBezTo>
                <a:cubicBezTo>
                  <a:pt x="1528" y="390"/>
                  <a:pt x="1528" y="390"/>
                  <a:pt x="1528" y="390"/>
                </a:cubicBezTo>
                <a:cubicBezTo>
                  <a:pt x="1529" y="390"/>
                  <a:pt x="1529" y="390"/>
                  <a:pt x="1529" y="390"/>
                </a:cubicBezTo>
                <a:cubicBezTo>
                  <a:pt x="1529" y="390"/>
                  <a:pt x="1528" y="390"/>
                  <a:pt x="1528" y="390"/>
                </a:cubicBezTo>
                <a:cubicBezTo>
                  <a:pt x="1528" y="390"/>
                  <a:pt x="1528" y="390"/>
                  <a:pt x="1528" y="391"/>
                </a:cubicBezTo>
                <a:cubicBezTo>
                  <a:pt x="1528" y="391"/>
                  <a:pt x="1528" y="391"/>
                  <a:pt x="1528" y="392"/>
                </a:cubicBezTo>
                <a:cubicBezTo>
                  <a:pt x="1528" y="392"/>
                  <a:pt x="1528" y="392"/>
                  <a:pt x="1528" y="391"/>
                </a:cubicBezTo>
                <a:cubicBezTo>
                  <a:pt x="1527" y="391"/>
                  <a:pt x="1527" y="391"/>
                  <a:pt x="1527" y="391"/>
                </a:cubicBezTo>
                <a:cubicBezTo>
                  <a:pt x="1527" y="392"/>
                  <a:pt x="1527" y="392"/>
                  <a:pt x="1527" y="392"/>
                </a:cubicBezTo>
                <a:cubicBezTo>
                  <a:pt x="1527" y="392"/>
                  <a:pt x="1527" y="393"/>
                  <a:pt x="1528" y="393"/>
                </a:cubicBezTo>
                <a:cubicBezTo>
                  <a:pt x="1527" y="393"/>
                  <a:pt x="1527" y="393"/>
                  <a:pt x="1527" y="393"/>
                </a:cubicBezTo>
                <a:cubicBezTo>
                  <a:pt x="1527" y="393"/>
                  <a:pt x="1526" y="393"/>
                  <a:pt x="1526" y="393"/>
                </a:cubicBezTo>
                <a:cubicBezTo>
                  <a:pt x="1526" y="393"/>
                  <a:pt x="1525" y="393"/>
                  <a:pt x="1525" y="392"/>
                </a:cubicBezTo>
                <a:cubicBezTo>
                  <a:pt x="1525" y="392"/>
                  <a:pt x="1525" y="392"/>
                  <a:pt x="1525" y="392"/>
                </a:cubicBezTo>
                <a:cubicBezTo>
                  <a:pt x="1525" y="392"/>
                  <a:pt x="1524" y="392"/>
                  <a:pt x="1524" y="392"/>
                </a:cubicBezTo>
                <a:cubicBezTo>
                  <a:pt x="1524" y="392"/>
                  <a:pt x="1524" y="392"/>
                  <a:pt x="1524" y="392"/>
                </a:cubicBezTo>
                <a:cubicBezTo>
                  <a:pt x="1524" y="392"/>
                  <a:pt x="1523" y="392"/>
                  <a:pt x="1523" y="392"/>
                </a:cubicBezTo>
                <a:cubicBezTo>
                  <a:pt x="1522" y="392"/>
                  <a:pt x="1522" y="392"/>
                  <a:pt x="1522" y="392"/>
                </a:cubicBezTo>
                <a:cubicBezTo>
                  <a:pt x="1522" y="392"/>
                  <a:pt x="1521" y="392"/>
                  <a:pt x="1521" y="392"/>
                </a:cubicBezTo>
                <a:cubicBezTo>
                  <a:pt x="1521" y="392"/>
                  <a:pt x="1520" y="392"/>
                  <a:pt x="1520" y="392"/>
                </a:cubicBezTo>
                <a:cubicBezTo>
                  <a:pt x="1520" y="392"/>
                  <a:pt x="1520" y="392"/>
                  <a:pt x="1520" y="392"/>
                </a:cubicBezTo>
                <a:cubicBezTo>
                  <a:pt x="1519" y="392"/>
                  <a:pt x="1519" y="392"/>
                  <a:pt x="1519" y="391"/>
                </a:cubicBezTo>
                <a:cubicBezTo>
                  <a:pt x="1518" y="391"/>
                  <a:pt x="1518" y="391"/>
                  <a:pt x="1518" y="391"/>
                </a:cubicBezTo>
                <a:cubicBezTo>
                  <a:pt x="1518" y="391"/>
                  <a:pt x="1518" y="392"/>
                  <a:pt x="1519" y="392"/>
                </a:cubicBezTo>
                <a:cubicBezTo>
                  <a:pt x="1519" y="392"/>
                  <a:pt x="1519" y="392"/>
                  <a:pt x="1519" y="393"/>
                </a:cubicBezTo>
                <a:cubicBezTo>
                  <a:pt x="1518" y="393"/>
                  <a:pt x="1518" y="392"/>
                  <a:pt x="1517" y="392"/>
                </a:cubicBezTo>
                <a:cubicBezTo>
                  <a:pt x="1517" y="393"/>
                  <a:pt x="1517" y="393"/>
                  <a:pt x="1517" y="393"/>
                </a:cubicBezTo>
                <a:cubicBezTo>
                  <a:pt x="1516" y="393"/>
                  <a:pt x="1516" y="393"/>
                  <a:pt x="1515" y="393"/>
                </a:cubicBezTo>
                <a:cubicBezTo>
                  <a:pt x="1515" y="393"/>
                  <a:pt x="1515" y="393"/>
                  <a:pt x="1514" y="393"/>
                </a:cubicBezTo>
                <a:cubicBezTo>
                  <a:pt x="1514" y="393"/>
                  <a:pt x="1515" y="393"/>
                  <a:pt x="1515" y="393"/>
                </a:cubicBezTo>
                <a:cubicBezTo>
                  <a:pt x="1515" y="394"/>
                  <a:pt x="1515" y="394"/>
                  <a:pt x="1515" y="394"/>
                </a:cubicBezTo>
                <a:cubicBezTo>
                  <a:pt x="1515" y="394"/>
                  <a:pt x="1515" y="394"/>
                  <a:pt x="1514" y="395"/>
                </a:cubicBezTo>
                <a:cubicBezTo>
                  <a:pt x="1514" y="394"/>
                  <a:pt x="1514" y="394"/>
                  <a:pt x="1514" y="394"/>
                </a:cubicBezTo>
                <a:cubicBezTo>
                  <a:pt x="1513" y="394"/>
                  <a:pt x="1513" y="395"/>
                  <a:pt x="1513" y="395"/>
                </a:cubicBezTo>
                <a:cubicBezTo>
                  <a:pt x="1512" y="395"/>
                  <a:pt x="1512" y="395"/>
                  <a:pt x="1512" y="395"/>
                </a:cubicBezTo>
                <a:cubicBezTo>
                  <a:pt x="1512" y="395"/>
                  <a:pt x="1512" y="395"/>
                  <a:pt x="1511" y="395"/>
                </a:cubicBezTo>
                <a:cubicBezTo>
                  <a:pt x="1511" y="395"/>
                  <a:pt x="1511" y="395"/>
                  <a:pt x="1511" y="395"/>
                </a:cubicBezTo>
                <a:cubicBezTo>
                  <a:pt x="1511" y="396"/>
                  <a:pt x="1511" y="396"/>
                  <a:pt x="1511" y="396"/>
                </a:cubicBezTo>
                <a:cubicBezTo>
                  <a:pt x="1511" y="397"/>
                  <a:pt x="1510" y="397"/>
                  <a:pt x="1510" y="397"/>
                </a:cubicBezTo>
                <a:cubicBezTo>
                  <a:pt x="1510" y="398"/>
                  <a:pt x="1510" y="399"/>
                  <a:pt x="1510" y="399"/>
                </a:cubicBezTo>
                <a:cubicBezTo>
                  <a:pt x="1510" y="399"/>
                  <a:pt x="1510" y="399"/>
                  <a:pt x="1510" y="399"/>
                </a:cubicBezTo>
                <a:cubicBezTo>
                  <a:pt x="1511" y="400"/>
                  <a:pt x="1511" y="400"/>
                  <a:pt x="1512" y="401"/>
                </a:cubicBezTo>
                <a:cubicBezTo>
                  <a:pt x="1512" y="401"/>
                  <a:pt x="1512" y="401"/>
                  <a:pt x="1512" y="402"/>
                </a:cubicBezTo>
                <a:cubicBezTo>
                  <a:pt x="1512" y="402"/>
                  <a:pt x="1513" y="402"/>
                  <a:pt x="1513" y="401"/>
                </a:cubicBezTo>
                <a:cubicBezTo>
                  <a:pt x="1514" y="402"/>
                  <a:pt x="1515" y="403"/>
                  <a:pt x="1515" y="403"/>
                </a:cubicBezTo>
                <a:cubicBezTo>
                  <a:pt x="1516" y="404"/>
                  <a:pt x="1516" y="405"/>
                  <a:pt x="1516" y="406"/>
                </a:cubicBezTo>
                <a:cubicBezTo>
                  <a:pt x="1516" y="406"/>
                  <a:pt x="1516" y="406"/>
                  <a:pt x="1516" y="406"/>
                </a:cubicBezTo>
                <a:cubicBezTo>
                  <a:pt x="1516" y="407"/>
                  <a:pt x="1516" y="407"/>
                  <a:pt x="1516" y="407"/>
                </a:cubicBezTo>
                <a:cubicBezTo>
                  <a:pt x="1516" y="407"/>
                  <a:pt x="1516" y="407"/>
                  <a:pt x="1517" y="408"/>
                </a:cubicBezTo>
                <a:cubicBezTo>
                  <a:pt x="1516" y="408"/>
                  <a:pt x="1516" y="408"/>
                  <a:pt x="1516" y="409"/>
                </a:cubicBezTo>
                <a:cubicBezTo>
                  <a:pt x="1517" y="409"/>
                  <a:pt x="1517" y="410"/>
                  <a:pt x="1518" y="410"/>
                </a:cubicBezTo>
                <a:cubicBezTo>
                  <a:pt x="1518" y="411"/>
                  <a:pt x="1518" y="411"/>
                  <a:pt x="1517" y="411"/>
                </a:cubicBezTo>
                <a:cubicBezTo>
                  <a:pt x="1518" y="412"/>
                  <a:pt x="1518" y="412"/>
                  <a:pt x="1518" y="413"/>
                </a:cubicBezTo>
                <a:cubicBezTo>
                  <a:pt x="1519" y="413"/>
                  <a:pt x="1519" y="413"/>
                  <a:pt x="1519" y="414"/>
                </a:cubicBezTo>
                <a:cubicBezTo>
                  <a:pt x="1520" y="414"/>
                  <a:pt x="1520" y="414"/>
                  <a:pt x="1520" y="414"/>
                </a:cubicBezTo>
                <a:cubicBezTo>
                  <a:pt x="1520" y="414"/>
                  <a:pt x="1520" y="414"/>
                  <a:pt x="1521" y="414"/>
                </a:cubicBezTo>
                <a:cubicBezTo>
                  <a:pt x="1521" y="414"/>
                  <a:pt x="1521" y="415"/>
                  <a:pt x="1521" y="415"/>
                </a:cubicBezTo>
                <a:cubicBezTo>
                  <a:pt x="1521" y="415"/>
                  <a:pt x="1521" y="416"/>
                  <a:pt x="1521" y="416"/>
                </a:cubicBezTo>
                <a:cubicBezTo>
                  <a:pt x="1522" y="416"/>
                  <a:pt x="1522" y="416"/>
                  <a:pt x="1522" y="416"/>
                </a:cubicBezTo>
                <a:cubicBezTo>
                  <a:pt x="1522" y="417"/>
                  <a:pt x="1522" y="417"/>
                  <a:pt x="1522" y="418"/>
                </a:cubicBezTo>
                <a:cubicBezTo>
                  <a:pt x="1522" y="418"/>
                  <a:pt x="1522" y="418"/>
                  <a:pt x="1522" y="418"/>
                </a:cubicBezTo>
                <a:cubicBezTo>
                  <a:pt x="1521" y="417"/>
                  <a:pt x="1520" y="417"/>
                  <a:pt x="1520" y="417"/>
                </a:cubicBezTo>
                <a:cubicBezTo>
                  <a:pt x="1519" y="417"/>
                  <a:pt x="1519" y="417"/>
                  <a:pt x="1518" y="417"/>
                </a:cubicBezTo>
                <a:cubicBezTo>
                  <a:pt x="1518" y="416"/>
                  <a:pt x="1518" y="416"/>
                  <a:pt x="1517" y="416"/>
                </a:cubicBezTo>
                <a:cubicBezTo>
                  <a:pt x="1517" y="415"/>
                  <a:pt x="1517" y="415"/>
                  <a:pt x="1517" y="415"/>
                </a:cubicBezTo>
                <a:cubicBezTo>
                  <a:pt x="1516" y="415"/>
                  <a:pt x="1516" y="415"/>
                  <a:pt x="1516" y="414"/>
                </a:cubicBezTo>
                <a:cubicBezTo>
                  <a:pt x="1515" y="414"/>
                  <a:pt x="1515" y="414"/>
                  <a:pt x="1514" y="414"/>
                </a:cubicBezTo>
                <a:cubicBezTo>
                  <a:pt x="1514" y="414"/>
                  <a:pt x="1514" y="414"/>
                  <a:pt x="1513" y="414"/>
                </a:cubicBezTo>
                <a:cubicBezTo>
                  <a:pt x="1513" y="414"/>
                  <a:pt x="1513" y="414"/>
                  <a:pt x="1512" y="414"/>
                </a:cubicBezTo>
                <a:cubicBezTo>
                  <a:pt x="1512" y="414"/>
                  <a:pt x="1512" y="413"/>
                  <a:pt x="1512" y="413"/>
                </a:cubicBezTo>
                <a:cubicBezTo>
                  <a:pt x="1512" y="413"/>
                  <a:pt x="1512" y="412"/>
                  <a:pt x="1512" y="412"/>
                </a:cubicBezTo>
                <a:cubicBezTo>
                  <a:pt x="1511" y="412"/>
                  <a:pt x="1511" y="412"/>
                  <a:pt x="1510" y="412"/>
                </a:cubicBezTo>
                <a:cubicBezTo>
                  <a:pt x="1510" y="412"/>
                  <a:pt x="1510" y="411"/>
                  <a:pt x="1509" y="411"/>
                </a:cubicBezTo>
                <a:cubicBezTo>
                  <a:pt x="1509" y="411"/>
                  <a:pt x="1509" y="411"/>
                  <a:pt x="1509" y="411"/>
                </a:cubicBezTo>
                <a:cubicBezTo>
                  <a:pt x="1509" y="411"/>
                  <a:pt x="1509" y="411"/>
                  <a:pt x="1508" y="411"/>
                </a:cubicBezTo>
                <a:cubicBezTo>
                  <a:pt x="1508" y="411"/>
                  <a:pt x="1508" y="411"/>
                  <a:pt x="1508" y="411"/>
                </a:cubicBezTo>
                <a:cubicBezTo>
                  <a:pt x="1508" y="411"/>
                  <a:pt x="1507" y="411"/>
                  <a:pt x="1507" y="411"/>
                </a:cubicBezTo>
                <a:cubicBezTo>
                  <a:pt x="1506" y="411"/>
                  <a:pt x="1506" y="412"/>
                  <a:pt x="1505" y="412"/>
                </a:cubicBezTo>
                <a:cubicBezTo>
                  <a:pt x="1506" y="412"/>
                  <a:pt x="1506" y="412"/>
                  <a:pt x="1507" y="411"/>
                </a:cubicBezTo>
                <a:cubicBezTo>
                  <a:pt x="1507" y="411"/>
                  <a:pt x="1508" y="411"/>
                  <a:pt x="1508" y="411"/>
                </a:cubicBezTo>
                <a:cubicBezTo>
                  <a:pt x="1509" y="412"/>
                  <a:pt x="1509" y="412"/>
                  <a:pt x="1509" y="412"/>
                </a:cubicBezTo>
                <a:cubicBezTo>
                  <a:pt x="1510" y="412"/>
                  <a:pt x="1510" y="412"/>
                  <a:pt x="1511" y="412"/>
                </a:cubicBezTo>
                <a:cubicBezTo>
                  <a:pt x="1511" y="412"/>
                  <a:pt x="1511" y="412"/>
                  <a:pt x="1511" y="412"/>
                </a:cubicBezTo>
                <a:cubicBezTo>
                  <a:pt x="1511" y="413"/>
                  <a:pt x="1511" y="413"/>
                  <a:pt x="1511" y="413"/>
                </a:cubicBezTo>
                <a:cubicBezTo>
                  <a:pt x="1511" y="413"/>
                  <a:pt x="1512" y="414"/>
                  <a:pt x="1512" y="414"/>
                </a:cubicBezTo>
                <a:cubicBezTo>
                  <a:pt x="1512" y="414"/>
                  <a:pt x="1513" y="414"/>
                  <a:pt x="1513" y="414"/>
                </a:cubicBezTo>
                <a:cubicBezTo>
                  <a:pt x="1513" y="414"/>
                  <a:pt x="1514" y="414"/>
                  <a:pt x="1515" y="414"/>
                </a:cubicBezTo>
                <a:cubicBezTo>
                  <a:pt x="1515" y="414"/>
                  <a:pt x="1515" y="414"/>
                  <a:pt x="1516" y="415"/>
                </a:cubicBezTo>
                <a:cubicBezTo>
                  <a:pt x="1516" y="415"/>
                  <a:pt x="1517" y="416"/>
                  <a:pt x="1517" y="417"/>
                </a:cubicBezTo>
                <a:cubicBezTo>
                  <a:pt x="1518" y="417"/>
                  <a:pt x="1518" y="417"/>
                  <a:pt x="1519" y="418"/>
                </a:cubicBezTo>
                <a:cubicBezTo>
                  <a:pt x="1519" y="419"/>
                  <a:pt x="1520" y="419"/>
                  <a:pt x="1521" y="420"/>
                </a:cubicBezTo>
                <a:cubicBezTo>
                  <a:pt x="1521" y="420"/>
                  <a:pt x="1521" y="421"/>
                  <a:pt x="1521" y="422"/>
                </a:cubicBezTo>
                <a:cubicBezTo>
                  <a:pt x="1521" y="422"/>
                  <a:pt x="1521" y="422"/>
                  <a:pt x="1521" y="422"/>
                </a:cubicBezTo>
                <a:cubicBezTo>
                  <a:pt x="1521" y="422"/>
                  <a:pt x="1520" y="422"/>
                  <a:pt x="1520" y="422"/>
                </a:cubicBezTo>
                <a:cubicBezTo>
                  <a:pt x="1519" y="422"/>
                  <a:pt x="1519" y="422"/>
                  <a:pt x="1518" y="422"/>
                </a:cubicBezTo>
                <a:cubicBezTo>
                  <a:pt x="1518" y="422"/>
                  <a:pt x="1518" y="422"/>
                  <a:pt x="1518" y="422"/>
                </a:cubicBezTo>
                <a:cubicBezTo>
                  <a:pt x="1518" y="422"/>
                  <a:pt x="1517" y="422"/>
                  <a:pt x="1517" y="422"/>
                </a:cubicBezTo>
                <a:cubicBezTo>
                  <a:pt x="1517" y="422"/>
                  <a:pt x="1517" y="423"/>
                  <a:pt x="1517" y="423"/>
                </a:cubicBezTo>
                <a:cubicBezTo>
                  <a:pt x="1517" y="423"/>
                  <a:pt x="1516" y="423"/>
                  <a:pt x="1516" y="423"/>
                </a:cubicBezTo>
                <a:cubicBezTo>
                  <a:pt x="1516" y="423"/>
                  <a:pt x="1515" y="422"/>
                  <a:pt x="1515" y="422"/>
                </a:cubicBezTo>
                <a:cubicBezTo>
                  <a:pt x="1515" y="422"/>
                  <a:pt x="1514" y="422"/>
                  <a:pt x="1514" y="422"/>
                </a:cubicBezTo>
                <a:cubicBezTo>
                  <a:pt x="1514" y="422"/>
                  <a:pt x="1514" y="422"/>
                  <a:pt x="1513" y="422"/>
                </a:cubicBezTo>
                <a:cubicBezTo>
                  <a:pt x="1513" y="422"/>
                  <a:pt x="1512" y="422"/>
                  <a:pt x="1512" y="422"/>
                </a:cubicBezTo>
                <a:cubicBezTo>
                  <a:pt x="1512" y="422"/>
                  <a:pt x="1512" y="423"/>
                  <a:pt x="1512" y="423"/>
                </a:cubicBezTo>
                <a:cubicBezTo>
                  <a:pt x="1512" y="423"/>
                  <a:pt x="1512" y="423"/>
                  <a:pt x="1512" y="422"/>
                </a:cubicBezTo>
                <a:cubicBezTo>
                  <a:pt x="1513" y="422"/>
                  <a:pt x="1513" y="422"/>
                  <a:pt x="1513" y="422"/>
                </a:cubicBezTo>
                <a:cubicBezTo>
                  <a:pt x="1514" y="422"/>
                  <a:pt x="1514" y="422"/>
                  <a:pt x="1514" y="422"/>
                </a:cubicBezTo>
                <a:cubicBezTo>
                  <a:pt x="1515" y="423"/>
                  <a:pt x="1515" y="423"/>
                  <a:pt x="1515" y="424"/>
                </a:cubicBezTo>
                <a:cubicBezTo>
                  <a:pt x="1515" y="424"/>
                  <a:pt x="1516" y="424"/>
                  <a:pt x="1516" y="424"/>
                </a:cubicBezTo>
                <a:cubicBezTo>
                  <a:pt x="1516" y="424"/>
                  <a:pt x="1517" y="424"/>
                  <a:pt x="1518" y="424"/>
                </a:cubicBezTo>
                <a:cubicBezTo>
                  <a:pt x="1518" y="424"/>
                  <a:pt x="1518" y="424"/>
                  <a:pt x="1519" y="424"/>
                </a:cubicBezTo>
                <a:cubicBezTo>
                  <a:pt x="1519" y="425"/>
                  <a:pt x="1520" y="426"/>
                  <a:pt x="1520" y="426"/>
                </a:cubicBezTo>
                <a:cubicBezTo>
                  <a:pt x="1520" y="426"/>
                  <a:pt x="1520" y="426"/>
                  <a:pt x="1520" y="426"/>
                </a:cubicBezTo>
                <a:cubicBezTo>
                  <a:pt x="1520" y="426"/>
                  <a:pt x="1520" y="426"/>
                  <a:pt x="1521" y="427"/>
                </a:cubicBezTo>
                <a:cubicBezTo>
                  <a:pt x="1521" y="427"/>
                  <a:pt x="1521" y="427"/>
                  <a:pt x="1522" y="427"/>
                </a:cubicBezTo>
                <a:cubicBezTo>
                  <a:pt x="1522" y="427"/>
                  <a:pt x="1522" y="427"/>
                  <a:pt x="1522" y="427"/>
                </a:cubicBezTo>
                <a:cubicBezTo>
                  <a:pt x="1521" y="427"/>
                  <a:pt x="1520" y="428"/>
                  <a:pt x="1519" y="428"/>
                </a:cubicBezTo>
                <a:cubicBezTo>
                  <a:pt x="1518" y="428"/>
                  <a:pt x="1518" y="428"/>
                  <a:pt x="1517" y="428"/>
                </a:cubicBezTo>
                <a:cubicBezTo>
                  <a:pt x="1517" y="428"/>
                  <a:pt x="1517" y="428"/>
                  <a:pt x="1517" y="428"/>
                </a:cubicBezTo>
                <a:cubicBezTo>
                  <a:pt x="1517" y="428"/>
                  <a:pt x="1518" y="428"/>
                  <a:pt x="1518" y="429"/>
                </a:cubicBezTo>
                <a:cubicBezTo>
                  <a:pt x="1518" y="428"/>
                  <a:pt x="1519" y="428"/>
                  <a:pt x="1519" y="428"/>
                </a:cubicBezTo>
                <a:cubicBezTo>
                  <a:pt x="1520" y="428"/>
                  <a:pt x="1520" y="429"/>
                  <a:pt x="1520" y="429"/>
                </a:cubicBezTo>
                <a:cubicBezTo>
                  <a:pt x="1520" y="429"/>
                  <a:pt x="1520" y="429"/>
                  <a:pt x="1521" y="428"/>
                </a:cubicBezTo>
                <a:cubicBezTo>
                  <a:pt x="1520" y="428"/>
                  <a:pt x="1520" y="428"/>
                  <a:pt x="1520" y="428"/>
                </a:cubicBezTo>
                <a:cubicBezTo>
                  <a:pt x="1521" y="428"/>
                  <a:pt x="1521" y="428"/>
                  <a:pt x="1521" y="428"/>
                </a:cubicBezTo>
                <a:cubicBezTo>
                  <a:pt x="1521" y="428"/>
                  <a:pt x="1521" y="428"/>
                  <a:pt x="1522" y="428"/>
                </a:cubicBezTo>
                <a:cubicBezTo>
                  <a:pt x="1522" y="429"/>
                  <a:pt x="1521" y="429"/>
                  <a:pt x="1521" y="429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0" y="430"/>
                  <a:pt x="1520" y="429"/>
                </a:cubicBezTo>
                <a:cubicBezTo>
                  <a:pt x="1520" y="430"/>
                  <a:pt x="1520" y="430"/>
                  <a:pt x="1520" y="430"/>
                </a:cubicBezTo>
                <a:cubicBezTo>
                  <a:pt x="1520" y="430"/>
                  <a:pt x="1520" y="430"/>
                  <a:pt x="1520" y="430"/>
                </a:cubicBezTo>
                <a:cubicBezTo>
                  <a:pt x="1519" y="430"/>
                  <a:pt x="1519" y="429"/>
                  <a:pt x="1519" y="429"/>
                </a:cubicBezTo>
                <a:cubicBezTo>
                  <a:pt x="1518" y="429"/>
                  <a:pt x="1518" y="429"/>
                  <a:pt x="1517" y="430"/>
                </a:cubicBezTo>
                <a:cubicBezTo>
                  <a:pt x="1517" y="430"/>
                  <a:pt x="1517" y="430"/>
                  <a:pt x="1517" y="430"/>
                </a:cubicBezTo>
                <a:cubicBezTo>
                  <a:pt x="1518" y="430"/>
                  <a:pt x="1518" y="430"/>
                  <a:pt x="1519" y="430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8" y="431"/>
                  <a:pt x="1518" y="431"/>
                  <a:pt x="1518" y="431"/>
                </a:cubicBezTo>
                <a:cubicBezTo>
                  <a:pt x="1518" y="431"/>
                  <a:pt x="1518" y="431"/>
                  <a:pt x="1518" y="432"/>
                </a:cubicBezTo>
                <a:cubicBezTo>
                  <a:pt x="1519" y="432"/>
                  <a:pt x="1519" y="432"/>
                  <a:pt x="1519" y="432"/>
                </a:cubicBezTo>
                <a:cubicBezTo>
                  <a:pt x="1519" y="432"/>
                  <a:pt x="1518" y="432"/>
                  <a:pt x="1518" y="432"/>
                </a:cubicBezTo>
                <a:cubicBezTo>
                  <a:pt x="1518" y="432"/>
                  <a:pt x="1518" y="432"/>
                  <a:pt x="1517" y="432"/>
                </a:cubicBezTo>
                <a:cubicBezTo>
                  <a:pt x="1517" y="432"/>
                  <a:pt x="1517" y="432"/>
                  <a:pt x="1517" y="432"/>
                </a:cubicBezTo>
                <a:cubicBezTo>
                  <a:pt x="1517" y="432"/>
                  <a:pt x="1517" y="432"/>
                  <a:pt x="1517" y="432"/>
                </a:cubicBezTo>
                <a:cubicBezTo>
                  <a:pt x="1518" y="433"/>
                  <a:pt x="1518" y="433"/>
                  <a:pt x="1518" y="433"/>
                </a:cubicBezTo>
                <a:cubicBezTo>
                  <a:pt x="1518" y="433"/>
                  <a:pt x="1518" y="433"/>
                  <a:pt x="1518" y="434"/>
                </a:cubicBezTo>
                <a:cubicBezTo>
                  <a:pt x="1518" y="434"/>
                  <a:pt x="1518" y="434"/>
                  <a:pt x="1518" y="434"/>
                </a:cubicBezTo>
                <a:cubicBezTo>
                  <a:pt x="1518" y="434"/>
                  <a:pt x="1517" y="434"/>
                  <a:pt x="1517" y="434"/>
                </a:cubicBezTo>
                <a:cubicBezTo>
                  <a:pt x="1517" y="434"/>
                  <a:pt x="1517" y="434"/>
                  <a:pt x="1517" y="434"/>
                </a:cubicBezTo>
                <a:cubicBezTo>
                  <a:pt x="1517" y="434"/>
                  <a:pt x="1517" y="434"/>
                  <a:pt x="1517" y="433"/>
                </a:cubicBezTo>
                <a:cubicBezTo>
                  <a:pt x="1517" y="433"/>
                  <a:pt x="1517" y="433"/>
                  <a:pt x="1516" y="433"/>
                </a:cubicBezTo>
                <a:cubicBezTo>
                  <a:pt x="1516" y="434"/>
                  <a:pt x="1515" y="434"/>
                  <a:pt x="1515" y="434"/>
                </a:cubicBezTo>
                <a:cubicBezTo>
                  <a:pt x="1515" y="434"/>
                  <a:pt x="1515" y="434"/>
                  <a:pt x="1514" y="434"/>
                </a:cubicBezTo>
                <a:cubicBezTo>
                  <a:pt x="1514" y="434"/>
                  <a:pt x="1514" y="434"/>
                  <a:pt x="1513" y="434"/>
                </a:cubicBezTo>
                <a:cubicBezTo>
                  <a:pt x="1513" y="434"/>
                  <a:pt x="1514" y="434"/>
                  <a:pt x="1514" y="434"/>
                </a:cubicBezTo>
                <a:cubicBezTo>
                  <a:pt x="1514" y="434"/>
                  <a:pt x="1514" y="435"/>
                  <a:pt x="1514" y="435"/>
                </a:cubicBezTo>
                <a:cubicBezTo>
                  <a:pt x="1514" y="435"/>
                  <a:pt x="1514" y="435"/>
                  <a:pt x="1514" y="435"/>
                </a:cubicBezTo>
                <a:cubicBezTo>
                  <a:pt x="1514" y="435"/>
                  <a:pt x="1514" y="435"/>
                  <a:pt x="1513" y="435"/>
                </a:cubicBezTo>
                <a:cubicBezTo>
                  <a:pt x="1513" y="435"/>
                  <a:pt x="1513" y="436"/>
                  <a:pt x="1513" y="436"/>
                </a:cubicBezTo>
                <a:cubicBezTo>
                  <a:pt x="1513" y="436"/>
                  <a:pt x="1513" y="436"/>
                  <a:pt x="1513" y="436"/>
                </a:cubicBezTo>
                <a:cubicBezTo>
                  <a:pt x="1513" y="436"/>
                  <a:pt x="1513" y="436"/>
                  <a:pt x="1513" y="436"/>
                </a:cubicBezTo>
                <a:cubicBezTo>
                  <a:pt x="1513" y="437"/>
                  <a:pt x="1513" y="437"/>
                  <a:pt x="1513" y="437"/>
                </a:cubicBezTo>
                <a:cubicBezTo>
                  <a:pt x="1512" y="437"/>
                  <a:pt x="1512" y="437"/>
                  <a:pt x="1512" y="437"/>
                </a:cubicBezTo>
                <a:cubicBezTo>
                  <a:pt x="1512" y="437"/>
                  <a:pt x="1511" y="437"/>
                  <a:pt x="1511" y="436"/>
                </a:cubicBezTo>
                <a:cubicBezTo>
                  <a:pt x="1511" y="436"/>
                  <a:pt x="1511" y="437"/>
                  <a:pt x="1511" y="437"/>
                </a:cubicBezTo>
                <a:cubicBezTo>
                  <a:pt x="1511" y="437"/>
                  <a:pt x="1511" y="437"/>
                  <a:pt x="1512" y="437"/>
                </a:cubicBezTo>
                <a:cubicBezTo>
                  <a:pt x="1512" y="437"/>
                  <a:pt x="1512" y="438"/>
                  <a:pt x="1512" y="438"/>
                </a:cubicBezTo>
                <a:cubicBezTo>
                  <a:pt x="1512" y="438"/>
                  <a:pt x="1511" y="438"/>
                  <a:pt x="1511" y="437"/>
                </a:cubicBezTo>
                <a:cubicBezTo>
                  <a:pt x="1511" y="438"/>
                  <a:pt x="1511" y="438"/>
                  <a:pt x="1511" y="438"/>
                </a:cubicBezTo>
                <a:cubicBezTo>
                  <a:pt x="1510" y="438"/>
                  <a:pt x="1510" y="438"/>
                  <a:pt x="1509" y="438"/>
                </a:cubicBezTo>
                <a:cubicBezTo>
                  <a:pt x="1509" y="438"/>
                  <a:pt x="1509" y="438"/>
                  <a:pt x="1509" y="438"/>
                </a:cubicBezTo>
                <a:cubicBezTo>
                  <a:pt x="1509" y="438"/>
                  <a:pt x="1509" y="438"/>
                  <a:pt x="1509" y="438"/>
                </a:cubicBezTo>
                <a:cubicBezTo>
                  <a:pt x="1509" y="437"/>
                  <a:pt x="1508" y="437"/>
                  <a:pt x="1508" y="437"/>
                </a:cubicBezTo>
                <a:cubicBezTo>
                  <a:pt x="1508" y="437"/>
                  <a:pt x="1508" y="437"/>
                  <a:pt x="1508" y="437"/>
                </a:cubicBezTo>
                <a:cubicBezTo>
                  <a:pt x="1508" y="437"/>
                  <a:pt x="1508" y="438"/>
                  <a:pt x="1508" y="438"/>
                </a:cubicBezTo>
                <a:cubicBezTo>
                  <a:pt x="1507" y="438"/>
                  <a:pt x="1507" y="438"/>
                  <a:pt x="1507" y="437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8" y="439"/>
                  <a:pt x="1508" y="439"/>
                  <a:pt x="1508" y="439"/>
                </a:cubicBezTo>
                <a:cubicBezTo>
                  <a:pt x="1508" y="439"/>
                  <a:pt x="1507" y="439"/>
                  <a:pt x="1507" y="439"/>
                </a:cubicBezTo>
                <a:cubicBezTo>
                  <a:pt x="1507" y="439"/>
                  <a:pt x="1507" y="440"/>
                  <a:pt x="1508" y="440"/>
                </a:cubicBezTo>
                <a:cubicBezTo>
                  <a:pt x="1508" y="440"/>
                  <a:pt x="1508" y="440"/>
                  <a:pt x="1508" y="440"/>
                </a:cubicBezTo>
                <a:cubicBezTo>
                  <a:pt x="1509" y="440"/>
                  <a:pt x="1509" y="440"/>
                  <a:pt x="1509" y="440"/>
                </a:cubicBezTo>
                <a:cubicBezTo>
                  <a:pt x="1508" y="440"/>
                  <a:pt x="1508" y="440"/>
                  <a:pt x="1507" y="440"/>
                </a:cubicBezTo>
                <a:cubicBezTo>
                  <a:pt x="1507" y="440"/>
                  <a:pt x="1506" y="440"/>
                  <a:pt x="1506" y="441"/>
                </a:cubicBezTo>
                <a:cubicBezTo>
                  <a:pt x="1506" y="441"/>
                  <a:pt x="1506" y="441"/>
                  <a:pt x="1505" y="441"/>
                </a:cubicBezTo>
                <a:cubicBezTo>
                  <a:pt x="1506" y="441"/>
                  <a:pt x="1506" y="441"/>
                  <a:pt x="1506" y="441"/>
                </a:cubicBezTo>
                <a:cubicBezTo>
                  <a:pt x="1506" y="441"/>
                  <a:pt x="1506" y="441"/>
                  <a:pt x="1507" y="441"/>
                </a:cubicBezTo>
                <a:cubicBezTo>
                  <a:pt x="1507" y="441"/>
                  <a:pt x="1507" y="441"/>
                  <a:pt x="1507" y="442"/>
                </a:cubicBezTo>
                <a:cubicBezTo>
                  <a:pt x="1507" y="442"/>
                  <a:pt x="1506" y="442"/>
                  <a:pt x="1506" y="442"/>
                </a:cubicBezTo>
                <a:cubicBezTo>
                  <a:pt x="1506" y="442"/>
                  <a:pt x="1506" y="442"/>
                  <a:pt x="1507" y="442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4"/>
                  <a:pt x="1506" y="444"/>
                  <a:pt x="1506" y="444"/>
                </a:cubicBezTo>
                <a:cubicBezTo>
                  <a:pt x="1506" y="444"/>
                  <a:pt x="1506" y="445"/>
                  <a:pt x="1506" y="445"/>
                </a:cubicBezTo>
                <a:cubicBezTo>
                  <a:pt x="1506" y="445"/>
                  <a:pt x="1506" y="444"/>
                  <a:pt x="1506" y="444"/>
                </a:cubicBezTo>
                <a:cubicBezTo>
                  <a:pt x="1505" y="444"/>
                  <a:pt x="1505" y="444"/>
                  <a:pt x="1505" y="444"/>
                </a:cubicBezTo>
                <a:cubicBezTo>
                  <a:pt x="1505" y="444"/>
                  <a:pt x="1505" y="444"/>
                  <a:pt x="1505" y="443"/>
                </a:cubicBezTo>
                <a:cubicBezTo>
                  <a:pt x="1505" y="443"/>
                  <a:pt x="1505" y="443"/>
                  <a:pt x="1505" y="443"/>
                </a:cubicBezTo>
                <a:cubicBezTo>
                  <a:pt x="1504" y="443"/>
                  <a:pt x="1504" y="443"/>
                  <a:pt x="1504" y="443"/>
                </a:cubicBezTo>
                <a:cubicBezTo>
                  <a:pt x="1504" y="443"/>
                  <a:pt x="1504" y="443"/>
                  <a:pt x="1504" y="443"/>
                </a:cubicBezTo>
                <a:cubicBezTo>
                  <a:pt x="1503" y="443"/>
                  <a:pt x="1503" y="443"/>
                  <a:pt x="1503" y="443"/>
                </a:cubicBezTo>
                <a:cubicBezTo>
                  <a:pt x="1504" y="444"/>
                  <a:pt x="1504" y="444"/>
                  <a:pt x="1504" y="444"/>
                </a:cubicBezTo>
                <a:cubicBezTo>
                  <a:pt x="1504" y="444"/>
                  <a:pt x="1504" y="444"/>
                  <a:pt x="1504" y="445"/>
                </a:cubicBezTo>
                <a:cubicBezTo>
                  <a:pt x="1504" y="445"/>
                  <a:pt x="1504" y="444"/>
                  <a:pt x="1504" y="444"/>
                </a:cubicBezTo>
                <a:cubicBezTo>
                  <a:pt x="1503" y="444"/>
                  <a:pt x="1503" y="444"/>
                  <a:pt x="1503" y="444"/>
                </a:cubicBezTo>
                <a:cubicBezTo>
                  <a:pt x="1503" y="444"/>
                  <a:pt x="1503" y="444"/>
                  <a:pt x="1503" y="444"/>
                </a:cubicBezTo>
                <a:cubicBezTo>
                  <a:pt x="1503" y="444"/>
                  <a:pt x="1502" y="443"/>
                  <a:pt x="1502" y="443"/>
                </a:cubicBezTo>
                <a:cubicBezTo>
                  <a:pt x="1502" y="444"/>
                  <a:pt x="1502" y="444"/>
                  <a:pt x="1502" y="444"/>
                </a:cubicBezTo>
                <a:cubicBezTo>
                  <a:pt x="1502" y="444"/>
                  <a:pt x="1502" y="444"/>
                  <a:pt x="1502" y="445"/>
                </a:cubicBezTo>
                <a:cubicBezTo>
                  <a:pt x="1503" y="445"/>
                  <a:pt x="1503" y="445"/>
                  <a:pt x="1503" y="445"/>
                </a:cubicBezTo>
                <a:cubicBezTo>
                  <a:pt x="1503" y="445"/>
                  <a:pt x="1503" y="445"/>
                  <a:pt x="1503" y="445"/>
                </a:cubicBezTo>
                <a:cubicBezTo>
                  <a:pt x="1503" y="445"/>
                  <a:pt x="1503" y="445"/>
                  <a:pt x="1502" y="445"/>
                </a:cubicBezTo>
                <a:cubicBezTo>
                  <a:pt x="1502" y="445"/>
                  <a:pt x="1502" y="445"/>
                  <a:pt x="1502" y="445"/>
                </a:cubicBezTo>
                <a:cubicBezTo>
                  <a:pt x="1501" y="445"/>
                  <a:pt x="1501" y="445"/>
                  <a:pt x="1501" y="445"/>
                </a:cubicBezTo>
                <a:cubicBezTo>
                  <a:pt x="1501" y="445"/>
                  <a:pt x="1501" y="445"/>
                  <a:pt x="1501" y="445"/>
                </a:cubicBezTo>
                <a:cubicBezTo>
                  <a:pt x="1502" y="446"/>
                  <a:pt x="1502" y="446"/>
                  <a:pt x="1502" y="446"/>
                </a:cubicBezTo>
                <a:cubicBezTo>
                  <a:pt x="1502" y="446"/>
                  <a:pt x="1502" y="446"/>
                  <a:pt x="1502" y="446"/>
                </a:cubicBezTo>
                <a:cubicBezTo>
                  <a:pt x="1501" y="446"/>
                  <a:pt x="1501" y="446"/>
                  <a:pt x="1500" y="445"/>
                </a:cubicBezTo>
                <a:cubicBezTo>
                  <a:pt x="1500" y="445"/>
                  <a:pt x="1500" y="446"/>
                  <a:pt x="1500" y="446"/>
                </a:cubicBezTo>
                <a:cubicBezTo>
                  <a:pt x="1500" y="445"/>
                  <a:pt x="1500" y="445"/>
                  <a:pt x="1500" y="445"/>
                </a:cubicBezTo>
                <a:cubicBezTo>
                  <a:pt x="1499" y="445"/>
                  <a:pt x="1499" y="446"/>
                  <a:pt x="1498" y="446"/>
                </a:cubicBezTo>
                <a:cubicBezTo>
                  <a:pt x="1498" y="445"/>
                  <a:pt x="1497" y="445"/>
                  <a:pt x="1497" y="445"/>
                </a:cubicBezTo>
                <a:cubicBezTo>
                  <a:pt x="1497" y="446"/>
                  <a:pt x="1497" y="446"/>
                  <a:pt x="1498" y="446"/>
                </a:cubicBezTo>
                <a:cubicBezTo>
                  <a:pt x="1498" y="446"/>
                  <a:pt x="1498" y="446"/>
                  <a:pt x="1499" y="446"/>
                </a:cubicBezTo>
                <a:cubicBezTo>
                  <a:pt x="1499" y="446"/>
                  <a:pt x="1499" y="447"/>
                  <a:pt x="1499" y="447"/>
                </a:cubicBezTo>
                <a:cubicBezTo>
                  <a:pt x="1499" y="447"/>
                  <a:pt x="1499" y="447"/>
                  <a:pt x="1499" y="447"/>
                </a:cubicBezTo>
                <a:cubicBezTo>
                  <a:pt x="1499" y="447"/>
                  <a:pt x="1498" y="447"/>
                  <a:pt x="1498" y="447"/>
                </a:cubicBezTo>
                <a:cubicBezTo>
                  <a:pt x="1498" y="447"/>
                  <a:pt x="1498" y="447"/>
                  <a:pt x="1498" y="448"/>
                </a:cubicBezTo>
                <a:cubicBezTo>
                  <a:pt x="1498" y="447"/>
                  <a:pt x="1498" y="447"/>
                  <a:pt x="1497" y="447"/>
                </a:cubicBezTo>
                <a:cubicBezTo>
                  <a:pt x="1497" y="447"/>
                  <a:pt x="1497" y="447"/>
                  <a:pt x="1497" y="447"/>
                </a:cubicBezTo>
                <a:cubicBezTo>
                  <a:pt x="1497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8"/>
                </a:cubicBezTo>
                <a:cubicBezTo>
                  <a:pt x="1495" y="447"/>
                  <a:pt x="1495" y="447"/>
                  <a:pt x="1495" y="447"/>
                </a:cubicBezTo>
                <a:cubicBezTo>
                  <a:pt x="1495" y="448"/>
                  <a:pt x="1495" y="448"/>
                  <a:pt x="1495" y="448"/>
                </a:cubicBezTo>
                <a:cubicBezTo>
                  <a:pt x="1494" y="448"/>
                  <a:pt x="1494" y="448"/>
                  <a:pt x="1494" y="448"/>
                </a:cubicBezTo>
                <a:cubicBezTo>
                  <a:pt x="1494" y="448"/>
                  <a:pt x="1494" y="448"/>
                  <a:pt x="1494" y="447"/>
                </a:cubicBezTo>
                <a:cubicBezTo>
                  <a:pt x="1493" y="447"/>
                  <a:pt x="1493" y="447"/>
                  <a:pt x="1492" y="447"/>
                </a:cubicBezTo>
                <a:cubicBezTo>
                  <a:pt x="1492" y="447"/>
                  <a:pt x="1492" y="447"/>
                  <a:pt x="1492" y="447"/>
                </a:cubicBezTo>
                <a:cubicBezTo>
                  <a:pt x="1492" y="447"/>
                  <a:pt x="1492" y="447"/>
                  <a:pt x="1491" y="447"/>
                </a:cubicBezTo>
                <a:cubicBezTo>
                  <a:pt x="1491" y="447"/>
                  <a:pt x="1492" y="448"/>
                  <a:pt x="1492" y="448"/>
                </a:cubicBezTo>
                <a:cubicBezTo>
                  <a:pt x="1491" y="448"/>
                  <a:pt x="1491" y="448"/>
                  <a:pt x="1491" y="449"/>
                </a:cubicBezTo>
                <a:cubicBezTo>
                  <a:pt x="1491" y="449"/>
                  <a:pt x="1491" y="449"/>
                  <a:pt x="1490" y="449"/>
                </a:cubicBezTo>
                <a:cubicBezTo>
                  <a:pt x="1491" y="449"/>
                  <a:pt x="1491" y="449"/>
                  <a:pt x="1491" y="450"/>
                </a:cubicBezTo>
                <a:cubicBezTo>
                  <a:pt x="1490" y="450"/>
                  <a:pt x="1490" y="450"/>
                  <a:pt x="1490" y="450"/>
                </a:cubicBezTo>
                <a:cubicBezTo>
                  <a:pt x="1490" y="449"/>
                  <a:pt x="1489" y="449"/>
                  <a:pt x="1489" y="449"/>
                </a:cubicBezTo>
                <a:cubicBezTo>
                  <a:pt x="1489" y="449"/>
                  <a:pt x="1489" y="449"/>
                  <a:pt x="1489" y="449"/>
                </a:cubicBezTo>
                <a:cubicBezTo>
                  <a:pt x="1489" y="449"/>
                  <a:pt x="1489" y="449"/>
                  <a:pt x="1489" y="449"/>
                </a:cubicBezTo>
                <a:cubicBezTo>
                  <a:pt x="1489" y="449"/>
                  <a:pt x="1488" y="449"/>
                  <a:pt x="1488" y="449"/>
                </a:cubicBezTo>
                <a:cubicBezTo>
                  <a:pt x="1488" y="449"/>
                  <a:pt x="1488" y="449"/>
                  <a:pt x="1488" y="449"/>
                </a:cubicBezTo>
                <a:cubicBezTo>
                  <a:pt x="1487" y="449"/>
                  <a:pt x="1487" y="449"/>
                  <a:pt x="1486" y="449"/>
                </a:cubicBezTo>
                <a:cubicBezTo>
                  <a:pt x="1486" y="449"/>
                  <a:pt x="1486" y="449"/>
                  <a:pt x="1486" y="449"/>
                </a:cubicBezTo>
                <a:cubicBezTo>
                  <a:pt x="1486" y="449"/>
                  <a:pt x="1486" y="449"/>
                  <a:pt x="1485" y="449"/>
                </a:cubicBezTo>
                <a:cubicBezTo>
                  <a:pt x="1485" y="449"/>
                  <a:pt x="1485" y="449"/>
                  <a:pt x="1485" y="449"/>
                </a:cubicBezTo>
                <a:cubicBezTo>
                  <a:pt x="1485" y="449"/>
                  <a:pt x="1485" y="449"/>
                  <a:pt x="1485" y="449"/>
                </a:cubicBezTo>
                <a:cubicBezTo>
                  <a:pt x="1485" y="449"/>
                  <a:pt x="1485" y="449"/>
                  <a:pt x="1484" y="449"/>
                </a:cubicBezTo>
                <a:cubicBezTo>
                  <a:pt x="1484" y="449"/>
                  <a:pt x="1484" y="449"/>
                  <a:pt x="1484" y="449"/>
                </a:cubicBezTo>
                <a:cubicBezTo>
                  <a:pt x="1484" y="449"/>
                  <a:pt x="1484" y="449"/>
                  <a:pt x="1483" y="449"/>
                </a:cubicBezTo>
                <a:cubicBezTo>
                  <a:pt x="1483" y="448"/>
                  <a:pt x="1483" y="448"/>
                  <a:pt x="1483" y="448"/>
                </a:cubicBezTo>
                <a:cubicBezTo>
                  <a:pt x="1483" y="448"/>
                  <a:pt x="1483" y="448"/>
                  <a:pt x="1483" y="448"/>
                </a:cubicBezTo>
                <a:cubicBezTo>
                  <a:pt x="1482" y="448"/>
                  <a:pt x="1482" y="448"/>
                  <a:pt x="1482" y="448"/>
                </a:cubicBezTo>
                <a:cubicBezTo>
                  <a:pt x="1482" y="448"/>
                  <a:pt x="1482" y="449"/>
                  <a:pt x="1482" y="449"/>
                </a:cubicBezTo>
                <a:cubicBezTo>
                  <a:pt x="1481" y="449"/>
                  <a:pt x="1481" y="449"/>
                  <a:pt x="1481" y="449"/>
                </a:cubicBezTo>
                <a:cubicBezTo>
                  <a:pt x="1481" y="448"/>
                  <a:pt x="1480" y="448"/>
                  <a:pt x="1480" y="448"/>
                </a:cubicBezTo>
                <a:cubicBezTo>
                  <a:pt x="1480" y="448"/>
                  <a:pt x="1480" y="448"/>
                  <a:pt x="1480" y="448"/>
                </a:cubicBezTo>
                <a:cubicBezTo>
                  <a:pt x="1479" y="448"/>
                  <a:pt x="1479" y="448"/>
                  <a:pt x="1479" y="448"/>
                </a:cubicBezTo>
                <a:cubicBezTo>
                  <a:pt x="1479" y="448"/>
                  <a:pt x="1478" y="448"/>
                  <a:pt x="1478" y="449"/>
                </a:cubicBezTo>
                <a:cubicBezTo>
                  <a:pt x="1478" y="449"/>
                  <a:pt x="1477" y="449"/>
                  <a:pt x="1476" y="449"/>
                </a:cubicBezTo>
                <a:cubicBezTo>
                  <a:pt x="1476" y="449"/>
                  <a:pt x="1476" y="449"/>
                  <a:pt x="1476" y="448"/>
                </a:cubicBezTo>
                <a:cubicBezTo>
                  <a:pt x="1477" y="448"/>
                  <a:pt x="1477" y="448"/>
                  <a:pt x="1477" y="448"/>
                </a:cubicBezTo>
                <a:cubicBezTo>
                  <a:pt x="1477" y="448"/>
                  <a:pt x="1478" y="448"/>
                  <a:pt x="1478" y="448"/>
                </a:cubicBezTo>
                <a:cubicBezTo>
                  <a:pt x="1478" y="448"/>
                  <a:pt x="1477" y="448"/>
                  <a:pt x="1477" y="448"/>
                </a:cubicBezTo>
                <a:cubicBezTo>
                  <a:pt x="1477" y="448"/>
                  <a:pt x="1477" y="447"/>
                  <a:pt x="1476" y="447"/>
                </a:cubicBezTo>
                <a:cubicBezTo>
                  <a:pt x="1476" y="447"/>
                  <a:pt x="1476" y="447"/>
                  <a:pt x="1476" y="446"/>
                </a:cubicBezTo>
                <a:cubicBezTo>
                  <a:pt x="1476" y="446"/>
                  <a:pt x="1476" y="446"/>
                  <a:pt x="1475" y="446"/>
                </a:cubicBezTo>
                <a:cubicBezTo>
                  <a:pt x="1475" y="445"/>
                  <a:pt x="1475" y="445"/>
                  <a:pt x="1475" y="445"/>
                </a:cubicBezTo>
                <a:cubicBezTo>
                  <a:pt x="1475" y="445"/>
                  <a:pt x="1475" y="445"/>
                  <a:pt x="1475" y="446"/>
                </a:cubicBezTo>
                <a:cubicBezTo>
                  <a:pt x="1475" y="446"/>
                  <a:pt x="1475" y="446"/>
                  <a:pt x="1475" y="446"/>
                </a:cubicBezTo>
                <a:cubicBezTo>
                  <a:pt x="1475" y="446"/>
                  <a:pt x="1475" y="447"/>
                  <a:pt x="1475" y="447"/>
                </a:cubicBezTo>
                <a:cubicBezTo>
                  <a:pt x="1475" y="447"/>
                  <a:pt x="1475" y="447"/>
                  <a:pt x="1475" y="448"/>
                </a:cubicBezTo>
                <a:cubicBezTo>
                  <a:pt x="1474" y="448"/>
                  <a:pt x="1474" y="448"/>
                  <a:pt x="1474" y="448"/>
                </a:cubicBezTo>
                <a:cubicBezTo>
                  <a:pt x="1473" y="448"/>
                  <a:pt x="1473" y="448"/>
                  <a:pt x="1473" y="448"/>
                </a:cubicBezTo>
                <a:cubicBezTo>
                  <a:pt x="1473" y="448"/>
                  <a:pt x="1473" y="448"/>
                  <a:pt x="1473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1" y="448"/>
                  <a:pt x="1471" y="448"/>
                </a:cubicBezTo>
                <a:cubicBezTo>
                  <a:pt x="1471" y="448"/>
                  <a:pt x="1470" y="448"/>
                  <a:pt x="1470" y="449"/>
                </a:cubicBezTo>
                <a:cubicBezTo>
                  <a:pt x="1469" y="449"/>
                  <a:pt x="1469" y="449"/>
                  <a:pt x="1469" y="449"/>
                </a:cubicBezTo>
                <a:cubicBezTo>
                  <a:pt x="1468" y="449"/>
                  <a:pt x="1468" y="449"/>
                  <a:pt x="1468" y="449"/>
                </a:cubicBezTo>
                <a:cubicBezTo>
                  <a:pt x="1468" y="448"/>
                  <a:pt x="1467" y="448"/>
                  <a:pt x="1467" y="448"/>
                </a:cubicBezTo>
                <a:cubicBezTo>
                  <a:pt x="1467" y="448"/>
                  <a:pt x="1466" y="448"/>
                  <a:pt x="1466" y="448"/>
                </a:cubicBezTo>
                <a:cubicBezTo>
                  <a:pt x="1466" y="448"/>
                  <a:pt x="1466" y="448"/>
                  <a:pt x="1465" y="448"/>
                </a:cubicBezTo>
                <a:cubicBezTo>
                  <a:pt x="1465" y="448"/>
                  <a:pt x="1465" y="448"/>
                  <a:pt x="1465" y="448"/>
                </a:cubicBezTo>
                <a:cubicBezTo>
                  <a:pt x="1465" y="448"/>
                  <a:pt x="1465" y="448"/>
                  <a:pt x="1464" y="448"/>
                </a:cubicBezTo>
                <a:cubicBezTo>
                  <a:pt x="1464" y="448"/>
                  <a:pt x="1464" y="448"/>
                  <a:pt x="1463" y="448"/>
                </a:cubicBezTo>
                <a:cubicBezTo>
                  <a:pt x="1463" y="448"/>
                  <a:pt x="1463" y="448"/>
                  <a:pt x="1463" y="448"/>
                </a:cubicBezTo>
                <a:cubicBezTo>
                  <a:pt x="1462" y="448"/>
                  <a:pt x="1462" y="448"/>
                  <a:pt x="1462" y="448"/>
                </a:cubicBezTo>
                <a:cubicBezTo>
                  <a:pt x="1462" y="448"/>
                  <a:pt x="1461" y="448"/>
                  <a:pt x="1461" y="448"/>
                </a:cubicBezTo>
                <a:cubicBezTo>
                  <a:pt x="1461" y="448"/>
                  <a:pt x="1461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7"/>
                </a:cubicBezTo>
                <a:cubicBezTo>
                  <a:pt x="1460" y="447"/>
                  <a:pt x="1460" y="447"/>
                  <a:pt x="1460" y="447"/>
                </a:cubicBezTo>
                <a:cubicBezTo>
                  <a:pt x="1460" y="447"/>
                  <a:pt x="1460" y="447"/>
                  <a:pt x="1460" y="447"/>
                </a:cubicBezTo>
                <a:cubicBezTo>
                  <a:pt x="1460" y="447"/>
                  <a:pt x="1459" y="447"/>
                  <a:pt x="1459" y="447"/>
                </a:cubicBezTo>
                <a:cubicBezTo>
                  <a:pt x="1459" y="447"/>
                  <a:pt x="1459" y="447"/>
                  <a:pt x="1459" y="447"/>
                </a:cubicBezTo>
                <a:cubicBezTo>
                  <a:pt x="1459" y="447"/>
                  <a:pt x="1459" y="447"/>
                  <a:pt x="1459" y="447"/>
                </a:cubicBezTo>
                <a:cubicBezTo>
                  <a:pt x="1459" y="448"/>
                  <a:pt x="1459" y="448"/>
                  <a:pt x="1459" y="448"/>
                </a:cubicBezTo>
                <a:cubicBezTo>
                  <a:pt x="1459" y="448"/>
                  <a:pt x="1458" y="448"/>
                  <a:pt x="1458" y="448"/>
                </a:cubicBezTo>
                <a:cubicBezTo>
                  <a:pt x="1458" y="448"/>
                  <a:pt x="1458" y="448"/>
                  <a:pt x="1458" y="448"/>
                </a:cubicBezTo>
                <a:cubicBezTo>
                  <a:pt x="1458" y="449"/>
                  <a:pt x="1458" y="449"/>
                  <a:pt x="1458" y="449"/>
                </a:cubicBezTo>
                <a:cubicBezTo>
                  <a:pt x="1458" y="449"/>
                  <a:pt x="1458" y="449"/>
                  <a:pt x="1458" y="449"/>
                </a:cubicBezTo>
                <a:cubicBezTo>
                  <a:pt x="1458" y="450"/>
                  <a:pt x="1459" y="450"/>
                  <a:pt x="1459" y="450"/>
                </a:cubicBezTo>
                <a:cubicBezTo>
                  <a:pt x="1459" y="450"/>
                  <a:pt x="1459" y="450"/>
                  <a:pt x="1459" y="450"/>
                </a:cubicBezTo>
                <a:cubicBezTo>
                  <a:pt x="1459" y="450"/>
                  <a:pt x="1459" y="450"/>
                  <a:pt x="1459" y="450"/>
                </a:cubicBezTo>
                <a:cubicBezTo>
                  <a:pt x="1459" y="451"/>
                  <a:pt x="1459" y="451"/>
                  <a:pt x="1459" y="451"/>
                </a:cubicBezTo>
                <a:cubicBezTo>
                  <a:pt x="1459" y="451"/>
                  <a:pt x="1458" y="451"/>
                  <a:pt x="1458" y="451"/>
                </a:cubicBezTo>
                <a:cubicBezTo>
                  <a:pt x="1458" y="451"/>
                  <a:pt x="1458" y="451"/>
                  <a:pt x="1457" y="451"/>
                </a:cubicBezTo>
                <a:cubicBezTo>
                  <a:pt x="1457" y="451"/>
                  <a:pt x="1457" y="451"/>
                  <a:pt x="1457" y="451"/>
                </a:cubicBezTo>
                <a:cubicBezTo>
                  <a:pt x="1457" y="451"/>
                  <a:pt x="1457" y="451"/>
                  <a:pt x="1456" y="450"/>
                </a:cubicBezTo>
                <a:cubicBezTo>
                  <a:pt x="1456" y="451"/>
                  <a:pt x="1456" y="451"/>
                  <a:pt x="1456" y="451"/>
                </a:cubicBezTo>
                <a:cubicBezTo>
                  <a:pt x="1456" y="451"/>
                  <a:pt x="1456" y="451"/>
                  <a:pt x="1456" y="451"/>
                </a:cubicBezTo>
                <a:cubicBezTo>
                  <a:pt x="1456" y="451"/>
                  <a:pt x="1456" y="450"/>
                  <a:pt x="1456" y="450"/>
                </a:cubicBezTo>
                <a:cubicBezTo>
                  <a:pt x="1456" y="450"/>
                  <a:pt x="1456" y="450"/>
                  <a:pt x="1456" y="450"/>
                </a:cubicBezTo>
                <a:cubicBezTo>
                  <a:pt x="1456" y="450"/>
                  <a:pt x="1456" y="449"/>
                  <a:pt x="1455" y="449"/>
                </a:cubicBezTo>
                <a:cubicBezTo>
                  <a:pt x="1455" y="449"/>
                  <a:pt x="1455" y="448"/>
                  <a:pt x="1455" y="448"/>
                </a:cubicBezTo>
                <a:cubicBezTo>
                  <a:pt x="1455" y="448"/>
                  <a:pt x="1455" y="447"/>
                  <a:pt x="1455" y="447"/>
                </a:cubicBezTo>
                <a:cubicBezTo>
                  <a:pt x="1455" y="447"/>
                  <a:pt x="1455" y="447"/>
                  <a:pt x="1456" y="447"/>
                </a:cubicBezTo>
                <a:cubicBezTo>
                  <a:pt x="1456" y="447"/>
                  <a:pt x="1456" y="447"/>
                  <a:pt x="1456" y="446"/>
                </a:cubicBezTo>
                <a:cubicBezTo>
                  <a:pt x="1456" y="446"/>
                  <a:pt x="1456" y="446"/>
                  <a:pt x="1457" y="447"/>
                </a:cubicBezTo>
                <a:cubicBezTo>
                  <a:pt x="1457" y="446"/>
                  <a:pt x="1457" y="446"/>
                  <a:pt x="1457" y="446"/>
                </a:cubicBezTo>
                <a:cubicBezTo>
                  <a:pt x="1457" y="446"/>
                  <a:pt x="1456" y="446"/>
                  <a:pt x="1456" y="446"/>
                </a:cubicBezTo>
                <a:cubicBezTo>
                  <a:pt x="1456" y="446"/>
                  <a:pt x="1456" y="446"/>
                  <a:pt x="1455" y="446"/>
                </a:cubicBezTo>
                <a:cubicBezTo>
                  <a:pt x="1455" y="446"/>
                  <a:pt x="1455" y="445"/>
                  <a:pt x="1455" y="445"/>
                </a:cubicBezTo>
                <a:cubicBezTo>
                  <a:pt x="1455" y="445"/>
                  <a:pt x="1454" y="446"/>
                  <a:pt x="1454" y="446"/>
                </a:cubicBezTo>
                <a:cubicBezTo>
                  <a:pt x="1454" y="446"/>
                  <a:pt x="1454" y="445"/>
                  <a:pt x="1454" y="445"/>
                </a:cubicBezTo>
                <a:cubicBezTo>
                  <a:pt x="1453" y="445"/>
                  <a:pt x="1453" y="445"/>
                  <a:pt x="1453" y="445"/>
                </a:cubicBezTo>
                <a:cubicBezTo>
                  <a:pt x="1453" y="445"/>
                  <a:pt x="1452" y="445"/>
                  <a:pt x="1452" y="444"/>
                </a:cubicBezTo>
                <a:cubicBezTo>
                  <a:pt x="1452" y="444"/>
                  <a:pt x="1452" y="444"/>
                  <a:pt x="1452" y="444"/>
                </a:cubicBezTo>
                <a:cubicBezTo>
                  <a:pt x="1451" y="444"/>
                  <a:pt x="1451" y="444"/>
                  <a:pt x="1451" y="443"/>
                </a:cubicBezTo>
                <a:cubicBezTo>
                  <a:pt x="1451" y="443"/>
                  <a:pt x="1451" y="443"/>
                  <a:pt x="1451" y="443"/>
                </a:cubicBezTo>
                <a:cubicBezTo>
                  <a:pt x="1450" y="443"/>
                  <a:pt x="1450" y="443"/>
                  <a:pt x="1450" y="443"/>
                </a:cubicBezTo>
                <a:cubicBezTo>
                  <a:pt x="1450" y="443"/>
                  <a:pt x="1450" y="443"/>
                  <a:pt x="1450" y="444"/>
                </a:cubicBezTo>
                <a:cubicBezTo>
                  <a:pt x="1450" y="444"/>
                  <a:pt x="1449" y="444"/>
                  <a:pt x="1449" y="444"/>
                </a:cubicBezTo>
                <a:cubicBezTo>
                  <a:pt x="1449" y="443"/>
                  <a:pt x="1449" y="443"/>
                  <a:pt x="1449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4"/>
                  <a:pt x="1448" y="444"/>
                </a:cubicBezTo>
                <a:cubicBezTo>
                  <a:pt x="1447" y="444"/>
                  <a:pt x="1447" y="444"/>
                  <a:pt x="1447" y="444"/>
                </a:cubicBezTo>
                <a:cubicBezTo>
                  <a:pt x="1447" y="444"/>
                  <a:pt x="1447" y="444"/>
                  <a:pt x="1447" y="444"/>
                </a:cubicBezTo>
                <a:cubicBezTo>
                  <a:pt x="1446" y="444"/>
                  <a:pt x="1446" y="444"/>
                  <a:pt x="1446" y="444"/>
                </a:cubicBezTo>
                <a:cubicBezTo>
                  <a:pt x="1445" y="444"/>
                  <a:pt x="1445" y="443"/>
                  <a:pt x="1445" y="443"/>
                </a:cubicBezTo>
                <a:cubicBezTo>
                  <a:pt x="1444" y="443"/>
                  <a:pt x="1444" y="443"/>
                  <a:pt x="1444" y="443"/>
                </a:cubicBezTo>
                <a:cubicBezTo>
                  <a:pt x="1444" y="443"/>
                  <a:pt x="1444" y="443"/>
                  <a:pt x="1443" y="443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2" y="444"/>
                  <a:pt x="1442" y="444"/>
                </a:cubicBezTo>
                <a:cubicBezTo>
                  <a:pt x="1442" y="444"/>
                  <a:pt x="1442" y="444"/>
                  <a:pt x="1441" y="444"/>
                </a:cubicBezTo>
                <a:cubicBezTo>
                  <a:pt x="1441" y="444"/>
                  <a:pt x="1441" y="444"/>
                  <a:pt x="1441" y="444"/>
                </a:cubicBezTo>
                <a:cubicBezTo>
                  <a:pt x="1441" y="444"/>
                  <a:pt x="1441" y="444"/>
                  <a:pt x="1441" y="444"/>
                </a:cubicBezTo>
                <a:cubicBezTo>
                  <a:pt x="1440" y="444"/>
                  <a:pt x="1440" y="444"/>
                  <a:pt x="1440" y="444"/>
                </a:cubicBezTo>
                <a:cubicBezTo>
                  <a:pt x="1440" y="444"/>
                  <a:pt x="1440" y="443"/>
                  <a:pt x="1440" y="443"/>
                </a:cubicBezTo>
                <a:cubicBezTo>
                  <a:pt x="1440" y="444"/>
                  <a:pt x="1440" y="444"/>
                  <a:pt x="1440" y="444"/>
                </a:cubicBezTo>
                <a:cubicBezTo>
                  <a:pt x="1440" y="444"/>
                  <a:pt x="1439" y="444"/>
                  <a:pt x="1439" y="444"/>
                </a:cubicBezTo>
                <a:cubicBezTo>
                  <a:pt x="1439" y="444"/>
                  <a:pt x="1439" y="444"/>
                  <a:pt x="1439" y="444"/>
                </a:cubicBezTo>
                <a:cubicBezTo>
                  <a:pt x="1439" y="445"/>
                  <a:pt x="1439" y="445"/>
                  <a:pt x="1439" y="445"/>
                </a:cubicBezTo>
                <a:cubicBezTo>
                  <a:pt x="1439" y="445"/>
                  <a:pt x="1439" y="445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8" y="446"/>
                  <a:pt x="1438" y="446"/>
                </a:cubicBezTo>
                <a:cubicBezTo>
                  <a:pt x="1438" y="447"/>
                  <a:pt x="1438" y="447"/>
                  <a:pt x="1437" y="447"/>
                </a:cubicBezTo>
                <a:cubicBezTo>
                  <a:pt x="1437" y="447"/>
                  <a:pt x="1437" y="447"/>
                  <a:pt x="1437" y="447"/>
                </a:cubicBezTo>
                <a:cubicBezTo>
                  <a:pt x="1437" y="447"/>
                  <a:pt x="1437" y="447"/>
                  <a:pt x="1436" y="446"/>
                </a:cubicBezTo>
                <a:cubicBezTo>
                  <a:pt x="1436" y="447"/>
                  <a:pt x="1436" y="447"/>
                  <a:pt x="1436" y="447"/>
                </a:cubicBezTo>
                <a:cubicBezTo>
                  <a:pt x="1436" y="447"/>
                  <a:pt x="1436" y="447"/>
                  <a:pt x="1436" y="447"/>
                </a:cubicBezTo>
                <a:cubicBezTo>
                  <a:pt x="1436" y="447"/>
                  <a:pt x="1435" y="447"/>
                  <a:pt x="1435" y="447"/>
                </a:cubicBezTo>
                <a:cubicBezTo>
                  <a:pt x="1435" y="447"/>
                  <a:pt x="1435" y="447"/>
                  <a:pt x="1435" y="447"/>
                </a:cubicBezTo>
                <a:cubicBezTo>
                  <a:pt x="1435" y="448"/>
                  <a:pt x="1435" y="448"/>
                  <a:pt x="1435" y="448"/>
                </a:cubicBezTo>
                <a:cubicBezTo>
                  <a:pt x="1435" y="448"/>
                  <a:pt x="1435" y="448"/>
                  <a:pt x="1435" y="448"/>
                </a:cubicBezTo>
                <a:cubicBezTo>
                  <a:pt x="1435" y="448"/>
                  <a:pt x="1435" y="449"/>
                  <a:pt x="1435" y="449"/>
                </a:cubicBezTo>
                <a:cubicBezTo>
                  <a:pt x="1435" y="449"/>
                  <a:pt x="1435" y="449"/>
                  <a:pt x="1434" y="450"/>
                </a:cubicBezTo>
                <a:cubicBezTo>
                  <a:pt x="1434" y="450"/>
                  <a:pt x="1434" y="450"/>
                  <a:pt x="1434" y="450"/>
                </a:cubicBezTo>
                <a:cubicBezTo>
                  <a:pt x="1434" y="451"/>
                  <a:pt x="1434" y="451"/>
                  <a:pt x="1434" y="451"/>
                </a:cubicBezTo>
                <a:cubicBezTo>
                  <a:pt x="1434" y="451"/>
                  <a:pt x="1434" y="451"/>
                  <a:pt x="1434" y="451"/>
                </a:cubicBezTo>
                <a:cubicBezTo>
                  <a:pt x="1434" y="451"/>
                  <a:pt x="1434" y="451"/>
                  <a:pt x="1433" y="451"/>
                </a:cubicBezTo>
                <a:cubicBezTo>
                  <a:pt x="1434" y="452"/>
                  <a:pt x="1434" y="452"/>
                  <a:pt x="1434" y="452"/>
                </a:cubicBezTo>
                <a:cubicBezTo>
                  <a:pt x="1435" y="452"/>
                  <a:pt x="1435" y="453"/>
                  <a:pt x="1435" y="453"/>
                </a:cubicBezTo>
                <a:cubicBezTo>
                  <a:pt x="1436" y="453"/>
                  <a:pt x="1436" y="454"/>
                  <a:pt x="1436" y="454"/>
                </a:cubicBezTo>
                <a:cubicBezTo>
                  <a:pt x="1437" y="454"/>
                  <a:pt x="1437" y="454"/>
                  <a:pt x="1437" y="454"/>
                </a:cubicBezTo>
                <a:cubicBezTo>
                  <a:pt x="1437" y="455"/>
                  <a:pt x="1437" y="455"/>
                  <a:pt x="1437" y="455"/>
                </a:cubicBezTo>
                <a:cubicBezTo>
                  <a:pt x="1437" y="455"/>
                  <a:pt x="1437" y="456"/>
                  <a:pt x="1437" y="456"/>
                </a:cubicBezTo>
                <a:cubicBezTo>
                  <a:pt x="1437" y="456"/>
                  <a:pt x="1437" y="456"/>
                  <a:pt x="1437" y="456"/>
                </a:cubicBezTo>
                <a:cubicBezTo>
                  <a:pt x="1437" y="456"/>
                  <a:pt x="1437" y="456"/>
                  <a:pt x="1437" y="457"/>
                </a:cubicBezTo>
                <a:cubicBezTo>
                  <a:pt x="1437" y="457"/>
                  <a:pt x="1437" y="457"/>
                  <a:pt x="1437" y="457"/>
                </a:cubicBezTo>
                <a:cubicBezTo>
                  <a:pt x="1438" y="458"/>
                  <a:pt x="1438" y="458"/>
                  <a:pt x="1439" y="459"/>
                </a:cubicBezTo>
                <a:cubicBezTo>
                  <a:pt x="1439" y="459"/>
                  <a:pt x="1439" y="459"/>
                  <a:pt x="1440" y="460"/>
                </a:cubicBezTo>
                <a:cubicBezTo>
                  <a:pt x="1440" y="460"/>
                  <a:pt x="1440" y="460"/>
                  <a:pt x="1440" y="460"/>
                </a:cubicBezTo>
                <a:cubicBezTo>
                  <a:pt x="1440" y="461"/>
                  <a:pt x="1441" y="461"/>
                  <a:pt x="1442" y="462"/>
                </a:cubicBezTo>
                <a:cubicBezTo>
                  <a:pt x="1442" y="463"/>
                  <a:pt x="1443" y="463"/>
                  <a:pt x="1444" y="464"/>
                </a:cubicBezTo>
                <a:cubicBezTo>
                  <a:pt x="1444" y="464"/>
                  <a:pt x="1444" y="464"/>
                  <a:pt x="1444" y="465"/>
                </a:cubicBezTo>
                <a:cubicBezTo>
                  <a:pt x="1445" y="465"/>
                  <a:pt x="1445" y="466"/>
                  <a:pt x="1446" y="467"/>
                </a:cubicBezTo>
                <a:cubicBezTo>
                  <a:pt x="1446" y="467"/>
                  <a:pt x="1446" y="467"/>
                  <a:pt x="1446" y="468"/>
                </a:cubicBezTo>
                <a:cubicBezTo>
                  <a:pt x="1446" y="468"/>
                  <a:pt x="1446" y="468"/>
                  <a:pt x="1446" y="468"/>
                </a:cubicBezTo>
                <a:cubicBezTo>
                  <a:pt x="1446" y="468"/>
                  <a:pt x="1446" y="468"/>
                  <a:pt x="1446" y="468"/>
                </a:cubicBezTo>
                <a:cubicBezTo>
                  <a:pt x="1446" y="468"/>
                  <a:pt x="1446" y="469"/>
                  <a:pt x="1446" y="469"/>
                </a:cubicBezTo>
                <a:cubicBezTo>
                  <a:pt x="1447" y="469"/>
                  <a:pt x="1447" y="470"/>
                  <a:pt x="1447" y="470"/>
                </a:cubicBezTo>
                <a:cubicBezTo>
                  <a:pt x="1447" y="470"/>
                  <a:pt x="1447" y="470"/>
                  <a:pt x="1447" y="470"/>
                </a:cubicBezTo>
                <a:cubicBezTo>
                  <a:pt x="1447" y="470"/>
                  <a:pt x="1447" y="471"/>
                  <a:pt x="1447" y="471"/>
                </a:cubicBezTo>
                <a:cubicBezTo>
                  <a:pt x="1447" y="471"/>
                  <a:pt x="1447" y="471"/>
                  <a:pt x="1447" y="471"/>
                </a:cubicBezTo>
                <a:cubicBezTo>
                  <a:pt x="1447" y="471"/>
                  <a:pt x="1447" y="472"/>
                  <a:pt x="1447" y="472"/>
                </a:cubicBezTo>
                <a:cubicBezTo>
                  <a:pt x="1447" y="472"/>
                  <a:pt x="1447" y="473"/>
                  <a:pt x="1447" y="473"/>
                </a:cubicBezTo>
                <a:cubicBezTo>
                  <a:pt x="1447" y="473"/>
                  <a:pt x="1447" y="474"/>
                  <a:pt x="1447" y="474"/>
                </a:cubicBezTo>
                <a:cubicBezTo>
                  <a:pt x="1447" y="474"/>
                  <a:pt x="1448" y="474"/>
                  <a:pt x="1448" y="475"/>
                </a:cubicBezTo>
                <a:cubicBezTo>
                  <a:pt x="1448" y="475"/>
                  <a:pt x="1448" y="475"/>
                  <a:pt x="1448" y="475"/>
                </a:cubicBezTo>
                <a:cubicBezTo>
                  <a:pt x="1448" y="475"/>
                  <a:pt x="1448" y="476"/>
                  <a:pt x="1448" y="476"/>
                </a:cubicBezTo>
                <a:cubicBezTo>
                  <a:pt x="1447" y="476"/>
                  <a:pt x="1447" y="476"/>
                  <a:pt x="1447" y="476"/>
                </a:cubicBezTo>
                <a:cubicBezTo>
                  <a:pt x="1447" y="476"/>
                  <a:pt x="1447" y="477"/>
                  <a:pt x="1447" y="477"/>
                </a:cubicBezTo>
                <a:cubicBezTo>
                  <a:pt x="1447" y="477"/>
                  <a:pt x="1447" y="477"/>
                  <a:pt x="1447" y="477"/>
                </a:cubicBezTo>
                <a:cubicBezTo>
                  <a:pt x="1447" y="477"/>
                  <a:pt x="1447" y="478"/>
                  <a:pt x="1447" y="478"/>
                </a:cubicBezTo>
                <a:cubicBezTo>
                  <a:pt x="1447" y="478"/>
                  <a:pt x="1447" y="478"/>
                  <a:pt x="1447" y="478"/>
                </a:cubicBezTo>
                <a:cubicBezTo>
                  <a:pt x="1447" y="478"/>
                  <a:pt x="1447" y="479"/>
                  <a:pt x="1447" y="479"/>
                </a:cubicBezTo>
                <a:cubicBezTo>
                  <a:pt x="1447" y="479"/>
                  <a:pt x="1447" y="479"/>
                  <a:pt x="1447" y="479"/>
                </a:cubicBezTo>
                <a:cubicBezTo>
                  <a:pt x="1448" y="480"/>
                  <a:pt x="1448" y="480"/>
                  <a:pt x="1448" y="480"/>
                </a:cubicBezTo>
                <a:cubicBezTo>
                  <a:pt x="1448" y="480"/>
                  <a:pt x="1448" y="481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7" y="481"/>
                  <a:pt x="1447" y="480"/>
                  <a:pt x="1447" y="480"/>
                </a:cubicBezTo>
                <a:cubicBezTo>
                  <a:pt x="1447" y="480"/>
                  <a:pt x="1447" y="480"/>
                  <a:pt x="1447" y="480"/>
                </a:cubicBezTo>
                <a:cubicBezTo>
                  <a:pt x="1447" y="480"/>
                  <a:pt x="1447" y="480"/>
                  <a:pt x="1447" y="480"/>
                </a:cubicBezTo>
                <a:cubicBezTo>
                  <a:pt x="1447" y="480"/>
                  <a:pt x="1447" y="480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6" y="481"/>
                  <a:pt x="1446" y="481"/>
                  <a:pt x="1446" y="481"/>
                </a:cubicBezTo>
                <a:cubicBezTo>
                  <a:pt x="1446" y="482"/>
                  <a:pt x="1446" y="482"/>
                  <a:pt x="1446" y="482"/>
                </a:cubicBezTo>
                <a:cubicBezTo>
                  <a:pt x="1446" y="482"/>
                  <a:pt x="1445" y="482"/>
                  <a:pt x="1445" y="482"/>
                </a:cubicBezTo>
                <a:cubicBezTo>
                  <a:pt x="1445" y="482"/>
                  <a:pt x="1445" y="483"/>
                  <a:pt x="1445" y="483"/>
                </a:cubicBezTo>
                <a:cubicBezTo>
                  <a:pt x="1445" y="483"/>
                  <a:pt x="1445" y="483"/>
                  <a:pt x="1445" y="484"/>
                </a:cubicBezTo>
                <a:cubicBezTo>
                  <a:pt x="1445" y="484"/>
                  <a:pt x="1445" y="484"/>
                  <a:pt x="1445" y="484"/>
                </a:cubicBezTo>
                <a:cubicBezTo>
                  <a:pt x="1445" y="484"/>
                  <a:pt x="1445" y="484"/>
                  <a:pt x="1444" y="484"/>
                </a:cubicBezTo>
                <a:cubicBezTo>
                  <a:pt x="1444" y="484"/>
                  <a:pt x="1444" y="484"/>
                  <a:pt x="1444" y="484"/>
                </a:cubicBezTo>
                <a:cubicBezTo>
                  <a:pt x="1444" y="484"/>
                  <a:pt x="1443" y="485"/>
                  <a:pt x="1443" y="485"/>
                </a:cubicBezTo>
                <a:cubicBezTo>
                  <a:pt x="1443" y="485"/>
                  <a:pt x="1443" y="485"/>
                  <a:pt x="1443" y="485"/>
                </a:cubicBezTo>
                <a:cubicBezTo>
                  <a:pt x="1442" y="485"/>
                  <a:pt x="1442" y="485"/>
                  <a:pt x="1441" y="485"/>
                </a:cubicBezTo>
                <a:cubicBezTo>
                  <a:pt x="1441" y="485"/>
                  <a:pt x="1441" y="485"/>
                  <a:pt x="1441" y="485"/>
                </a:cubicBezTo>
                <a:cubicBezTo>
                  <a:pt x="1440" y="486"/>
                  <a:pt x="1440" y="486"/>
                  <a:pt x="1439" y="486"/>
                </a:cubicBezTo>
                <a:cubicBezTo>
                  <a:pt x="1439" y="486"/>
                  <a:pt x="1439" y="486"/>
                  <a:pt x="1439" y="486"/>
                </a:cubicBezTo>
                <a:cubicBezTo>
                  <a:pt x="1439" y="486"/>
                  <a:pt x="1439" y="486"/>
                  <a:pt x="1438" y="486"/>
                </a:cubicBezTo>
                <a:cubicBezTo>
                  <a:pt x="1438" y="486"/>
                  <a:pt x="1438" y="486"/>
                  <a:pt x="1438" y="486"/>
                </a:cubicBezTo>
                <a:cubicBezTo>
                  <a:pt x="1437" y="486"/>
                  <a:pt x="1436" y="486"/>
                  <a:pt x="1435" y="487"/>
                </a:cubicBezTo>
                <a:cubicBezTo>
                  <a:pt x="1435" y="486"/>
                  <a:pt x="1434" y="486"/>
                  <a:pt x="1434" y="486"/>
                </a:cubicBezTo>
                <a:cubicBezTo>
                  <a:pt x="1434" y="486"/>
                  <a:pt x="1434" y="486"/>
                  <a:pt x="1433" y="486"/>
                </a:cubicBezTo>
                <a:cubicBezTo>
                  <a:pt x="1433" y="486"/>
                  <a:pt x="1433" y="486"/>
                  <a:pt x="1433" y="486"/>
                </a:cubicBezTo>
                <a:cubicBezTo>
                  <a:pt x="1432" y="486"/>
                  <a:pt x="1432" y="486"/>
                  <a:pt x="1432" y="486"/>
                </a:cubicBezTo>
                <a:cubicBezTo>
                  <a:pt x="1432" y="485"/>
                  <a:pt x="1433" y="485"/>
                  <a:pt x="1433" y="485"/>
                </a:cubicBezTo>
                <a:cubicBezTo>
                  <a:pt x="1433" y="485"/>
                  <a:pt x="1433" y="485"/>
                  <a:pt x="1433" y="485"/>
                </a:cubicBezTo>
                <a:cubicBezTo>
                  <a:pt x="1433" y="485"/>
                  <a:pt x="1433" y="485"/>
                  <a:pt x="1432" y="485"/>
                </a:cubicBezTo>
                <a:cubicBezTo>
                  <a:pt x="1432" y="485"/>
                  <a:pt x="1432" y="485"/>
                  <a:pt x="1432" y="485"/>
                </a:cubicBezTo>
                <a:cubicBezTo>
                  <a:pt x="1432" y="485"/>
                  <a:pt x="1432" y="485"/>
                  <a:pt x="1431" y="485"/>
                </a:cubicBezTo>
                <a:cubicBezTo>
                  <a:pt x="1432" y="485"/>
                  <a:pt x="1432" y="485"/>
                  <a:pt x="1432" y="485"/>
                </a:cubicBezTo>
                <a:cubicBezTo>
                  <a:pt x="1432" y="485"/>
                  <a:pt x="1432" y="485"/>
                  <a:pt x="1432" y="486"/>
                </a:cubicBezTo>
                <a:cubicBezTo>
                  <a:pt x="1432" y="486"/>
                  <a:pt x="1432" y="486"/>
                  <a:pt x="1431" y="486"/>
                </a:cubicBezTo>
                <a:cubicBezTo>
                  <a:pt x="1431" y="485"/>
                  <a:pt x="1431" y="485"/>
                  <a:pt x="1431" y="485"/>
                </a:cubicBezTo>
                <a:cubicBezTo>
                  <a:pt x="1431" y="486"/>
                  <a:pt x="1431" y="486"/>
                  <a:pt x="1432" y="486"/>
                </a:cubicBezTo>
                <a:cubicBezTo>
                  <a:pt x="1432" y="486"/>
                  <a:pt x="1432" y="486"/>
                  <a:pt x="1431" y="486"/>
                </a:cubicBezTo>
                <a:cubicBezTo>
                  <a:pt x="1432" y="487"/>
                  <a:pt x="1432" y="487"/>
                  <a:pt x="1432" y="487"/>
                </a:cubicBezTo>
                <a:cubicBezTo>
                  <a:pt x="1431" y="487"/>
                  <a:pt x="1431" y="487"/>
                  <a:pt x="1431" y="487"/>
                </a:cubicBezTo>
                <a:cubicBezTo>
                  <a:pt x="1431" y="487"/>
                  <a:pt x="1430" y="486"/>
                  <a:pt x="1430" y="486"/>
                </a:cubicBezTo>
                <a:cubicBezTo>
                  <a:pt x="1430" y="487"/>
                  <a:pt x="1430" y="487"/>
                  <a:pt x="1431" y="487"/>
                </a:cubicBezTo>
                <a:cubicBezTo>
                  <a:pt x="1431" y="487"/>
                  <a:pt x="1431" y="487"/>
                  <a:pt x="1430" y="487"/>
                </a:cubicBezTo>
                <a:cubicBezTo>
                  <a:pt x="1430" y="488"/>
                  <a:pt x="1430" y="488"/>
                  <a:pt x="1430" y="488"/>
                </a:cubicBezTo>
                <a:cubicBezTo>
                  <a:pt x="1430" y="488"/>
                  <a:pt x="1430" y="488"/>
                  <a:pt x="1430" y="488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8"/>
                  <a:pt x="1429" y="488"/>
                  <a:pt x="1429" y="488"/>
                </a:cubicBezTo>
                <a:cubicBezTo>
                  <a:pt x="1429" y="488"/>
                  <a:pt x="1429" y="488"/>
                  <a:pt x="1429" y="488"/>
                </a:cubicBezTo>
                <a:cubicBezTo>
                  <a:pt x="1429" y="488"/>
                  <a:pt x="1429" y="488"/>
                  <a:pt x="1428" y="488"/>
                </a:cubicBezTo>
                <a:cubicBezTo>
                  <a:pt x="1428" y="488"/>
                  <a:pt x="1428" y="488"/>
                  <a:pt x="1428" y="488"/>
                </a:cubicBezTo>
                <a:cubicBezTo>
                  <a:pt x="1428" y="488"/>
                  <a:pt x="1428" y="488"/>
                  <a:pt x="1428" y="488"/>
                </a:cubicBezTo>
                <a:cubicBezTo>
                  <a:pt x="1427" y="488"/>
                  <a:pt x="1427" y="488"/>
                  <a:pt x="1426" y="488"/>
                </a:cubicBezTo>
                <a:cubicBezTo>
                  <a:pt x="1426" y="488"/>
                  <a:pt x="1426" y="488"/>
                  <a:pt x="1426" y="488"/>
                </a:cubicBezTo>
                <a:cubicBezTo>
                  <a:pt x="1426" y="488"/>
                  <a:pt x="1426" y="488"/>
                  <a:pt x="1425" y="488"/>
                </a:cubicBezTo>
                <a:cubicBezTo>
                  <a:pt x="1425" y="488"/>
                  <a:pt x="1425" y="488"/>
                  <a:pt x="1425" y="489"/>
                </a:cubicBezTo>
                <a:cubicBezTo>
                  <a:pt x="1425" y="489"/>
                  <a:pt x="1425" y="489"/>
                  <a:pt x="1425" y="489"/>
                </a:cubicBezTo>
                <a:cubicBezTo>
                  <a:pt x="1424" y="489"/>
                  <a:pt x="1424" y="489"/>
                  <a:pt x="1424" y="489"/>
                </a:cubicBezTo>
                <a:cubicBezTo>
                  <a:pt x="1424" y="489"/>
                  <a:pt x="1424" y="489"/>
                  <a:pt x="1424" y="489"/>
                </a:cubicBezTo>
                <a:cubicBezTo>
                  <a:pt x="1424" y="489"/>
                  <a:pt x="1424" y="489"/>
                  <a:pt x="1424" y="490"/>
                </a:cubicBezTo>
                <a:cubicBezTo>
                  <a:pt x="1423" y="490"/>
                  <a:pt x="1422" y="490"/>
                  <a:pt x="1421" y="490"/>
                </a:cubicBezTo>
                <a:cubicBezTo>
                  <a:pt x="1421" y="489"/>
                  <a:pt x="1421" y="489"/>
                  <a:pt x="1420" y="489"/>
                </a:cubicBezTo>
                <a:cubicBezTo>
                  <a:pt x="1421" y="489"/>
                  <a:pt x="1421" y="489"/>
                  <a:pt x="1421" y="489"/>
                </a:cubicBezTo>
                <a:cubicBezTo>
                  <a:pt x="1421" y="489"/>
                  <a:pt x="1422" y="489"/>
                  <a:pt x="1422" y="489"/>
                </a:cubicBezTo>
                <a:cubicBezTo>
                  <a:pt x="1422" y="489"/>
                  <a:pt x="1423" y="489"/>
                  <a:pt x="1423" y="489"/>
                </a:cubicBezTo>
                <a:cubicBezTo>
                  <a:pt x="1423" y="489"/>
                  <a:pt x="1422" y="489"/>
                  <a:pt x="1422" y="489"/>
                </a:cubicBezTo>
                <a:cubicBezTo>
                  <a:pt x="1422" y="489"/>
                  <a:pt x="1422" y="488"/>
                  <a:pt x="1422" y="488"/>
                </a:cubicBezTo>
                <a:cubicBezTo>
                  <a:pt x="1422" y="488"/>
                  <a:pt x="1422" y="488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6"/>
                  <a:pt x="1422" y="486"/>
                  <a:pt x="1423" y="485"/>
                </a:cubicBezTo>
                <a:cubicBezTo>
                  <a:pt x="1423" y="485"/>
                  <a:pt x="1423" y="485"/>
                  <a:pt x="1424" y="485"/>
                </a:cubicBezTo>
                <a:cubicBezTo>
                  <a:pt x="1424" y="485"/>
                  <a:pt x="1425" y="485"/>
                  <a:pt x="1425" y="484"/>
                </a:cubicBezTo>
                <a:cubicBezTo>
                  <a:pt x="1425" y="484"/>
                  <a:pt x="1425" y="484"/>
                  <a:pt x="1426" y="484"/>
                </a:cubicBezTo>
                <a:cubicBezTo>
                  <a:pt x="1425" y="484"/>
                  <a:pt x="1425" y="484"/>
                  <a:pt x="1425" y="484"/>
                </a:cubicBezTo>
                <a:cubicBezTo>
                  <a:pt x="1425" y="484"/>
                  <a:pt x="1424" y="484"/>
                  <a:pt x="1424" y="484"/>
                </a:cubicBezTo>
                <a:cubicBezTo>
                  <a:pt x="1424" y="484"/>
                  <a:pt x="1423" y="484"/>
                  <a:pt x="1423" y="484"/>
                </a:cubicBezTo>
                <a:cubicBezTo>
                  <a:pt x="1423" y="484"/>
                  <a:pt x="1423" y="484"/>
                  <a:pt x="1423" y="483"/>
                </a:cubicBezTo>
                <a:cubicBezTo>
                  <a:pt x="1423" y="483"/>
                  <a:pt x="1422" y="483"/>
                  <a:pt x="1422" y="483"/>
                </a:cubicBezTo>
                <a:cubicBezTo>
                  <a:pt x="1422" y="483"/>
                  <a:pt x="1422" y="483"/>
                  <a:pt x="1421" y="483"/>
                </a:cubicBezTo>
                <a:cubicBezTo>
                  <a:pt x="1421" y="483"/>
                  <a:pt x="1422" y="483"/>
                  <a:pt x="1422" y="483"/>
                </a:cubicBezTo>
                <a:cubicBezTo>
                  <a:pt x="1422" y="483"/>
                  <a:pt x="1422" y="482"/>
                  <a:pt x="1422" y="482"/>
                </a:cubicBezTo>
                <a:cubicBezTo>
                  <a:pt x="1422" y="482"/>
                  <a:pt x="1422" y="482"/>
                  <a:pt x="1422" y="482"/>
                </a:cubicBezTo>
                <a:cubicBezTo>
                  <a:pt x="1421" y="482"/>
                  <a:pt x="1421" y="482"/>
                  <a:pt x="1421" y="481"/>
                </a:cubicBezTo>
                <a:cubicBezTo>
                  <a:pt x="1421" y="481"/>
                  <a:pt x="1421" y="481"/>
                  <a:pt x="1420" y="481"/>
                </a:cubicBezTo>
                <a:cubicBezTo>
                  <a:pt x="1420" y="481"/>
                  <a:pt x="1420" y="481"/>
                  <a:pt x="1420" y="481"/>
                </a:cubicBezTo>
                <a:cubicBezTo>
                  <a:pt x="1419" y="481"/>
                  <a:pt x="1419" y="481"/>
                  <a:pt x="1419" y="480"/>
                </a:cubicBezTo>
                <a:cubicBezTo>
                  <a:pt x="1419" y="480"/>
                  <a:pt x="1419" y="481"/>
                  <a:pt x="1419" y="481"/>
                </a:cubicBezTo>
                <a:cubicBezTo>
                  <a:pt x="1419" y="481"/>
                  <a:pt x="1418" y="481"/>
                  <a:pt x="1418" y="481"/>
                </a:cubicBezTo>
                <a:cubicBezTo>
                  <a:pt x="1418" y="481"/>
                  <a:pt x="1418" y="481"/>
                  <a:pt x="1418" y="481"/>
                </a:cubicBezTo>
                <a:cubicBezTo>
                  <a:pt x="1418" y="481"/>
                  <a:pt x="1418" y="481"/>
                  <a:pt x="1418" y="480"/>
                </a:cubicBezTo>
                <a:cubicBezTo>
                  <a:pt x="1417" y="480"/>
                  <a:pt x="1417" y="480"/>
                  <a:pt x="1417" y="480"/>
                </a:cubicBezTo>
                <a:cubicBezTo>
                  <a:pt x="1418" y="480"/>
                  <a:pt x="1418" y="480"/>
                  <a:pt x="1418" y="480"/>
                </a:cubicBezTo>
                <a:cubicBezTo>
                  <a:pt x="1418" y="480"/>
                  <a:pt x="1418" y="479"/>
                  <a:pt x="1418" y="479"/>
                </a:cubicBezTo>
                <a:cubicBezTo>
                  <a:pt x="1418" y="479"/>
                  <a:pt x="1418" y="479"/>
                  <a:pt x="1418" y="479"/>
                </a:cubicBezTo>
                <a:cubicBezTo>
                  <a:pt x="1418" y="478"/>
                  <a:pt x="1418" y="478"/>
                  <a:pt x="1418" y="478"/>
                </a:cubicBezTo>
                <a:cubicBezTo>
                  <a:pt x="1418" y="478"/>
                  <a:pt x="1418" y="478"/>
                  <a:pt x="1418" y="478"/>
                </a:cubicBezTo>
                <a:cubicBezTo>
                  <a:pt x="1418" y="478"/>
                  <a:pt x="1417" y="478"/>
                  <a:pt x="1417" y="478"/>
                </a:cubicBezTo>
                <a:cubicBezTo>
                  <a:pt x="1417" y="479"/>
                  <a:pt x="1417" y="479"/>
                  <a:pt x="1417" y="479"/>
                </a:cubicBezTo>
                <a:cubicBezTo>
                  <a:pt x="1417" y="479"/>
                  <a:pt x="1416" y="479"/>
                  <a:pt x="1416" y="479"/>
                </a:cubicBezTo>
                <a:cubicBezTo>
                  <a:pt x="1416" y="479"/>
                  <a:pt x="1416" y="479"/>
                  <a:pt x="1416" y="479"/>
                </a:cubicBezTo>
                <a:cubicBezTo>
                  <a:pt x="1416" y="478"/>
                  <a:pt x="1416" y="478"/>
                  <a:pt x="1416" y="478"/>
                </a:cubicBezTo>
                <a:cubicBezTo>
                  <a:pt x="1416" y="478"/>
                  <a:pt x="1415" y="478"/>
                  <a:pt x="1415" y="478"/>
                </a:cubicBezTo>
                <a:cubicBezTo>
                  <a:pt x="1415" y="477"/>
                  <a:pt x="1416" y="477"/>
                  <a:pt x="1416" y="477"/>
                </a:cubicBezTo>
                <a:cubicBezTo>
                  <a:pt x="1416" y="477"/>
                  <a:pt x="1416" y="477"/>
                  <a:pt x="1415" y="476"/>
                </a:cubicBezTo>
                <a:cubicBezTo>
                  <a:pt x="1415" y="476"/>
                  <a:pt x="1415" y="476"/>
                  <a:pt x="1415" y="476"/>
                </a:cubicBezTo>
                <a:cubicBezTo>
                  <a:pt x="1415" y="476"/>
                  <a:pt x="1415" y="476"/>
                  <a:pt x="1415" y="476"/>
                </a:cubicBezTo>
                <a:cubicBezTo>
                  <a:pt x="1415" y="475"/>
                  <a:pt x="1415" y="475"/>
                  <a:pt x="1415" y="475"/>
                </a:cubicBezTo>
                <a:cubicBezTo>
                  <a:pt x="1415" y="475"/>
                  <a:pt x="1414" y="474"/>
                  <a:pt x="1414" y="474"/>
                </a:cubicBezTo>
                <a:cubicBezTo>
                  <a:pt x="1414" y="474"/>
                  <a:pt x="1414" y="474"/>
                  <a:pt x="1414" y="474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2"/>
                  <a:pt x="1412" y="472"/>
                </a:cubicBezTo>
                <a:cubicBezTo>
                  <a:pt x="1412" y="472"/>
                  <a:pt x="1412" y="472"/>
                  <a:pt x="1412" y="472"/>
                </a:cubicBezTo>
                <a:cubicBezTo>
                  <a:pt x="1412" y="472"/>
                  <a:pt x="1412" y="472"/>
                  <a:pt x="1412" y="472"/>
                </a:cubicBezTo>
                <a:cubicBezTo>
                  <a:pt x="1412" y="471"/>
                  <a:pt x="1412" y="471"/>
                  <a:pt x="1411" y="471"/>
                </a:cubicBezTo>
                <a:cubicBezTo>
                  <a:pt x="1411" y="471"/>
                  <a:pt x="1411" y="470"/>
                  <a:pt x="1410" y="470"/>
                </a:cubicBezTo>
                <a:cubicBezTo>
                  <a:pt x="1410" y="470"/>
                  <a:pt x="1410" y="470"/>
                  <a:pt x="1410" y="469"/>
                </a:cubicBezTo>
                <a:cubicBezTo>
                  <a:pt x="1410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8" y="469"/>
                  <a:pt x="1408" y="469"/>
                  <a:pt x="1408" y="469"/>
                </a:cubicBezTo>
                <a:cubicBezTo>
                  <a:pt x="1407" y="469"/>
                  <a:pt x="1407" y="469"/>
                  <a:pt x="1407" y="469"/>
                </a:cubicBezTo>
                <a:cubicBezTo>
                  <a:pt x="1407" y="469"/>
                  <a:pt x="1406" y="469"/>
                  <a:pt x="1406" y="469"/>
                </a:cubicBezTo>
                <a:cubicBezTo>
                  <a:pt x="1406" y="469"/>
                  <a:pt x="1406" y="469"/>
                  <a:pt x="1405" y="469"/>
                </a:cubicBezTo>
                <a:cubicBezTo>
                  <a:pt x="1406" y="468"/>
                  <a:pt x="1406" y="468"/>
                  <a:pt x="1406" y="468"/>
                </a:cubicBezTo>
                <a:cubicBezTo>
                  <a:pt x="1406" y="468"/>
                  <a:pt x="1406" y="468"/>
                  <a:pt x="1406" y="468"/>
                </a:cubicBezTo>
                <a:cubicBezTo>
                  <a:pt x="1406" y="468"/>
                  <a:pt x="1406" y="467"/>
                  <a:pt x="1406" y="467"/>
                </a:cubicBezTo>
                <a:cubicBezTo>
                  <a:pt x="1406" y="467"/>
                  <a:pt x="1406" y="467"/>
                  <a:pt x="1406" y="466"/>
                </a:cubicBezTo>
                <a:cubicBezTo>
                  <a:pt x="1406" y="466"/>
                  <a:pt x="1407" y="466"/>
                  <a:pt x="1407" y="466"/>
                </a:cubicBezTo>
                <a:cubicBezTo>
                  <a:pt x="1407" y="466"/>
                  <a:pt x="1407" y="466"/>
                  <a:pt x="1407" y="466"/>
                </a:cubicBezTo>
                <a:cubicBezTo>
                  <a:pt x="1406" y="465"/>
                  <a:pt x="1406" y="465"/>
                  <a:pt x="1406" y="465"/>
                </a:cubicBezTo>
                <a:cubicBezTo>
                  <a:pt x="1406" y="465"/>
                  <a:pt x="1406" y="465"/>
                  <a:pt x="1406" y="465"/>
                </a:cubicBezTo>
                <a:cubicBezTo>
                  <a:pt x="1405" y="465"/>
                  <a:pt x="1405" y="465"/>
                  <a:pt x="1405" y="465"/>
                </a:cubicBezTo>
                <a:cubicBezTo>
                  <a:pt x="1405" y="465"/>
                  <a:pt x="1405" y="465"/>
                  <a:pt x="1405" y="465"/>
                </a:cubicBezTo>
                <a:cubicBezTo>
                  <a:pt x="1405" y="465"/>
                  <a:pt x="1404" y="465"/>
                  <a:pt x="1404" y="465"/>
                </a:cubicBezTo>
                <a:cubicBezTo>
                  <a:pt x="1404" y="465"/>
                  <a:pt x="1404" y="465"/>
                  <a:pt x="1404" y="465"/>
                </a:cubicBezTo>
                <a:cubicBezTo>
                  <a:pt x="1403" y="465"/>
                  <a:pt x="1403" y="465"/>
                  <a:pt x="1403" y="464"/>
                </a:cubicBezTo>
                <a:cubicBezTo>
                  <a:pt x="1403" y="464"/>
                  <a:pt x="1403" y="465"/>
                  <a:pt x="1403" y="465"/>
                </a:cubicBezTo>
                <a:cubicBezTo>
                  <a:pt x="1403" y="465"/>
                  <a:pt x="1402" y="465"/>
                  <a:pt x="1402" y="464"/>
                </a:cubicBezTo>
                <a:cubicBezTo>
                  <a:pt x="1402" y="464"/>
                  <a:pt x="1402" y="464"/>
                  <a:pt x="1402" y="464"/>
                </a:cubicBezTo>
                <a:cubicBezTo>
                  <a:pt x="1402" y="464"/>
                  <a:pt x="1402" y="464"/>
                  <a:pt x="1402" y="464"/>
                </a:cubicBezTo>
                <a:cubicBezTo>
                  <a:pt x="1402" y="465"/>
                  <a:pt x="1402" y="465"/>
                  <a:pt x="1402" y="465"/>
                </a:cubicBezTo>
                <a:cubicBezTo>
                  <a:pt x="1402" y="465"/>
                  <a:pt x="1402" y="465"/>
                  <a:pt x="1402" y="465"/>
                </a:cubicBezTo>
                <a:cubicBezTo>
                  <a:pt x="1402" y="466"/>
                  <a:pt x="1402" y="466"/>
                  <a:pt x="1402" y="466"/>
                </a:cubicBezTo>
                <a:cubicBezTo>
                  <a:pt x="1402" y="466"/>
                  <a:pt x="1402" y="466"/>
                  <a:pt x="1402" y="467"/>
                </a:cubicBezTo>
                <a:cubicBezTo>
                  <a:pt x="1402" y="467"/>
                  <a:pt x="1401" y="467"/>
                  <a:pt x="1401" y="467"/>
                </a:cubicBezTo>
                <a:cubicBezTo>
                  <a:pt x="1401" y="467"/>
                  <a:pt x="1401" y="468"/>
                  <a:pt x="1401" y="468"/>
                </a:cubicBezTo>
                <a:cubicBezTo>
                  <a:pt x="1401" y="468"/>
                  <a:pt x="1401" y="468"/>
                  <a:pt x="1401" y="468"/>
                </a:cubicBezTo>
                <a:cubicBezTo>
                  <a:pt x="1401" y="468"/>
                  <a:pt x="1401" y="469"/>
                  <a:pt x="1401" y="469"/>
                </a:cubicBezTo>
                <a:cubicBezTo>
                  <a:pt x="1401" y="469"/>
                  <a:pt x="1400" y="469"/>
                  <a:pt x="1400" y="469"/>
                </a:cubicBezTo>
                <a:cubicBezTo>
                  <a:pt x="1400" y="470"/>
                  <a:pt x="1400" y="470"/>
                  <a:pt x="1400" y="470"/>
                </a:cubicBezTo>
                <a:cubicBezTo>
                  <a:pt x="1399" y="470"/>
                  <a:pt x="1399" y="470"/>
                  <a:pt x="1399" y="471"/>
                </a:cubicBezTo>
                <a:cubicBezTo>
                  <a:pt x="1398" y="472"/>
                  <a:pt x="1398" y="472"/>
                  <a:pt x="1398" y="473"/>
                </a:cubicBezTo>
                <a:cubicBezTo>
                  <a:pt x="1397" y="474"/>
                  <a:pt x="1397" y="474"/>
                  <a:pt x="1396" y="474"/>
                </a:cubicBezTo>
                <a:cubicBezTo>
                  <a:pt x="1396" y="474"/>
                  <a:pt x="1396" y="475"/>
                  <a:pt x="1396" y="475"/>
                </a:cubicBezTo>
                <a:cubicBezTo>
                  <a:pt x="1396" y="475"/>
                  <a:pt x="1396" y="475"/>
                  <a:pt x="1395" y="475"/>
                </a:cubicBezTo>
                <a:cubicBezTo>
                  <a:pt x="1395" y="475"/>
                  <a:pt x="1396" y="476"/>
                  <a:pt x="1396" y="476"/>
                </a:cubicBezTo>
                <a:cubicBezTo>
                  <a:pt x="1396" y="476"/>
                  <a:pt x="1396" y="476"/>
                  <a:pt x="1396" y="476"/>
                </a:cubicBezTo>
                <a:cubicBezTo>
                  <a:pt x="1396" y="476"/>
                  <a:pt x="1396" y="476"/>
                  <a:pt x="1395" y="476"/>
                </a:cubicBezTo>
                <a:cubicBezTo>
                  <a:pt x="1395" y="476"/>
                  <a:pt x="1395" y="476"/>
                  <a:pt x="1395" y="476"/>
                </a:cubicBezTo>
                <a:cubicBezTo>
                  <a:pt x="1395" y="477"/>
                  <a:pt x="1395" y="477"/>
                  <a:pt x="1395" y="477"/>
                </a:cubicBezTo>
                <a:cubicBezTo>
                  <a:pt x="1395" y="477"/>
                  <a:pt x="1395" y="478"/>
                  <a:pt x="1395" y="478"/>
                </a:cubicBezTo>
                <a:cubicBezTo>
                  <a:pt x="1395" y="478"/>
                  <a:pt x="1396" y="479"/>
                  <a:pt x="1396" y="479"/>
                </a:cubicBezTo>
                <a:cubicBezTo>
                  <a:pt x="1396" y="479"/>
                  <a:pt x="1395" y="479"/>
                  <a:pt x="1395" y="480"/>
                </a:cubicBezTo>
                <a:cubicBezTo>
                  <a:pt x="1395" y="480"/>
                  <a:pt x="1395" y="480"/>
                  <a:pt x="1395" y="480"/>
                </a:cubicBezTo>
                <a:cubicBezTo>
                  <a:pt x="1396" y="480"/>
                  <a:pt x="1396" y="480"/>
                  <a:pt x="1396" y="480"/>
                </a:cubicBezTo>
                <a:cubicBezTo>
                  <a:pt x="1396" y="480"/>
                  <a:pt x="1396" y="480"/>
                  <a:pt x="1396" y="480"/>
                </a:cubicBezTo>
                <a:cubicBezTo>
                  <a:pt x="1396" y="480"/>
                  <a:pt x="1396" y="480"/>
                  <a:pt x="1397" y="479"/>
                </a:cubicBezTo>
                <a:cubicBezTo>
                  <a:pt x="1397" y="479"/>
                  <a:pt x="1397" y="480"/>
                  <a:pt x="1397" y="480"/>
                </a:cubicBezTo>
                <a:cubicBezTo>
                  <a:pt x="1397" y="480"/>
                  <a:pt x="1397" y="480"/>
                  <a:pt x="1398" y="480"/>
                </a:cubicBezTo>
                <a:cubicBezTo>
                  <a:pt x="1398" y="480"/>
                  <a:pt x="1398" y="480"/>
                  <a:pt x="1398" y="480"/>
                </a:cubicBezTo>
                <a:cubicBezTo>
                  <a:pt x="1398" y="481"/>
                  <a:pt x="1398" y="481"/>
                  <a:pt x="1398" y="481"/>
                </a:cubicBezTo>
                <a:cubicBezTo>
                  <a:pt x="1398" y="481"/>
                  <a:pt x="1398" y="481"/>
                  <a:pt x="1398" y="482"/>
                </a:cubicBezTo>
                <a:cubicBezTo>
                  <a:pt x="1398" y="482"/>
                  <a:pt x="1398" y="482"/>
                  <a:pt x="1398" y="482"/>
                </a:cubicBezTo>
                <a:cubicBezTo>
                  <a:pt x="1398" y="482"/>
                  <a:pt x="1398" y="483"/>
                  <a:pt x="1398" y="483"/>
                </a:cubicBezTo>
                <a:cubicBezTo>
                  <a:pt x="1398" y="483"/>
                  <a:pt x="1398" y="483"/>
                  <a:pt x="1398" y="484"/>
                </a:cubicBezTo>
                <a:cubicBezTo>
                  <a:pt x="1399" y="484"/>
                  <a:pt x="1399" y="484"/>
                  <a:pt x="1399" y="484"/>
                </a:cubicBezTo>
                <a:cubicBezTo>
                  <a:pt x="1399" y="484"/>
                  <a:pt x="1399" y="483"/>
                  <a:pt x="1399" y="483"/>
                </a:cubicBezTo>
                <a:cubicBezTo>
                  <a:pt x="1399" y="483"/>
                  <a:pt x="1399" y="483"/>
                  <a:pt x="1399" y="483"/>
                </a:cubicBezTo>
                <a:cubicBezTo>
                  <a:pt x="1399" y="483"/>
                  <a:pt x="1399" y="483"/>
                  <a:pt x="1399" y="484"/>
                </a:cubicBezTo>
                <a:cubicBezTo>
                  <a:pt x="1399" y="484"/>
                  <a:pt x="1400" y="484"/>
                  <a:pt x="1400" y="484"/>
                </a:cubicBezTo>
                <a:cubicBezTo>
                  <a:pt x="1400" y="485"/>
                  <a:pt x="1400" y="485"/>
                  <a:pt x="1400" y="485"/>
                </a:cubicBezTo>
                <a:cubicBezTo>
                  <a:pt x="1400" y="485"/>
                  <a:pt x="1400" y="485"/>
                  <a:pt x="1400" y="485"/>
                </a:cubicBezTo>
                <a:cubicBezTo>
                  <a:pt x="1400" y="486"/>
                  <a:pt x="1400" y="486"/>
                  <a:pt x="1400" y="487"/>
                </a:cubicBezTo>
                <a:cubicBezTo>
                  <a:pt x="1400" y="487"/>
                  <a:pt x="1400" y="487"/>
                  <a:pt x="1400" y="487"/>
                </a:cubicBezTo>
                <a:cubicBezTo>
                  <a:pt x="1400" y="487"/>
                  <a:pt x="1399" y="487"/>
                  <a:pt x="1399" y="487"/>
                </a:cubicBezTo>
                <a:cubicBezTo>
                  <a:pt x="1399" y="487"/>
                  <a:pt x="1399" y="487"/>
                  <a:pt x="1399" y="487"/>
                </a:cubicBezTo>
                <a:cubicBezTo>
                  <a:pt x="1399" y="487"/>
                  <a:pt x="1399" y="487"/>
                  <a:pt x="1398" y="487"/>
                </a:cubicBezTo>
                <a:cubicBezTo>
                  <a:pt x="1398" y="487"/>
                  <a:pt x="1398" y="487"/>
                  <a:pt x="1398" y="488"/>
                </a:cubicBezTo>
                <a:cubicBezTo>
                  <a:pt x="1398" y="488"/>
                  <a:pt x="1399" y="488"/>
                  <a:pt x="1399" y="488"/>
                </a:cubicBezTo>
                <a:cubicBezTo>
                  <a:pt x="1399" y="488"/>
                  <a:pt x="1400" y="488"/>
                  <a:pt x="1400" y="488"/>
                </a:cubicBezTo>
                <a:cubicBezTo>
                  <a:pt x="1400" y="488"/>
                  <a:pt x="1400" y="488"/>
                  <a:pt x="1400" y="488"/>
                </a:cubicBezTo>
                <a:cubicBezTo>
                  <a:pt x="1400" y="488"/>
                  <a:pt x="1400" y="489"/>
                  <a:pt x="1400" y="489"/>
                </a:cubicBezTo>
                <a:cubicBezTo>
                  <a:pt x="1400" y="489"/>
                  <a:pt x="1400" y="489"/>
                  <a:pt x="1400" y="489"/>
                </a:cubicBezTo>
                <a:cubicBezTo>
                  <a:pt x="1401" y="490"/>
                  <a:pt x="1401" y="490"/>
                  <a:pt x="1401" y="491"/>
                </a:cubicBezTo>
                <a:cubicBezTo>
                  <a:pt x="1402" y="491"/>
                  <a:pt x="1402" y="491"/>
                  <a:pt x="1402" y="491"/>
                </a:cubicBezTo>
                <a:cubicBezTo>
                  <a:pt x="1402" y="491"/>
                  <a:pt x="1402" y="491"/>
                  <a:pt x="1402" y="491"/>
                </a:cubicBezTo>
                <a:cubicBezTo>
                  <a:pt x="1403" y="491"/>
                  <a:pt x="1403" y="491"/>
                  <a:pt x="1403" y="491"/>
                </a:cubicBezTo>
                <a:cubicBezTo>
                  <a:pt x="1403" y="492"/>
                  <a:pt x="1404" y="492"/>
                  <a:pt x="1404" y="492"/>
                </a:cubicBezTo>
                <a:cubicBezTo>
                  <a:pt x="1404" y="492"/>
                  <a:pt x="1404" y="493"/>
                  <a:pt x="1404" y="493"/>
                </a:cubicBezTo>
                <a:cubicBezTo>
                  <a:pt x="1404" y="493"/>
                  <a:pt x="1405" y="494"/>
                  <a:pt x="1405" y="494"/>
                </a:cubicBezTo>
                <a:cubicBezTo>
                  <a:pt x="1405" y="494"/>
                  <a:pt x="1405" y="494"/>
                  <a:pt x="1405" y="494"/>
                </a:cubicBezTo>
                <a:cubicBezTo>
                  <a:pt x="1405" y="495"/>
                  <a:pt x="1405" y="495"/>
                  <a:pt x="1405" y="495"/>
                </a:cubicBezTo>
                <a:cubicBezTo>
                  <a:pt x="1405" y="495"/>
                  <a:pt x="1405" y="495"/>
                  <a:pt x="1405" y="495"/>
                </a:cubicBezTo>
                <a:cubicBezTo>
                  <a:pt x="1406" y="495"/>
                  <a:pt x="1406" y="495"/>
                  <a:pt x="1406" y="495"/>
                </a:cubicBezTo>
                <a:cubicBezTo>
                  <a:pt x="1406" y="495"/>
                  <a:pt x="1406" y="495"/>
                  <a:pt x="1407" y="495"/>
                </a:cubicBezTo>
                <a:cubicBezTo>
                  <a:pt x="1407" y="495"/>
                  <a:pt x="1407" y="495"/>
                  <a:pt x="1407" y="495"/>
                </a:cubicBezTo>
                <a:cubicBezTo>
                  <a:pt x="1407" y="495"/>
                  <a:pt x="1407" y="496"/>
                  <a:pt x="1407" y="496"/>
                </a:cubicBezTo>
                <a:cubicBezTo>
                  <a:pt x="1408" y="497"/>
                  <a:pt x="1409" y="498"/>
                  <a:pt x="1410" y="500"/>
                </a:cubicBezTo>
                <a:cubicBezTo>
                  <a:pt x="1410" y="500"/>
                  <a:pt x="1411" y="501"/>
                  <a:pt x="1411" y="501"/>
                </a:cubicBezTo>
                <a:cubicBezTo>
                  <a:pt x="1411" y="502"/>
                  <a:pt x="1411" y="502"/>
                  <a:pt x="1411" y="503"/>
                </a:cubicBezTo>
                <a:cubicBezTo>
                  <a:pt x="1411" y="503"/>
                  <a:pt x="1410" y="503"/>
                  <a:pt x="1410" y="503"/>
                </a:cubicBezTo>
                <a:cubicBezTo>
                  <a:pt x="1410" y="504"/>
                  <a:pt x="1410" y="504"/>
                  <a:pt x="1410" y="505"/>
                </a:cubicBezTo>
                <a:cubicBezTo>
                  <a:pt x="1410" y="505"/>
                  <a:pt x="1410" y="505"/>
                  <a:pt x="1410" y="505"/>
                </a:cubicBezTo>
                <a:cubicBezTo>
                  <a:pt x="1409" y="505"/>
                  <a:pt x="1409" y="505"/>
                  <a:pt x="1409" y="506"/>
                </a:cubicBezTo>
                <a:cubicBezTo>
                  <a:pt x="1409" y="506"/>
                  <a:pt x="1409" y="506"/>
                  <a:pt x="1410" y="506"/>
                </a:cubicBezTo>
                <a:cubicBezTo>
                  <a:pt x="1409" y="507"/>
                  <a:pt x="1409" y="507"/>
                  <a:pt x="1409" y="508"/>
                </a:cubicBezTo>
                <a:cubicBezTo>
                  <a:pt x="1409" y="508"/>
                  <a:pt x="1409" y="509"/>
                  <a:pt x="1409" y="509"/>
                </a:cubicBezTo>
                <a:cubicBezTo>
                  <a:pt x="1410" y="509"/>
                  <a:pt x="1410" y="510"/>
                  <a:pt x="1410" y="510"/>
                </a:cubicBezTo>
                <a:cubicBezTo>
                  <a:pt x="1410" y="510"/>
                  <a:pt x="1411" y="510"/>
                  <a:pt x="1411" y="510"/>
                </a:cubicBezTo>
                <a:cubicBezTo>
                  <a:pt x="1411" y="511"/>
                  <a:pt x="1411" y="511"/>
                  <a:pt x="1411" y="511"/>
                </a:cubicBezTo>
                <a:cubicBezTo>
                  <a:pt x="1411" y="511"/>
                  <a:pt x="1411" y="511"/>
                  <a:pt x="1411" y="511"/>
                </a:cubicBezTo>
                <a:cubicBezTo>
                  <a:pt x="1411" y="511"/>
                  <a:pt x="1411" y="512"/>
                  <a:pt x="1411" y="512"/>
                </a:cubicBezTo>
                <a:cubicBezTo>
                  <a:pt x="1411" y="512"/>
                  <a:pt x="1411" y="512"/>
                  <a:pt x="1411" y="512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4"/>
                  <a:pt x="1411" y="514"/>
                  <a:pt x="1412" y="515"/>
                </a:cubicBezTo>
                <a:cubicBezTo>
                  <a:pt x="1412" y="515"/>
                  <a:pt x="1411" y="515"/>
                  <a:pt x="1411" y="516"/>
                </a:cubicBezTo>
                <a:cubicBezTo>
                  <a:pt x="1411" y="516"/>
                  <a:pt x="1411" y="516"/>
                  <a:pt x="1411" y="515"/>
                </a:cubicBezTo>
                <a:cubicBezTo>
                  <a:pt x="1411" y="515"/>
                  <a:pt x="1411" y="515"/>
                  <a:pt x="1411" y="515"/>
                </a:cubicBezTo>
                <a:cubicBezTo>
                  <a:pt x="1411" y="515"/>
                  <a:pt x="1411" y="515"/>
                  <a:pt x="1411" y="515"/>
                </a:cubicBezTo>
                <a:cubicBezTo>
                  <a:pt x="1411" y="515"/>
                  <a:pt x="1411" y="514"/>
                  <a:pt x="1410" y="514"/>
                </a:cubicBezTo>
                <a:cubicBezTo>
                  <a:pt x="1410" y="514"/>
                  <a:pt x="1410" y="515"/>
                  <a:pt x="1411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09" y="516"/>
                </a:cubicBezTo>
                <a:cubicBezTo>
                  <a:pt x="1409" y="515"/>
                  <a:pt x="1409" y="515"/>
                  <a:pt x="1409" y="515"/>
                </a:cubicBezTo>
                <a:cubicBezTo>
                  <a:pt x="1409" y="515"/>
                  <a:pt x="1409" y="515"/>
                  <a:pt x="1409" y="515"/>
                </a:cubicBezTo>
                <a:cubicBezTo>
                  <a:pt x="1408" y="515"/>
                  <a:pt x="1408" y="515"/>
                  <a:pt x="1408" y="515"/>
                </a:cubicBezTo>
                <a:cubicBezTo>
                  <a:pt x="1408" y="514"/>
                  <a:pt x="1408" y="514"/>
                  <a:pt x="1407" y="514"/>
                </a:cubicBezTo>
                <a:cubicBezTo>
                  <a:pt x="1407" y="514"/>
                  <a:pt x="1407" y="513"/>
                  <a:pt x="1406" y="513"/>
                </a:cubicBezTo>
                <a:cubicBezTo>
                  <a:pt x="1406" y="513"/>
                  <a:pt x="1405" y="513"/>
                  <a:pt x="1405" y="512"/>
                </a:cubicBezTo>
                <a:cubicBezTo>
                  <a:pt x="1405" y="512"/>
                  <a:pt x="1404" y="512"/>
                  <a:pt x="1404" y="511"/>
                </a:cubicBezTo>
                <a:cubicBezTo>
                  <a:pt x="1404" y="511"/>
                  <a:pt x="1404" y="511"/>
                  <a:pt x="1404" y="511"/>
                </a:cubicBezTo>
                <a:cubicBezTo>
                  <a:pt x="1404" y="511"/>
                  <a:pt x="1403" y="511"/>
                  <a:pt x="1403" y="511"/>
                </a:cubicBezTo>
                <a:cubicBezTo>
                  <a:pt x="1403" y="511"/>
                  <a:pt x="1403" y="511"/>
                  <a:pt x="1402" y="511"/>
                </a:cubicBezTo>
                <a:cubicBezTo>
                  <a:pt x="1402" y="510"/>
                  <a:pt x="1402" y="510"/>
                  <a:pt x="1402" y="509"/>
                </a:cubicBezTo>
                <a:cubicBezTo>
                  <a:pt x="1402" y="509"/>
                  <a:pt x="1402" y="509"/>
                  <a:pt x="1402" y="509"/>
                </a:cubicBezTo>
                <a:cubicBezTo>
                  <a:pt x="1402" y="508"/>
                  <a:pt x="1401" y="508"/>
                  <a:pt x="1401" y="508"/>
                </a:cubicBezTo>
                <a:cubicBezTo>
                  <a:pt x="1400" y="507"/>
                  <a:pt x="1400" y="507"/>
                  <a:pt x="1399" y="507"/>
                </a:cubicBezTo>
                <a:cubicBezTo>
                  <a:pt x="1399" y="506"/>
                  <a:pt x="1399" y="506"/>
                  <a:pt x="1399" y="506"/>
                </a:cubicBezTo>
                <a:cubicBezTo>
                  <a:pt x="1399" y="506"/>
                  <a:pt x="1399" y="506"/>
                  <a:pt x="1399" y="506"/>
                </a:cubicBezTo>
                <a:cubicBezTo>
                  <a:pt x="1399" y="505"/>
                  <a:pt x="1400" y="505"/>
                  <a:pt x="1400" y="505"/>
                </a:cubicBezTo>
                <a:cubicBezTo>
                  <a:pt x="1400" y="505"/>
                  <a:pt x="1400" y="505"/>
                  <a:pt x="1400" y="504"/>
                </a:cubicBezTo>
                <a:cubicBezTo>
                  <a:pt x="1399" y="504"/>
                  <a:pt x="1399" y="504"/>
                  <a:pt x="1399" y="504"/>
                </a:cubicBezTo>
                <a:cubicBezTo>
                  <a:pt x="1399" y="503"/>
                  <a:pt x="1398" y="503"/>
                  <a:pt x="1398" y="503"/>
                </a:cubicBezTo>
                <a:cubicBezTo>
                  <a:pt x="1398" y="502"/>
                  <a:pt x="1398" y="502"/>
                  <a:pt x="1397" y="502"/>
                </a:cubicBezTo>
                <a:cubicBezTo>
                  <a:pt x="1397" y="501"/>
                  <a:pt x="1397" y="501"/>
                  <a:pt x="1397" y="501"/>
                </a:cubicBezTo>
                <a:cubicBezTo>
                  <a:pt x="1397" y="501"/>
                  <a:pt x="1397" y="501"/>
                  <a:pt x="1397" y="501"/>
                </a:cubicBezTo>
                <a:cubicBezTo>
                  <a:pt x="1397" y="500"/>
                  <a:pt x="1397" y="500"/>
                  <a:pt x="1397" y="500"/>
                </a:cubicBezTo>
                <a:cubicBezTo>
                  <a:pt x="1397" y="500"/>
                  <a:pt x="1397" y="499"/>
                  <a:pt x="1397" y="499"/>
                </a:cubicBezTo>
                <a:cubicBezTo>
                  <a:pt x="1397" y="499"/>
                  <a:pt x="1397" y="499"/>
                  <a:pt x="1397" y="499"/>
                </a:cubicBezTo>
                <a:cubicBezTo>
                  <a:pt x="1397" y="499"/>
                  <a:pt x="1397" y="498"/>
                  <a:pt x="1398" y="498"/>
                </a:cubicBezTo>
                <a:cubicBezTo>
                  <a:pt x="1397" y="498"/>
                  <a:pt x="1397" y="497"/>
                  <a:pt x="1397" y="497"/>
                </a:cubicBezTo>
                <a:cubicBezTo>
                  <a:pt x="1397" y="497"/>
                  <a:pt x="1397" y="496"/>
                  <a:pt x="1397" y="496"/>
                </a:cubicBezTo>
                <a:cubicBezTo>
                  <a:pt x="1397" y="495"/>
                  <a:pt x="1397" y="494"/>
                  <a:pt x="1397" y="493"/>
                </a:cubicBezTo>
                <a:cubicBezTo>
                  <a:pt x="1397" y="492"/>
                  <a:pt x="1397" y="492"/>
                  <a:pt x="1397" y="491"/>
                </a:cubicBezTo>
                <a:cubicBezTo>
                  <a:pt x="1397" y="491"/>
                  <a:pt x="1397" y="491"/>
                  <a:pt x="1397" y="491"/>
                </a:cubicBezTo>
                <a:cubicBezTo>
                  <a:pt x="1396" y="490"/>
                  <a:pt x="1395" y="490"/>
                  <a:pt x="1395" y="489"/>
                </a:cubicBezTo>
                <a:cubicBezTo>
                  <a:pt x="1395" y="489"/>
                  <a:pt x="1395" y="489"/>
                  <a:pt x="1395" y="489"/>
                </a:cubicBezTo>
                <a:cubicBezTo>
                  <a:pt x="1395" y="489"/>
                  <a:pt x="1395" y="488"/>
                  <a:pt x="1395" y="488"/>
                </a:cubicBezTo>
                <a:cubicBezTo>
                  <a:pt x="1395" y="488"/>
                  <a:pt x="1395" y="488"/>
                  <a:pt x="1396" y="488"/>
                </a:cubicBezTo>
                <a:cubicBezTo>
                  <a:pt x="1395" y="488"/>
                  <a:pt x="1395" y="488"/>
                  <a:pt x="1395" y="488"/>
                </a:cubicBezTo>
                <a:cubicBezTo>
                  <a:pt x="1395" y="488"/>
                  <a:pt x="1395" y="487"/>
                  <a:pt x="1395" y="487"/>
                </a:cubicBezTo>
                <a:cubicBezTo>
                  <a:pt x="1395" y="487"/>
                  <a:pt x="1394" y="487"/>
                  <a:pt x="1394" y="487"/>
                </a:cubicBezTo>
                <a:cubicBezTo>
                  <a:pt x="1394" y="487"/>
                  <a:pt x="1394" y="486"/>
                  <a:pt x="1394" y="486"/>
                </a:cubicBezTo>
                <a:cubicBezTo>
                  <a:pt x="1394" y="486"/>
                  <a:pt x="1394" y="485"/>
                  <a:pt x="1393" y="485"/>
                </a:cubicBezTo>
                <a:cubicBezTo>
                  <a:pt x="1393" y="485"/>
                  <a:pt x="1393" y="485"/>
                  <a:pt x="1393" y="485"/>
                </a:cubicBezTo>
                <a:cubicBezTo>
                  <a:pt x="1393" y="484"/>
                  <a:pt x="1393" y="484"/>
                  <a:pt x="1393" y="483"/>
                </a:cubicBezTo>
                <a:cubicBezTo>
                  <a:pt x="1392" y="483"/>
                  <a:pt x="1392" y="483"/>
                  <a:pt x="1392" y="483"/>
                </a:cubicBezTo>
                <a:cubicBezTo>
                  <a:pt x="1392" y="483"/>
                  <a:pt x="1392" y="483"/>
                  <a:pt x="1392" y="482"/>
                </a:cubicBezTo>
                <a:cubicBezTo>
                  <a:pt x="1392" y="482"/>
                  <a:pt x="1392" y="482"/>
                  <a:pt x="1391" y="482"/>
                </a:cubicBezTo>
                <a:cubicBezTo>
                  <a:pt x="1391" y="482"/>
                  <a:pt x="1391" y="482"/>
                  <a:pt x="1392" y="482"/>
                </a:cubicBezTo>
                <a:cubicBezTo>
                  <a:pt x="1391" y="482"/>
                  <a:pt x="1391" y="482"/>
                  <a:pt x="1391" y="482"/>
                </a:cubicBezTo>
                <a:cubicBezTo>
                  <a:pt x="1390" y="482"/>
                  <a:pt x="1390" y="482"/>
                  <a:pt x="1390" y="482"/>
                </a:cubicBezTo>
                <a:cubicBezTo>
                  <a:pt x="1390" y="482"/>
                  <a:pt x="1390" y="482"/>
                  <a:pt x="1390" y="482"/>
                </a:cubicBezTo>
                <a:cubicBezTo>
                  <a:pt x="1390" y="482"/>
                  <a:pt x="1390" y="482"/>
                  <a:pt x="1389" y="482"/>
                </a:cubicBezTo>
                <a:cubicBezTo>
                  <a:pt x="1389" y="481"/>
                  <a:pt x="1390" y="481"/>
                  <a:pt x="1390" y="480"/>
                </a:cubicBezTo>
                <a:cubicBezTo>
                  <a:pt x="1390" y="480"/>
                  <a:pt x="1390" y="480"/>
                  <a:pt x="1390" y="480"/>
                </a:cubicBezTo>
                <a:cubicBezTo>
                  <a:pt x="1390" y="480"/>
                  <a:pt x="1390" y="479"/>
                  <a:pt x="1390" y="479"/>
                </a:cubicBezTo>
                <a:cubicBezTo>
                  <a:pt x="1390" y="479"/>
                  <a:pt x="1390" y="479"/>
                  <a:pt x="1391" y="479"/>
                </a:cubicBezTo>
                <a:cubicBezTo>
                  <a:pt x="1391" y="478"/>
                  <a:pt x="1391" y="478"/>
                  <a:pt x="1391" y="478"/>
                </a:cubicBezTo>
                <a:cubicBezTo>
                  <a:pt x="1391" y="478"/>
                  <a:pt x="1391" y="478"/>
                  <a:pt x="1392" y="478"/>
                </a:cubicBezTo>
                <a:cubicBezTo>
                  <a:pt x="1392" y="478"/>
                  <a:pt x="1392" y="477"/>
                  <a:pt x="1392" y="477"/>
                </a:cubicBezTo>
                <a:cubicBezTo>
                  <a:pt x="1392" y="477"/>
                  <a:pt x="1392" y="477"/>
                  <a:pt x="1392" y="477"/>
                </a:cubicBezTo>
                <a:cubicBezTo>
                  <a:pt x="1392" y="477"/>
                  <a:pt x="1392" y="477"/>
                  <a:pt x="1392" y="477"/>
                </a:cubicBezTo>
                <a:cubicBezTo>
                  <a:pt x="1392" y="476"/>
                  <a:pt x="1392" y="476"/>
                  <a:pt x="1392" y="476"/>
                </a:cubicBezTo>
                <a:cubicBezTo>
                  <a:pt x="1393" y="476"/>
                  <a:pt x="1393" y="476"/>
                  <a:pt x="1393" y="476"/>
                </a:cubicBezTo>
                <a:cubicBezTo>
                  <a:pt x="1393" y="476"/>
                  <a:pt x="1393" y="476"/>
                  <a:pt x="1393" y="475"/>
                </a:cubicBezTo>
                <a:cubicBezTo>
                  <a:pt x="1393" y="475"/>
                  <a:pt x="1393" y="475"/>
                  <a:pt x="1393" y="474"/>
                </a:cubicBezTo>
                <a:cubicBezTo>
                  <a:pt x="1393" y="474"/>
                  <a:pt x="1393" y="474"/>
                  <a:pt x="1393" y="474"/>
                </a:cubicBezTo>
                <a:cubicBezTo>
                  <a:pt x="1393" y="474"/>
                  <a:pt x="1393" y="475"/>
                  <a:pt x="1393" y="475"/>
                </a:cubicBezTo>
                <a:cubicBezTo>
                  <a:pt x="1392" y="475"/>
                  <a:pt x="1392" y="476"/>
                  <a:pt x="1392" y="476"/>
                </a:cubicBezTo>
                <a:cubicBezTo>
                  <a:pt x="1392" y="475"/>
                  <a:pt x="1392" y="475"/>
                  <a:pt x="1392" y="475"/>
                </a:cubicBezTo>
                <a:cubicBezTo>
                  <a:pt x="1392" y="474"/>
                  <a:pt x="1392" y="474"/>
                  <a:pt x="1392" y="474"/>
                </a:cubicBezTo>
                <a:cubicBezTo>
                  <a:pt x="1392" y="473"/>
                  <a:pt x="1392" y="473"/>
                  <a:pt x="1392" y="473"/>
                </a:cubicBezTo>
                <a:cubicBezTo>
                  <a:pt x="1392" y="473"/>
                  <a:pt x="1392" y="473"/>
                  <a:pt x="1392" y="473"/>
                </a:cubicBezTo>
                <a:cubicBezTo>
                  <a:pt x="1392" y="473"/>
                  <a:pt x="1392" y="473"/>
                  <a:pt x="1393" y="473"/>
                </a:cubicBezTo>
                <a:cubicBezTo>
                  <a:pt x="1393" y="473"/>
                  <a:pt x="1393" y="473"/>
                  <a:pt x="1393" y="473"/>
                </a:cubicBezTo>
                <a:cubicBezTo>
                  <a:pt x="1393" y="473"/>
                  <a:pt x="1393" y="472"/>
                  <a:pt x="1394" y="472"/>
                </a:cubicBezTo>
                <a:cubicBezTo>
                  <a:pt x="1394" y="472"/>
                  <a:pt x="1394" y="472"/>
                  <a:pt x="1394" y="472"/>
                </a:cubicBezTo>
                <a:cubicBezTo>
                  <a:pt x="1394" y="472"/>
                  <a:pt x="1394" y="471"/>
                  <a:pt x="1394" y="471"/>
                </a:cubicBezTo>
                <a:cubicBezTo>
                  <a:pt x="1394" y="471"/>
                  <a:pt x="1394" y="471"/>
                  <a:pt x="1394" y="470"/>
                </a:cubicBezTo>
                <a:cubicBezTo>
                  <a:pt x="1394" y="470"/>
                  <a:pt x="1394" y="470"/>
                  <a:pt x="1394" y="470"/>
                </a:cubicBezTo>
                <a:cubicBezTo>
                  <a:pt x="1395" y="470"/>
                  <a:pt x="1395" y="470"/>
                  <a:pt x="1395" y="470"/>
                </a:cubicBezTo>
                <a:cubicBezTo>
                  <a:pt x="1395" y="470"/>
                  <a:pt x="1395" y="469"/>
                  <a:pt x="1395" y="469"/>
                </a:cubicBezTo>
                <a:cubicBezTo>
                  <a:pt x="1395" y="469"/>
                  <a:pt x="1395" y="469"/>
                  <a:pt x="1395" y="469"/>
                </a:cubicBezTo>
                <a:cubicBezTo>
                  <a:pt x="1395" y="469"/>
                  <a:pt x="1395" y="468"/>
                  <a:pt x="1395" y="468"/>
                </a:cubicBezTo>
                <a:cubicBezTo>
                  <a:pt x="1395" y="468"/>
                  <a:pt x="1395" y="468"/>
                  <a:pt x="1395" y="467"/>
                </a:cubicBezTo>
                <a:cubicBezTo>
                  <a:pt x="1395" y="467"/>
                  <a:pt x="1395" y="467"/>
                  <a:pt x="1395" y="466"/>
                </a:cubicBezTo>
                <a:cubicBezTo>
                  <a:pt x="1395" y="466"/>
                  <a:pt x="1395" y="466"/>
                  <a:pt x="1395" y="466"/>
                </a:cubicBezTo>
                <a:cubicBezTo>
                  <a:pt x="1395" y="466"/>
                  <a:pt x="1395" y="466"/>
                  <a:pt x="1395" y="466"/>
                </a:cubicBezTo>
                <a:cubicBezTo>
                  <a:pt x="1395" y="465"/>
                  <a:pt x="1395" y="465"/>
                  <a:pt x="1395" y="465"/>
                </a:cubicBezTo>
                <a:cubicBezTo>
                  <a:pt x="1395" y="464"/>
                  <a:pt x="1395" y="464"/>
                  <a:pt x="1395" y="463"/>
                </a:cubicBezTo>
                <a:cubicBezTo>
                  <a:pt x="1395" y="463"/>
                  <a:pt x="1395" y="462"/>
                  <a:pt x="1395" y="462"/>
                </a:cubicBezTo>
                <a:cubicBezTo>
                  <a:pt x="1395" y="462"/>
                  <a:pt x="1395" y="462"/>
                  <a:pt x="1395" y="461"/>
                </a:cubicBezTo>
                <a:cubicBezTo>
                  <a:pt x="1394" y="461"/>
                  <a:pt x="1394" y="461"/>
                  <a:pt x="1394" y="460"/>
                </a:cubicBezTo>
                <a:cubicBezTo>
                  <a:pt x="1394" y="461"/>
                  <a:pt x="1394" y="461"/>
                  <a:pt x="1394" y="461"/>
                </a:cubicBezTo>
                <a:cubicBezTo>
                  <a:pt x="1393" y="461"/>
                  <a:pt x="1393" y="461"/>
                  <a:pt x="1393" y="462"/>
                </a:cubicBezTo>
                <a:cubicBezTo>
                  <a:pt x="1393" y="461"/>
                  <a:pt x="1393" y="461"/>
                  <a:pt x="1393" y="461"/>
                </a:cubicBezTo>
                <a:cubicBezTo>
                  <a:pt x="1393" y="461"/>
                  <a:pt x="1393" y="460"/>
                  <a:pt x="1393" y="460"/>
                </a:cubicBezTo>
                <a:cubicBezTo>
                  <a:pt x="1393" y="460"/>
                  <a:pt x="1394" y="459"/>
                  <a:pt x="1394" y="459"/>
                </a:cubicBezTo>
                <a:cubicBezTo>
                  <a:pt x="1394" y="458"/>
                  <a:pt x="1393" y="458"/>
                  <a:pt x="1393" y="458"/>
                </a:cubicBezTo>
                <a:cubicBezTo>
                  <a:pt x="1393" y="458"/>
                  <a:pt x="1393" y="457"/>
                  <a:pt x="1393" y="457"/>
                </a:cubicBezTo>
                <a:cubicBezTo>
                  <a:pt x="1394" y="457"/>
                  <a:pt x="1394" y="457"/>
                  <a:pt x="1394" y="457"/>
                </a:cubicBezTo>
                <a:cubicBezTo>
                  <a:pt x="1393" y="457"/>
                  <a:pt x="1393" y="456"/>
                  <a:pt x="1393" y="456"/>
                </a:cubicBezTo>
                <a:cubicBezTo>
                  <a:pt x="1393" y="456"/>
                  <a:pt x="1393" y="455"/>
                  <a:pt x="1393" y="455"/>
                </a:cubicBezTo>
                <a:cubicBezTo>
                  <a:pt x="1393" y="455"/>
                  <a:pt x="1393" y="455"/>
                  <a:pt x="1393" y="455"/>
                </a:cubicBezTo>
                <a:cubicBezTo>
                  <a:pt x="1393" y="454"/>
                  <a:pt x="1393" y="453"/>
                  <a:pt x="1393" y="452"/>
                </a:cubicBezTo>
                <a:cubicBezTo>
                  <a:pt x="1393" y="452"/>
                  <a:pt x="1393" y="452"/>
                  <a:pt x="1393" y="451"/>
                </a:cubicBezTo>
                <a:cubicBezTo>
                  <a:pt x="1393" y="451"/>
                  <a:pt x="1393" y="451"/>
                  <a:pt x="1393" y="451"/>
                </a:cubicBezTo>
                <a:cubicBezTo>
                  <a:pt x="1393" y="451"/>
                  <a:pt x="1393" y="451"/>
                  <a:pt x="1393" y="451"/>
                </a:cubicBezTo>
                <a:cubicBezTo>
                  <a:pt x="1393" y="451"/>
                  <a:pt x="1393" y="450"/>
                  <a:pt x="1393" y="450"/>
                </a:cubicBezTo>
                <a:cubicBezTo>
                  <a:pt x="1393" y="450"/>
                  <a:pt x="1393" y="450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2" y="449"/>
                  <a:pt x="1392" y="449"/>
                </a:cubicBezTo>
                <a:cubicBezTo>
                  <a:pt x="1392" y="449"/>
                  <a:pt x="1392" y="449"/>
                  <a:pt x="1391" y="449"/>
                </a:cubicBezTo>
                <a:cubicBezTo>
                  <a:pt x="1391" y="448"/>
                  <a:pt x="1391" y="448"/>
                  <a:pt x="1391" y="448"/>
                </a:cubicBezTo>
                <a:cubicBezTo>
                  <a:pt x="1391" y="448"/>
                  <a:pt x="1391" y="448"/>
                  <a:pt x="1391" y="447"/>
                </a:cubicBezTo>
                <a:cubicBezTo>
                  <a:pt x="1391" y="447"/>
                  <a:pt x="1391" y="446"/>
                  <a:pt x="1390" y="446"/>
                </a:cubicBezTo>
                <a:cubicBezTo>
                  <a:pt x="1390" y="446"/>
                  <a:pt x="1390" y="445"/>
                  <a:pt x="1390" y="445"/>
                </a:cubicBezTo>
                <a:cubicBezTo>
                  <a:pt x="1390" y="445"/>
                  <a:pt x="1390" y="445"/>
                  <a:pt x="1390" y="445"/>
                </a:cubicBezTo>
                <a:cubicBezTo>
                  <a:pt x="1390" y="445"/>
                  <a:pt x="1390" y="445"/>
                  <a:pt x="1390" y="445"/>
                </a:cubicBezTo>
                <a:cubicBezTo>
                  <a:pt x="1390" y="445"/>
                  <a:pt x="1389" y="444"/>
                  <a:pt x="1389" y="444"/>
                </a:cubicBezTo>
                <a:cubicBezTo>
                  <a:pt x="1389" y="444"/>
                  <a:pt x="1390" y="445"/>
                  <a:pt x="1390" y="445"/>
                </a:cubicBezTo>
                <a:cubicBezTo>
                  <a:pt x="1390" y="445"/>
                  <a:pt x="1389" y="445"/>
                  <a:pt x="1389" y="445"/>
                </a:cubicBezTo>
                <a:cubicBezTo>
                  <a:pt x="1389" y="445"/>
                  <a:pt x="1389" y="445"/>
                  <a:pt x="1389" y="445"/>
                </a:cubicBezTo>
                <a:cubicBezTo>
                  <a:pt x="1389" y="445"/>
                  <a:pt x="1390" y="446"/>
                  <a:pt x="1390" y="446"/>
                </a:cubicBezTo>
                <a:cubicBezTo>
                  <a:pt x="1390" y="446"/>
                  <a:pt x="1389" y="446"/>
                  <a:pt x="1389" y="446"/>
                </a:cubicBezTo>
                <a:cubicBezTo>
                  <a:pt x="1389" y="447"/>
                  <a:pt x="1389" y="447"/>
                  <a:pt x="1389" y="447"/>
                </a:cubicBezTo>
                <a:cubicBezTo>
                  <a:pt x="1389" y="447"/>
                  <a:pt x="1389" y="447"/>
                  <a:pt x="1389" y="447"/>
                </a:cubicBezTo>
                <a:cubicBezTo>
                  <a:pt x="1388" y="447"/>
                  <a:pt x="1388" y="447"/>
                  <a:pt x="1387" y="448"/>
                </a:cubicBezTo>
                <a:cubicBezTo>
                  <a:pt x="1387" y="447"/>
                  <a:pt x="1387" y="447"/>
                  <a:pt x="1387" y="447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7"/>
                  <a:pt x="1386" y="447"/>
                  <a:pt x="1386" y="446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8"/>
                  <a:pt x="1386" y="448"/>
                  <a:pt x="1387" y="448"/>
                </a:cubicBezTo>
                <a:cubicBezTo>
                  <a:pt x="1386" y="448"/>
                  <a:pt x="1386" y="448"/>
                  <a:pt x="1385" y="448"/>
                </a:cubicBezTo>
                <a:cubicBezTo>
                  <a:pt x="1385" y="448"/>
                  <a:pt x="1385" y="448"/>
                  <a:pt x="1385" y="448"/>
                </a:cubicBezTo>
                <a:cubicBezTo>
                  <a:pt x="1385" y="448"/>
                  <a:pt x="1384" y="447"/>
                  <a:pt x="1384" y="447"/>
                </a:cubicBezTo>
                <a:cubicBezTo>
                  <a:pt x="1384" y="448"/>
                  <a:pt x="1384" y="448"/>
                  <a:pt x="1384" y="448"/>
                </a:cubicBezTo>
                <a:cubicBezTo>
                  <a:pt x="1383" y="448"/>
                  <a:pt x="1382" y="448"/>
                  <a:pt x="1382" y="448"/>
                </a:cubicBezTo>
                <a:cubicBezTo>
                  <a:pt x="1381" y="448"/>
                  <a:pt x="1381" y="448"/>
                  <a:pt x="1381" y="448"/>
                </a:cubicBezTo>
                <a:cubicBezTo>
                  <a:pt x="1381" y="448"/>
                  <a:pt x="1381" y="448"/>
                  <a:pt x="1381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79" y="448"/>
                  <a:pt x="1379" y="448"/>
                </a:cubicBezTo>
                <a:cubicBezTo>
                  <a:pt x="1379" y="448"/>
                  <a:pt x="1379" y="448"/>
                  <a:pt x="1379" y="447"/>
                </a:cubicBezTo>
                <a:cubicBezTo>
                  <a:pt x="1378" y="447"/>
                  <a:pt x="1378" y="448"/>
                  <a:pt x="1377" y="448"/>
                </a:cubicBezTo>
                <a:cubicBezTo>
                  <a:pt x="1377" y="448"/>
                  <a:pt x="1377" y="448"/>
                  <a:pt x="1377" y="448"/>
                </a:cubicBezTo>
                <a:cubicBezTo>
                  <a:pt x="1377" y="448"/>
                  <a:pt x="1377" y="448"/>
                  <a:pt x="1377" y="448"/>
                </a:cubicBezTo>
                <a:cubicBezTo>
                  <a:pt x="1377" y="448"/>
                  <a:pt x="1377" y="447"/>
                  <a:pt x="1377" y="447"/>
                </a:cubicBezTo>
                <a:cubicBezTo>
                  <a:pt x="1377" y="447"/>
                  <a:pt x="1378" y="447"/>
                  <a:pt x="1378" y="446"/>
                </a:cubicBezTo>
                <a:cubicBezTo>
                  <a:pt x="1379" y="446"/>
                  <a:pt x="1379" y="446"/>
                  <a:pt x="1379" y="445"/>
                </a:cubicBezTo>
                <a:cubicBezTo>
                  <a:pt x="1378" y="446"/>
                  <a:pt x="1378" y="446"/>
                  <a:pt x="1378" y="446"/>
                </a:cubicBezTo>
                <a:cubicBezTo>
                  <a:pt x="1377" y="446"/>
                  <a:pt x="1377" y="446"/>
                  <a:pt x="1377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6"/>
                  <a:pt x="1376" y="446"/>
                  <a:pt x="1376" y="446"/>
                </a:cubicBezTo>
                <a:cubicBezTo>
                  <a:pt x="1376" y="445"/>
                  <a:pt x="1377" y="444"/>
                  <a:pt x="1378" y="442"/>
                </a:cubicBezTo>
                <a:cubicBezTo>
                  <a:pt x="1378" y="442"/>
                  <a:pt x="1378" y="442"/>
                  <a:pt x="1379" y="442"/>
                </a:cubicBezTo>
                <a:cubicBezTo>
                  <a:pt x="1379" y="442"/>
                  <a:pt x="1379" y="442"/>
                  <a:pt x="1379" y="442"/>
                </a:cubicBezTo>
                <a:cubicBezTo>
                  <a:pt x="1378" y="441"/>
                  <a:pt x="1378" y="441"/>
                  <a:pt x="1378" y="440"/>
                </a:cubicBezTo>
                <a:cubicBezTo>
                  <a:pt x="1378" y="440"/>
                  <a:pt x="1378" y="439"/>
                  <a:pt x="1378" y="439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7"/>
                  <a:pt x="1377" y="437"/>
                </a:cubicBezTo>
                <a:cubicBezTo>
                  <a:pt x="1377" y="437"/>
                  <a:pt x="1377" y="436"/>
                  <a:pt x="1377" y="436"/>
                </a:cubicBezTo>
                <a:cubicBezTo>
                  <a:pt x="1377" y="436"/>
                  <a:pt x="1377" y="436"/>
                  <a:pt x="1377" y="435"/>
                </a:cubicBezTo>
                <a:cubicBezTo>
                  <a:pt x="1377" y="435"/>
                  <a:pt x="1377" y="435"/>
                  <a:pt x="1377" y="435"/>
                </a:cubicBezTo>
                <a:cubicBezTo>
                  <a:pt x="1377" y="434"/>
                  <a:pt x="1377" y="434"/>
                  <a:pt x="1377" y="434"/>
                </a:cubicBezTo>
                <a:cubicBezTo>
                  <a:pt x="1377" y="434"/>
                  <a:pt x="1376" y="434"/>
                  <a:pt x="1376" y="433"/>
                </a:cubicBezTo>
                <a:cubicBezTo>
                  <a:pt x="1376" y="433"/>
                  <a:pt x="1376" y="434"/>
                  <a:pt x="1376" y="434"/>
                </a:cubicBezTo>
                <a:cubicBezTo>
                  <a:pt x="1376" y="434"/>
                  <a:pt x="1376" y="435"/>
                  <a:pt x="1376" y="435"/>
                </a:cubicBezTo>
                <a:cubicBezTo>
                  <a:pt x="1375" y="435"/>
                  <a:pt x="1375" y="435"/>
                  <a:pt x="1374" y="434"/>
                </a:cubicBezTo>
                <a:cubicBezTo>
                  <a:pt x="1374" y="434"/>
                  <a:pt x="1374" y="434"/>
                  <a:pt x="1374" y="433"/>
                </a:cubicBezTo>
                <a:cubicBezTo>
                  <a:pt x="1374" y="433"/>
                  <a:pt x="1374" y="433"/>
                  <a:pt x="1374" y="433"/>
                </a:cubicBezTo>
                <a:cubicBezTo>
                  <a:pt x="1373" y="433"/>
                  <a:pt x="1373" y="432"/>
                  <a:pt x="1373" y="432"/>
                </a:cubicBezTo>
                <a:cubicBezTo>
                  <a:pt x="1373" y="432"/>
                  <a:pt x="1373" y="432"/>
                  <a:pt x="1373" y="432"/>
                </a:cubicBezTo>
                <a:cubicBezTo>
                  <a:pt x="1373" y="432"/>
                  <a:pt x="1374" y="432"/>
                  <a:pt x="1374" y="432"/>
                </a:cubicBezTo>
                <a:cubicBezTo>
                  <a:pt x="1374" y="432"/>
                  <a:pt x="1374" y="432"/>
                  <a:pt x="1374" y="433"/>
                </a:cubicBezTo>
                <a:cubicBezTo>
                  <a:pt x="1374" y="433"/>
                  <a:pt x="1374" y="433"/>
                  <a:pt x="1375" y="433"/>
                </a:cubicBezTo>
                <a:cubicBezTo>
                  <a:pt x="1375" y="433"/>
                  <a:pt x="1375" y="433"/>
                  <a:pt x="1375" y="433"/>
                </a:cubicBezTo>
                <a:cubicBezTo>
                  <a:pt x="1375" y="433"/>
                  <a:pt x="1375" y="433"/>
                  <a:pt x="1375" y="433"/>
                </a:cubicBezTo>
                <a:cubicBezTo>
                  <a:pt x="1375" y="433"/>
                  <a:pt x="1374" y="432"/>
                  <a:pt x="1374" y="432"/>
                </a:cubicBezTo>
                <a:cubicBezTo>
                  <a:pt x="1374" y="432"/>
                  <a:pt x="1375" y="432"/>
                  <a:pt x="1375" y="432"/>
                </a:cubicBezTo>
                <a:cubicBezTo>
                  <a:pt x="1375" y="432"/>
                  <a:pt x="1375" y="432"/>
                  <a:pt x="1375" y="432"/>
                </a:cubicBezTo>
                <a:cubicBezTo>
                  <a:pt x="1376" y="432"/>
                  <a:pt x="1376" y="432"/>
                  <a:pt x="1376" y="432"/>
                </a:cubicBezTo>
                <a:cubicBezTo>
                  <a:pt x="1376" y="432"/>
                  <a:pt x="1376" y="432"/>
                  <a:pt x="1376" y="432"/>
                </a:cubicBezTo>
                <a:cubicBezTo>
                  <a:pt x="1376" y="431"/>
                  <a:pt x="1376" y="431"/>
                  <a:pt x="1376" y="431"/>
                </a:cubicBezTo>
                <a:cubicBezTo>
                  <a:pt x="1375" y="430"/>
                  <a:pt x="1375" y="430"/>
                  <a:pt x="1374" y="430"/>
                </a:cubicBezTo>
                <a:cubicBezTo>
                  <a:pt x="1374" y="430"/>
                  <a:pt x="1374" y="430"/>
                  <a:pt x="1374" y="429"/>
                </a:cubicBezTo>
                <a:cubicBezTo>
                  <a:pt x="1374" y="429"/>
                  <a:pt x="1373" y="429"/>
                  <a:pt x="1373" y="429"/>
                </a:cubicBezTo>
                <a:cubicBezTo>
                  <a:pt x="1373" y="429"/>
                  <a:pt x="1373" y="429"/>
                  <a:pt x="1373" y="429"/>
                </a:cubicBezTo>
                <a:cubicBezTo>
                  <a:pt x="1373" y="429"/>
                  <a:pt x="1373" y="429"/>
                  <a:pt x="1373" y="429"/>
                </a:cubicBezTo>
                <a:cubicBezTo>
                  <a:pt x="1372" y="429"/>
                  <a:pt x="1372" y="429"/>
                  <a:pt x="1372" y="429"/>
                </a:cubicBezTo>
                <a:cubicBezTo>
                  <a:pt x="1372" y="429"/>
                  <a:pt x="1372" y="429"/>
                  <a:pt x="1372" y="429"/>
                </a:cubicBezTo>
                <a:cubicBezTo>
                  <a:pt x="1372" y="428"/>
                  <a:pt x="1372" y="428"/>
                  <a:pt x="1373" y="428"/>
                </a:cubicBezTo>
                <a:cubicBezTo>
                  <a:pt x="1372" y="428"/>
                  <a:pt x="1372" y="428"/>
                  <a:pt x="1372" y="428"/>
                </a:cubicBezTo>
                <a:cubicBezTo>
                  <a:pt x="1371" y="428"/>
                  <a:pt x="1371" y="427"/>
                  <a:pt x="1371" y="427"/>
                </a:cubicBezTo>
                <a:cubicBezTo>
                  <a:pt x="1371" y="427"/>
                  <a:pt x="1371" y="427"/>
                  <a:pt x="1371" y="428"/>
                </a:cubicBezTo>
                <a:cubicBezTo>
                  <a:pt x="1371" y="428"/>
                  <a:pt x="1371" y="428"/>
                  <a:pt x="1371" y="428"/>
                </a:cubicBezTo>
                <a:cubicBezTo>
                  <a:pt x="1371" y="428"/>
                  <a:pt x="1370" y="427"/>
                  <a:pt x="1369" y="426"/>
                </a:cubicBezTo>
                <a:cubicBezTo>
                  <a:pt x="1369" y="426"/>
                  <a:pt x="1369" y="426"/>
                  <a:pt x="1369" y="425"/>
                </a:cubicBezTo>
                <a:cubicBezTo>
                  <a:pt x="1369" y="425"/>
                  <a:pt x="1369" y="425"/>
                  <a:pt x="1369" y="424"/>
                </a:cubicBezTo>
                <a:cubicBezTo>
                  <a:pt x="1369" y="424"/>
                  <a:pt x="1369" y="424"/>
                  <a:pt x="1369" y="424"/>
                </a:cubicBezTo>
                <a:cubicBezTo>
                  <a:pt x="1369" y="424"/>
                  <a:pt x="1369" y="424"/>
                  <a:pt x="1369" y="425"/>
                </a:cubicBezTo>
                <a:cubicBezTo>
                  <a:pt x="1369" y="425"/>
                  <a:pt x="1369" y="425"/>
                  <a:pt x="1369" y="425"/>
                </a:cubicBezTo>
                <a:cubicBezTo>
                  <a:pt x="1369" y="425"/>
                  <a:pt x="1369" y="425"/>
                  <a:pt x="1369" y="425"/>
                </a:cubicBezTo>
                <a:cubicBezTo>
                  <a:pt x="1369" y="425"/>
                  <a:pt x="1368" y="425"/>
                  <a:pt x="1368" y="424"/>
                </a:cubicBezTo>
                <a:cubicBezTo>
                  <a:pt x="1368" y="424"/>
                  <a:pt x="1368" y="423"/>
                  <a:pt x="1368" y="423"/>
                </a:cubicBezTo>
                <a:cubicBezTo>
                  <a:pt x="1368" y="423"/>
                  <a:pt x="1367" y="423"/>
                  <a:pt x="1367" y="422"/>
                </a:cubicBezTo>
                <a:cubicBezTo>
                  <a:pt x="1368" y="422"/>
                  <a:pt x="1368" y="422"/>
                  <a:pt x="1368" y="422"/>
                </a:cubicBezTo>
                <a:cubicBezTo>
                  <a:pt x="1368" y="422"/>
                  <a:pt x="1368" y="422"/>
                  <a:pt x="1368" y="421"/>
                </a:cubicBezTo>
                <a:cubicBezTo>
                  <a:pt x="1368" y="422"/>
                  <a:pt x="1368" y="422"/>
                  <a:pt x="1368" y="422"/>
                </a:cubicBezTo>
                <a:cubicBezTo>
                  <a:pt x="1367" y="422"/>
                  <a:pt x="1367" y="422"/>
                  <a:pt x="1367" y="422"/>
                </a:cubicBezTo>
                <a:cubicBezTo>
                  <a:pt x="1367" y="422"/>
                  <a:pt x="1367" y="422"/>
                  <a:pt x="1367" y="422"/>
                </a:cubicBezTo>
                <a:cubicBezTo>
                  <a:pt x="1367" y="421"/>
                  <a:pt x="1367" y="421"/>
                  <a:pt x="1367" y="421"/>
                </a:cubicBezTo>
                <a:cubicBezTo>
                  <a:pt x="1367" y="421"/>
                  <a:pt x="1367" y="421"/>
                  <a:pt x="1367" y="420"/>
                </a:cubicBezTo>
                <a:cubicBezTo>
                  <a:pt x="1367" y="420"/>
                  <a:pt x="1367" y="420"/>
                  <a:pt x="1368" y="420"/>
                </a:cubicBezTo>
                <a:cubicBezTo>
                  <a:pt x="1368" y="420"/>
                  <a:pt x="1368" y="419"/>
                  <a:pt x="1368" y="419"/>
                </a:cubicBezTo>
                <a:cubicBezTo>
                  <a:pt x="1368" y="419"/>
                  <a:pt x="1367" y="419"/>
                  <a:pt x="1367" y="419"/>
                </a:cubicBezTo>
                <a:cubicBezTo>
                  <a:pt x="1367" y="418"/>
                  <a:pt x="1367" y="417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5" y="416"/>
                  <a:pt x="1365" y="416"/>
                  <a:pt x="1365" y="416"/>
                </a:cubicBezTo>
                <a:cubicBezTo>
                  <a:pt x="1364" y="416"/>
                  <a:pt x="1363" y="415"/>
                  <a:pt x="1363" y="415"/>
                </a:cubicBezTo>
                <a:cubicBezTo>
                  <a:pt x="1363" y="415"/>
                  <a:pt x="1363" y="415"/>
                  <a:pt x="1363" y="415"/>
                </a:cubicBezTo>
                <a:cubicBezTo>
                  <a:pt x="1363" y="415"/>
                  <a:pt x="1362" y="415"/>
                  <a:pt x="1362" y="415"/>
                </a:cubicBezTo>
                <a:cubicBezTo>
                  <a:pt x="1362" y="414"/>
                  <a:pt x="1362" y="414"/>
                  <a:pt x="1361" y="414"/>
                </a:cubicBezTo>
                <a:cubicBezTo>
                  <a:pt x="1361" y="413"/>
                  <a:pt x="1361" y="413"/>
                  <a:pt x="1361" y="413"/>
                </a:cubicBezTo>
                <a:cubicBezTo>
                  <a:pt x="1361" y="413"/>
                  <a:pt x="1361" y="413"/>
                  <a:pt x="1361" y="414"/>
                </a:cubicBezTo>
                <a:cubicBezTo>
                  <a:pt x="1361" y="414"/>
                  <a:pt x="1362" y="414"/>
                  <a:pt x="1362" y="415"/>
                </a:cubicBezTo>
                <a:cubicBezTo>
                  <a:pt x="1362" y="415"/>
                  <a:pt x="1362" y="415"/>
                  <a:pt x="1361" y="415"/>
                </a:cubicBezTo>
                <a:cubicBezTo>
                  <a:pt x="1361" y="415"/>
                  <a:pt x="1361" y="415"/>
                  <a:pt x="1360" y="415"/>
                </a:cubicBezTo>
                <a:cubicBezTo>
                  <a:pt x="1361" y="415"/>
                  <a:pt x="1361" y="415"/>
                  <a:pt x="1361" y="415"/>
                </a:cubicBezTo>
                <a:cubicBezTo>
                  <a:pt x="1361" y="416"/>
                  <a:pt x="1361" y="416"/>
                  <a:pt x="1361" y="416"/>
                </a:cubicBezTo>
                <a:cubicBezTo>
                  <a:pt x="1361" y="417"/>
                  <a:pt x="1361" y="417"/>
                  <a:pt x="1361" y="417"/>
                </a:cubicBezTo>
                <a:cubicBezTo>
                  <a:pt x="1361" y="417"/>
                  <a:pt x="1360" y="417"/>
                  <a:pt x="1360" y="417"/>
                </a:cubicBezTo>
                <a:cubicBezTo>
                  <a:pt x="1360" y="418"/>
                  <a:pt x="1359" y="418"/>
                  <a:pt x="1359" y="418"/>
                </a:cubicBezTo>
                <a:cubicBezTo>
                  <a:pt x="1359" y="418"/>
                  <a:pt x="1358" y="418"/>
                  <a:pt x="1358" y="418"/>
                </a:cubicBezTo>
                <a:cubicBezTo>
                  <a:pt x="1358" y="418"/>
                  <a:pt x="1359" y="417"/>
                  <a:pt x="1359" y="417"/>
                </a:cubicBezTo>
                <a:cubicBezTo>
                  <a:pt x="1359" y="417"/>
                  <a:pt x="1359" y="417"/>
                  <a:pt x="1359" y="417"/>
                </a:cubicBezTo>
                <a:cubicBezTo>
                  <a:pt x="1359" y="417"/>
                  <a:pt x="1360" y="417"/>
                  <a:pt x="1360" y="417"/>
                </a:cubicBezTo>
                <a:cubicBezTo>
                  <a:pt x="1359" y="417"/>
                  <a:pt x="1359" y="417"/>
                  <a:pt x="1359" y="417"/>
                </a:cubicBezTo>
                <a:cubicBezTo>
                  <a:pt x="1359" y="417"/>
                  <a:pt x="1358" y="417"/>
                  <a:pt x="1358" y="418"/>
                </a:cubicBezTo>
                <a:cubicBezTo>
                  <a:pt x="1358" y="417"/>
                  <a:pt x="1358" y="417"/>
                  <a:pt x="1358" y="417"/>
                </a:cubicBezTo>
                <a:cubicBezTo>
                  <a:pt x="1358" y="416"/>
                  <a:pt x="1358" y="416"/>
                  <a:pt x="1358" y="416"/>
                </a:cubicBezTo>
                <a:cubicBezTo>
                  <a:pt x="1358" y="416"/>
                  <a:pt x="1358" y="415"/>
                  <a:pt x="1358" y="415"/>
                </a:cubicBezTo>
                <a:cubicBezTo>
                  <a:pt x="1358" y="415"/>
                  <a:pt x="1358" y="415"/>
                  <a:pt x="1358" y="415"/>
                </a:cubicBezTo>
                <a:cubicBezTo>
                  <a:pt x="1358" y="415"/>
                  <a:pt x="1358" y="415"/>
                  <a:pt x="1358" y="415"/>
                </a:cubicBezTo>
                <a:cubicBezTo>
                  <a:pt x="1358" y="416"/>
                  <a:pt x="1358" y="416"/>
                  <a:pt x="1358" y="416"/>
                </a:cubicBezTo>
                <a:cubicBezTo>
                  <a:pt x="1358" y="416"/>
                  <a:pt x="1358" y="416"/>
                  <a:pt x="1357" y="416"/>
                </a:cubicBezTo>
                <a:cubicBezTo>
                  <a:pt x="1357" y="416"/>
                  <a:pt x="1357" y="416"/>
                  <a:pt x="1357" y="416"/>
                </a:cubicBezTo>
                <a:cubicBezTo>
                  <a:pt x="1357" y="417"/>
                  <a:pt x="1357" y="417"/>
                  <a:pt x="1358" y="417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6" y="418"/>
                  <a:pt x="1356" y="418"/>
                  <a:pt x="1356" y="417"/>
                </a:cubicBezTo>
                <a:cubicBezTo>
                  <a:pt x="1356" y="417"/>
                  <a:pt x="1356" y="417"/>
                  <a:pt x="1356" y="418"/>
                </a:cubicBezTo>
                <a:cubicBezTo>
                  <a:pt x="1356" y="418"/>
                  <a:pt x="1355" y="418"/>
                  <a:pt x="1355" y="418"/>
                </a:cubicBezTo>
                <a:cubicBezTo>
                  <a:pt x="1355" y="418"/>
                  <a:pt x="1355" y="418"/>
                  <a:pt x="1355" y="418"/>
                </a:cubicBezTo>
                <a:cubicBezTo>
                  <a:pt x="1355" y="418"/>
                  <a:pt x="1355" y="418"/>
                  <a:pt x="1355" y="417"/>
                </a:cubicBezTo>
                <a:cubicBezTo>
                  <a:pt x="1355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8"/>
                </a:cubicBezTo>
                <a:cubicBezTo>
                  <a:pt x="1354" y="418"/>
                  <a:pt x="1353" y="418"/>
                  <a:pt x="1353" y="418"/>
                </a:cubicBezTo>
                <a:cubicBezTo>
                  <a:pt x="1353" y="418"/>
                  <a:pt x="1353" y="418"/>
                  <a:pt x="1353" y="417"/>
                </a:cubicBezTo>
                <a:cubicBezTo>
                  <a:pt x="1353" y="417"/>
                  <a:pt x="1353" y="418"/>
                  <a:pt x="1353" y="418"/>
                </a:cubicBezTo>
                <a:cubicBezTo>
                  <a:pt x="1352" y="418"/>
                  <a:pt x="1352" y="418"/>
                  <a:pt x="1352" y="417"/>
                </a:cubicBezTo>
                <a:cubicBezTo>
                  <a:pt x="1352" y="417"/>
                  <a:pt x="1352" y="417"/>
                  <a:pt x="1352" y="416"/>
                </a:cubicBezTo>
                <a:cubicBezTo>
                  <a:pt x="1352" y="416"/>
                  <a:pt x="1352" y="416"/>
                  <a:pt x="1352" y="416"/>
                </a:cubicBezTo>
                <a:cubicBezTo>
                  <a:pt x="1352" y="416"/>
                  <a:pt x="1352" y="416"/>
                  <a:pt x="1352" y="416"/>
                </a:cubicBezTo>
                <a:cubicBezTo>
                  <a:pt x="1352" y="416"/>
                  <a:pt x="1351" y="417"/>
                  <a:pt x="1351" y="417"/>
                </a:cubicBezTo>
                <a:cubicBezTo>
                  <a:pt x="1351" y="417"/>
                  <a:pt x="1351" y="417"/>
                  <a:pt x="1351" y="416"/>
                </a:cubicBezTo>
                <a:cubicBezTo>
                  <a:pt x="1351" y="417"/>
                  <a:pt x="1351" y="417"/>
                  <a:pt x="1351" y="417"/>
                </a:cubicBezTo>
                <a:cubicBezTo>
                  <a:pt x="1351" y="417"/>
                  <a:pt x="1351" y="417"/>
                  <a:pt x="1350" y="416"/>
                </a:cubicBezTo>
                <a:cubicBezTo>
                  <a:pt x="1350" y="417"/>
                  <a:pt x="1350" y="417"/>
                  <a:pt x="1350" y="417"/>
                </a:cubicBezTo>
                <a:cubicBezTo>
                  <a:pt x="1350" y="416"/>
                  <a:pt x="1350" y="416"/>
                  <a:pt x="1349" y="416"/>
                </a:cubicBezTo>
                <a:cubicBezTo>
                  <a:pt x="1349" y="416"/>
                  <a:pt x="1349" y="416"/>
                  <a:pt x="1349" y="415"/>
                </a:cubicBezTo>
                <a:cubicBezTo>
                  <a:pt x="1349" y="415"/>
                  <a:pt x="1350" y="415"/>
                  <a:pt x="1350" y="415"/>
                </a:cubicBezTo>
                <a:cubicBezTo>
                  <a:pt x="1349" y="415"/>
                  <a:pt x="1349" y="414"/>
                  <a:pt x="1349" y="414"/>
                </a:cubicBezTo>
                <a:cubicBezTo>
                  <a:pt x="1349" y="414"/>
                  <a:pt x="1348" y="414"/>
                  <a:pt x="1348" y="414"/>
                </a:cubicBezTo>
                <a:cubicBezTo>
                  <a:pt x="1348" y="414"/>
                  <a:pt x="1348" y="414"/>
                  <a:pt x="1348" y="414"/>
                </a:cubicBezTo>
                <a:cubicBezTo>
                  <a:pt x="1348" y="414"/>
                  <a:pt x="1349" y="414"/>
                  <a:pt x="1349" y="414"/>
                </a:cubicBezTo>
                <a:cubicBezTo>
                  <a:pt x="1349" y="414"/>
                  <a:pt x="1349" y="415"/>
                  <a:pt x="1349" y="415"/>
                </a:cubicBezTo>
                <a:cubicBezTo>
                  <a:pt x="1349" y="415"/>
                  <a:pt x="1349" y="415"/>
                  <a:pt x="1349" y="415"/>
                </a:cubicBezTo>
                <a:cubicBezTo>
                  <a:pt x="1349" y="415"/>
                  <a:pt x="1348" y="415"/>
                  <a:pt x="1348" y="415"/>
                </a:cubicBezTo>
                <a:cubicBezTo>
                  <a:pt x="1348" y="415"/>
                  <a:pt x="1348" y="416"/>
                  <a:pt x="1348" y="416"/>
                </a:cubicBezTo>
                <a:cubicBezTo>
                  <a:pt x="1348" y="416"/>
                  <a:pt x="1347" y="416"/>
                  <a:pt x="1347" y="416"/>
                </a:cubicBezTo>
                <a:cubicBezTo>
                  <a:pt x="1346" y="416"/>
                  <a:pt x="1345" y="416"/>
                  <a:pt x="1344" y="416"/>
                </a:cubicBezTo>
                <a:cubicBezTo>
                  <a:pt x="1344" y="416"/>
                  <a:pt x="1343" y="416"/>
                  <a:pt x="1343" y="417"/>
                </a:cubicBezTo>
                <a:cubicBezTo>
                  <a:pt x="1343" y="417"/>
                  <a:pt x="1343" y="417"/>
                  <a:pt x="1343" y="417"/>
                </a:cubicBezTo>
                <a:cubicBezTo>
                  <a:pt x="1343" y="417"/>
                  <a:pt x="1342" y="417"/>
                  <a:pt x="1342" y="418"/>
                </a:cubicBezTo>
                <a:cubicBezTo>
                  <a:pt x="1342" y="418"/>
                  <a:pt x="1342" y="418"/>
                  <a:pt x="1342" y="418"/>
                </a:cubicBezTo>
                <a:cubicBezTo>
                  <a:pt x="1342" y="418"/>
                  <a:pt x="1343" y="419"/>
                  <a:pt x="1343" y="419"/>
                </a:cubicBezTo>
                <a:cubicBezTo>
                  <a:pt x="1343" y="419"/>
                  <a:pt x="1343" y="419"/>
                  <a:pt x="1343" y="419"/>
                </a:cubicBezTo>
                <a:cubicBezTo>
                  <a:pt x="1343" y="419"/>
                  <a:pt x="1343" y="419"/>
                  <a:pt x="1343" y="419"/>
                </a:cubicBezTo>
                <a:cubicBezTo>
                  <a:pt x="1342" y="419"/>
                  <a:pt x="1342" y="420"/>
                  <a:pt x="1342" y="420"/>
                </a:cubicBezTo>
                <a:cubicBezTo>
                  <a:pt x="1341" y="420"/>
                  <a:pt x="1341" y="420"/>
                  <a:pt x="1341" y="420"/>
                </a:cubicBezTo>
                <a:cubicBezTo>
                  <a:pt x="1341" y="420"/>
                  <a:pt x="1341" y="420"/>
                  <a:pt x="1341" y="420"/>
                </a:cubicBezTo>
                <a:cubicBezTo>
                  <a:pt x="1341" y="420"/>
                  <a:pt x="1341" y="421"/>
                  <a:pt x="1341" y="421"/>
                </a:cubicBezTo>
                <a:cubicBezTo>
                  <a:pt x="1340" y="421"/>
                  <a:pt x="1339" y="421"/>
                  <a:pt x="1339" y="421"/>
                </a:cubicBezTo>
                <a:cubicBezTo>
                  <a:pt x="1339" y="421"/>
                  <a:pt x="1338" y="422"/>
                  <a:pt x="1338" y="422"/>
                </a:cubicBezTo>
                <a:cubicBezTo>
                  <a:pt x="1337" y="422"/>
                  <a:pt x="1336" y="422"/>
                  <a:pt x="1335" y="422"/>
                </a:cubicBezTo>
                <a:cubicBezTo>
                  <a:pt x="1335" y="422"/>
                  <a:pt x="1335" y="422"/>
                  <a:pt x="1335" y="422"/>
                </a:cubicBezTo>
                <a:cubicBezTo>
                  <a:pt x="1335" y="422"/>
                  <a:pt x="1335" y="422"/>
                  <a:pt x="1335" y="421"/>
                </a:cubicBezTo>
                <a:cubicBezTo>
                  <a:pt x="1335" y="421"/>
                  <a:pt x="1335" y="421"/>
                  <a:pt x="1335" y="421"/>
                </a:cubicBezTo>
                <a:cubicBezTo>
                  <a:pt x="1335" y="421"/>
                  <a:pt x="1335" y="421"/>
                  <a:pt x="1335" y="421"/>
                </a:cubicBezTo>
                <a:cubicBezTo>
                  <a:pt x="1334" y="421"/>
                  <a:pt x="1334" y="421"/>
                  <a:pt x="1334" y="421"/>
                </a:cubicBezTo>
                <a:cubicBezTo>
                  <a:pt x="1334" y="421"/>
                  <a:pt x="1333" y="421"/>
                  <a:pt x="1333" y="421"/>
                </a:cubicBezTo>
                <a:cubicBezTo>
                  <a:pt x="1333" y="422"/>
                  <a:pt x="1333" y="422"/>
                  <a:pt x="1333" y="422"/>
                </a:cubicBezTo>
                <a:cubicBezTo>
                  <a:pt x="1333" y="422"/>
                  <a:pt x="1333" y="422"/>
                  <a:pt x="1334" y="422"/>
                </a:cubicBezTo>
                <a:cubicBezTo>
                  <a:pt x="1334" y="422"/>
                  <a:pt x="1334" y="422"/>
                  <a:pt x="1334" y="422"/>
                </a:cubicBezTo>
                <a:cubicBezTo>
                  <a:pt x="1334" y="422"/>
                  <a:pt x="1334" y="422"/>
                  <a:pt x="1334" y="422"/>
                </a:cubicBezTo>
                <a:cubicBezTo>
                  <a:pt x="1333" y="423"/>
                  <a:pt x="1332" y="423"/>
                  <a:pt x="1330" y="424"/>
                </a:cubicBezTo>
                <a:cubicBezTo>
                  <a:pt x="1330" y="424"/>
                  <a:pt x="1330" y="425"/>
                  <a:pt x="1329" y="425"/>
                </a:cubicBezTo>
                <a:cubicBezTo>
                  <a:pt x="1327" y="426"/>
                  <a:pt x="1326" y="426"/>
                  <a:pt x="1324" y="427"/>
                </a:cubicBezTo>
                <a:cubicBezTo>
                  <a:pt x="1324" y="427"/>
                  <a:pt x="1323" y="427"/>
                  <a:pt x="1323" y="427"/>
                </a:cubicBezTo>
                <a:cubicBezTo>
                  <a:pt x="1323" y="428"/>
                  <a:pt x="1322" y="428"/>
                  <a:pt x="1322" y="428"/>
                </a:cubicBezTo>
                <a:cubicBezTo>
                  <a:pt x="1321" y="428"/>
                  <a:pt x="1321" y="428"/>
                  <a:pt x="1320" y="428"/>
                </a:cubicBezTo>
                <a:cubicBezTo>
                  <a:pt x="1319" y="428"/>
                  <a:pt x="1319" y="428"/>
                  <a:pt x="1318" y="429"/>
                </a:cubicBezTo>
                <a:cubicBezTo>
                  <a:pt x="1318" y="429"/>
                  <a:pt x="1318" y="429"/>
                  <a:pt x="1318" y="429"/>
                </a:cubicBezTo>
                <a:cubicBezTo>
                  <a:pt x="1318" y="430"/>
                  <a:pt x="1318" y="430"/>
                  <a:pt x="1318" y="430"/>
                </a:cubicBezTo>
                <a:cubicBezTo>
                  <a:pt x="1318" y="430"/>
                  <a:pt x="1317" y="431"/>
                  <a:pt x="1317" y="431"/>
                </a:cubicBezTo>
                <a:cubicBezTo>
                  <a:pt x="1317" y="431"/>
                  <a:pt x="1316" y="431"/>
                  <a:pt x="1316" y="431"/>
                </a:cubicBezTo>
                <a:cubicBezTo>
                  <a:pt x="1315" y="431"/>
                  <a:pt x="1314" y="431"/>
                  <a:pt x="1314" y="430"/>
                </a:cubicBezTo>
                <a:cubicBezTo>
                  <a:pt x="1313" y="431"/>
                  <a:pt x="1313" y="431"/>
                  <a:pt x="1313" y="431"/>
                </a:cubicBezTo>
                <a:cubicBezTo>
                  <a:pt x="1312" y="431"/>
                  <a:pt x="1312" y="431"/>
                  <a:pt x="1312" y="432"/>
                </a:cubicBezTo>
                <a:cubicBezTo>
                  <a:pt x="1312" y="432"/>
                  <a:pt x="1311" y="432"/>
                  <a:pt x="1311" y="433"/>
                </a:cubicBezTo>
                <a:cubicBezTo>
                  <a:pt x="1310" y="432"/>
                  <a:pt x="1310" y="432"/>
                  <a:pt x="1310" y="432"/>
                </a:cubicBezTo>
                <a:cubicBezTo>
                  <a:pt x="1310" y="432"/>
                  <a:pt x="1310" y="432"/>
                  <a:pt x="1310" y="432"/>
                </a:cubicBezTo>
                <a:cubicBezTo>
                  <a:pt x="1309" y="432"/>
                  <a:pt x="1309" y="432"/>
                  <a:pt x="1309" y="432"/>
                </a:cubicBezTo>
                <a:cubicBezTo>
                  <a:pt x="1309" y="432"/>
                  <a:pt x="1308" y="432"/>
                  <a:pt x="1307" y="432"/>
                </a:cubicBezTo>
                <a:cubicBezTo>
                  <a:pt x="1307" y="433"/>
                  <a:pt x="1307" y="433"/>
                  <a:pt x="1307" y="433"/>
                </a:cubicBezTo>
                <a:cubicBezTo>
                  <a:pt x="1306" y="433"/>
                  <a:pt x="1306" y="434"/>
                  <a:pt x="1306" y="434"/>
                </a:cubicBezTo>
                <a:cubicBezTo>
                  <a:pt x="1306" y="435"/>
                  <a:pt x="1307" y="436"/>
                  <a:pt x="1307" y="436"/>
                </a:cubicBezTo>
                <a:cubicBezTo>
                  <a:pt x="1306" y="436"/>
                  <a:pt x="1306" y="437"/>
                  <a:pt x="1306" y="437"/>
                </a:cubicBezTo>
                <a:cubicBezTo>
                  <a:pt x="1306" y="437"/>
                  <a:pt x="1306" y="437"/>
                  <a:pt x="1306" y="438"/>
                </a:cubicBezTo>
                <a:cubicBezTo>
                  <a:pt x="1305" y="439"/>
                  <a:pt x="1305" y="440"/>
                  <a:pt x="1305" y="440"/>
                </a:cubicBezTo>
                <a:cubicBezTo>
                  <a:pt x="1305" y="441"/>
                  <a:pt x="1306" y="441"/>
                  <a:pt x="1306" y="441"/>
                </a:cubicBezTo>
                <a:cubicBezTo>
                  <a:pt x="1306" y="442"/>
                  <a:pt x="1306" y="442"/>
                  <a:pt x="1306" y="443"/>
                </a:cubicBezTo>
                <a:cubicBezTo>
                  <a:pt x="1305" y="444"/>
                  <a:pt x="1305" y="444"/>
                  <a:pt x="1304" y="445"/>
                </a:cubicBezTo>
                <a:cubicBezTo>
                  <a:pt x="1304" y="445"/>
                  <a:pt x="1303" y="446"/>
                  <a:pt x="1303" y="446"/>
                </a:cubicBezTo>
                <a:cubicBezTo>
                  <a:pt x="1303" y="447"/>
                  <a:pt x="1302" y="447"/>
                  <a:pt x="1302" y="448"/>
                </a:cubicBezTo>
                <a:cubicBezTo>
                  <a:pt x="1302" y="448"/>
                  <a:pt x="1303" y="448"/>
                  <a:pt x="1303" y="448"/>
                </a:cubicBezTo>
                <a:cubicBezTo>
                  <a:pt x="1303" y="449"/>
                  <a:pt x="1302" y="450"/>
                  <a:pt x="1302" y="451"/>
                </a:cubicBezTo>
                <a:cubicBezTo>
                  <a:pt x="1302" y="452"/>
                  <a:pt x="1302" y="452"/>
                  <a:pt x="1302" y="452"/>
                </a:cubicBezTo>
                <a:cubicBezTo>
                  <a:pt x="1302" y="452"/>
                  <a:pt x="1301" y="452"/>
                  <a:pt x="1301" y="452"/>
                </a:cubicBezTo>
                <a:cubicBezTo>
                  <a:pt x="1301" y="452"/>
                  <a:pt x="1301" y="452"/>
                  <a:pt x="1301" y="452"/>
                </a:cubicBezTo>
                <a:cubicBezTo>
                  <a:pt x="1300" y="452"/>
                  <a:pt x="1300" y="452"/>
                  <a:pt x="1299" y="452"/>
                </a:cubicBezTo>
                <a:cubicBezTo>
                  <a:pt x="1299" y="452"/>
                  <a:pt x="1299" y="452"/>
                  <a:pt x="1299" y="453"/>
                </a:cubicBezTo>
                <a:cubicBezTo>
                  <a:pt x="1299" y="453"/>
                  <a:pt x="1299" y="453"/>
                  <a:pt x="1299" y="453"/>
                </a:cubicBezTo>
                <a:cubicBezTo>
                  <a:pt x="1298" y="453"/>
                  <a:pt x="1298" y="454"/>
                  <a:pt x="1297" y="454"/>
                </a:cubicBezTo>
                <a:cubicBezTo>
                  <a:pt x="1297" y="454"/>
                  <a:pt x="1297" y="454"/>
                  <a:pt x="1297" y="454"/>
                </a:cubicBezTo>
                <a:cubicBezTo>
                  <a:pt x="1297" y="454"/>
                  <a:pt x="1297" y="455"/>
                  <a:pt x="1297" y="455"/>
                </a:cubicBezTo>
                <a:cubicBezTo>
                  <a:pt x="1297" y="455"/>
                  <a:pt x="1298" y="455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5"/>
                </a:cubicBezTo>
                <a:cubicBezTo>
                  <a:pt x="1297" y="455"/>
                  <a:pt x="1296" y="455"/>
                  <a:pt x="1295" y="455"/>
                </a:cubicBezTo>
                <a:cubicBezTo>
                  <a:pt x="1295" y="455"/>
                  <a:pt x="1295" y="455"/>
                  <a:pt x="1295" y="455"/>
                </a:cubicBezTo>
                <a:cubicBezTo>
                  <a:pt x="1294" y="455"/>
                  <a:pt x="1294" y="456"/>
                  <a:pt x="1293" y="456"/>
                </a:cubicBezTo>
                <a:cubicBezTo>
                  <a:pt x="1293" y="456"/>
                  <a:pt x="1293" y="456"/>
                  <a:pt x="1292" y="456"/>
                </a:cubicBezTo>
                <a:cubicBezTo>
                  <a:pt x="1292" y="456"/>
                  <a:pt x="1292" y="456"/>
                  <a:pt x="1292" y="456"/>
                </a:cubicBezTo>
                <a:cubicBezTo>
                  <a:pt x="1292" y="457"/>
                  <a:pt x="1292" y="457"/>
                  <a:pt x="1292" y="457"/>
                </a:cubicBezTo>
                <a:cubicBezTo>
                  <a:pt x="1292" y="457"/>
                  <a:pt x="1292" y="457"/>
                  <a:pt x="1292" y="457"/>
                </a:cubicBezTo>
                <a:cubicBezTo>
                  <a:pt x="1292" y="457"/>
                  <a:pt x="1292" y="457"/>
                  <a:pt x="1292" y="458"/>
                </a:cubicBezTo>
                <a:cubicBezTo>
                  <a:pt x="1291" y="458"/>
                  <a:pt x="1290" y="458"/>
                  <a:pt x="1289" y="458"/>
                </a:cubicBezTo>
                <a:cubicBezTo>
                  <a:pt x="1289" y="458"/>
                  <a:pt x="1288" y="458"/>
                  <a:pt x="1288" y="458"/>
                </a:cubicBezTo>
                <a:cubicBezTo>
                  <a:pt x="1287" y="457"/>
                  <a:pt x="1287" y="457"/>
                  <a:pt x="1287" y="457"/>
                </a:cubicBezTo>
                <a:cubicBezTo>
                  <a:pt x="1286" y="456"/>
                  <a:pt x="1286" y="456"/>
                  <a:pt x="1285" y="455"/>
                </a:cubicBezTo>
                <a:cubicBezTo>
                  <a:pt x="1285" y="454"/>
                  <a:pt x="1285" y="453"/>
                  <a:pt x="1284" y="452"/>
                </a:cubicBezTo>
                <a:cubicBezTo>
                  <a:pt x="1284" y="452"/>
                  <a:pt x="1284" y="451"/>
                  <a:pt x="1285" y="451"/>
                </a:cubicBezTo>
                <a:cubicBezTo>
                  <a:pt x="1284" y="450"/>
                  <a:pt x="1284" y="450"/>
                  <a:pt x="1284" y="449"/>
                </a:cubicBezTo>
                <a:cubicBezTo>
                  <a:pt x="1284" y="449"/>
                  <a:pt x="1284" y="448"/>
                  <a:pt x="1284" y="447"/>
                </a:cubicBezTo>
                <a:cubicBezTo>
                  <a:pt x="1284" y="447"/>
                  <a:pt x="1284" y="447"/>
                  <a:pt x="1284" y="447"/>
                </a:cubicBezTo>
                <a:cubicBezTo>
                  <a:pt x="1284" y="447"/>
                  <a:pt x="1283" y="447"/>
                  <a:pt x="1283" y="447"/>
                </a:cubicBezTo>
                <a:cubicBezTo>
                  <a:pt x="1283" y="446"/>
                  <a:pt x="1283" y="446"/>
                  <a:pt x="1283" y="445"/>
                </a:cubicBezTo>
                <a:cubicBezTo>
                  <a:pt x="1283" y="445"/>
                  <a:pt x="1283" y="445"/>
                  <a:pt x="1283" y="444"/>
                </a:cubicBezTo>
                <a:cubicBezTo>
                  <a:pt x="1282" y="444"/>
                  <a:pt x="1282" y="443"/>
                  <a:pt x="1282" y="443"/>
                </a:cubicBezTo>
                <a:cubicBezTo>
                  <a:pt x="1282" y="442"/>
                  <a:pt x="1281" y="442"/>
                  <a:pt x="1281" y="441"/>
                </a:cubicBezTo>
                <a:cubicBezTo>
                  <a:pt x="1281" y="441"/>
                  <a:pt x="1281" y="441"/>
                  <a:pt x="1281" y="441"/>
                </a:cubicBezTo>
                <a:cubicBezTo>
                  <a:pt x="1280" y="441"/>
                  <a:pt x="1280" y="440"/>
                  <a:pt x="1280" y="440"/>
                </a:cubicBezTo>
                <a:cubicBezTo>
                  <a:pt x="1279" y="440"/>
                  <a:pt x="1279" y="439"/>
                  <a:pt x="1279" y="439"/>
                </a:cubicBezTo>
                <a:cubicBezTo>
                  <a:pt x="1279" y="439"/>
                  <a:pt x="1279" y="439"/>
                  <a:pt x="1279" y="439"/>
                </a:cubicBezTo>
                <a:cubicBezTo>
                  <a:pt x="1279" y="438"/>
                  <a:pt x="1279" y="438"/>
                  <a:pt x="1279" y="437"/>
                </a:cubicBezTo>
                <a:cubicBezTo>
                  <a:pt x="1279" y="437"/>
                  <a:pt x="1279" y="437"/>
                  <a:pt x="1279" y="436"/>
                </a:cubicBezTo>
                <a:cubicBezTo>
                  <a:pt x="1278" y="436"/>
                  <a:pt x="1278" y="435"/>
                  <a:pt x="1278" y="435"/>
                </a:cubicBezTo>
                <a:cubicBezTo>
                  <a:pt x="1278" y="434"/>
                  <a:pt x="1278" y="434"/>
                  <a:pt x="1278" y="433"/>
                </a:cubicBezTo>
                <a:cubicBezTo>
                  <a:pt x="1278" y="433"/>
                  <a:pt x="1278" y="433"/>
                  <a:pt x="1278" y="432"/>
                </a:cubicBezTo>
                <a:cubicBezTo>
                  <a:pt x="1278" y="432"/>
                  <a:pt x="1277" y="432"/>
                  <a:pt x="1277" y="432"/>
                </a:cubicBezTo>
                <a:cubicBezTo>
                  <a:pt x="1277" y="431"/>
                  <a:pt x="1277" y="431"/>
                  <a:pt x="1278" y="430"/>
                </a:cubicBezTo>
                <a:cubicBezTo>
                  <a:pt x="1277" y="430"/>
                  <a:pt x="1277" y="430"/>
                  <a:pt x="1277" y="430"/>
                </a:cubicBezTo>
                <a:cubicBezTo>
                  <a:pt x="1277" y="430"/>
                  <a:pt x="1277" y="429"/>
                  <a:pt x="1276" y="429"/>
                </a:cubicBezTo>
                <a:cubicBezTo>
                  <a:pt x="1276" y="429"/>
                  <a:pt x="1276" y="429"/>
                  <a:pt x="1276" y="429"/>
                </a:cubicBezTo>
                <a:cubicBezTo>
                  <a:pt x="1276" y="429"/>
                  <a:pt x="1276" y="428"/>
                  <a:pt x="1276" y="428"/>
                </a:cubicBezTo>
                <a:cubicBezTo>
                  <a:pt x="1276" y="428"/>
                  <a:pt x="1275" y="427"/>
                  <a:pt x="1275" y="427"/>
                </a:cubicBezTo>
                <a:cubicBezTo>
                  <a:pt x="1275" y="427"/>
                  <a:pt x="1275" y="426"/>
                  <a:pt x="1275" y="426"/>
                </a:cubicBezTo>
                <a:cubicBezTo>
                  <a:pt x="1275" y="426"/>
                  <a:pt x="1275" y="426"/>
                  <a:pt x="1275" y="426"/>
                </a:cubicBezTo>
                <a:cubicBezTo>
                  <a:pt x="1275" y="425"/>
                  <a:pt x="1275" y="425"/>
                  <a:pt x="1274" y="425"/>
                </a:cubicBezTo>
                <a:cubicBezTo>
                  <a:pt x="1274" y="424"/>
                  <a:pt x="1274" y="424"/>
                  <a:pt x="1274" y="424"/>
                </a:cubicBezTo>
                <a:cubicBezTo>
                  <a:pt x="1274" y="424"/>
                  <a:pt x="1273" y="423"/>
                  <a:pt x="1273" y="422"/>
                </a:cubicBezTo>
                <a:cubicBezTo>
                  <a:pt x="1273" y="422"/>
                  <a:pt x="1274" y="421"/>
                  <a:pt x="1274" y="420"/>
                </a:cubicBezTo>
                <a:cubicBezTo>
                  <a:pt x="1273" y="419"/>
                  <a:pt x="1273" y="418"/>
                  <a:pt x="1272" y="417"/>
                </a:cubicBezTo>
                <a:cubicBezTo>
                  <a:pt x="1272" y="417"/>
                  <a:pt x="1272" y="416"/>
                  <a:pt x="1272" y="416"/>
                </a:cubicBezTo>
                <a:cubicBezTo>
                  <a:pt x="1272" y="416"/>
                  <a:pt x="1272" y="415"/>
                  <a:pt x="1272" y="415"/>
                </a:cubicBezTo>
                <a:cubicBezTo>
                  <a:pt x="1272" y="415"/>
                  <a:pt x="1272" y="415"/>
                  <a:pt x="1273" y="415"/>
                </a:cubicBezTo>
                <a:cubicBezTo>
                  <a:pt x="1272" y="414"/>
                  <a:pt x="1272" y="414"/>
                  <a:pt x="1272" y="413"/>
                </a:cubicBezTo>
                <a:cubicBezTo>
                  <a:pt x="1272" y="413"/>
                  <a:pt x="1272" y="413"/>
                  <a:pt x="1272" y="412"/>
                </a:cubicBezTo>
                <a:cubicBezTo>
                  <a:pt x="1272" y="412"/>
                  <a:pt x="1272" y="413"/>
                  <a:pt x="1272" y="413"/>
                </a:cubicBezTo>
                <a:cubicBezTo>
                  <a:pt x="1272" y="412"/>
                  <a:pt x="1272" y="412"/>
                  <a:pt x="1272" y="412"/>
                </a:cubicBezTo>
                <a:cubicBezTo>
                  <a:pt x="1272" y="412"/>
                  <a:pt x="1272" y="411"/>
                  <a:pt x="1272" y="411"/>
                </a:cubicBezTo>
                <a:cubicBezTo>
                  <a:pt x="1272" y="410"/>
                  <a:pt x="1271" y="410"/>
                  <a:pt x="1271" y="409"/>
                </a:cubicBezTo>
                <a:cubicBezTo>
                  <a:pt x="1271" y="409"/>
                  <a:pt x="1271" y="408"/>
                  <a:pt x="1271" y="408"/>
                </a:cubicBezTo>
                <a:cubicBezTo>
                  <a:pt x="1271" y="408"/>
                  <a:pt x="1272" y="408"/>
                  <a:pt x="1272" y="408"/>
                </a:cubicBezTo>
                <a:cubicBezTo>
                  <a:pt x="1272" y="407"/>
                  <a:pt x="1272" y="407"/>
                  <a:pt x="1271" y="407"/>
                </a:cubicBezTo>
                <a:cubicBezTo>
                  <a:pt x="1271" y="407"/>
                  <a:pt x="1271" y="407"/>
                  <a:pt x="1271" y="406"/>
                </a:cubicBezTo>
                <a:cubicBezTo>
                  <a:pt x="1272" y="406"/>
                  <a:pt x="1272" y="406"/>
                  <a:pt x="1272" y="406"/>
                </a:cubicBezTo>
                <a:cubicBezTo>
                  <a:pt x="1272" y="405"/>
                  <a:pt x="1272" y="405"/>
                  <a:pt x="1272" y="405"/>
                </a:cubicBezTo>
                <a:cubicBezTo>
                  <a:pt x="1272" y="404"/>
                  <a:pt x="1272" y="404"/>
                  <a:pt x="1272" y="403"/>
                </a:cubicBezTo>
                <a:cubicBezTo>
                  <a:pt x="1272" y="403"/>
                  <a:pt x="1272" y="403"/>
                  <a:pt x="1271" y="403"/>
                </a:cubicBezTo>
                <a:cubicBezTo>
                  <a:pt x="1271" y="402"/>
                  <a:pt x="1271" y="402"/>
                  <a:pt x="1271" y="401"/>
                </a:cubicBezTo>
                <a:cubicBezTo>
                  <a:pt x="1272" y="401"/>
                  <a:pt x="1272" y="401"/>
                  <a:pt x="1273" y="401"/>
                </a:cubicBezTo>
                <a:cubicBezTo>
                  <a:pt x="1273" y="401"/>
                  <a:pt x="1273" y="401"/>
                  <a:pt x="1273" y="401"/>
                </a:cubicBezTo>
                <a:cubicBezTo>
                  <a:pt x="1273" y="401"/>
                  <a:pt x="1274" y="401"/>
                  <a:pt x="1274" y="401"/>
                </a:cubicBezTo>
                <a:cubicBezTo>
                  <a:pt x="1274" y="401"/>
                  <a:pt x="1273" y="401"/>
                  <a:pt x="1273" y="401"/>
                </a:cubicBezTo>
                <a:cubicBezTo>
                  <a:pt x="1273" y="401"/>
                  <a:pt x="1272" y="400"/>
                  <a:pt x="1272" y="400"/>
                </a:cubicBezTo>
                <a:cubicBezTo>
                  <a:pt x="1272" y="400"/>
                  <a:pt x="1271" y="400"/>
                  <a:pt x="1271" y="400"/>
                </a:cubicBezTo>
                <a:cubicBezTo>
                  <a:pt x="1271" y="400"/>
                  <a:pt x="1271" y="400"/>
                  <a:pt x="1271" y="400"/>
                </a:cubicBezTo>
                <a:cubicBezTo>
                  <a:pt x="1271" y="399"/>
                  <a:pt x="1271" y="399"/>
                  <a:pt x="1271" y="399"/>
                </a:cubicBezTo>
                <a:cubicBezTo>
                  <a:pt x="1271" y="399"/>
                  <a:pt x="1271" y="398"/>
                  <a:pt x="1271" y="398"/>
                </a:cubicBezTo>
                <a:cubicBezTo>
                  <a:pt x="1271" y="398"/>
                  <a:pt x="1272" y="398"/>
                  <a:pt x="1272" y="398"/>
                </a:cubicBezTo>
                <a:cubicBezTo>
                  <a:pt x="1272" y="398"/>
                  <a:pt x="1272" y="398"/>
                  <a:pt x="1272" y="398"/>
                </a:cubicBezTo>
                <a:cubicBezTo>
                  <a:pt x="1273" y="398"/>
                  <a:pt x="1273" y="398"/>
                  <a:pt x="1273" y="398"/>
                </a:cubicBezTo>
                <a:cubicBezTo>
                  <a:pt x="1273" y="398"/>
                  <a:pt x="1274" y="398"/>
                  <a:pt x="1274" y="398"/>
                </a:cubicBezTo>
                <a:cubicBezTo>
                  <a:pt x="1273" y="398"/>
                  <a:pt x="1273" y="398"/>
                  <a:pt x="1273" y="398"/>
                </a:cubicBezTo>
                <a:cubicBezTo>
                  <a:pt x="1273" y="398"/>
                  <a:pt x="1272" y="398"/>
                  <a:pt x="1272" y="397"/>
                </a:cubicBezTo>
                <a:cubicBezTo>
                  <a:pt x="1272" y="397"/>
                  <a:pt x="1271" y="397"/>
                  <a:pt x="1271" y="397"/>
                </a:cubicBezTo>
                <a:cubicBezTo>
                  <a:pt x="1271" y="397"/>
                  <a:pt x="1271" y="397"/>
                  <a:pt x="1271" y="397"/>
                </a:cubicBezTo>
                <a:cubicBezTo>
                  <a:pt x="1271" y="397"/>
                  <a:pt x="1271" y="397"/>
                  <a:pt x="1271" y="397"/>
                </a:cubicBezTo>
                <a:cubicBezTo>
                  <a:pt x="1270" y="397"/>
                  <a:pt x="1270" y="398"/>
                  <a:pt x="1270" y="398"/>
                </a:cubicBezTo>
                <a:cubicBezTo>
                  <a:pt x="1270" y="398"/>
                  <a:pt x="1270" y="399"/>
                  <a:pt x="1269" y="399"/>
                </a:cubicBezTo>
                <a:cubicBezTo>
                  <a:pt x="1270" y="399"/>
                  <a:pt x="1270" y="400"/>
                  <a:pt x="1270" y="400"/>
                </a:cubicBezTo>
                <a:cubicBezTo>
                  <a:pt x="1270" y="400"/>
                  <a:pt x="1270" y="401"/>
                  <a:pt x="1269" y="401"/>
                </a:cubicBezTo>
                <a:cubicBezTo>
                  <a:pt x="1269" y="401"/>
                  <a:pt x="1269" y="401"/>
                  <a:pt x="1269" y="402"/>
                </a:cubicBezTo>
                <a:cubicBezTo>
                  <a:pt x="1269" y="402"/>
                  <a:pt x="1268" y="402"/>
                  <a:pt x="1268" y="402"/>
                </a:cubicBezTo>
                <a:cubicBezTo>
                  <a:pt x="1268" y="402"/>
                  <a:pt x="1267" y="402"/>
                  <a:pt x="1267" y="402"/>
                </a:cubicBezTo>
                <a:cubicBezTo>
                  <a:pt x="1266" y="402"/>
                  <a:pt x="1265" y="403"/>
                  <a:pt x="1264" y="403"/>
                </a:cubicBezTo>
                <a:cubicBezTo>
                  <a:pt x="1263" y="403"/>
                  <a:pt x="1263" y="403"/>
                  <a:pt x="1263" y="403"/>
                </a:cubicBezTo>
                <a:cubicBezTo>
                  <a:pt x="1262" y="403"/>
                  <a:pt x="1261" y="403"/>
                  <a:pt x="1261" y="402"/>
                </a:cubicBezTo>
                <a:cubicBezTo>
                  <a:pt x="1260" y="401"/>
                  <a:pt x="1258" y="400"/>
                  <a:pt x="1257" y="399"/>
                </a:cubicBezTo>
                <a:cubicBezTo>
                  <a:pt x="1257" y="399"/>
                  <a:pt x="1256" y="398"/>
                  <a:pt x="1256" y="398"/>
                </a:cubicBezTo>
                <a:cubicBezTo>
                  <a:pt x="1256" y="398"/>
                  <a:pt x="1256" y="397"/>
                  <a:pt x="1256" y="397"/>
                </a:cubicBezTo>
                <a:cubicBezTo>
                  <a:pt x="1256" y="397"/>
                  <a:pt x="1256" y="397"/>
                  <a:pt x="1256" y="397"/>
                </a:cubicBezTo>
                <a:cubicBezTo>
                  <a:pt x="1255" y="397"/>
                  <a:pt x="1255" y="397"/>
                  <a:pt x="1255" y="397"/>
                </a:cubicBezTo>
                <a:cubicBezTo>
                  <a:pt x="1254" y="396"/>
                  <a:pt x="1254" y="396"/>
                  <a:pt x="1253" y="395"/>
                </a:cubicBezTo>
                <a:cubicBezTo>
                  <a:pt x="1253" y="395"/>
                  <a:pt x="1253" y="395"/>
                  <a:pt x="1253" y="394"/>
                </a:cubicBezTo>
                <a:cubicBezTo>
                  <a:pt x="1253" y="394"/>
                  <a:pt x="1253" y="394"/>
                  <a:pt x="1253" y="394"/>
                </a:cubicBezTo>
                <a:cubicBezTo>
                  <a:pt x="1253" y="394"/>
                  <a:pt x="1254" y="394"/>
                  <a:pt x="1254" y="394"/>
                </a:cubicBezTo>
                <a:cubicBezTo>
                  <a:pt x="1254" y="394"/>
                  <a:pt x="1254" y="394"/>
                  <a:pt x="1254" y="394"/>
                </a:cubicBezTo>
                <a:cubicBezTo>
                  <a:pt x="1254" y="394"/>
                  <a:pt x="1254" y="394"/>
                  <a:pt x="1255" y="394"/>
                </a:cubicBezTo>
                <a:cubicBezTo>
                  <a:pt x="1255" y="395"/>
                  <a:pt x="1255" y="395"/>
                  <a:pt x="1254" y="395"/>
                </a:cubicBezTo>
                <a:cubicBezTo>
                  <a:pt x="1255" y="395"/>
                  <a:pt x="1255" y="395"/>
                  <a:pt x="1255" y="395"/>
                </a:cubicBezTo>
                <a:cubicBezTo>
                  <a:pt x="1256" y="395"/>
                  <a:pt x="1256" y="395"/>
                  <a:pt x="1256" y="395"/>
                </a:cubicBezTo>
                <a:cubicBezTo>
                  <a:pt x="1256" y="395"/>
                  <a:pt x="1256" y="395"/>
                  <a:pt x="1256" y="395"/>
                </a:cubicBezTo>
                <a:cubicBezTo>
                  <a:pt x="1256" y="395"/>
                  <a:pt x="1257" y="395"/>
                  <a:pt x="1257" y="395"/>
                </a:cubicBezTo>
                <a:cubicBezTo>
                  <a:pt x="1257" y="395"/>
                  <a:pt x="1257" y="395"/>
                  <a:pt x="1257" y="395"/>
                </a:cubicBezTo>
                <a:cubicBezTo>
                  <a:pt x="1258" y="395"/>
                  <a:pt x="1258" y="395"/>
                  <a:pt x="1259" y="394"/>
                </a:cubicBezTo>
                <a:cubicBezTo>
                  <a:pt x="1259" y="394"/>
                  <a:pt x="1260" y="394"/>
                  <a:pt x="1260" y="395"/>
                </a:cubicBezTo>
                <a:cubicBezTo>
                  <a:pt x="1260" y="394"/>
                  <a:pt x="1261" y="394"/>
                  <a:pt x="1261" y="394"/>
                </a:cubicBezTo>
                <a:cubicBezTo>
                  <a:pt x="1261" y="394"/>
                  <a:pt x="1261" y="394"/>
                  <a:pt x="1261" y="394"/>
                </a:cubicBezTo>
                <a:cubicBezTo>
                  <a:pt x="1262" y="394"/>
                  <a:pt x="1262" y="393"/>
                  <a:pt x="1262" y="393"/>
                </a:cubicBezTo>
                <a:cubicBezTo>
                  <a:pt x="1262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0" y="393"/>
                  <a:pt x="1259" y="393"/>
                  <a:pt x="1258" y="393"/>
                </a:cubicBezTo>
                <a:cubicBezTo>
                  <a:pt x="1258" y="393"/>
                  <a:pt x="1257" y="393"/>
                  <a:pt x="1257" y="393"/>
                </a:cubicBezTo>
                <a:cubicBezTo>
                  <a:pt x="1257" y="393"/>
                  <a:pt x="1256" y="393"/>
                  <a:pt x="1256" y="393"/>
                </a:cubicBezTo>
                <a:cubicBezTo>
                  <a:pt x="1255" y="393"/>
                  <a:pt x="1254" y="392"/>
                  <a:pt x="1253" y="392"/>
                </a:cubicBezTo>
                <a:cubicBezTo>
                  <a:pt x="1253" y="391"/>
                  <a:pt x="1252" y="391"/>
                  <a:pt x="1252" y="390"/>
                </a:cubicBezTo>
                <a:cubicBezTo>
                  <a:pt x="1251" y="390"/>
                  <a:pt x="1251" y="390"/>
                  <a:pt x="1251" y="390"/>
                </a:cubicBezTo>
                <a:cubicBezTo>
                  <a:pt x="1251" y="390"/>
                  <a:pt x="1251" y="390"/>
                  <a:pt x="1251" y="389"/>
                </a:cubicBezTo>
                <a:cubicBezTo>
                  <a:pt x="1252" y="389"/>
                  <a:pt x="1252" y="389"/>
                  <a:pt x="1252" y="389"/>
                </a:cubicBezTo>
                <a:cubicBezTo>
                  <a:pt x="1253" y="389"/>
                  <a:pt x="1253" y="388"/>
                  <a:pt x="1254" y="388"/>
                </a:cubicBezTo>
                <a:cubicBezTo>
                  <a:pt x="1253" y="388"/>
                  <a:pt x="1253" y="388"/>
                  <a:pt x="1252" y="388"/>
                </a:cubicBezTo>
                <a:cubicBezTo>
                  <a:pt x="1252" y="388"/>
                  <a:pt x="1251" y="389"/>
                  <a:pt x="1251" y="389"/>
                </a:cubicBezTo>
                <a:cubicBezTo>
                  <a:pt x="1250" y="389"/>
                  <a:pt x="1250" y="389"/>
                  <a:pt x="1250" y="389"/>
                </a:cubicBezTo>
                <a:cubicBezTo>
                  <a:pt x="1250" y="389"/>
                  <a:pt x="1250" y="389"/>
                  <a:pt x="1250" y="388"/>
                </a:cubicBezTo>
                <a:cubicBezTo>
                  <a:pt x="1249" y="388"/>
                  <a:pt x="1249" y="388"/>
                  <a:pt x="1248" y="388"/>
                </a:cubicBezTo>
                <a:cubicBezTo>
                  <a:pt x="1248" y="387"/>
                  <a:pt x="1247" y="387"/>
                  <a:pt x="1247" y="387"/>
                </a:cubicBezTo>
                <a:cubicBezTo>
                  <a:pt x="1247" y="387"/>
                  <a:pt x="1246" y="387"/>
                  <a:pt x="1246" y="387"/>
                </a:cubicBezTo>
                <a:cubicBezTo>
                  <a:pt x="1246" y="387"/>
                  <a:pt x="1246" y="387"/>
                  <a:pt x="1246" y="386"/>
                </a:cubicBezTo>
                <a:cubicBezTo>
                  <a:pt x="1246" y="386"/>
                  <a:pt x="1245" y="386"/>
                  <a:pt x="1245" y="386"/>
                </a:cubicBezTo>
                <a:cubicBezTo>
                  <a:pt x="1245" y="386"/>
                  <a:pt x="1245" y="386"/>
                  <a:pt x="1245" y="386"/>
                </a:cubicBezTo>
                <a:cubicBezTo>
                  <a:pt x="1245" y="386"/>
                  <a:pt x="1245" y="386"/>
                  <a:pt x="1245" y="386"/>
                </a:cubicBezTo>
                <a:cubicBezTo>
                  <a:pt x="1245" y="386"/>
                  <a:pt x="1245" y="386"/>
                  <a:pt x="1246" y="386"/>
                </a:cubicBezTo>
                <a:cubicBezTo>
                  <a:pt x="1245" y="385"/>
                  <a:pt x="1245" y="385"/>
                  <a:pt x="1245" y="385"/>
                </a:cubicBezTo>
                <a:cubicBezTo>
                  <a:pt x="1245" y="385"/>
                  <a:pt x="1245" y="384"/>
                  <a:pt x="1245" y="384"/>
                </a:cubicBezTo>
                <a:cubicBezTo>
                  <a:pt x="1245" y="384"/>
                  <a:pt x="1245" y="383"/>
                  <a:pt x="1244" y="383"/>
                </a:cubicBezTo>
                <a:cubicBezTo>
                  <a:pt x="1244" y="383"/>
                  <a:pt x="1244" y="382"/>
                  <a:pt x="1245" y="382"/>
                </a:cubicBezTo>
                <a:cubicBezTo>
                  <a:pt x="1244" y="382"/>
                  <a:pt x="1243" y="382"/>
                  <a:pt x="1243" y="382"/>
                </a:cubicBezTo>
                <a:cubicBezTo>
                  <a:pt x="1243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1"/>
                  <a:pt x="1243" y="381"/>
                </a:cubicBezTo>
                <a:cubicBezTo>
                  <a:pt x="1242" y="381"/>
                  <a:pt x="1242" y="381"/>
                  <a:pt x="1242" y="380"/>
                </a:cubicBezTo>
                <a:cubicBezTo>
                  <a:pt x="1242" y="380"/>
                  <a:pt x="1242" y="380"/>
                  <a:pt x="1241" y="380"/>
                </a:cubicBezTo>
                <a:cubicBezTo>
                  <a:pt x="1241" y="379"/>
                  <a:pt x="1240" y="379"/>
                  <a:pt x="1240" y="379"/>
                </a:cubicBezTo>
                <a:cubicBezTo>
                  <a:pt x="1239" y="379"/>
                  <a:pt x="1239" y="379"/>
                  <a:pt x="1239" y="379"/>
                </a:cubicBezTo>
                <a:cubicBezTo>
                  <a:pt x="1238" y="379"/>
                  <a:pt x="1238" y="379"/>
                  <a:pt x="1237" y="379"/>
                </a:cubicBezTo>
                <a:cubicBezTo>
                  <a:pt x="1237" y="379"/>
                  <a:pt x="1237" y="379"/>
                  <a:pt x="1237" y="379"/>
                </a:cubicBezTo>
                <a:cubicBezTo>
                  <a:pt x="1237" y="379"/>
                  <a:pt x="1237" y="379"/>
                  <a:pt x="1237" y="379"/>
                </a:cubicBezTo>
                <a:cubicBezTo>
                  <a:pt x="1236" y="379"/>
                  <a:pt x="1236" y="379"/>
                  <a:pt x="1236" y="379"/>
                </a:cubicBezTo>
                <a:cubicBezTo>
                  <a:pt x="1235" y="379"/>
                  <a:pt x="1235" y="379"/>
                  <a:pt x="1235" y="379"/>
                </a:cubicBezTo>
                <a:cubicBezTo>
                  <a:pt x="1235" y="379"/>
                  <a:pt x="1234" y="379"/>
                  <a:pt x="1234" y="379"/>
                </a:cubicBezTo>
                <a:cubicBezTo>
                  <a:pt x="1234" y="379"/>
                  <a:pt x="1233" y="379"/>
                  <a:pt x="1233" y="379"/>
                </a:cubicBezTo>
                <a:cubicBezTo>
                  <a:pt x="1232" y="379"/>
                  <a:pt x="1232" y="379"/>
                  <a:pt x="1231" y="379"/>
                </a:cubicBezTo>
                <a:cubicBezTo>
                  <a:pt x="1231" y="379"/>
                  <a:pt x="1231" y="379"/>
                  <a:pt x="1231" y="379"/>
                </a:cubicBezTo>
                <a:cubicBezTo>
                  <a:pt x="1230" y="379"/>
                  <a:pt x="1230" y="379"/>
                  <a:pt x="1230" y="379"/>
                </a:cubicBezTo>
                <a:cubicBezTo>
                  <a:pt x="1230" y="379"/>
                  <a:pt x="1229" y="378"/>
                  <a:pt x="1229" y="378"/>
                </a:cubicBezTo>
                <a:cubicBezTo>
                  <a:pt x="1229" y="378"/>
                  <a:pt x="1229" y="378"/>
                  <a:pt x="1229" y="378"/>
                </a:cubicBezTo>
                <a:cubicBezTo>
                  <a:pt x="1229" y="378"/>
                  <a:pt x="1229" y="378"/>
                  <a:pt x="1228" y="378"/>
                </a:cubicBezTo>
                <a:cubicBezTo>
                  <a:pt x="1228" y="378"/>
                  <a:pt x="1228" y="378"/>
                  <a:pt x="1228" y="378"/>
                </a:cubicBezTo>
                <a:cubicBezTo>
                  <a:pt x="1228" y="378"/>
                  <a:pt x="1228" y="378"/>
                  <a:pt x="1228" y="378"/>
                </a:cubicBezTo>
                <a:cubicBezTo>
                  <a:pt x="1227" y="378"/>
                  <a:pt x="1227" y="378"/>
                  <a:pt x="1227" y="377"/>
                </a:cubicBezTo>
                <a:cubicBezTo>
                  <a:pt x="1226" y="377"/>
                  <a:pt x="1226" y="378"/>
                  <a:pt x="1226" y="378"/>
                </a:cubicBezTo>
                <a:cubicBezTo>
                  <a:pt x="1226" y="378"/>
                  <a:pt x="1226" y="378"/>
                  <a:pt x="1226" y="378"/>
                </a:cubicBezTo>
                <a:cubicBezTo>
                  <a:pt x="1226" y="378"/>
                  <a:pt x="1226" y="378"/>
                  <a:pt x="1225" y="378"/>
                </a:cubicBezTo>
                <a:cubicBezTo>
                  <a:pt x="1225" y="378"/>
                  <a:pt x="1225" y="378"/>
                  <a:pt x="1225" y="378"/>
                </a:cubicBezTo>
                <a:cubicBezTo>
                  <a:pt x="1225" y="378"/>
                  <a:pt x="1224" y="378"/>
                  <a:pt x="1224" y="378"/>
                </a:cubicBezTo>
                <a:cubicBezTo>
                  <a:pt x="1224" y="378"/>
                  <a:pt x="1224" y="378"/>
                  <a:pt x="1223" y="378"/>
                </a:cubicBezTo>
                <a:cubicBezTo>
                  <a:pt x="1223" y="378"/>
                  <a:pt x="1223" y="377"/>
                  <a:pt x="1222" y="377"/>
                </a:cubicBezTo>
                <a:cubicBezTo>
                  <a:pt x="1222" y="377"/>
                  <a:pt x="1222" y="378"/>
                  <a:pt x="1222" y="378"/>
                </a:cubicBezTo>
                <a:cubicBezTo>
                  <a:pt x="1221" y="378"/>
                  <a:pt x="1221" y="378"/>
                  <a:pt x="1221" y="378"/>
                </a:cubicBezTo>
                <a:cubicBezTo>
                  <a:pt x="1221" y="378"/>
                  <a:pt x="1221" y="378"/>
                  <a:pt x="1221" y="377"/>
                </a:cubicBezTo>
                <a:cubicBezTo>
                  <a:pt x="1221" y="377"/>
                  <a:pt x="1220" y="377"/>
                  <a:pt x="1220" y="377"/>
                </a:cubicBezTo>
                <a:cubicBezTo>
                  <a:pt x="1219" y="377"/>
                  <a:pt x="1219" y="378"/>
                  <a:pt x="1218" y="378"/>
                </a:cubicBezTo>
                <a:cubicBezTo>
                  <a:pt x="1218" y="378"/>
                  <a:pt x="1218" y="378"/>
                  <a:pt x="1218" y="377"/>
                </a:cubicBezTo>
                <a:cubicBezTo>
                  <a:pt x="1218" y="377"/>
                  <a:pt x="1218" y="377"/>
                  <a:pt x="1218" y="377"/>
                </a:cubicBezTo>
                <a:cubicBezTo>
                  <a:pt x="1218" y="377"/>
                  <a:pt x="1218" y="377"/>
                  <a:pt x="1217" y="377"/>
                </a:cubicBezTo>
                <a:cubicBezTo>
                  <a:pt x="1217" y="377"/>
                  <a:pt x="1217" y="377"/>
                  <a:pt x="1217" y="377"/>
                </a:cubicBezTo>
                <a:cubicBezTo>
                  <a:pt x="1217" y="377"/>
                  <a:pt x="1217" y="377"/>
                  <a:pt x="1217" y="377"/>
                </a:cubicBezTo>
                <a:cubicBezTo>
                  <a:pt x="1217" y="377"/>
                  <a:pt x="1216" y="377"/>
                  <a:pt x="1216" y="377"/>
                </a:cubicBezTo>
                <a:cubicBezTo>
                  <a:pt x="1215" y="377"/>
                  <a:pt x="1215" y="377"/>
                  <a:pt x="1214" y="377"/>
                </a:cubicBezTo>
                <a:cubicBezTo>
                  <a:pt x="1214" y="376"/>
                  <a:pt x="1214" y="376"/>
                  <a:pt x="1213" y="376"/>
                </a:cubicBezTo>
                <a:cubicBezTo>
                  <a:pt x="1213" y="376"/>
                  <a:pt x="1213" y="376"/>
                  <a:pt x="1213" y="375"/>
                </a:cubicBezTo>
                <a:cubicBezTo>
                  <a:pt x="1213" y="375"/>
                  <a:pt x="1212" y="375"/>
                  <a:pt x="1212" y="375"/>
                </a:cubicBezTo>
                <a:cubicBezTo>
                  <a:pt x="1212" y="375"/>
                  <a:pt x="1212" y="376"/>
                  <a:pt x="1212" y="376"/>
                </a:cubicBezTo>
                <a:cubicBezTo>
                  <a:pt x="1212" y="376"/>
                  <a:pt x="1212" y="376"/>
                  <a:pt x="1211" y="376"/>
                </a:cubicBezTo>
                <a:cubicBezTo>
                  <a:pt x="1211" y="376"/>
                  <a:pt x="1211" y="375"/>
                  <a:pt x="1211" y="375"/>
                </a:cubicBezTo>
                <a:cubicBezTo>
                  <a:pt x="1211" y="375"/>
                  <a:pt x="1210" y="375"/>
                  <a:pt x="1210" y="375"/>
                </a:cubicBezTo>
                <a:cubicBezTo>
                  <a:pt x="1210" y="375"/>
                  <a:pt x="1210" y="375"/>
                  <a:pt x="1209" y="375"/>
                </a:cubicBezTo>
                <a:cubicBezTo>
                  <a:pt x="1209" y="375"/>
                  <a:pt x="1208" y="375"/>
                  <a:pt x="1207" y="375"/>
                </a:cubicBezTo>
                <a:cubicBezTo>
                  <a:pt x="1207" y="374"/>
                  <a:pt x="1206" y="374"/>
                  <a:pt x="1206" y="374"/>
                </a:cubicBezTo>
                <a:cubicBezTo>
                  <a:pt x="1205" y="374"/>
                  <a:pt x="1204" y="374"/>
                  <a:pt x="1203" y="374"/>
                </a:cubicBezTo>
                <a:cubicBezTo>
                  <a:pt x="1203" y="373"/>
                  <a:pt x="1202" y="373"/>
                  <a:pt x="1202" y="372"/>
                </a:cubicBezTo>
                <a:cubicBezTo>
                  <a:pt x="1202" y="372"/>
                  <a:pt x="1201" y="372"/>
                  <a:pt x="1201" y="372"/>
                </a:cubicBezTo>
                <a:cubicBezTo>
                  <a:pt x="1201" y="373"/>
                  <a:pt x="1200" y="373"/>
                  <a:pt x="1200" y="373"/>
                </a:cubicBezTo>
                <a:cubicBezTo>
                  <a:pt x="1200" y="373"/>
                  <a:pt x="1199" y="372"/>
                  <a:pt x="1199" y="372"/>
                </a:cubicBezTo>
                <a:cubicBezTo>
                  <a:pt x="1199" y="372"/>
                  <a:pt x="1198" y="372"/>
                  <a:pt x="1198" y="372"/>
                </a:cubicBezTo>
                <a:cubicBezTo>
                  <a:pt x="1197" y="372"/>
                  <a:pt x="1196" y="372"/>
                  <a:pt x="1195" y="372"/>
                </a:cubicBezTo>
                <a:cubicBezTo>
                  <a:pt x="1195" y="372"/>
                  <a:pt x="1195" y="371"/>
                  <a:pt x="1195" y="371"/>
                </a:cubicBezTo>
                <a:cubicBezTo>
                  <a:pt x="1195" y="371"/>
                  <a:pt x="1195" y="371"/>
                  <a:pt x="1195" y="371"/>
                </a:cubicBezTo>
                <a:cubicBezTo>
                  <a:pt x="1195" y="371"/>
                  <a:pt x="1195" y="370"/>
                  <a:pt x="1195" y="370"/>
                </a:cubicBezTo>
                <a:cubicBezTo>
                  <a:pt x="1194" y="369"/>
                  <a:pt x="1194" y="369"/>
                  <a:pt x="1194" y="368"/>
                </a:cubicBezTo>
                <a:cubicBezTo>
                  <a:pt x="1194" y="368"/>
                  <a:pt x="1194" y="368"/>
                  <a:pt x="1194" y="367"/>
                </a:cubicBezTo>
                <a:cubicBezTo>
                  <a:pt x="1193" y="367"/>
                  <a:pt x="1193" y="366"/>
                  <a:pt x="1193" y="366"/>
                </a:cubicBezTo>
                <a:cubicBezTo>
                  <a:pt x="1193" y="366"/>
                  <a:pt x="1193" y="366"/>
                  <a:pt x="1193" y="366"/>
                </a:cubicBezTo>
                <a:cubicBezTo>
                  <a:pt x="1193" y="366"/>
                  <a:pt x="1192" y="366"/>
                  <a:pt x="1192" y="366"/>
                </a:cubicBezTo>
                <a:cubicBezTo>
                  <a:pt x="1192" y="365"/>
                  <a:pt x="1192" y="365"/>
                  <a:pt x="1192" y="365"/>
                </a:cubicBezTo>
                <a:cubicBezTo>
                  <a:pt x="1192" y="365"/>
                  <a:pt x="1191" y="365"/>
                  <a:pt x="1191" y="365"/>
                </a:cubicBezTo>
                <a:cubicBezTo>
                  <a:pt x="1190" y="365"/>
                  <a:pt x="1190" y="365"/>
                  <a:pt x="1189" y="365"/>
                </a:cubicBezTo>
                <a:cubicBezTo>
                  <a:pt x="1189" y="365"/>
                  <a:pt x="1188" y="365"/>
                  <a:pt x="1188" y="365"/>
                </a:cubicBezTo>
                <a:cubicBezTo>
                  <a:pt x="1188" y="365"/>
                  <a:pt x="1187" y="365"/>
                  <a:pt x="1187" y="365"/>
                </a:cubicBezTo>
                <a:cubicBezTo>
                  <a:pt x="1187" y="365"/>
                  <a:pt x="1187" y="365"/>
                  <a:pt x="1187" y="365"/>
                </a:cubicBezTo>
                <a:cubicBezTo>
                  <a:pt x="1187" y="365"/>
                  <a:pt x="1187" y="365"/>
                  <a:pt x="1187" y="365"/>
                </a:cubicBezTo>
                <a:cubicBezTo>
                  <a:pt x="1186" y="366"/>
                  <a:pt x="1185" y="366"/>
                  <a:pt x="1185" y="366"/>
                </a:cubicBezTo>
                <a:cubicBezTo>
                  <a:pt x="1184" y="366"/>
                  <a:pt x="1183" y="367"/>
                  <a:pt x="1183" y="367"/>
                </a:cubicBezTo>
                <a:cubicBezTo>
                  <a:pt x="1182" y="366"/>
                  <a:pt x="1181" y="366"/>
                  <a:pt x="1181" y="366"/>
                </a:cubicBezTo>
                <a:cubicBezTo>
                  <a:pt x="1180" y="365"/>
                  <a:pt x="1180" y="365"/>
                  <a:pt x="1179" y="365"/>
                </a:cubicBezTo>
                <a:cubicBezTo>
                  <a:pt x="1179" y="365"/>
                  <a:pt x="1178" y="365"/>
                  <a:pt x="1178" y="365"/>
                </a:cubicBezTo>
                <a:cubicBezTo>
                  <a:pt x="1178" y="365"/>
                  <a:pt x="1177" y="365"/>
                  <a:pt x="1177" y="365"/>
                </a:cubicBezTo>
                <a:cubicBezTo>
                  <a:pt x="1177" y="365"/>
                  <a:pt x="1176" y="364"/>
                  <a:pt x="1176" y="364"/>
                </a:cubicBezTo>
                <a:cubicBezTo>
                  <a:pt x="1175" y="364"/>
                  <a:pt x="1175" y="364"/>
                  <a:pt x="1175" y="364"/>
                </a:cubicBezTo>
                <a:cubicBezTo>
                  <a:pt x="1175" y="363"/>
                  <a:pt x="1174" y="363"/>
                  <a:pt x="1174" y="363"/>
                </a:cubicBezTo>
                <a:cubicBezTo>
                  <a:pt x="1174" y="363"/>
                  <a:pt x="1173" y="363"/>
                  <a:pt x="1173" y="363"/>
                </a:cubicBezTo>
                <a:cubicBezTo>
                  <a:pt x="1172" y="362"/>
                  <a:pt x="1172" y="362"/>
                  <a:pt x="1171" y="361"/>
                </a:cubicBezTo>
                <a:cubicBezTo>
                  <a:pt x="1172" y="361"/>
                  <a:pt x="1172" y="361"/>
                  <a:pt x="1172" y="361"/>
                </a:cubicBezTo>
                <a:cubicBezTo>
                  <a:pt x="1172" y="361"/>
                  <a:pt x="1172" y="361"/>
                  <a:pt x="1172" y="361"/>
                </a:cubicBezTo>
                <a:cubicBezTo>
                  <a:pt x="1172" y="361"/>
                  <a:pt x="1171" y="361"/>
                  <a:pt x="1171" y="361"/>
                </a:cubicBezTo>
                <a:cubicBezTo>
                  <a:pt x="1171" y="360"/>
                  <a:pt x="1171" y="360"/>
                  <a:pt x="1171" y="360"/>
                </a:cubicBezTo>
                <a:cubicBezTo>
                  <a:pt x="1170" y="360"/>
                  <a:pt x="1170" y="360"/>
                  <a:pt x="1169" y="360"/>
                </a:cubicBezTo>
                <a:cubicBezTo>
                  <a:pt x="1169" y="360"/>
                  <a:pt x="1169" y="360"/>
                  <a:pt x="1169" y="360"/>
                </a:cubicBezTo>
                <a:cubicBezTo>
                  <a:pt x="1168" y="359"/>
                  <a:pt x="1168" y="359"/>
                  <a:pt x="1167" y="359"/>
                </a:cubicBezTo>
                <a:cubicBezTo>
                  <a:pt x="1167" y="359"/>
                  <a:pt x="1166" y="359"/>
                  <a:pt x="1166" y="359"/>
                </a:cubicBezTo>
                <a:cubicBezTo>
                  <a:pt x="1165" y="359"/>
                  <a:pt x="1165" y="359"/>
                  <a:pt x="1165" y="358"/>
                </a:cubicBezTo>
                <a:cubicBezTo>
                  <a:pt x="1164" y="357"/>
                  <a:pt x="1164" y="357"/>
                  <a:pt x="1163" y="356"/>
                </a:cubicBezTo>
                <a:cubicBezTo>
                  <a:pt x="1163" y="356"/>
                  <a:pt x="1163" y="355"/>
                  <a:pt x="1163" y="355"/>
                </a:cubicBezTo>
                <a:cubicBezTo>
                  <a:pt x="1163" y="355"/>
                  <a:pt x="1163" y="355"/>
                  <a:pt x="1163" y="355"/>
                </a:cubicBezTo>
                <a:cubicBezTo>
                  <a:pt x="1163" y="355"/>
                  <a:pt x="1162" y="355"/>
                  <a:pt x="1162" y="354"/>
                </a:cubicBezTo>
                <a:cubicBezTo>
                  <a:pt x="1162" y="354"/>
                  <a:pt x="1162" y="354"/>
                  <a:pt x="1162" y="354"/>
                </a:cubicBezTo>
                <a:cubicBezTo>
                  <a:pt x="1162" y="354"/>
                  <a:pt x="1162" y="354"/>
                  <a:pt x="1163" y="355"/>
                </a:cubicBezTo>
                <a:cubicBezTo>
                  <a:pt x="1163" y="355"/>
                  <a:pt x="1163" y="355"/>
                  <a:pt x="1163" y="355"/>
                </a:cubicBezTo>
                <a:cubicBezTo>
                  <a:pt x="1163" y="354"/>
                  <a:pt x="1163" y="354"/>
                  <a:pt x="1162" y="354"/>
                </a:cubicBezTo>
                <a:cubicBezTo>
                  <a:pt x="1162" y="354"/>
                  <a:pt x="1162" y="354"/>
                  <a:pt x="1162" y="354"/>
                </a:cubicBezTo>
                <a:cubicBezTo>
                  <a:pt x="1161" y="354"/>
                  <a:pt x="1161" y="354"/>
                  <a:pt x="1161" y="354"/>
                </a:cubicBezTo>
                <a:cubicBezTo>
                  <a:pt x="1161" y="353"/>
                  <a:pt x="1161" y="353"/>
                  <a:pt x="1161" y="352"/>
                </a:cubicBezTo>
                <a:cubicBezTo>
                  <a:pt x="1161" y="352"/>
                  <a:pt x="1160" y="351"/>
                  <a:pt x="1159" y="351"/>
                </a:cubicBezTo>
                <a:cubicBezTo>
                  <a:pt x="1159" y="350"/>
                  <a:pt x="1159" y="350"/>
                  <a:pt x="1159" y="350"/>
                </a:cubicBezTo>
                <a:cubicBezTo>
                  <a:pt x="1159" y="349"/>
                  <a:pt x="1159" y="349"/>
                  <a:pt x="1159" y="349"/>
                </a:cubicBezTo>
                <a:cubicBezTo>
                  <a:pt x="1158" y="349"/>
                  <a:pt x="1158" y="348"/>
                  <a:pt x="1158" y="348"/>
                </a:cubicBezTo>
                <a:cubicBezTo>
                  <a:pt x="1157" y="349"/>
                  <a:pt x="1157" y="349"/>
                  <a:pt x="1156" y="349"/>
                </a:cubicBezTo>
                <a:cubicBezTo>
                  <a:pt x="1156" y="349"/>
                  <a:pt x="1156" y="349"/>
                  <a:pt x="1156" y="349"/>
                </a:cubicBezTo>
                <a:cubicBezTo>
                  <a:pt x="1156" y="349"/>
                  <a:pt x="1155" y="349"/>
                  <a:pt x="1155" y="348"/>
                </a:cubicBezTo>
                <a:cubicBezTo>
                  <a:pt x="1155" y="348"/>
                  <a:pt x="1155" y="348"/>
                  <a:pt x="1155" y="348"/>
                </a:cubicBezTo>
                <a:cubicBezTo>
                  <a:pt x="1154" y="348"/>
                  <a:pt x="1154" y="348"/>
                  <a:pt x="1154" y="348"/>
                </a:cubicBezTo>
                <a:cubicBezTo>
                  <a:pt x="1154" y="348"/>
                  <a:pt x="1154" y="348"/>
                  <a:pt x="1154" y="347"/>
                </a:cubicBezTo>
                <a:cubicBezTo>
                  <a:pt x="1154" y="347"/>
                  <a:pt x="1154" y="347"/>
                  <a:pt x="1154" y="347"/>
                </a:cubicBezTo>
                <a:cubicBezTo>
                  <a:pt x="1154" y="347"/>
                  <a:pt x="1154" y="347"/>
                  <a:pt x="1154" y="347"/>
                </a:cubicBezTo>
                <a:cubicBezTo>
                  <a:pt x="1154" y="347"/>
                  <a:pt x="1153" y="347"/>
                  <a:pt x="1153" y="347"/>
                </a:cubicBezTo>
                <a:cubicBezTo>
                  <a:pt x="1153" y="347"/>
                  <a:pt x="1153" y="347"/>
                  <a:pt x="1153" y="347"/>
                </a:cubicBezTo>
                <a:cubicBezTo>
                  <a:pt x="1153" y="347"/>
                  <a:pt x="1153" y="347"/>
                  <a:pt x="1153" y="348"/>
                </a:cubicBezTo>
                <a:cubicBezTo>
                  <a:pt x="1153" y="348"/>
                  <a:pt x="1153" y="348"/>
                  <a:pt x="1153" y="348"/>
                </a:cubicBezTo>
                <a:cubicBezTo>
                  <a:pt x="1153" y="348"/>
                  <a:pt x="1153" y="349"/>
                  <a:pt x="1152" y="349"/>
                </a:cubicBezTo>
                <a:cubicBezTo>
                  <a:pt x="1152" y="349"/>
                  <a:pt x="1152" y="349"/>
                  <a:pt x="1152" y="349"/>
                </a:cubicBezTo>
                <a:cubicBezTo>
                  <a:pt x="1152" y="348"/>
                  <a:pt x="1151" y="348"/>
                  <a:pt x="1151" y="348"/>
                </a:cubicBezTo>
                <a:cubicBezTo>
                  <a:pt x="1151" y="348"/>
                  <a:pt x="1151" y="348"/>
                  <a:pt x="1151" y="348"/>
                </a:cubicBezTo>
                <a:cubicBezTo>
                  <a:pt x="1151" y="348"/>
                  <a:pt x="1151" y="348"/>
                  <a:pt x="1151" y="348"/>
                </a:cubicBezTo>
                <a:cubicBezTo>
                  <a:pt x="1151" y="348"/>
                  <a:pt x="1150" y="348"/>
                  <a:pt x="1150" y="348"/>
                </a:cubicBezTo>
                <a:cubicBezTo>
                  <a:pt x="1150" y="348"/>
                  <a:pt x="1150" y="348"/>
                  <a:pt x="1150" y="349"/>
                </a:cubicBezTo>
                <a:cubicBezTo>
                  <a:pt x="1149" y="349"/>
                  <a:pt x="1149" y="349"/>
                  <a:pt x="1149" y="349"/>
                </a:cubicBezTo>
                <a:cubicBezTo>
                  <a:pt x="1149" y="349"/>
                  <a:pt x="1150" y="350"/>
                  <a:pt x="1150" y="350"/>
                </a:cubicBezTo>
                <a:cubicBezTo>
                  <a:pt x="1149" y="350"/>
                  <a:pt x="1148" y="350"/>
                  <a:pt x="1147" y="350"/>
                </a:cubicBezTo>
                <a:cubicBezTo>
                  <a:pt x="1147" y="351"/>
                  <a:pt x="1148" y="351"/>
                  <a:pt x="1149" y="352"/>
                </a:cubicBezTo>
                <a:cubicBezTo>
                  <a:pt x="1149" y="352"/>
                  <a:pt x="1149" y="351"/>
                  <a:pt x="1149" y="351"/>
                </a:cubicBezTo>
                <a:cubicBezTo>
                  <a:pt x="1149" y="352"/>
                  <a:pt x="1149" y="352"/>
                  <a:pt x="1149" y="352"/>
                </a:cubicBezTo>
                <a:cubicBezTo>
                  <a:pt x="1149" y="352"/>
                  <a:pt x="1149" y="352"/>
                  <a:pt x="1149" y="353"/>
                </a:cubicBezTo>
                <a:cubicBezTo>
                  <a:pt x="1149" y="353"/>
                  <a:pt x="1149" y="353"/>
                  <a:pt x="1150" y="353"/>
                </a:cubicBezTo>
                <a:cubicBezTo>
                  <a:pt x="1150" y="353"/>
                  <a:pt x="1149" y="353"/>
                  <a:pt x="1149" y="353"/>
                </a:cubicBezTo>
                <a:cubicBezTo>
                  <a:pt x="1149" y="353"/>
                  <a:pt x="1149" y="353"/>
                  <a:pt x="1149" y="353"/>
                </a:cubicBezTo>
                <a:cubicBezTo>
                  <a:pt x="1149" y="353"/>
                  <a:pt x="1150" y="353"/>
                  <a:pt x="1150" y="354"/>
                </a:cubicBezTo>
                <a:cubicBezTo>
                  <a:pt x="1150" y="354"/>
                  <a:pt x="1150" y="354"/>
                  <a:pt x="1150" y="354"/>
                </a:cubicBezTo>
                <a:cubicBezTo>
                  <a:pt x="1150" y="354"/>
                  <a:pt x="1150" y="354"/>
                  <a:pt x="1150" y="354"/>
                </a:cubicBezTo>
                <a:cubicBezTo>
                  <a:pt x="1150" y="354"/>
                  <a:pt x="1150" y="354"/>
                  <a:pt x="1150" y="355"/>
                </a:cubicBezTo>
                <a:cubicBezTo>
                  <a:pt x="1151" y="355"/>
                  <a:pt x="1151" y="355"/>
                  <a:pt x="1151" y="355"/>
                </a:cubicBezTo>
                <a:cubicBezTo>
                  <a:pt x="1151" y="355"/>
                  <a:pt x="1151" y="356"/>
                  <a:pt x="1151" y="356"/>
                </a:cubicBezTo>
                <a:cubicBezTo>
                  <a:pt x="1152" y="357"/>
                  <a:pt x="1152" y="357"/>
                  <a:pt x="1152" y="358"/>
                </a:cubicBezTo>
                <a:cubicBezTo>
                  <a:pt x="1153" y="358"/>
                  <a:pt x="1153" y="358"/>
                  <a:pt x="1154" y="358"/>
                </a:cubicBezTo>
                <a:cubicBezTo>
                  <a:pt x="1154" y="358"/>
                  <a:pt x="1154" y="358"/>
                  <a:pt x="1155" y="359"/>
                </a:cubicBezTo>
                <a:cubicBezTo>
                  <a:pt x="1155" y="359"/>
                  <a:pt x="1155" y="359"/>
                  <a:pt x="1155" y="359"/>
                </a:cubicBezTo>
                <a:cubicBezTo>
                  <a:pt x="1155" y="359"/>
                  <a:pt x="1155" y="359"/>
                  <a:pt x="1155" y="359"/>
                </a:cubicBezTo>
                <a:cubicBezTo>
                  <a:pt x="1155" y="359"/>
                  <a:pt x="1154" y="359"/>
                  <a:pt x="1154" y="359"/>
                </a:cubicBezTo>
                <a:cubicBezTo>
                  <a:pt x="1154" y="359"/>
                  <a:pt x="1154" y="359"/>
                  <a:pt x="1154" y="359"/>
                </a:cubicBezTo>
                <a:cubicBezTo>
                  <a:pt x="1154" y="359"/>
                  <a:pt x="1155" y="360"/>
                  <a:pt x="1155" y="360"/>
                </a:cubicBezTo>
                <a:cubicBezTo>
                  <a:pt x="1155" y="360"/>
                  <a:pt x="1155" y="360"/>
                  <a:pt x="1156" y="360"/>
                </a:cubicBezTo>
                <a:cubicBezTo>
                  <a:pt x="1156" y="360"/>
                  <a:pt x="1156" y="361"/>
                  <a:pt x="1157" y="362"/>
                </a:cubicBezTo>
                <a:cubicBezTo>
                  <a:pt x="1157" y="362"/>
                  <a:pt x="1157" y="362"/>
                  <a:pt x="1157" y="362"/>
                </a:cubicBezTo>
                <a:cubicBezTo>
                  <a:pt x="1158" y="362"/>
                  <a:pt x="1158" y="362"/>
                  <a:pt x="1158" y="363"/>
                </a:cubicBezTo>
                <a:cubicBezTo>
                  <a:pt x="1158" y="363"/>
                  <a:pt x="1158" y="363"/>
                  <a:pt x="1158" y="363"/>
                </a:cubicBezTo>
                <a:cubicBezTo>
                  <a:pt x="1158" y="364"/>
                  <a:pt x="1158" y="364"/>
                  <a:pt x="1159" y="365"/>
                </a:cubicBezTo>
                <a:cubicBezTo>
                  <a:pt x="1159" y="365"/>
                  <a:pt x="1159" y="365"/>
                  <a:pt x="1159" y="365"/>
                </a:cubicBezTo>
                <a:cubicBezTo>
                  <a:pt x="1158" y="365"/>
                  <a:pt x="1158" y="365"/>
                  <a:pt x="1158" y="365"/>
                </a:cubicBezTo>
                <a:cubicBezTo>
                  <a:pt x="1158" y="365"/>
                  <a:pt x="1158" y="366"/>
                  <a:pt x="1159" y="366"/>
                </a:cubicBezTo>
                <a:cubicBezTo>
                  <a:pt x="1159" y="367"/>
                  <a:pt x="1160" y="368"/>
                  <a:pt x="1161" y="369"/>
                </a:cubicBezTo>
                <a:cubicBezTo>
                  <a:pt x="1161" y="369"/>
                  <a:pt x="1161" y="369"/>
                  <a:pt x="1161" y="370"/>
                </a:cubicBezTo>
                <a:cubicBezTo>
                  <a:pt x="1161" y="370"/>
                  <a:pt x="1161" y="370"/>
                  <a:pt x="1162" y="371"/>
                </a:cubicBezTo>
                <a:cubicBezTo>
                  <a:pt x="1162" y="371"/>
                  <a:pt x="1162" y="371"/>
                  <a:pt x="1162" y="371"/>
                </a:cubicBezTo>
                <a:cubicBezTo>
                  <a:pt x="1162" y="371"/>
                  <a:pt x="1162" y="371"/>
                  <a:pt x="1162" y="371"/>
                </a:cubicBezTo>
                <a:cubicBezTo>
                  <a:pt x="1162" y="370"/>
                  <a:pt x="1162" y="370"/>
                  <a:pt x="1162" y="370"/>
                </a:cubicBezTo>
                <a:cubicBezTo>
                  <a:pt x="1162" y="370"/>
                  <a:pt x="1162" y="370"/>
                  <a:pt x="1162" y="369"/>
                </a:cubicBezTo>
                <a:cubicBezTo>
                  <a:pt x="1162" y="369"/>
                  <a:pt x="1162" y="369"/>
                  <a:pt x="1162" y="369"/>
                </a:cubicBezTo>
                <a:cubicBezTo>
                  <a:pt x="1162" y="369"/>
                  <a:pt x="1162" y="368"/>
                  <a:pt x="1162" y="368"/>
                </a:cubicBezTo>
                <a:cubicBezTo>
                  <a:pt x="1162" y="368"/>
                  <a:pt x="1162" y="368"/>
                  <a:pt x="1163" y="368"/>
                </a:cubicBezTo>
                <a:cubicBezTo>
                  <a:pt x="1163" y="368"/>
                  <a:pt x="1163" y="368"/>
                  <a:pt x="1163" y="368"/>
                </a:cubicBezTo>
                <a:cubicBezTo>
                  <a:pt x="1163" y="368"/>
                  <a:pt x="1163" y="367"/>
                  <a:pt x="1163" y="367"/>
                </a:cubicBezTo>
                <a:cubicBezTo>
                  <a:pt x="1163" y="367"/>
                  <a:pt x="1163" y="367"/>
                  <a:pt x="1163" y="367"/>
                </a:cubicBezTo>
                <a:cubicBezTo>
                  <a:pt x="1163" y="367"/>
                  <a:pt x="1163" y="367"/>
                  <a:pt x="1163" y="366"/>
                </a:cubicBezTo>
                <a:cubicBezTo>
                  <a:pt x="1163" y="366"/>
                  <a:pt x="1163" y="366"/>
                  <a:pt x="1163" y="366"/>
                </a:cubicBezTo>
                <a:cubicBezTo>
                  <a:pt x="1163" y="366"/>
                  <a:pt x="1163" y="366"/>
                  <a:pt x="1163" y="366"/>
                </a:cubicBezTo>
                <a:cubicBezTo>
                  <a:pt x="1163" y="366"/>
                  <a:pt x="1164" y="366"/>
                  <a:pt x="1164" y="366"/>
                </a:cubicBezTo>
                <a:cubicBezTo>
                  <a:pt x="1164" y="366"/>
                  <a:pt x="1164" y="366"/>
                  <a:pt x="1164" y="366"/>
                </a:cubicBezTo>
                <a:cubicBezTo>
                  <a:pt x="1164" y="366"/>
                  <a:pt x="1164" y="366"/>
                  <a:pt x="1164" y="366"/>
                </a:cubicBezTo>
                <a:cubicBezTo>
                  <a:pt x="1165" y="366"/>
                  <a:pt x="1165" y="366"/>
                  <a:pt x="1165" y="366"/>
                </a:cubicBezTo>
                <a:cubicBezTo>
                  <a:pt x="1165" y="366"/>
                  <a:pt x="1165" y="366"/>
                  <a:pt x="1165" y="367"/>
                </a:cubicBezTo>
                <a:cubicBezTo>
                  <a:pt x="1165" y="367"/>
                  <a:pt x="1165" y="367"/>
                  <a:pt x="1166" y="367"/>
                </a:cubicBezTo>
                <a:cubicBezTo>
                  <a:pt x="1166" y="367"/>
                  <a:pt x="1166" y="367"/>
                  <a:pt x="1166" y="367"/>
                </a:cubicBezTo>
                <a:cubicBezTo>
                  <a:pt x="1166" y="367"/>
                  <a:pt x="1165" y="368"/>
                  <a:pt x="1165" y="368"/>
                </a:cubicBezTo>
                <a:cubicBezTo>
                  <a:pt x="1165" y="368"/>
                  <a:pt x="1165" y="368"/>
                  <a:pt x="1165" y="368"/>
                </a:cubicBezTo>
                <a:cubicBezTo>
                  <a:pt x="1165" y="368"/>
                  <a:pt x="1165" y="369"/>
                  <a:pt x="1165" y="369"/>
                </a:cubicBezTo>
                <a:cubicBezTo>
                  <a:pt x="1165" y="369"/>
                  <a:pt x="1165" y="369"/>
                  <a:pt x="1165" y="369"/>
                </a:cubicBezTo>
                <a:cubicBezTo>
                  <a:pt x="1165" y="370"/>
                  <a:pt x="1166" y="370"/>
                  <a:pt x="1166" y="370"/>
                </a:cubicBezTo>
                <a:cubicBezTo>
                  <a:pt x="1166" y="371"/>
                  <a:pt x="1165" y="371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6" y="372"/>
                </a:cubicBezTo>
                <a:cubicBezTo>
                  <a:pt x="1165" y="372"/>
                  <a:pt x="1165" y="372"/>
                  <a:pt x="1165" y="373"/>
                </a:cubicBezTo>
                <a:cubicBezTo>
                  <a:pt x="1165" y="373"/>
                  <a:pt x="1165" y="373"/>
                  <a:pt x="1165" y="373"/>
                </a:cubicBezTo>
                <a:cubicBezTo>
                  <a:pt x="1165" y="373"/>
                  <a:pt x="1165" y="373"/>
                  <a:pt x="1165" y="374"/>
                </a:cubicBezTo>
                <a:cubicBezTo>
                  <a:pt x="1165" y="374"/>
                  <a:pt x="1165" y="374"/>
                  <a:pt x="1166" y="374"/>
                </a:cubicBezTo>
                <a:cubicBezTo>
                  <a:pt x="1166" y="374"/>
                  <a:pt x="1166" y="374"/>
                  <a:pt x="1166" y="374"/>
                </a:cubicBezTo>
                <a:cubicBezTo>
                  <a:pt x="1166" y="374"/>
                  <a:pt x="1166" y="374"/>
                  <a:pt x="1166" y="374"/>
                </a:cubicBezTo>
                <a:cubicBezTo>
                  <a:pt x="1166" y="374"/>
                  <a:pt x="1166" y="374"/>
                  <a:pt x="1166" y="373"/>
                </a:cubicBezTo>
                <a:cubicBezTo>
                  <a:pt x="1166" y="374"/>
                  <a:pt x="1167" y="375"/>
                  <a:pt x="1167" y="375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168" y="375"/>
                  <a:pt x="1168" y="375"/>
                  <a:pt x="1168" y="375"/>
                </a:cubicBezTo>
                <a:cubicBezTo>
                  <a:pt x="1168" y="375"/>
                  <a:pt x="1169" y="375"/>
                  <a:pt x="1169" y="375"/>
                </a:cubicBezTo>
                <a:cubicBezTo>
                  <a:pt x="1170" y="375"/>
                  <a:pt x="1170" y="375"/>
                  <a:pt x="1171" y="375"/>
                </a:cubicBezTo>
                <a:cubicBezTo>
                  <a:pt x="1172" y="375"/>
                  <a:pt x="1172" y="375"/>
                  <a:pt x="1173" y="375"/>
                </a:cubicBezTo>
                <a:cubicBezTo>
                  <a:pt x="1173" y="375"/>
                  <a:pt x="1173" y="375"/>
                  <a:pt x="1174" y="375"/>
                </a:cubicBezTo>
                <a:cubicBezTo>
                  <a:pt x="1174" y="375"/>
                  <a:pt x="1174" y="375"/>
                  <a:pt x="1174" y="375"/>
                </a:cubicBezTo>
                <a:cubicBezTo>
                  <a:pt x="1174" y="375"/>
                  <a:pt x="1175" y="375"/>
                  <a:pt x="1175" y="375"/>
                </a:cubicBezTo>
                <a:cubicBezTo>
                  <a:pt x="1175" y="376"/>
                  <a:pt x="1175" y="376"/>
                  <a:pt x="1175" y="376"/>
                </a:cubicBezTo>
                <a:cubicBezTo>
                  <a:pt x="1176" y="376"/>
                  <a:pt x="1176" y="376"/>
                  <a:pt x="1177" y="376"/>
                </a:cubicBezTo>
                <a:cubicBezTo>
                  <a:pt x="1177" y="376"/>
                  <a:pt x="1178" y="376"/>
                  <a:pt x="1178" y="376"/>
                </a:cubicBezTo>
                <a:cubicBezTo>
                  <a:pt x="1178" y="376"/>
                  <a:pt x="1178" y="376"/>
                  <a:pt x="1178" y="376"/>
                </a:cubicBezTo>
                <a:cubicBezTo>
                  <a:pt x="1178" y="376"/>
                  <a:pt x="1179" y="376"/>
                  <a:pt x="1179" y="376"/>
                </a:cubicBezTo>
                <a:cubicBezTo>
                  <a:pt x="1179" y="375"/>
                  <a:pt x="1179" y="375"/>
                  <a:pt x="1179" y="375"/>
                </a:cubicBezTo>
                <a:cubicBezTo>
                  <a:pt x="1179" y="375"/>
                  <a:pt x="1179" y="375"/>
                  <a:pt x="1179" y="375"/>
                </a:cubicBezTo>
                <a:cubicBezTo>
                  <a:pt x="1179" y="375"/>
                  <a:pt x="1180" y="375"/>
                  <a:pt x="1180" y="375"/>
                </a:cubicBezTo>
                <a:cubicBezTo>
                  <a:pt x="1180" y="375"/>
                  <a:pt x="1180" y="375"/>
                  <a:pt x="1180" y="375"/>
                </a:cubicBezTo>
                <a:cubicBezTo>
                  <a:pt x="1181" y="375"/>
                  <a:pt x="1181" y="375"/>
                  <a:pt x="1182" y="375"/>
                </a:cubicBezTo>
                <a:cubicBezTo>
                  <a:pt x="1182" y="374"/>
                  <a:pt x="1181" y="374"/>
                  <a:pt x="1181" y="374"/>
                </a:cubicBezTo>
                <a:cubicBezTo>
                  <a:pt x="1181" y="374"/>
                  <a:pt x="1181" y="374"/>
                  <a:pt x="1181" y="374"/>
                </a:cubicBezTo>
                <a:cubicBezTo>
                  <a:pt x="1181" y="374"/>
                  <a:pt x="1181" y="374"/>
                  <a:pt x="1182" y="374"/>
                </a:cubicBezTo>
                <a:cubicBezTo>
                  <a:pt x="1183" y="373"/>
                  <a:pt x="1184" y="373"/>
                  <a:pt x="1185" y="372"/>
                </a:cubicBezTo>
                <a:cubicBezTo>
                  <a:pt x="1185" y="372"/>
                  <a:pt x="1185" y="371"/>
                  <a:pt x="1185" y="371"/>
                </a:cubicBezTo>
                <a:cubicBezTo>
                  <a:pt x="1186" y="371"/>
                  <a:pt x="1187" y="371"/>
                  <a:pt x="1188" y="370"/>
                </a:cubicBezTo>
                <a:cubicBezTo>
                  <a:pt x="1188" y="370"/>
                  <a:pt x="1188" y="370"/>
                  <a:pt x="1189" y="370"/>
                </a:cubicBezTo>
                <a:cubicBezTo>
                  <a:pt x="1189" y="370"/>
                  <a:pt x="1189" y="370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90" y="369"/>
                </a:cubicBezTo>
                <a:cubicBezTo>
                  <a:pt x="1190" y="368"/>
                  <a:pt x="1190" y="368"/>
                  <a:pt x="1190" y="368"/>
                </a:cubicBezTo>
                <a:cubicBezTo>
                  <a:pt x="1190" y="368"/>
                  <a:pt x="1190" y="368"/>
                  <a:pt x="1190" y="368"/>
                </a:cubicBezTo>
                <a:cubicBezTo>
                  <a:pt x="1190" y="368"/>
                  <a:pt x="1191" y="368"/>
                  <a:pt x="1191" y="368"/>
                </a:cubicBezTo>
                <a:cubicBezTo>
                  <a:pt x="1191" y="368"/>
                  <a:pt x="1191" y="368"/>
                  <a:pt x="1191" y="368"/>
                </a:cubicBezTo>
                <a:cubicBezTo>
                  <a:pt x="1191" y="368"/>
                  <a:pt x="1191" y="368"/>
                  <a:pt x="1191" y="368"/>
                </a:cubicBezTo>
                <a:cubicBezTo>
                  <a:pt x="1191" y="368"/>
                  <a:pt x="1191" y="368"/>
                  <a:pt x="1190" y="368"/>
                </a:cubicBezTo>
                <a:cubicBezTo>
                  <a:pt x="1191" y="368"/>
                  <a:pt x="1191" y="368"/>
                  <a:pt x="1191" y="369"/>
                </a:cubicBezTo>
                <a:cubicBezTo>
                  <a:pt x="1191" y="369"/>
                  <a:pt x="1190" y="369"/>
                  <a:pt x="1190" y="369"/>
                </a:cubicBezTo>
                <a:cubicBezTo>
                  <a:pt x="1190" y="369"/>
                  <a:pt x="1191" y="369"/>
                  <a:pt x="1191" y="369"/>
                </a:cubicBezTo>
                <a:cubicBezTo>
                  <a:pt x="1191" y="369"/>
                  <a:pt x="1190" y="370"/>
                  <a:pt x="1190" y="370"/>
                </a:cubicBezTo>
                <a:cubicBezTo>
                  <a:pt x="1190" y="370"/>
                  <a:pt x="1190" y="370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2"/>
                  <a:pt x="1191" y="372"/>
                </a:cubicBezTo>
                <a:cubicBezTo>
                  <a:pt x="1191" y="372"/>
                  <a:pt x="1190" y="372"/>
                  <a:pt x="1190" y="373"/>
                </a:cubicBezTo>
                <a:cubicBezTo>
                  <a:pt x="1190" y="373"/>
                  <a:pt x="1190" y="374"/>
                  <a:pt x="1190" y="375"/>
                </a:cubicBezTo>
                <a:cubicBezTo>
                  <a:pt x="1191" y="376"/>
                  <a:pt x="1191" y="376"/>
                  <a:pt x="1192" y="377"/>
                </a:cubicBezTo>
                <a:cubicBezTo>
                  <a:pt x="1192" y="377"/>
                  <a:pt x="1192" y="377"/>
                  <a:pt x="1192" y="377"/>
                </a:cubicBezTo>
                <a:cubicBezTo>
                  <a:pt x="1193" y="378"/>
                  <a:pt x="1194" y="379"/>
                  <a:pt x="1195" y="379"/>
                </a:cubicBezTo>
                <a:cubicBezTo>
                  <a:pt x="1195" y="379"/>
                  <a:pt x="1195" y="380"/>
                  <a:pt x="1196" y="380"/>
                </a:cubicBezTo>
                <a:cubicBezTo>
                  <a:pt x="1196" y="380"/>
                  <a:pt x="1196" y="380"/>
                  <a:pt x="1196" y="380"/>
                </a:cubicBezTo>
                <a:cubicBezTo>
                  <a:pt x="1197" y="380"/>
                  <a:pt x="1197" y="380"/>
                  <a:pt x="1197" y="380"/>
                </a:cubicBezTo>
                <a:cubicBezTo>
                  <a:pt x="1198" y="380"/>
                  <a:pt x="1199" y="380"/>
                  <a:pt x="1200" y="380"/>
                </a:cubicBezTo>
                <a:cubicBezTo>
                  <a:pt x="1200" y="380"/>
                  <a:pt x="1201" y="380"/>
                  <a:pt x="1201" y="380"/>
                </a:cubicBezTo>
                <a:cubicBezTo>
                  <a:pt x="1201" y="380"/>
                  <a:pt x="1201" y="380"/>
                  <a:pt x="1202" y="381"/>
                </a:cubicBezTo>
                <a:cubicBezTo>
                  <a:pt x="1202" y="381"/>
                  <a:pt x="1202" y="382"/>
                  <a:pt x="1203" y="382"/>
                </a:cubicBezTo>
                <a:cubicBezTo>
                  <a:pt x="1203" y="382"/>
                  <a:pt x="1203" y="383"/>
                  <a:pt x="1203" y="383"/>
                </a:cubicBezTo>
                <a:cubicBezTo>
                  <a:pt x="1203" y="383"/>
                  <a:pt x="1204" y="384"/>
                  <a:pt x="1204" y="384"/>
                </a:cubicBezTo>
                <a:cubicBezTo>
                  <a:pt x="1204" y="384"/>
                  <a:pt x="1204" y="384"/>
                  <a:pt x="1204" y="385"/>
                </a:cubicBezTo>
                <a:cubicBezTo>
                  <a:pt x="1205" y="385"/>
                  <a:pt x="1205" y="385"/>
                  <a:pt x="1206" y="386"/>
                </a:cubicBezTo>
                <a:cubicBezTo>
                  <a:pt x="1206" y="386"/>
                  <a:pt x="1207" y="386"/>
                  <a:pt x="1207" y="386"/>
                </a:cubicBezTo>
                <a:cubicBezTo>
                  <a:pt x="1207" y="386"/>
                  <a:pt x="1207" y="386"/>
                  <a:pt x="1207" y="387"/>
                </a:cubicBezTo>
                <a:cubicBezTo>
                  <a:pt x="1207" y="387"/>
                  <a:pt x="1207" y="387"/>
                  <a:pt x="1207" y="387"/>
                </a:cubicBezTo>
                <a:cubicBezTo>
                  <a:pt x="1207" y="387"/>
                  <a:pt x="1206" y="388"/>
                  <a:pt x="1206" y="388"/>
                </a:cubicBezTo>
                <a:cubicBezTo>
                  <a:pt x="1206" y="388"/>
                  <a:pt x="1206" y="388"/>
                  <a:pt x="1206" y="388"/>
                </a:cubicBezTo>
                <a:cubicBezTo>
                  <a:pt x="1206" y="389"/>
                  <a:pt x="1206" y="389"/>
                  <a:pt x="1206" y="389"/>
                </a:cubicBezTo>
                <a:cubicBezTo>
                  <a:pt x="1205" y="390"/>
                  <a:pt x="1204" y="390"/>
                  <a:pt x="1204" y="391"/>
                </a:cubicBezTo>
                <a:cubicBezTo>
                  <a:pt x="1203" y="391"/>
                  <a:pt x="1203" y="391"/>
                  <a:pt x="1202" y="391"/>
                </a:cubicBezTo>
                <a:cubicBezTo>
                  <a:pt x="1202" y="392"/>
                  <a:pt x="1202" y="392"/>
                  <a:pt x="1202" y="392"/>
                </a:cubicBezTo>
                <a:cubicBezTo>
                  <a:pt x="1201" y="392"/>
                  <a:pt x="1201" y="392"/>
                  <a:pt x="1201" y="392"/>
                </a:cubicBezTo>
                <a:cubicBezTo>
                  <a:pt x="1201" y="393"/>
                  <a:pt x="1200" y="393"/>
                  <a:pt x="1200" y="394"/>
                </a:cubicBezTo>
                <a:cubicBezTo>
                  <a:pt x="1200" y="394"/>
                  <a:pt x="1200" y="394"/>
                  <a:pt x="1200" y="394"/>
                </a:cubicBezTo>
                <a:cubicBezTo>
                  <a:pt x="1199" y="394"/>
                  <a:pt x="1199" y="393"/>
                  <a:pt x="1199" y="393"/>
                </a:cubicBezTo>
                <a:cubicBezTo>
                  <a:pt x="1199" y="393"/>
                  <a:pt x="1199" y="393"/>
                  <a:pt x="1199" y="393"/>
                </a:cubicBezTo>
                <a:cubicBezTo>
                  <a:pt x="1199" y="393"/>
                  <a:pt x="1199" y="393"/>
                  <a:pt x="1200" y="393"/>
                </a:cubicBezTo>
                <a:cubicBezTo>
                  <a:pt x="1199" y="393"/>
                  <a:pt x="1199" y="392"/>
                  <a:pt x="1199" y="392"/>
                </a:cubicBezTo>
                <a:cubicBezTo>
                  <a:pt x="1199" y="393"/>
                  <a:pt x="1199" y="393"/>
                  <a:pt x="1199" y="393"/>
                </a:cubicBezTo>
                <a:cubicBezTo>
                  <a:pt x="1198" y="393"/>
                  <a:pt x="1198" y="393"/>
                  <a:pt x="1198" y="393"/>
                </a:cubicBezTo>
                <a:cubicBezTo>
                  <a:pt x="1198" y="393"/>
                  <a:pt x="1198" y="393"/>
                  <a:pt x="1198" y="393"/>
                </a:cubicBezTo>
                <a:cubicBezTo>
                  <a:pt x="1198" y="394"/>
                  <a:pt x="1198" y="394"/>
                  <a:pt x="1198" y="394"/>
                </a:cubicBezTo>
                <a:cubicBezTo>
                  <a:pt x="1198" y="394"/>
                  <a:pt x="1198" y="394"/>
                  <a:pt x="1197" y="394"/>
                </a:cubicBezTo>
                <a:cubicBezTo>
                  <a:pt x="1197" y="394"/>
                  <a:pt x="1197" y="395"/>
                  <a:pt x="1196" y="395"/>
                </a:cubicBezTo>
                <a:cubicBezTo>
                  <a:pt x="1196" y="395"/>
                  <a:pt x="1196" y="395"/>
                  <a:pt x="1196" y="396"/>
                </a:cubicBezTo>
                <a:cubicBezTo>
                  <a:pt x="1196" y="396"/>
                  <a:pt x="1196" y="396"/>
                  <a:pt x="1196" y="396"/>
                </a:cubicBezTo>
                <a:cubicBezTo>
                  <a:pt x="1196" y="396"/>
                  <a:pt x="1196" y="396"/>
                  <a:pt x="1196" y="396"/>
                </a:cubicBezTo>
                <a:cubicBezTo>
                  <a:pt x="1196" y="396"/>
                  <a:pt x="1196" y="397"/>
                  <a:pt x="1196" y="397"/>
                </a:cubicBezTo>
                <a:cubicBezTo>
                  <a:pt x="1196" y="397"/>
                  <a:pt x="1196" y="397"/>
                  <a:pt x="1196" y="397"/>
                </a:cubicBezTo>
                <a:cubicBezTo>
                  <a:pt x="1196" y="397"/>
                  <a:pt x="1196" y="398"/>
                  <a:pt x="1196" y="398"/>
                </a:cubicBezTo>
                <a:cubicBezTo>
                  <a:pt x="1197" y="398"/>
                  <a:pt x="1197" y="399"/>
                  <a:pt x="1197" y="399"/>
                </a:cubicBezTo>
                <a:cubicBezTo>
                  <a:pt x="1197" y="399"/>
                  <a:pt x="1197" y="399"/>
                  <a:pt x="1197" y="399"/>
                </a:cubicBezTo>
                <a:cubicBezTo>
                  <a:pt x="1196" y="399"/>
                  <a:pt x="1195" y="399"/>
                  <a:pt x="1194" y="399"/>
                </a:cubicBezTo>
                <a:cubicBezTo>
                  <a:pt x="1194" y="399"/>
                  <a:pt x="1194" y="399"/>
                  <a:pt x="1194" y="399"/>
                </a:cubicBezTo>
                <a:cubicBezTo>
                  <a:pt x="1193" y="399"/>
                  <a:pt x="1193" y="399"/>
                  <a:pt x="1193" y="399"/>
                </a:cubicBezTo>
                <a:cubicBezTo>
                  <a:pt x="1192" y="399"/>
                  <a:pt x="1192" y="399"/>
                  <a:pt x="1192" y="399"/>
                </a:cubicBezTo>
                <a:cubicBezTo>
                  <a:pt x="1191" y="399"/>
                  <a:pt x="1190" y="400"/>
                  <a:pt x="1190" y="400"/>
                </a:cubicBezTo>
                <a:cubicBezTo>
                  <a:pt x="1190" y="400"/>
                  <a:pt x="1189" y="401"/>
                  <a:pt x="1189" y="401"/>
                </a:cubicBezTo>
                <a:cubicBezTo>
                  <a:pt x="1189" y="401"/>
                  <a:pt x="1189" y="401"/>
                  <a:pt x="1189" y="401"/>
                </a:cubicBezTo>
                <a:cubicBezTo>
                  <a:pt x="1189" y="402"/>
                  <a:pt x="1188" y="402"/>
                  <a:pt x="1188" y="402"/>
                </a:cubicBezTo>
                <a:cubicBezTo>
                  <a:pt x="1188" y="402"/>
                  <a:pt x="1187" y="402"/>
                  <a:pt x="1187" y="402"/>
                </a:cubicBezTo>
                <a:cubicBezTo>
                  <a:pt x="1187" y="402"/>
                  <a:pt x="1186" y="402"/>
                  <a:pt x="1186" y="402"/>
                </a:cubicBezTo>
                <a:cubicBezTo>
                  <a:pt x="1185" y="402"/>
                  <a:pt x="1185" y="402"/>
                  <a:pt x="1184" y="401"/>
                </a:cubicBezTo>
                <a:cubicBezTo>
                  <a:pt x="1184" y="402"/>
                  <a:pt x="1184" y="402"/>
                  <a:pt x="1184" y="402"/>
                </a:cubicBezTo>
                <a:cubicBezTo>
                  <a:pt x="1183" y="402"/>
                  <a:pt x="1183" y="402"/>
                  <a:pt x="1183" y="402"/>
                </a:cubicBezTo>
                <a:cubicBezTo>
                  <a:pt x="1183" y="402"/>
                  <a:pt x="1183" y="402"/>
                  <a:pt x="1183" y="402"/>
                </a:cubicBezTo>
                <a:cubicBezTo>
                  <a:pt x="1183" y="403"/>
                  <a:pt x="1183" y="403"/>
                  <a:pt x="1183" y="403"/>
                </a:cubicBezTo>
                <a:cubicBezTo>
                  <a:pt x="1183" y="403"/>
                  <a:pt x="1183" y="403"/>
                  <a:pt x="1183" y="403"/>
                </a:cubicBezTo>
                <a:cubicBezTo>
                  <a:pt x="1183" y="403"/>
                  <a:pt x="1183" y="403"/>
                  <a:pt x="1183" y="404"/>
                </a:cubicBezTo>
                <a:cubicBezTo>
                  <a:pt x="1183" y="404"/>
                  <a:pt x="1183" y="404"/>
                  <a:pt x="1183" y="404"/>
                </a:cubicBezTo>
                <a:cubicBezTo>
                  <a:pt x="1183" y="404"/>
                  <a:pt x="1183" y="404"/>
                  <a:pt x="1183" y="404"/>
                </a:cubicBezTo>
                <a:cubicBezTo>
                  <a:pt x="1183" y="404"/>
                  <a:pt x="1182" y="405"/>
                  <a:pt x="1182" y="405"/>
                </a:cubicBezTo>
                <a:cubicBezTo>
                  <a:pt x="1181" y="405"/>
                  <a:pt x="1181" y="405"/>
                  <a:pt x="1181" y="405"/>
                </a:cubicBezTo>
                <a:cubicBezTo>
                  <a:pt x="1181" y="405"/>
                  <a:pt x="1180" y="405"/>
                  <a:pt x="1180" y="404"/>
                </a:cubicBezTo>
                <a:cubicBezTo>
                  <a:pt x="1180" y="404"/>
                  <a:pt x="1180" y="404"/>
                  <a:pt x="1179" y="404"/>
                </a:cubicBezTo>
                <a:cubicBezTo>
                  <a:pt x="1179" y="404"/>
                  <a:pt x="1179" y="404"/>
                  <a:pt x="1178" y="404"/>
                </a:cubicBezTo>
                <a:cubicBezTo>
                  <a:pt x="1178" y="404"/>
                  <a:pt x="1177" y="405"/>
                  <a:pt x="1177" y="405"/>
                </a:cubicBezTo>
                <a:cubicBezTo>
                  <a:pt x="1176" y="405"/>
                  <a:pt x="1176" y="405"/>
                  <a:pt x="1175" y="404"/>
                </a:cubicBezTo>
                <a:cubicBezTo>
                  <a:pt x="1175" y="405"/>
                  <a:pt x="1175" y="405"/>
                  <a:pt x="1175" y="405"/>
                </a:cubicBezTo>
                <a:cubicBezTo>
                  <a:pt x="1174" y="405"/>
                  <a:pt x="1174" y="405"/>
                  <a:pt x="1174" y="405"/>
                </a:cubicBezTo>
                <a:cubicBezTo>
                  <a:pt x="1174" y="405"/>
                  <a:pt x="1174" y="405"/>
                  <a:pt x="1173" y="405"/>
                </a:cubicBezTo>
                <a:cubicBezTo>
                  <a:pt x="1173" y="405"/>
                  <a:pt x="1173" y="405"/>
                  <a:pt x="1173" y="405"/>
                </a:cubicBezTo>
                <a:cubicBezTo>
                  <a:pt x="1172" y="405"/>
                  <a:pt x="1172" y="405"/>
                  <a:pt x="1172" y="405"/>
                </a:cubicBezTo>
                <a:cubicBezTo>
                  <a:pt x="1171" y="405"/>
                  <a:pt x="1170" y="405"/>
                  <a:pt x="1170" y="405"/>
                </a:cubicBezTo>
                <a:cubicBezTo>
                  <a:pt x="1169" y="405"/>
                  <a:pt x="1168" y="406"/>
                  <a:pt x="1168" y="406"/>
                </a:cubicBezTo>
                <a:cubicBezTo>
                  <a:pt x="1168" y="407"/>
                  <a:pt x="1168" y="407"/>
                  <a:pt x="1167" y="407"/>
                </a:cubicBezTo>
                <a:cubicBezTo>
                  <a:pt x="1168" y="407"/>
                  <a:pt x="1168" y="407"/>
                  <a:pt x="1168" y="408"/>
                </a:cubicBezTo>
                <a:cubicBezTo>
                  <a:pt x="1168" y="408"/>
                  <a:pt x="1168" y="408"/>
                  <a:pt x="1168" y="408"/>
                </a:cubicBezTo>
                <a:cubicBezTo>
                  <a:pt x="1168" y="408"/>
                  <a:pt x="1168" y="408"/>
                  <a:pt x="1168" y="408"/>
                </a:cubicBezTo>
                <a:cubicBezTo>
                  <a:pt x="1167" y="408"/>
                  <a:pt x="1166" y="408"/>
                  <a:pt x="1166" y="408"/>
                </a:cubicBezTo>
                <a:cubicBezTo>
                  <a:pt x="1165" y="408"/>
                  <a:pt x="1165" y="409"/>
                  <a:pt x="1164" y="409"/>
                </a:cubicBezTo>
                <a:cubicBezTo>
                  <a:pt x="1164" y="409"/>
                  <a:pt x="1163" y="409"/>
                  <a:pt x="1162" y="409"/>
                </a:cubicBezTo>
                <a:cubicBezTo>
                  <a:pt x="1161" y="409"/>
                  <a:pt x="1160" y="409"/>
                  <a:pt x="1159" y="409"/>
                </a:cubicBezTo>
                <a:cubicBezTo>
                  <a:pt x="1159" y="409"/>
                  <a:pt x="1159" y="410"/>
                  <a:pt x="1159" y="410"/>
                </a:cubicBezTo>
                <a:cubicBezTo>
                  <a:pt x="1157" y="410"/>
                  <a:pt x="1155" y="410"/>
                  <a:pt x="1153" y="410"/>
                </a:cubicBezTo>
                <a:cubicBezTo>
                  <a:pt x="1153" y="410"/>
                  <a:pt x="1153" y="410"/>
                  <a:pt x="1153" y="410"/>
                </a:cubicBezTo>
                <a:cubicBezTo>
                  <a:pt x="1152" y="410"/>
                  <a:pt x="1152" y="410"/>
                  <a:pt x="1152" y="410"/>
                </a:cubicBezTo>
                <a:cubicBezTo>
                  <a:pt x="1151" y="411"/>
                  <a:pt x="1151" y="411"/>
                  <a:pt x="1150" y="411"/>
                </a:cubicBezTo>
                <a:cubicBezTo>
                  <a:pt x="1150" y="412"/>
                  <a:pt x="1149" y="412"/>
                  <a:pt x="1149" y="412"/>
                </a:cubicBezTo>
                <a:cubicBezTo>
                  <a:pt x="1149" y="412"/>
                  <a:pt x="1148" y="412"/>
                  <a:pt x="1148" y="412"/>
                </a:cubicBezTo>
                <a:cubicBezTo>
                  <a:pt x="1148" y="412"/>
                  <a:pt x="1148" y="412"/>
                  <a:pt x="1148" y="412"/>
                </a:cubicBezTo>
                <a:cubicBezTo>
                  <a:pt x="1148" y="412"/>
                  <a:pt x="1148" y="412"/>
                  <a:pt x="1147" y="412"/>
                </a:cubicBezTo>
                <a:cubicBezTo>
                  <a:pt x="1147" y="412"/>
                  <a:pt x="1147" y="412"/>
                  <a:pt x="1147" y="412"/>
                </a:cubicBezTo>
                <a:cubicBezTo>
                  <a:pt x="1146" y="412"/>
                  <a:pt x="1146" y="412"/>
                  <a:pt x="1146" y="412"/>
                </a:cubicBezTo>
                <a:cubicBezTo>
                  <a:pt x="1146" y="412"/>
                  <a:pt x="1146" y="412"/>
                  <a:pt x="1145" y="411"/>
                </a:cubicBezTo>
                <a:cubicBezTo>
                  <a:pt x="1145" y="412"/>
                  <a:pt x="1144" y="412"/>
                  <a:pt x="1143" y="412"/>
                </a:cubicBezTo>
                <a:cubicBezTo>
                  <a:pt x="1143" y="412"/>
                  <a:pt x="1143" y="413"/>
                  <a:pt x="1143" y="413"/>
                </a:cubicBezTo>
                <a:cubicBezTo>
                  <a:pt x="1143" y="413"/>
                  <a:pt x="1143" y="413"/>
                  <a:pt x="1143" y="413"/>
                </a:cubicBezTo>
                <a:cubicBezTo>
                  <a:pt x="1142" y="413"/>
                  <a:pt x="1141" y="413"/>
                  <a:pt x="1141" y="413"/>
                </a:cubicBezTo>
                <a:cubicBezTo>
                  <a:pt x="1140" y="413"/>
                  <a:pt x="1139" y="413"/>
                  <a:pt x="1138" y="413"/>
                </a:cubicBezTo>
                <a:cubicBezTo>
                  <a:pt x="1138" y="413"/>
                  <a:pt x="1138" y="413"/>
                  <a:pt x="1137" y="413"/>
                </a:cubicBezTo>
                <a:cubicBezTo>
                  <a:pt x="1137" y="413"/>
                  <a:pt x="1137" y="413"/>
                  <a:pt x="1137" y="413"/>
                </a:cubicBezTo>
                <a:cubicBezTo>
                  <a:pt x="1136" y="413"/>
                  <a:pt x="1136" y="413"/>
                  <a:pt x="1136" y="413"/>
                </a:cubicBezTo>
                <a:cubicBezTo>
                  <a:pt x="1135" y="413"/>
                  <a:pt x="1135" y="413"/>
                  <a:pt x="1135" y="412"/>
                </a:cubicBezTo>
                <a:cubicBezTo>
                  <a:pt x="1135" y="412"/>
                  <a:pt x="1135" y="412"/>
                  <a:pt x="1135" y="412"/>
                </a:cubicBezTo>
                <a:cubicBezTo>
                  <a:pt x="1134" y="412"/>
                  <a:pt x="1134" y="412"/>
                  <a:pt x="1134" y="412"/>
                </a:cubicBezTo>
                <a:cubicBezTo>
                  <a:pt x="1133" y="413"/>
                  <a:pt x="1133" y="413"/>
                  <a:pt x="1133" y="413"/>
                </a:cubicBezTo>
                <a:cubicBezTo>
                  <a:pt x="1132" y="413"/>
                  <a:pt x="1132" y="413"/>
                  <a:pt x="1132" y="414"/>
                </a:cubicBezTo>
                <a:cubicBezTo>
                  <a:pt x="1132" y="414"/>
                  <a:pt x="1132" y="414"/>
                  <a:pt x="1131" y="414"/>
                </a:cubicBezTo>
                <a:cubicBezTo>
                  <a:pt x="1131" y="414"/>
                  <a:pt x="1131" y="414"/>
                  <a:pt x="1130" y="415"/>
                </a:cubicBezTo>
                <a:cubicBezTo>
                  <a:pt x="1130" y="415"/>
                  <a:pt x="1130" y="415"/>
                  <a:pt x="1129" y="415"/>
                </a:cubicBezTo>
                <a:cubicBezTo>
                  <a:pt x="1129" y="415"/>
                  <a:pt x="1129" y="414"/>
                  <a:pt x="1129" y="414"/>
                </a:cubicBezTo>
                <a:cubicBezTo>
                  <a:pt x="1129" y="414"/>
                  <a:pt x="1128" y="414"/>
                  <a:pt x="1128" y="414"/>
                </a:cubicBezTo>
                <a:cubicBezTo>
                  <a:pt x="1128" y="414"/>
                  <a:pt x="1127" y="415"/>
                  <a:pt x="1127" y="415"/>
                </a:cubicBezTo>
                <a:cubicBezTo>
                  <a:pt x="1127" y="415"/>
                  <a:pt x="1126" y="415"/>
                  <a:pt x="1126" y="415"/>
                </a:cubicBezTo>
                <a:cubicBezTo>
                  <a:pt x="1126" y="415"/>
                  <a:pt x="1125" y="414"/>
                  <a:pt x="1125" y="414"/>
                </a:cubicBezTo>
                <a:cubicBezTo>
                  <a:pt x="1125" y="414"/>
                  <a:pt x="1124" y="414"/>
                  <a:pt x="1124" y="415"/>
                </a:cubicBezTo>
                <a:cubicBezTo>
                  <a:pt x="1124" y="415"/>
                  <a:pt x="1124" y="415"/>
                  <a:pt x="1123" y="415"/>
                </a:cubicBezTo>
                <a:cubicBezTo>
                  <a:pt x="1123" y="414"/>
                  <a:pt x="1123" y="414"/>
                  <a:pt x="1123" y="414"/>
                </a:cubicBezTo>
                <a:cubicBezTo>
                  <a:pt x="1123" y="414"/>
                  <a:pt x="1123" y="413"/>
                  <a:pt x="1123" y="413"/>
                </a:cubicBezTo>
                <a:cubicBezTo>
                  <a:pt x="1123" y="413"/>
                  <a:pt x="1122" y="412"/>
                  <a:pt x="1122" y="412"/>
                </a:cubicBezTo>
                <a:cubicBezTo>
                  <a:pt x="1122" y="412"/>
                  <a:pt x="1122" y="411"/>
                  <a:pt x="1122" y="411"/>
                </a:cubicBezTo>
                <a:cubicBezTo>
                  <a:pt x="1122" y="411"/>
                  <a:pt x="1122" y="411"/>
                  <a:pt x="1122" y="411"/>
                </a:cubicBezTo>
                <a:cubicBezTo>
                  <a:pt x="1122" y="410"/>
                  <a:pt x="1122" y="410"/>
                  <a:pt x="1122" y="410"/>
                </a:cubicBezTo>
                <a:cubicBezTo>
                  <a:pt x="1122" y="409"/>
                  <a:pt x="1121" y="409"/>
                  <a:pt x="1121" y="409"/>
                </a:cubicBezTo>
                <a:cubicBezTo>
                  <a:pt x="1121" y="408"/>
                  <a:pt x="1121" y="406"/>
                  <a:pt x="1121" y="405"/>
                </a:cubicBezTo>
                <a:cubicBezTo>
                  <a:pt x="1120" y="405"/>
                  <a:pt x="1120" y="404"/>
                  <a:pt x="1120" y="404"/>
                </a:cubicBezTo>
                <a:cubicBezTo>
                  <a:pt x="1120" y="404"/>
                  <a:pt x="1120" y="404"/>
                  <a:pt x="1120" y="403"/>
                </a:cubicBezTo>
                <a:cubicBezTo>
                  <a:pt x="1119" y="403"/>
                  <a:pt x="1119" y="403"/>
                  <a:pt x="1119" y="403"/>
                </a:cubicBezTo>
                <a:cubicBezTo>
                  <a:pt x="1119" y="403"/>
                  <a:pt x="1119" y="403"/>
                  <a:pt x="1119" y="403"/>
                </a:cubicBezTo>
                <a:cubicBezTo>
                  <a:pt x="1119" y="403"/>
                  <a:pt x="1119" y="403"/>
                  <a:pt x="1120" y="403"/>
                </a:cubicBezTo>
                <a:cubicBezTo>
                  <a:pt x="1120" y="403"/>
                  <a:pt x="1120" y="403"/>
                  <a:pt x="1120" y="403"/>
                </a:cubicBezTo>
                <a:cubicBezTo>
                  <a:pt x="1120" y="403"/>
                  <a:pt x="1120" y="403"/>
                  <a:pt x="1120" y="403"/>
                </a:cubicBezTo>
                <a:cubicBezTo>
                  <a:pt x="1120" y="402"/>
                  <a:pt x="1120" y="402"/>
                  <a:pt x="1120" y="402"/>
                </a:cubicBezTo>
                <a:cubicBezTo>
                  <a:pt x="1120" y="401"/>
                  <a:pt x="1120" y="400"/>
                  <a:pt x="1120" y="400"/>
                </a:cubicBezTo>
                <a:cubicBezTo>
                  <a:pt x="1120" y="399"/>
                  <a:pt x="1120" y="399"/>
                  <a:pt x="1120" y="399"/>
                </a:cubicBezTo>
                <a:cubicBezTo>
                  <a:pt x="1120" y="398"/>
                  <a:pt x="1119" y="398"/>
                  <a:pt x="1119" y="397"/>
                </a:cubicBezTo>
                <a:cubicBezTo>
                  <a:pt x="1119" y="397"/>
                  <a:pt x="1118" y="397"/>
                  <a:pt x="1118" y="396"/>
                </a:cubicBezTo>
                <a:cubicBezTo>
                  <a:pt x="1118" y="396"/>
                  <a:pt x="1118" y="395"/>
                  <a:pt x="1118" y="395"/>
                </a:cubicBezTo>
                <a:cubicBezTo>
                  <a:pt x="1117" y="395"/>
                  <a:pt x="1117" y="395"/>
                  <a:pt x="1117" y="395"/>
                </a:cubicBezTo>
                <a:cubicBezTo>
                  <a:pt x="1116" y="394"/>
                  <a:pt x="1115" y="393"/>
                  <a:pt x="1113" y="392"/>
                </a:cubicBezTo>
                <a:cubicBezTo>
                  <a:pt x="1113" y="391"/>
                  <a:pt x="1113" y="391"/>
                  <a:pt x="1113" y="391"/>
                </a:cubicBezTo>
                <a:cubicBezTo>
                  <a:pt x="1113" y="390"/>
                  <a:pt x="1113" y="390"/>
                  <a:pt x="1112" y="390"/>
                </a:cubicBezTo>
                <a:cubicBezTo>
                  <a:pt x="1112" y="389"/>
                  <a:pt x="1112" y="388"/>
                  <a:pt x="1112" y="387"/>
                </a:cubicBezTo>
                <a:cubicBezTo>
                  <a:pt x="1111" y="387"/>
                  <a:pt x="1111" y="387"/>
                  <a:pt x="1111" y="387"/>
                </a:cubicBezTo>
                <a:cubicBezTo>
                  <a:pt x="1111" y="386"/>
                  <a:pt x="1111" y="386"/>
                  <a:pt x="1111" y="386"/>
                </a:cubicBezTo>
                <a:cubicBezTo>
                  <a:pt x="1111" y="386"/>
                  <a:pt x="1110" y="386"/>
                  <a:pt x="1110" y="386"/>
                </a:cubicBezTo>
                <a:cubicBezTo>
                  <a:pt x="1110" y="386"/>
                  <a:pt x="1110" y="385"/>
                  <a:pt x="1110" y="385"/>
                </a:cubicBezTo>
                <a:cubicBezTo>
                  <a:pt x="1110" y="385"/>
                  <a:pt x="1109" y="384"/>
                  <a:pt x="1109" y="384"/>
                </a:cubicBezTo>
                <a:cubicBezTo>
                  <a:pt x="1108" y="384"/>
                  <a:pt x="1108" y="384"/>
                  <a:pt x="1108" y="384"/>
                </a:cubicBezTo>
                <a:cubicBezTo>
                  <a:pt x="1108" y="384"/>
                  <a:pt x="1108" y="384"/>
                  <a:pt x="1107" y="383"/>
                </a:cubicBezTo>
                <a:cubicBezTo>
                  <a:pt x="1107" y="383"/>
                  <a:pt x="1107" y="383"/>
                  <a:pt x="1106" y="383"/>
                </a:cubicBezTo>
                <a:cubicBezTo>
                  <a:pt x="1106" y="383"/>
                  <a:pt x="1106" y="383"/>
                  <a:pt x="1106" y="383"/>
                </a:cubicBezTo>
                <a:cubicBezTo>
                  <a:pt x="1105" y="382"/>
                  <a:pt x="1104" y="381"/>
                  <a:pt x="1103" y="381"/>
                </a:cubicBezTo>
                <a:cubicBezTo>
                  <a:pt x="1103" y="380"/>
                  <a:pt x="1103" y="380"/>
                  <a:pt x="1103" y="380"/>
                </a:cubicBezTo>
                <a:cubicBezTo>
                  <a:pt x="1103" y="380"/>
                  <a:pt x="1103" y="380"/>
                  <a:pt x="1102" y="379"/>
                </a:cubicBezTo>
                <a:cubicBezTo>
                  <a:pt x="1102" y="379"/>
                  <a:pt x="1102" y="378"/>
                  <a:pt x="1102" y="378"/>
                </a:cubicBezTo>
                <a:cubicBezTo>
                  <a:pt x="1102" y="377"/>
                  <a:pt x="1102" y="377"/>
                  <a:pt x="1102" y="377"/>
                </a:cubicBezTo>
                <a:cubicBezTo>
                  <a:pt x="1102" y="376"/>
                  <a:pt x="1102" y="376"/>
                  <a:pt x="1102" y="376"/>
                </a:cubicBezTo>
                <a:cubicBezTo>
                  <a:pt x="1102" y="376"/>
                  <a:pt x="1102" y="376"/>
                  <a:pt x="1102" y="376"/>
                </a:cubicBezTo>
                <a:cubicBezTo>
                  <a:pt x="1102" y="375"/>
                  <a:pt x="1102" y="375"/>
                  <a:pt x="1102" y="375"/>
                </a:cubicBezTo>
                <a:cubicBezTo>
                  <a:pt x="1102" y="374"/>
                  <a:pt x="1102" y="374"/>
                  <a:pt x="1102" y="374"/>
                </a:cubicBezTo>
                <a:cubicBezTo>
                  <a:pt x="1102" y="374"/>
                  <a:pt x="1102" y="373"/>
                  <a:pt x="1102" y="373"/>
                </a:cubicBezTo>
                <a:cubicBezTo>
                  <a:pt x="1102" y="373"/>
                  <a:pt x="1101" y="372"/>
                  <a:pt x="1101" y="372"/>
                </a:cubicBezTo>
                <a:cubicBezTo>
                  <a:pt x="1101" y="372"/>
                  <a:pt x="1101" y="371"/>
                  <a:pt x="1101" y="371"/>
                </a:cubicBezTo>
                <a:cubicBezTo>
                  <a:pt x="1101" y="371"/>
                  <a:pt x="1100" y="371"/>
                  <a:pt x="1100" y="370"/>
                </a:cubicBezTo>
                <a:cubicBezTo>
                  <a:pt x="1100" y="370"/>
                  <a:pt x="1100" y="370"/>
                  <a:pt x="1100" y="369"/>
                </a:cubicBezTo>
                <a:cubicBezTo>
                  <a:pt x="1100" y="369"/>
                  <a:pt x="1100" y="369"/>
                  <a:pt x="1100" y="369"/>
                </a:cubicBezTo>
                <a:cubicBezTo>
                  <a:pt x="1100" y="369"/>
                  <a:pt x="1100" y="369"/>
                  <a:pt x="1099" y="369"/>
                </a:cubicBezTo>
                <a:cubicBezTo>
                  <a:pt x="1099" y="368"/>
                  <a:pt x="1099" y="368"/>
                  <a:pt x="1098" y="367"/>
                </a:cubicBezTo>
                <a:cubicBezTo>
                  <a:pt x="1098" y="367"/>
                  <a:pt x="1097" y="367"/>
                  <a:pt x="1097" y="367"/>
                </a:cubicBezTo>
                <a:cubicBezTo>
                  <a:pt x="1096" y="367"/>
                  <a:pt x="1096" y="366"/>
                  <a:pt x="1096" y="366"/>
                </a:cubicBezTo>
                <a:cubicBezTo>
                  <a:pt x="1095" y="366"/>
                  <a:pt x="1095" y="366"/>
                  <a:pt x="1095" y="367"/>
                </a:cubicBezTo>
                <a:cubicBezTo>
                  <a:pt x="1095" y="366"/>
                  <a:pt x="1094" y="366"/>
                  <a:pt x="1094" y="366"/>
                </a:cubicBezTo>
                <a:cubicBezTo>
                  <a:pt x="1094" y="366"/>
                  <a:pt x="1094" y="366"/>
                  <a:pt x="1094" y="366"/>
                </a:cubicBezTo>
                <a:cubicBezTo>
                  <a:pt x="1094" y="365"/>
                  <a:pt x="1094" y="365"/>
                  <a:pt x="1093" y="365"/>
                </a:cubicBezTo>
                <a:cubicBezTo>
                  <a:pt x="1093" y="365"/>
                  <a:pt x="1093" y="365"/>
                  <a:pt x="1093" y="364"/>
                </a:cubicBezTo>
                <a:cubicBezTo>
                  <a:pt x="1093" y="364"/>
                  <a:pt x="1093" y="364"/>
                  <a:pt x="1094" y="364"/>
                </a:cubicBezTo>
                <a:cubicBezTo>
                  <a:pt x="1094" y="364"/>
                  <a:pt x="1093" y="363"/>
                  <a:pt x="1093" y="363"/>
                </a:cubicBezTo>
                <a:cubicBezTo>
                  <a:pt x="1093" y="363"/>
                  <a:pt x="1093" y="363"/>
                  <a:pt x="1093" y="362"/>
                </a:cubicBezTo>
                <a:cubicBezTo>
                  <a:pt x="1092" y="362"/>
                  <a:pt x="1092" y="361"/>
                  <a:pt x="1092" y="361"/>
                </a:cubicBezTo>
                <a:cubicBezTo>
                  <a:pt x="1092" y="360"/>
                  <a:pt x="1091" y="360"/>
                  <a:pt x="1091" y="360"/>
                </a:cubicBezTo>
                <a:cubicBezTo>
                  <a:pt x="1091" y="360"/>
                  <a:pt x="1090" y="360"/>
                  <a:pt x="1090" y="360"/>
                </a:cubicBezTo>
                <a:cubicBezTo>
                  <a:pt x="1090" y="359"/>
                  <a:pt x="1090" y="359"/>
                  <a:pt x="1090" y="359"/>
                </a:cubicBezTo>
                <a:cubicBezTo>
                  <a:pt x="1090" y="359"/>
                  <a:pt x="1090" y="358"/>
                  <a:pt x="1089" y="358"/>
                </a:cubicBezTo>
                <a:cubicBezTo>
                  <a:pt x="1089" y="358"/>
                  <a:pt x="1089" y="358"/>
                  <a:pt x="1089" y="358"/>
                </a:cubicBezTo>
                <a:cubicBezTo>
                  <a:pt x="1089" y="358"/>
                  <a:pt x="1089" y="357"/>
                  <a:pt x="1089" y="357"/>
                </a:cubicBezTo>
                <a:cubicBezTo>
                  <a:pt x="1089" y="357"/>
                  <a:pt x="1088" y="356"/>
                  <a:pt x="1088" y="355"/>
                </a:cubicBezTo>
                <a:cubicBezTo>
                  <a:pt x="1088" y="355"/>
                  <a:pt x="1087" y="355"/>
                  <a:pt x="1087" y="355"/>
                </a:cubicBezTo>
                <a:cubicBezTo>
                  <a:pt x="1087" y="355"/>
                  <a:pt x="1086" y="355"/>
                  <a:pt x="1086" y="354"/>
                </a:cubicBezTo>
                <a:cubicBezTo>
                  <a:pt x="1086" y="354"/>
                  <a:pt x="1086" y="354"/>
                  <a:pt x="1086" y="354"/>
                </a:cubicBezTo>
                <a:cubicBezTo>
                  <a:pt x="1086" y="354"/>
                  <a:pt x="1086" y="353"/>
                  <a:pt x="1086" y="353"/>
                </a:cubicBezTo>
                <a:cubicBezTo>
                  <a:pt x="1085" y="353"/>
                  <a:pt x="1085" y="353"/>
                  <a:pt x="1085" y="353"/>
                </a:cubicBezTo>
                <a:cubicBezTo>
                  <a:pt x="1085" y="352"/>
                  <a:pt x="1084" y="351"/>
                  <a:pt x="1083" y="351"/>
                </a:cubicBezTo>
                <a:cubicBezTo>
                  <a:pt x="1083" y="351"/>
                  <a:pt x="1083" y="351"/>
                  <a:pt x="1084" y="350"/>
                </a:cubicBezTo>
                <a:cubicBezTo>
                  <a:pt x="1083" y="350"/>
                  <a:pt x="1083" y="350"/>
                  <a:pt x="1082" y="350"/>
                </a:cubicBezTo>
                <a:cubicBezTo>
                  <a:pt x="1082" y="350"/>
                  <a:pt x="1082" y="350"/>
                  <a:pt x="1082" y="350"/>
                </a:cubicBezTo>
                <a:cubicBezTo>
                  <a:pt x="1082" y="350"/>
                  <a:pt x="1082" y="350"/>
                  <a:pt x="1082" y="350"/>
                </a:cubicBezTo>
                <a:cubicBezTo>
                  <a:pt x="1081" y="350"/>
                  <a:pt x="1081" y="350"/>
                  <a:pt x="1081" y="350"/>
                </a:cubicBezTo>
                <a:cubicBezTo>
                  <a:pt x="1081" y="350"/>
                  <a:pt x="1081" y="350"/>
                  <a:pt x="1081" y="350"/>
                </a:cubicBezTo>
                <a:cubicBezTo>
                  <a:pt x="1081" y="349"/>
                  <a:pt x="1081" y="349"/>
                  <a:pt x="1081" y="349"/>
                </a:cubicBezTo>
                <a:cubicBezTo>
                  <a:pt x="1081" y="348"/>
                  <a:pt x="1081" y="348"/>
                  <a:pt x="1081" y="347"/>
                </a:cubicBezTo>
                <a:cubicBezTo>
                  <a:pt x="1081" y="347"/>
                  <a:pt x="1082" y="346"/>
                  <a:pt x="1082" y="346"/>
                </a:cubicBezTo>
                <a:cubicBezTo>
                  <a:pt x="1082" y="346"/>
                  <a:pt x="1082" y="346"/>
                  <a:pt x="1082" y="346"/>
                </a:cubicBezTo>
                <a:cubicBezTo>
                  <a:pt x="1082" y="345"/>
                  <a:pt x="1082" y="345"/>
                  <a:pt x="1082" y="345"/>
                </a:cubicBezTo>
                <a:cubicBezTo>
                  <a:pt x="1082" y="345"/>
                  <a:pt x="1082" y="344"/>
                  <a:pt x="1082" y="344"/>
                </a:cubicBezTo>
                <a:cubicBezTo>
                  <a:pt x="1082" y="344"/>
                  <a:pt x="1082" y="344"/>
                  <a:pt x="1082" y="344"/>
                </a:cubicBezTo>
                <a:cubicBezTo>
                  <a:pt x="1082" y="345"/>
                  <a:pt x="1082" y="345"/>
                  <a:pt x="1081" y="345"/>
                </a:cubicBezTo>
                <a:cubicBezTo>
                  <a:pt x="1081" y="345"/>
                  <a:pt x="1081" y="345"/>
                  <a:pt x="1081" y="345"/>
                </a:cubicBezTo>
                <a:cubicBezTo>
                  <a:pt x="1081" y="346"/>
                  <a:pt x="1081" y="346"/>
                  <a:pt x="1080" y="347"/>
                </a:cubicBezTo>
                <a:cubicBezTo>
                  <a:pt x="1080" y="347"/>
                  <a:pt x="1080" y="348"/>
                  <a:pt x="1080" y="348"/>
                </a:cubicBezTo>
                <a:cubicBezTo>
                  <a:pt x="1080" y="348"/>
                  <a:pt x="1080" y="349"/>
                  <a:pt x="1079" y="349"/>
                </a:cubicBezTo>
                <a:cubicBezTo>
                  <a:pt x="1080" y="349"/>
                  <a:pt x="1080" y="349"/>
                  <a:pt x="1080" y="349"/>
                </a:cubicBezTo>
                <a:cubicBezTo>
                  <a:pt x="1080" y="350"/>
                  <a:pt x="1079" y="350"/>
                  <a:pt x="1079" y="351"/>
                </a:cubicBezTo>
                <a:cubicBezTo>
                  <a:pt x="1079" y="351"/>
                  <a:pt x="1079" y="351"/>
                  <a:pt x="1079" y="351"/>
                </a:cubicBezTo>
                <a:cubicBezTo>
                  <a:pt x="1079" y="351"/>
                  <a:pt x="1078" y="351"/>
                  <a:pt x="1078" y="351"/>
                </a:cubicBezTo>
                <a:cubicBezTo>
                  <a:pt x="1078" y="351"/>
                  <a:pt x="1078" y="351"/>
                  <a:pt x="1078" y="351"/>
                </a:cubicBezTo>
                <a:cubicBezTo>
                  <a:pt x="1078" y="351"/>
                  <a:pt x="1077" y="351"/>
                  <a:pt x="1077" y="351"/>
                </a:cubicBezTo>
                <a:cubicBezTo>
                  <a:pt x="1076" y="350"/>
                  <a:pt x="1075" y="349"/>
                  <a:pt x="1075" y="349"/>
                </a:cubicBezTo>
                <a:cubicBezTo>
                  <a:pt x="1074" y="348"/>
                  <a:pt x="1074" y="348"/>
                  <a:pt x="1074" y="348"/>
                </a:cubicBezTo>
                <a:cubicBezTo>
                  <a:pt x="1074" y="348"/>
                  <a:pt x="1073" y="347"/>
                  <a:pt x="1073" y="347"/>
                </a:cubicBezTo>
                <a:cubicBezTo>
                  <a:pt x="1073" y="347"/>
                  <a:pt x="1073" y="347"/>
                  <a:pt x="1073" y="347"/>
                </a:cubicBezTo>
                <a:cubicBezTo>
                  <a:pt x="1073" y="346"/>
                  <a:pt x="1073" y="346"/>
                  <a:pt x="1073" y="346"/>
                </a:cubicBezTo>
                <a:cubicBezTo>
                  <a:pt x="1072" y="345"/>
                  <a:pt x="1071" y="345"/>
                  <a:pt x="1071" y="344"/>
                </a:cubicBezTo>
                <a:cubicBezTo>
                  <a:pt x="1071" y="344"/>
                  <a:pt x="1071" y="344"/>
                  <a:pt x="1071" y="344"/>
                </a:cubicBezTo>
                <a:cubicBezTo>
                  <a:pt x="1070" y="344"/>
                  <a:pt x="1070" y="344"/>
                  <a:pt x="1070" y="344"/>
                </a:cubicBezTo>
                <a:cubicBezTo>
                  <a:pt x="1070" y="343"/>
                  <a:pt x="1070" y="343"/>
                  <a:pt x="1070" y="343"/>
                </a:cubicBezTo>
                <a:cubicBezTo>
                  <a:pt x="1070" y="343"/>
                  <a:pt x="1070" y="343"/>
                  <a:pt x="1069" y="343"/>
                </a:cubicBezTo>
                <a:cubicBezTo>
                  <a:pt x="1069" y="342"/>
                  <a:pt x="1069" y="342"/>
                  <a:pt x="1069" y="342"/>
                </a:cubicBezTo>
                <a:cubicBezTo>
                  <a:pt x="1069" y="342"/>
                  <a:pt x="1069" y="342"/>
                  <a:pt x="1069" y="343"/>
                </a:cubicBezTo>
                <a:cubicBezTo>
                  <a:pt x="1069" y="343"/>
                  <a:pt x="1069" y="343"/>
                  <a:pt x="1069" y="343"/>
                </a:cubicBezTo>
                <a:cubicBezTo>
                  <a:pt x="1069" y="343"/>
                  <a:pt x="1069" y="343"/>
                  <a:pt x="1069" y="344"/>
                </a:cubicBezTo>
                <a:cubicBezTo>
                  <a:pt x="1069" y="344"/>
                  <a:pt x="1070" y="344"/>
                  <a:pt x="1070" y="345"/>
                </a:cubicBezTo>
                <a:cubicBezTo>
                  <a:pt x="1070" y="345"/>
                  <a:pt x="1070" y="345"/>
                  <a:pt x="1070" y="345"/>
                </a:cubicBezTo>
                <a:cubicBezTo>
                  <a:pt x="1070" y="346"/>
                  <a:pt x="1071" y="347"/>
                  <a:pt x="1072" y="347"/>
                </a:cubicBezTo>
                <a:cubicBezTo>
                  <a:pt x="1072" y="347"/>
                  <a:pt x="1072" y="348"/>
                  <a:pt x="1072" y="348"/>
                </a:cubicBezTo>
                <a:cubicBezTo>
                  <a:pt x="1073" y="349"/>
                  <a:pt x="1074" y="349"/>
                  <a:pt x="1075" y="350"/>
                </a:cubicBezTo>
                <a:cubicBezTo>
                  <a:pt x="1075" y="350"/>
                  <a:pt x="1075" y="350"/>
                  <a:pt x="1075" y="350"/>
                </a:cubicBezTo>
                <a:cubicBezTo>
                  <a:pt x="1075" y="351"/>
                  <a:pt x="1075" y="351"/>
                  <a:pt x="1075" y="351"/>
                </a:cubicBezTo>
                <a:cubicBezTo>
                  <a:pt x="1075" y="351"/>
                  <a:pt x="1075" y="351"/>
                  <a:pt x="1075" y="352"/>
                </a:cubicBezTo>
                <a:cubicBezTo>
                  <a:pt x="1075" y="352"/>
                  <a:pt x="1076" y="353"/>
                  <a:pt x="1076" y="353"/>
                </a:cubicBezTo>
                <a:cubicBezTo>
                  <a:pt x="1076" y="353"/>
                  <a:pt x="1076" y="353"/>
                  <a:pt x="1076" y="354"/>
                </a:cubicBezTo>
                <a:cubicBezTo>
                  <a:pt x="1077" y="354"/>
                  <a:pt x="1077" y="354"/>
                  <a:pt x="1077" y="354"/>
                </a:cubicBezTo>
                <a:cubicBezTo>
                  <a:pt x="1077" y="354"/>
                  <a:pt x="1077" y="355"/>
                  <a:pt x="1077" y="355"/>
                </a:cubicBezTo>
                <a:cubicBezTo>
                  <a:pt x="1077" y="356"/>
                  <a:pt x="1077" y="356"/>
                  <a:pt x="1078" y="356"/>
                </a:cubicBezTo>
                <a:cubicBezTo>
                  <a:pt x="1077" y="356"/>
                  <a:pt x="1077" y="357"/>
                  <a:pt x="1077" y="357"/>
                </a:cubicBezTo>
                <a:cubicBezTo>
                  <a:pt x="1078" y="358"/>
                  <a:pt x="1079" y="359"/>
                  <a:pt x="1080" y="361"/>
                </a:cubicBezTo>
                <a:cubicBezTo>
                  <a:pt x="1080" y="361"/>
                  <a:pt x="1080" y="361"/>
                  <a:pt x="1080" y="362"/>
                </a:cubicBezTo>
                <a:cubicBezTo>
                  <a:pt x="1081" y="362"/>
                  <a:pt x="1081" y="362"/>
                  <a:pt x="1081" y="362"/>
                </a:cubicBezTo>
                <a:cubicBezTo>
                  <a:pt x="1082" y="363"/>
                  <a:pt x="1083" y="364"/>
                  <a:pt x="1083" y="364"/>
                </a:cubicBezTo>
                <a:cubicBezTo>
                  <a:pt x="1083" y="365"/>
                  <a:pt x="1083" y="365"/>
                  <a:pt x="1084" y="365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5" y="366"/>
                  <a:pt x="1085" y="367"/>
                  <a:pt x="1085" y="367"/>
                </a:cubicBezTo>
                <a:cubicBezTo>
                  <a:pt x="1085" y="367"/>
                  <a:pt x="1086" y="367"/>
                  <a:pt x="1086" y="367"/>
                </a:cubicBezTo>
                <a:cubicBezTo>
                  <a:pt x="1086" y="367"/>
                  <a:pt x="1086" y="367"/>
                  <a:pt x="1086" y="367"/>
                </a:cubicBezTo>
                <a:cubicBezTo>
                  <a:pt x="1086" y="367"/>
                  <a:pt x="1085" y="367"/>
                  <a:pt x="1085" y="367"/>
                </a:cubicBezTo>
                <a:cubicBezTo>
                  <a:pt x="1085" y="367"/>
                  <a:pt x="1084" y="367"/>
                  <a:pt x="1084" y="367"/>
                </a:cubicBezTo>
                <a:cubicBezTo>
                  <a:pt x="1084" y="367"/>
                  <a:pt x="1084" y="367"/>
                  <a:pt x="1084" y="367"/>
                </a:cubicBezTo>
                <a:cubicBezTo>
                  <a:pt x="1084" y="368"/>
                  <a:pt x="1084" y="368"/>
                  <a:pt x="1085" y="368"/>
                </a:cubicBezTo>
                <a:cubicBezTo>
                  <a:pt x="1085" y="368"/>
                  <a:pt x="1085" y="368"/>
                  <a:pt x="1085" y="369"/>
                </a:cubicBezTo>
                <a:cubicBezTo>
                  <a:pt x="1084" y="369"/>
                  <a:pt x="1084" y="369"/>
                  <a:pt x="1084" y="369"/>
                </a:cubicBezTo>
                <a:cubicBezTo>
                  <a:pt x="1084" y="370"/>
                  <a:pt x="1085" y="371"/>
                  <a:pt x="1085" y="371"/>
                </a:cubicBezTo>
                <a:cubicBezTo>
                  <a:pt x="1085" y="372"/>
                  <a:pt x="1086" y="372"/>
                  <a:pt x="1086" y="372"/>
                </a:cubicBezTo>
                <a:cubicBezTo>
                  <a:pt x="1087" y="372"/>
                  <a:pt x="1087" y="372"/>
                  <a:pt x="1087" y="372"/>
                </a:cubicBezTo>
                <a:cubicBezTo>
                  <a:pt x="1088" y="372"/>
                  <a:pt x="1088" y="372"/>
                  <a:pt x="1088" y="372"/>
                </a:cubicBezTo>
                <a:cubicBezTo>
                  <a:pt x="1088" y="372"/>
                  <a:pt x="1088" y="373"/>
                  <a:pt x="1089" y="373"/>
                </a:cubicBezTo>
                <a:cubicBezTo>
                  <a:pt x="1089" y="373"/>
                  <a:pt x="1089" y="373"/>
                  <a:pt x="1090" y="373"/>
                </a:cubicBezTo>
                <a:cubicBezTo>
                  <a:pt x="1090" y="374"/>
                  <a:pt x="1090" y="374"/>
                  <a:pt x="1090" y="374"/>
                </a:cubicBezTo>
                <a:cubicBezTo>
                  <a:pt x="1090" y="374"/>
                  <a:pt x="1091" y="375"/>
                  <a:pt x="1091" y="375"/>
                </a:cubicBezTo>
                <a:cubicBezTo>
                  <a:pt x="1091" y="375"/>
                  <a:pt x="1092" y="375"/>
                  <a:pt x="1092" y="375"/>
                </a:cubicBezTo>
                <a:cubicBezTo>
                  <a:pt x="1092" y="375"/>
                  <a:pt x="1092" y="375"/>
                  <a:pt x="1092" y="375"/>
                </a:cubicBezTo>
                <a:cubicBezTo>
                  <a:pt x="1092" y="375"/>
                  <a:pt x="1092" y="375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7"/>
                  <a:pt x="1092" y="377"/>
                </a:cubicBezTo>
                <a:cubicBezTo>
                  <a:pt x="1092" y="377"/>
                  <a:pt x="1092" y="377"/>
                  <a:pt x="1092" y="377"/>
                </a:cubicBezTo>
                <a:cubicBezTo>
                  <a:pt x="1092" y="377"/>
                  <a:pt x="1092" y="377"/>
                  <a:pt x="1092" y="377"/>
                </a:cubicBezTo>
                <a:cubicBezTo>
                  <a:pt x="1092" y="377"/>
                  <a:pt x="1092" y="378"/>
                  <a:pt x="1092" y="378"/>
                </a:cubicBezTo>
                <a:cubicBezTo>
                  <a:pt x="1093" y="378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2" y="379"/>
                </a:cubicBezTo>
                <a:cubicBezTo>
                  <a:pt x="1092" y="379"/>
                  <a:pt x="1092" y="379"/>
                  <a:pt x="1092" y="379"/>
                </a:cubicBezTo>
                <a:cubicBezTo>
                  <a:pt x="1092" y="379"/>
                  <a:pt x="1092" y="379"/>
                  <a:pt x="1092" y="379"/>
                </a:cubicBezTo>
                <a:cubicBezTo>
                  <a:pt x="1093" y="380"/>
                  <a:pt x="1093" y="381"/>
                  <a:pt x="1093" y="382"/>
                </a:cubicBezTo>
                <a:cubicBezTo>
                  <a:pt x="1093" y="383"/>
                  <a:pt x="1093" y="383"/>
                  <a:pt x="1093" y="384"/>
                </a:cubicBezTo>
                <a:cubicBezTo>
                  <a:pt x="1093" y="384"/>
                  <a:pt x="1093" y="385"/>
                  <a:pt x="1093" y="385"/>
                </a:cubicBezTo>
                <a:cubicBezTo>
                  <a:pt x="1093" y="386"/>
                  <a:pt x="1093" y="386"/>
                  <a:pt x="1094" y="387"/>
                </a:cubicBezTo>
                <a:cubicBezTo>
                  <a:pt x="1094" y="387"/>
                  <a:pt x="1094" y="388"/>
                  <a:pt x="1094" y="388"/>
                </a:cubicBezTo>
                <a:cubicBezTo>
                  <a:pt x="1095" y="388"/>
                  <a:pt x="1095" y="388"/>
                  <a:pt x="1095" y="388"/>
                </a:cubicBezTo>
                <a:cubicBezTo>
                  <a:pt x="1096" y="389"/>
                  <a:pt x="1097" y="389"/>
                  <a:pt x="1097" y="389"/>
                </a:cubicBezTo>
                <a:cubicBezTo>
                  <a:pt x="1097" y="390"/>
                  <a:pt x="1097" y="390"/>
                  <a:pt x="1097" y="390"/>
                </a:cubicBezTo>
                <a:cubicBezTo>
                  <a:pt x="1098" y="390"/>
                  <a:pt x="1098" y="390"/>
                  <a:pt x="1098" y="390"/>
                </a:cubicBezTo>
                <a:cubicBezTo>
                  <a:pt x="1099" y="390"/>
                  <a:pt x="1099" y="391"/>
                  <a:pt x="1099" y="391"/>
                </a:cubicBezTo>
                <a:cubicBezTo>
                  <a:pt x="1099" y="391"/>
                  <a:pt x="1099" y="391"/>
                  <a:pt x="1099" y="391"/>
                </a:cubicBezTo>
                <a:cubicBezTo>
                  <a:pt x="1099" y="391"/>
                  <a:pt x="1099" y="391"/>
                  <a:pt x="1100" y="391"/>
                </a:cubicBezTo>
                <a:cubicBezTo>
                  <a:pt x="1100" y="391"/>
                  <a:pt x="1100" y="391"/>
                  <a:pt x="1100" y="391"/>
                </a:cubicBezTo>
                <a:cubicBezTo>
                  <a:pt x="1100" y="392"/>
                  <a:pt x="1100" y="392"/>
                  <a:pt x="1101" y="392"/>
                </a:cubicBezTo>
                <a:cubicBezTo>
                  <a:pt x="1101" y="394"/>
                  <a:pt x="1102" y="395"/>
                  <a:pt x="1102" y="397"/>
                </a:cubicBezTo>
                <a:cubicBezTo>
                  <a:pt x="1103" y="398"/>
                  <a:pt x="1103" y="398"/>
                  <a:pt x="1103" y="399"/>
                </a:cubicBezTo>
                <a:cubicBezTo>
                  <a:pt x="1103" y="399"/>
                  <a:pt x="1103" y="399"/>
                  <a:pt x="1103" y="399"/>
                </a:cubicBezTo>
                <a:cubicBezTo>
                  <a:pt x="1103" y="400"/>
                  <a:pt x="1103" y="400"/>
                  <a:pt x="1103" y="400"/>
                </a:cubicBezTo>
                <a:cubicBezTo>
                  <a:pt x="1103" y="401"/>
                  <a:pt x="1103" y="401"/>
                  <a:pt x="1103" y="401"/>
                </a:cubicBezTo>
                <a:cubicBezTo>
                  <a:pt x="1104" y="401"/>
                  <a:pt x="1104" y="401"/>
                  <a:pt x="1104" y="401"/>
                </a:cubicBezTo>
                <a:cubicBezTo>
                  <a:pt x="1104" y="401"/>
                  <a:pt x="1104" y="402"/>
                  <a:pt x="1104" y="402"/>
                </a:cubicBezTo>
                <a:cubicBezTo>
                  <a:pt x="1104" y="402"/>
                  <a:pt x="1104" y="403"/>
                  <a:pt x="1104" y="403"/>
                </a:cubicBezTo>
                <a:cubicBezTo>
                  <a:pt x="1105" y="403"/>
                  <a:pt x="1105" y="403"/>
                  <a:pt x="1105" y="403"/>
                </a:cubicBezTo>
                <a:cubicBezTo>
                  <a:pt x="1105" y="403"/>
                  <a:pt x="1105" y="403"/>
                  <a:pt x="1105" y="402"/>
                </a:cubicBezTo>
                <a:cubicBezTo>
                  <a:pt x="1105" y="402"/>
                  <a:pt x="1105" y="402"/>
                  <a:pt x="1105" y="402"/>
                </a:cubicBezTo>
                <a:cubicBezTo>
                  <a:pt x="1105" y="402"/>
                  <a:pt x="1105" y="402"/>
                  <a:pt x="1105" y="401"/>
                </a:cubicBezTo>
                <a:cubicBezTo>
                  <a:pt x="1105" y="401"/>
                  <a:pt x="1106" y="401"/>
                  <a:pt x="1106" y="401"/>
                </a:cubicBezTo>
                <a:cubicBezTo>
                  <a:pt x="1106" y="402"/>
                  <a:pt x="1106" y="402"/>
                  <a:pt x="1106" y="402"/>
                </a:cubicBezTo>
                <a:cubicBezTo>
                  <a:pt x="1106" y="402"/>
                  <a:pt x="1106" y="403"/>
                  <a:pt x="1106" y="403"/>
                </a:cubicBezTo>
                <a:cubicBezTo>
                  <a:pt x="1106" y="403"/>
                  <a:pt x="1107" y="403"/>
                  <a:pt x="1107" y="404"/>
                </a:cubicBezTo>
                <a:cubicBezTo>
                  <a:pt x="1107" y="404"/>
                  <a:pt x="1107" y="404"/>
                  <a:pt x="1107" y="404"/>
                </a:cubicBezTo>
                <a:cubicBezTo>
                  <a:pt x="1108" y="404"/>
                  <a:pt x="1108" y="404"/>
                  <a:pt x="1108" y="404"/>
                </a:cubicBezTo>
                <a:cubicBezTo>
                  <a:pt x="1108" y="404"/>
                  <a:pt x="1108" y="404"/>
                  <a:pt x="1109" y="404"/>
                </a:cubicBezTo>
                <a:cubicBezTo>
                  <a:pt x="1109" y="404"/>
                  <a:pt x="1109" y="404"/>
                  <a:pt x="1109" y="404"/>
                </a:cubicBezTo>
                <a:cubicBezTo>
                  <a:pt x="1109" y="404"/>
                  <a:pt x="1109" y="404"/>
                  <a:pt x="1110" y="404"/>
                </a:cubicBezTo>
                <a:cubicBezTo>
                  <a:pt x="1110" y="404"/>
                  <a:pt x="1110" y="405"/>
                  <a:pt x="1110" y="405"/>
                </a:cubicBezTo>
                <a:cubicBezTo>
                  <a:pt x="1111" y="405"/>
                  <a:pt x="1111" y="405"/>
                  <a:pt x="1111" y="405"/>
                </a:cubicBezTo>
                <a:cubicBezTo>
                  <a:pt x="1111" y="405"/>
                  <a:pt x="1112" y="406"/>
                  <a:pt x="1112" y="406"/>
                </a:cubicBezTo>
                <a:cubicBezTo>
                  <a:pt x="1112" y="406"/>
                  <a:pt x="1112" y="406"/>
                  <a:pt x="1112" y="406"/>
                </a:cubicBezTo>
                <a:cubicBezTo>
                  <a:pt x="1113" y="407"/>
                  <a:pt x="1114" y="407"/>
                  <a:pt x="1114" y="408"/>
                </a:cubicBezTo>
                <a:cubicBezTo>
                  <a:pt x="1114" y="408"/>
                  <a:pt x="1114" y="408"/>
                  <a:pt x="1115" y="409"/>
                </a:cubicBezTo>
                <a:cubicBezTo>
                  <a:pt x="1115" y="409"/>
                  <a:pt x="1115" y="409"/>
                  <a:pt x="1116" y="409"/>
                </a:cubicBezTo>
                <a:cubicBezTo>
                  <a:pt x="1116" y="409"/>
                  <a:pt x="1116" y="410"/>
                  <a:pt x="1116" y="410"/>
                </a:cubicBezTo>
                <a:cubicBezTo>
                  <a:pt x="1116" y="410"/>
                  <a:pt x="1117" y="410"/>
                  <a:pt x="1117" y="410"/>
                </a:cubicBezTo>
                <a:cubicBezTo>
                  <a:pt x="1117" y="410"/>
                  <a:pt x="1117" y="410"/>
                  <a:pt x="1117" y="410"/>
                </a:cubicBezTo>
                <a:cubicBezTo>
                  <a:pt x="1117" y="410"/>
                  <a:pt x="1117" y="410"/>
                  <a:pt x="1117" y="410"/>
                </a:cubicBezTo>
                <a:cubicBezTo>
                  <a:pt x="1117" y="411"/>
                  <a:pt x="1118" y="411"/>
                  <a:pt x="1118" y="412"/>
                </a:cubicBezTo>
                <a:cubicBezTo>
                  <a:pt x="1118" y="412"/>
                  <a:pt x="1118" y="412"/>
                  <a:pt x="1118" y="412"/>
                </a:cubicBezTo>
                <a:cubicBezTo>
                  <a:pt x="1119" y="412"/>
                  <a:pt x="1119" y="412"/>
                  <a:pt x="1119" y="413"/>
                </a:cubicBezTo>
                <a:cubicBezTo>
                  <a:pt x="1119" y="413"/>
                  <a:pt x="1119" y="413"/>
                  <a:pt x="1119" y="413"/>
                </a:cubicBezTo>
                <a:cubicBezTo>
                  <a:pt x="1119" y="413"/>
                  <a:pt x="1119" y="413"/>
                  <a:pt x="1119" y="414"/>
                </a:cubicBezTo>
                <a:cubicBezTo>
                  <a:pt x="1119" y="414"/>
                  <a:pt x="1119" y="414"/>
                  <a:pt x="1120" y="414"/>
                </a:cubicBezTo>
                <a:cubicBezTo>
                  <a:pt x="1120" y="414"/>
                  <a:pt x="1120" y="414"/>
                  <a:pt x="1120" y="414"/>
                </a:cubicBezTo>
                <a:cubicBezTo>
                  <a:pt x="1120" y="414"/>
                  <a:pt x="1120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5"/>
                  <a:pt x="1122" y="415"/>
                  <a:pt x="1122" y="415"/>
                </a:cubicBezTo>
                <a:cubicBezTo>
                  <a:pt x="1122" y="415"/>
                  <a:pt x="1122" y="415"/>
                  <a:pt x="1122" y="415"/>
                </a:cubicBezTo>
                <a:cubicBezTo>
                  <a:pt x="1122" y="415"/>
                  <a:pt x="1122" y="416"/>
                  <a:pt x="1122" y="416"/>
                </a:cubicBezTo>
                <a:cubicBezTo>
                  <a:pt x="1122" y="416"/>
                  <a:pt x="1122" y="416"/>
                  <a:pt x="1122" y="417"/>
                </a:cubicBezTo>
                <a:cubicBezTo>
                  <a:pt x="1122" y="417"/>
                  <a:pt x="1122" y="417"/>
                  <a:pt x="1122" y="417"/>
                </a:cubicBezTo>
                <a:cubicBezTo>
                  <a:pt x="1121" y="417"/>
                  <a:pt x="1121" y="417"/>
                  <a:pt x="1121" y="418"/>
                </a:cubicBezTo>
                <a:cubicBezTo>
                  <a:pt x="1120" y="418"/>
                  <a:pt x="1120" y="418"/>
                  <a:pt x="1120" y="417"/>
                </a:cubicBezTo>
                <a:cubicBezTo>
                  <a:pt x="1120" y="418"/>
                  <a:pt x="1120" y="418"/>
                  <a:pt x="1119" y="418"/>
                </a:cubicBezTo>
                <a:cubicBezTo>
                  <a:pt x="1119" y="418"/>
                  <a:pt x="1119" y="418"/>
                  <a:pt x="1118" y="418"/>
                </a:cubicBezTo>
                <a:cubicBezTo>
                  <a:pt x="1118" y="418"/>
                  <a:pt x="1119" y="418"/>
                  <a:pt x="1119" y="418"/>
                </a:cubicBezTo>
                <a:cubicBezTo>
                  <a:pt x="1119" y="418"/>
                  <a:pt x="1119" y="418"/>
                  <a:pt x="1119" y="419"/>
                </a:cubicBezTo>
                <a:cubicBezTo>
                  <a:pt x="1119" y="418"/>
                  <a:pt x="1120" y="418"/>
                  <a:pt x="1120" y="418"/>
                </a:cubicBezTo>
                <a:cubicBezTo>
                  <a:pt x="1120" y="418"/>
                  <a:pt x="1121" y="418"/>
                  <a:pt x="1121" y="418"/>
                </a:cubicBezTo>
                <a:cubicBezTo>
                  <a:pt x="1121" y="419"/>
                  <a:pt x="1121" y="419"/>
                  <a:pt x="1121" y="419"/>
                </a:cubicBezTo>
                <a:cubicBezTo>
                  <a:pt x="1121" y="419"/>
                  <a:pt x="1122" y="419"/>
                  <a:pt x="1122" y="419"/>
                </a:cubicBezTo>
                <a:cubicBezTo>
                  <a:pt x="1122" y="419"/>
                  <a:pt x="1122" y="419"/>
                  <a:pt x="1122" y="419"/>
                </a:cubicBezTo>
                <a:cubicBezTo>
                  <a:pt x="1123" y="420"/>
                  <a:pt x="1124" y="421"/>
                  <a:pt x="1125" y="422"/>
                </a:cubicBezTo>
                <a:cubicBezTo>
                  <a:pt x="1125" y="422"/>
                  <a:pt x="1125" y="423"/>
                  <a:pt x="1125" y="423"/>
                </a:cubicBezTo>
                <a:cubicBezTo>
                  <a:pt x="1125" y="423"/>
                  <a:pt x="1125" y="423"/>
                  <a:pt x="1125" y="423"/>
                </a:cubicBezTo>
                <a:cubicBezTo>
                  <a:pt x="1126" y="423"/>
                  <a:pt x="1126" y="423"/>
                  <a:pt x="1127" y="424"/>
                </a:cubicBezTo>
                <a:cubicBezTo>
                  <a:pt x="1127" y="424"/>
                  <a:pt x="1127" y="424"/>
                  <a:pt x="1128" y="424"/>
                </a:cubicBezTo>
                <a:cubicBezTo>
                  <a:pt x="1128" y="424"/>
                  <a:pt x="1129" y="424"/>
                  <a:pt x="1129" y="424"/>
                </a:cubicBezTo>
                <a:cubicBezTo>
                  <a:pt x="1129" y="424"/>
                  <a:pt x="1129" y="424"/>
                  <a:pt x="1130" y="424"/>
                </a:cubicBezTo>
                <a:cubicBezTo>
                  <a:pt x="1130" y="424"/>
                  <a:pt x="1131" y="424"/>
                  <a:pt x="1131" y="423"/>
                </a:cubicBezTo>
                <a:cubicBezTo>
                  <a:pt x="1131" y="423"/>
                  <a:pt x="1132" y="423"/>
                  <a:pt x="1132" y="423"/>
                </a:cubicBezTo>
                <a:cubicBezTo>
                  <a:pt x="1132" y="423"/>
                  <a:pt x="1133" y="423"/>
                  <a:pt x="1134" y="423"/>
                </a:cubicBezTo>
                <a:cubicBezTo>
                  <a:pt x="1134" y="423"/>
                  <a:pt x="1134" y="423"/>
                  <a:pt x="1134" y="423"/>
                </a:cubicBezTo>
                <a:cubicBezTo>
                  <a:pt x="1134" y="423"/>
                  <a:pt x="1134" y="423"/>
                  <a:pt x="1134" y="423"/>
                </a:cubicBezTo>
                <a:cubicBezTo>
                  <a:pt x="1135" y="423"/>
                  <a:pt x="1135" y="423"/>
                  <a:pt x="1136" y="423"/>
                </a:cubicBezTo>
                <a:cubicBezTo>
                  <a:pt x="1136" y="423"/>
                  <a:pt x="1136" y="423"/>
                  <a:pt x="1136" y="423"/>
                </a:cubicBezTo>
                <a:cubicBezTo>
                  <a:pt x="1136" y="423"/>
                  <a:pt x="1137" y="423"/>
                  <a:pt x="1137" y="423"/>
                </a:cubicBezTo>
                <a:cubicBezTo>
                  <a:pt x="1138" y="423"/>
                  <a:pt x="1138" y="423"/>
                  <a:pt x="1139" y="423"/>
                </a:cubicBezTo>
                <a:cubicBezTo>
                  <a:pt x="1140" y="423"/>
                  <a:pt x="1141" y="423"/>
                  <a:pt x="1142" y="422"/>
                </a:cubicBezTo>
                <a:cubicBezTo>
                  <a:pt x="1142" y="422"/>
                  <a:pt x="1142" y="422"/>
                  <a:pt x="1143" y="422"/>
                </a:cubicBezTo>
                <a:cubicBezTo>
                  <a:pt x="1143" y="423"/>
                  <a:pt x="1143" y="423"/>
                  <a:pt x="1144" y="423"/>
                </a:cubicBezTo>
                <a:cubicBezTo>
                  <a:pt x="1144" y="423"/>
                  <a:pt x="1144" y="423"/>
                  <a:pt x="1144" y="423"/>
                </a:cubicBezTo>
                <a:cubicBezTo>
                  <a:pt x="1145" y="423"/>
                  <a:pt x="1145" y="423"/>
                  <a:pt x="1146" y="423"/>
                </a:cubicBezTo>
                <a:cubicBezTo>
                  <a:pt x="1146" y="423"/>
                  <a:pt x="1147" y="423"/>
                  <a:pt x="1147" y="423"/>
                </a:cubicBezTo>
                <a:cubicBezTo>
                  <a:pt x="1148" y="423"/>
                  <a:pt x="1148" y="423"/>
                  <a:pt x="1149" y="423"/>
                </a:cubicBezTo>
                <a:cubicBezTo>
                  <a:pt x="1149" y="423"/>
                  <a:pt x="1149" y="423"/>
                  <a:pt x="1149" y="423"/>
                </a:cubicBezTo>
                <a:cubicBezTo>
                  <a:pt x="1149" y="423"/>
                  <a:pt x="1150" y="423"/>
                  <a:pt x="1150" y="423"/>
                </a:cubicBezTo>
                <a:cubicBezTo>
                  <a:pt x="1151" y="423"/>
                  <a:pt x="1151" y="423"/>
                  <a:pt x="1152" y="423"/>
                </a:cubicBezTo>
                <a:cubicBezTo>
                  <a:pt x="1153" y="423"/>
                  <a:pt x="1153" y="423"/>
                  <a:pt x="1153" y="423"/>
                </a:cubicBezTo>
                <a:cubicBezTo>
                  <a:pt x="1154" y="423"/>
                  <a:pt x="1154" y="423"/>
                  <a:pt x="1155" y="423"/>
                </a:cubicBezTo>
                <a:cubicBezTo>
                  <a:pt x="1155" y="423"/>
                  <a:pt x="1155" y="423"/>
                  <a:pt x="1155" y="423"/>
                </a:cubicBezTo>
                <a:cubicBezTo>
                  <a:pt x="1155" y="423"/>
                  <a:pt x="1155" y="423"/>
                  <a:pt x="1155" y="423"/>
                </a:cubicBezTo>
                <a:cubicBezTo>
                  <a:pt x="1156" y="423"/>
                  <a:pt x="1156" y="423"/>
                  <a:pt x="1157" y="423"/>
                </a:cubicBezTo>
                <a:cubicBezTo>
                  <a:pt x="1157" y="423"/>
                  <a:pt x="1157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9" y="421"/>
                  <a:pt x="1159" y="421"/>
                </a:cubicBezTo>
                <a:cubicBezTo>
                  <a:pt x="1159" y="421"/>
                  <a:pt x="1159" y="421"/>
                  <a:pt x="1159" y="421"/>
                </a:cubicBezTo>
                <a:cubicBezTo>
                  <a:pt x="1159" y="421"/>
                  <a:pt x="1159" y="421"/>
                  <a:pt x="1159" y="421"/>
                </a:cubicBezTo>
                <a:cubicBezTo>
                  <a:pt x="1159" y="421"/>
                  <a:pt x="1160" y="422"/>
                  <a:pt x="1160" y="422"/>
                </a:cubicBezTo>
                <a:cubicBezTo>
                  <a:pt x="1160" y="422"/>
                  <a:pt x="1161" y="422"/>
                  <a:pt x="1161" y="422"/>
                </a:cubicBezTo>
                <a:cubicBezTo>
                  <a:pt x="1161" y="422"/>
                  <a:pt x="1161" y="422"/>
                  <a:pt x="1162" y="422"/>
                </a:cubicBezTo>
                <a:cubicBezTo>
                  <a:pt x="1162" y="422"/>
                  <a:pt x="1162" y="422"/>
                  <a:pt x="1162" y="422"/>
                </a:cubicBezTo>
                <a:cubicBezTo>
                  <a:pt x="1162" y="423"/>
                  <a:pt x="1161" y="423"/>
                  <a:pt x="1161" y="423"/>
                </a:cubicBezTo>
                <a:cubicBezTo>
                  <a:pt x="1161" y="423"/>
                  <a:pt x="1161" y="423"/>
                  <a:pt x="1161" y="423"/>
                </a:cubicBezTo>
                <a:cubicBezTo>
                  <a:pt x="1161" y="424"/>
                  <a:pt x="1161" y="424"/>
                  <a:pt x="1161" y="424"/>
                </a:cubicBezTo>
                <a:cubicBezTo>
                  <a:pt x="1161" y="424"/>
                  <a:pt x="1160" y="424"/>
                  <a:pt x="1160" y="424"/>
                </a:cubicBezTo>
                <a:cubicBezTo>
                  <a:pt x="1160" y="424"/>
                  <a:pt x="1160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0" y="425"/>
                  <a:pt x="1160" y="426"/>
                  <a:pt x="1160" y="426"/>
                </a:cubicBezTo>
                <a:cubicBezTo>
                  <a:pt x="1160" y="426"/>
                  <a:pt x="1160" y="426"/>
                  <a:pt x="1160" y="426"/>
                </a:cubicBezTo>
                <a:cubicBezTo>
                  <a:pt x="1160" y="427"/>
                  <a:pt x="1160" y="427"/>
                  <a:pt x="1161" y="427"/>
                </a:cubicBezTo>
                <a:cubicBezTo>
                  <a:pt x="1160" y="427"/>
                  <a:pt x="1160" y="427"/>
                  <a:pt x="1160" y="428"/>
                </a:cubicBezTo>
                <a:cubicBezTo>
                  <a:pt x="1160" y="428"/>
                  <a:pt x="1161" y="428"/>
                  <a:pt x="1161" y="428"/>
                </a:cubicBezTo>
                <a:cubicBezTo>
                  <a:pt x="1161" y="428"/>
                  <a:pt x="1161" y="427"/>
                  <a:pt x="1161" y="427"/>
                </a:cubicBezTo>
                <a:cubicBezTo>
                  <a:pt x="1161" y="427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0" y="428"/>
                  <a:pt x="1160" y="428"/>
                </a:cubicBezTo>
                <a:cubicBezTo>
                  <a:pt x="1160" y="428"/>
                  <a:pt x="1160" y="428"/>
                  <a:pt x="1160" y="428"/>
                </a:cubicBezTo>
                <a:cubicBezTo>
                  <a:pt x="1159" y="428"/>
                  <a:pt x="1159" y="428"/>
                  <a:pt x="1159" y="429"/>
                </a:cubicBezTo>
                <a:cubicBezTo>
                  <a:pt x="1159" y="429"/>
                  <a:pt x="1159" y="429"/>
                  <a:pt x="1159" y="429"/>
                </a:cubicBezTo>
                <a:cubicBezTo>
                  <a:pt x="1159" y="430"/>
                  <a:pt x="1159" y="430"/>
                  <a:pt x="1159" y="430"/>
                </a:cubicBezTo>
                <a:cubicBezTo>
                  <a:pt x="1159" y="430"/>
                  <a:pt x="1159" y="430"/>
                  <a:pt x="1159" y="430"/>
                </a:cubicBezTo>
                <a:cubicBezTo>
                  <a:pt x="1159" y="431"/>
                  <a:pt x="1159" y="431"/>
                  <a:pt x="1158" y="431"/>
                </a:cubicBezTo>
                <a:cubicBezTo>
                  <a:pt x="1158" y="432"/>
                  <a:pt x="1157" y="432"/>
                  <a:pt x="1157" y="433"/>
                </a:cubicBezTo>
                <a:cubicBezTo>
                  <a:pt x="1156" y="434"/>
                  <a:pt x="1156" y="434"/>
                  <a:pt x="1155" y="435"/>
                </a:cubicBezTo>
                <a:cubicBezTo>
                  <a:pt x="1155" y="435"/>
                  <a:pt x="1155" y="435"/>
                  <a:pt x="1154" y="435"/>
                </a:cubicBezTo>
                <a:cubicBezTo>
                  <a:pt x="1154" y="435"/>
                  <a:pt x="1154" y="435"/>
                  <a:pt x="1154" y="435"/>
                </a:cubicBezTo>
                <a:cubicBezTo>
                  <a:pt x="1154" y="435"/>
                  <a:pt x="1153" y="436"/>
                  <a:pt x="1153" y="436"/>
                </a:cubicBezTo>
                <a:cubicBezTo>
                  <a:pt x="1153" y="436"/>
                  <a:pt x="1153" y="436"/>
                  <a:pt x="1153" y="436"/>
                </a:cubicBezTo>
                <a:cubicBezTo>
                  <a:pt x="1153" y="436"/>
                  <a:pt x="1153" y="437"/>
                  <a:pt x="1153" y="437"/>
                </a:cubicBezTo>
                <a:cubicBezTo>
                  <a:pt x="1153" y="437"/>
                  <a:pt x="1153" y="437"/>
                  <a:pt x="1152" y="437"/>
                </a:cubicBezTo>
                <a:cubicBezTo>
                  <a:pt x="1151" y="438"/>
                  <a:pt x="1150" y="440"/>
                  <a:pt x="1149" y="441"/>
                </a:cubicBezTo>
                <a:cubicBezTo>
                  <a:pt x="1149" y="441"/>
                  <a:pt x="1149" y="442"/>
                  <a:pt x="1149" y="442"/>
                </a:cubicBezTo>
                <a:cubicBezTo>
                  <a:pt x="1148" y="442"/>
                  <a:pt x="1147" y="443"/>
                  <a:pt x="1147" y="444"/>
                </a:cubicBezTo>
                <a:cubicBezTo>
                  <a:pt x="1147" y="444"/>
                  <a:pt x="1147" y="444"/>
                  <a:pt x="1147" y="444"/>
                </a:cubicBezTo>
                <a:cubicBezTo>
                  <a:pt x="1145" y="445"/>
                  <a:pt x="1144" y="446"/>
                  <a:pt x="1143" y="447"/>
                </a:cubicBezTo>
                <a:cubicBezTo>
                  <a:pt x="1143" y="447"/>
                  <a:pt x="1143" y="448"/>
                  <a:pt x="1142" y="448"/>
                </a:cubicBezTo>
                <a:cubicBezTo>
                  <a:pt x="1142" y="448"/>
                  <a:pt x="1141" y="449"/>
                  <a:pt x="1141" y="449"/>
                </a:cubicBezTo>
                <a:cubicBezTo>
                  <a:pt x="1140" y="450"/>
                  <a:pt x="1139" y="450"/>
                  <a:pt x="1138" y="451"/>
                </a:cubicBezTo>
                <a:cubicBezTo>
                  <a:pt x="1136" y="452"/>
                  <a:pt x="1134" y="453"/>
                  <a:pt x="1132" y="454"/>
                </a:cubicBezTo>
                <a:cubicBezTo>
                  <a:pt x="1131" y="454"/>
                  <a:pt x="1130" y="455"/>
                  <a:pt x="1130" y="455"/>
                </a:cubicBezTo>
                <a:cubicBezTo>
                  <a:pt x="1129" y="455"/>
                  <a:pt x="1129" y="455"/>
                  <a:pt x="1128" y="455"/>
                </a:cubicBezTo>
                <a:cubicBezTo>
                  <a:pt x="1127" y="455"/>
                  <a:pt x="1127" y="456"/>
                  <a:pt x="1127" y="456"/>
                </a:cubicBezTo>
                <a:cubicBezTo>
                  <a:pt x="1126" y="456"/>
                  <a:pt x="1125" y="456"/>
                  <a:pt x="1125" y="457"/>
                </a:cubicBezTo>
                <a:cubicBezTo>
                  <a:pt x="1123" y="457"/>
                  <a:pt x="1122" y="458"/>
                  <a:pt x="1121" y="459"/>
                </a:cubicBezTo>
                <a:cubicBezTo>
                  <a:pt x="1121" y="459"/>
                  <a:pt x="1121" y="459"/>
                  <a:pt x="1120" y="459"/>
                </a:cubicBezTo>
                <a:cubicBezTo>
                  <a:pt x="1119" y="460"/>
                  <a:pt x="1118" y="460"/>
                  <a:pt x="1117" y="461"/>
                </a:cubicBezTo>
                <a:cubicBezTo>
                  <a:pt x="1117" y="461"/>
                  <a:pt x="1117" y="461"/>
                  <a:pt x="1117" y="461"/>
                </a:cubicBezTo>
                <a:cubicBezTo>
                  <a:pt x="1117" y="461"/>
                  <a:pt x="1117" y="461"/>
                  <a:pt x="1116" y="462"/>
                </a:cubicBezTo>
                <a:cubicBezTo>
                  <a:pt x="1116" y="462"/>
                  <a:pt x="1116" y="462"/>
                  <a:pt x="1115" y="462"/>
                </a:cubicBezTo>
                <a:cubicBezTo>
                  <a:pt x="1115" y="462"/>
                  <a:pt x="1115" y="462"/>
                  <a:pt x="1114" y="462"/>
                </a:cubicBezTo>
                <a:cubicBezTo>
                  <a:pt x="1114" y="463"/>
                  <a:pt x="1114" y="463"/>
                  <a:pt x="1114" y="463"/>
                </a:cubicBezTo>
                <a:cubicBezTo>
                  <a:pt x="1112" y="464"/>
                  <a:pt x="1111" y="465"/>
                  <a:pt x="1109" y="466"/>
                </a:cubicBezTo>
                <a:cubicBezTo>
                  <a:pt x="1109" y="466"/>
                  <a:pt x="1109" y="466"/>
                  <a:pt x="1109" y="466"/>
                </a:cubicBezTo>
                <a:cubicBezTo>
                  <a:pt x="1109" y="466"/>
                  <a:pt x="1109" y="466"/>
                  <a:pt x="1109" y="466"/>
                </a:cubicBezTo>
                <a:cubicBezTo>
                  <a:pt x="1109" y="467"/>
                  <a:pt x="1108" y="467"/>
                  <a:pt x="1108" y="468"/>
                </a:cubicBezTo>
                <a:cubicBezTo>
                  <a:pt x="1107" y="468"/>
                  <a:pt x="1107" y="468"/>
                  <a:pt x="1107" y="468"/>
                </a:cubicBezTo>
                <a:cubicBezTo>
                  <a:pt x="1107" y="468"/>
                  <a:pt x="1107" y="468"/>
                  <a:pt x="1107" y="468"/>
                </a:cubicBezTo>
                <a:cubicBezTo>
                  <a:pt x="1107" y="468"/>
                  <a:pt x="1107" y="468"/>
                  <a:pt x="1107" y="469"/>
                </a:cubicBezTo>
                <a:cubicBezTo>
                  <a:pt x="1106" y="469"/>
                  <a:pt x="1106" y="469"/>
                  <a:pt x="1105" y="469"/>
                </a:cubicBezTo>
                <a:cubicBezTo>
                  <a:pt x="1105" y="469"/>
                  <a:pt x="1104" y="469"/>
                  <a:pt x="1104" y="470"/>
                </a:cubicBezTo>
                <a:cubicBezTo>
                  <a:pt x="1104" y="470"/>
                  <a:pt x="1103" y="470"/>
                  <a:pt x="1103" y="470"/>
                </a:cubicBezTo>
                <a:cubicBezTo>
                  <a:pt x="1103" y="470"/>
                  <a:pt x="1102" y="470"/>
                  <a:pt x="1102" y="470"/>
                </a:cubicBezTo>
                <a:cubicBezTo>
                  <a:pt x="1102" y="470"/>
                  <a:pt x="1102" y="470"/>
                  <a:pt x="1102" y="470"/>
                </a:cubicBezTo>
                <a:cubicBezTo>
                  <a:pt x="1102" y="470"/>
                  <a:pt x="1101" y="470"/>
                  <a:pt x="1101" y="470"/>
                </a:cubicBezTo>
                <a:cubicBezTo>
                  <a:pt x="1101" y="471"/>
                  <a:pt x="1101" y="471"/>
                  <a:pt x="1101" y="471"/>
                </a:cubicBezTo>
                <a:cubicBezTo>
                  <a:pt x="1101" y="471"/>
                  <a:pt x="1101" y="471"/>
                  <a:pt x="1101" y="471"/>
                </a:cubicBezTo>
                <a:cubicBezTo>
                  <a:pt x="1101" y="471"/>
                  <a:pt x="1101" y="472"/>
                  <a:pt x="1101" y="472"/>
                </a:cubicBezTo>
                <a:cubicBezTo>
                  <a:pt x="1100" y="472"/>
                  <a:pt x="1100" y="472"/>
                  <a:pt x="1100" y="473"/>
                </a:cubicBezTo>
                <a:cubicBezTo>
                  <a:pt x="1100" y="473"/>
                  <a:pt x="1100" y="473"/>
                  <a:pt x="1100" y="473"/>
                </a:cubicBezTo>
                <a:cubicBezTo>
                  <a:pt x="1099" y="474"/>
                  <a:pt x="1099" y="474"/>
                  <a:pt x="1099" y="475"/>
                </a:cubicBezTo>
                <a:cubicBezTo>
                  <a:pt x="1098" y="475"/>
                  <a:pt x="1098" y="476"/>
                  <a:pt x="1097" y="476"/>
                </a:cubicBezTo>
                <a:cubicBezTo>
                  <a:pt x="1097" y="476"/>
                  <a:pt x="1096" y="476"/>
                  <a:pt x="1096" y="477"/>
                </a:cubicBezTo>
                <a:cubicBezTo>
                  <a:pt x="1096" y="477"/>
                  <a:pt x="1096" y="477"/>
                  <a:pt x="1095" y="476"/>
                </a:cubicBezTo>
                <a:cubicBezTo>
                  <a:pt x="1095" y="476"/>
                  <a:pt x="1095" y="476"/>
                  <a:pt x="1095" y="476"/>
                </a:cubicBezTo>
                <a:cubicBezTo>
                  <a:pt x="1095" y="477"/>
                  <a:pt x="1095" y="477"/>
                  <a:pt x="1095" y="477"/>
                </a:cubicBezTo>
                <a:cubicBezTo>
                  <a:pt x="1095" y="477"/>
                  <a:pt x="1095" y="477"/>
                  <a:pt x="1095" y="477"/>
                </a:cubicBezTo>
                <a:cubicBezTo>
                  <a:pt x="1095" y="477"/>
                  <a:pt x="1095" y="477"/>
                  <a:pt x="1095" y="478"/>
                </a:cubicBezTo>
                <a:cubicBezTo>
                  <a:pt x="1095" y="478"/>
                  <a:pt x="1094" y="479"/>
                  <a:pt x="1094" y="480"/>
                </a:cubicBezTo>
                <a:cubicBezTo>
                  <a:pt x="1094" y="480"/>
                  <a:pt x="1093" y="481"/>
                  <a:pt x="1093" y="481"/>
                </a:cubicBezTo>
                <a:cubicBezTo>
                  <a:pt x="1093" y="482"/>
                  <a:pt x="1093" y="482"/>
                  <a:pt x="1093" y="482"/>
                </a:cubicBezTo>
                <a:cubicBezTo>
                  <a:pt x="1093" y="483"/>
                  <a:pt x="1094" y="483"/>
                  <a:pt x="1094" y="483"/>
                </a:cubicBezTo>
                <a:cubicBezTo>
                  <a:pt x="1094" y="484"/>
                  <a:pt x="1095" y="484"/>
                  <a:pt x="1095" y="484"/>
                </a:cubicBezTo>
                <a:cubicBezTo>
                  <a:pt x="1095" y="484"/>
                  <a:pt x="1095" y="484"/>
                  <a:pt x="1096" y="484"/>
                </a:cubicBezTo>
                <a:cubicBezTo>
                  <a:pt x="1096" y="485"/>
                  <a:pt x="1096" y="485"/>
                  <a:pt x="1096" y="486"/>
                </a:cubicBezTo>
                <a:cubicBezTo>
                  <a:pt x="1096" y="486"/>
                  <a:pt x="1096" y="486"/>
                  <a:pt x="1096" y="486"/>
                </a:cubicBezTo>
                <a:cubicBezTo>
                  <a:pt x="1096" y="486"/>
                  <a:pt x="1096" y="486"/>
                  <a:pt x="1095" y="486"/>
                </a:cubicBezTo>
                <a:cubicBezTo>
                  <a:pt x="1095" y="486"/>
                  <a:pt x="1095" y="486"/>
                  <a:pt x="1095" y="486"/>
                </a:cubicBezTo>
                <a:cubicBezTo>
                  <a:pt x="1095" y="486"/>
                  <a:pt x="1095" y="487"/>
                  <a:pt x="1095" y="487"/>
                </a:cubicBezTo>
                <a:cubicBezTo>
                  <a:pt x="1094" y="488"/>
                  <a:pt x="1094" y="488"/>
                  <a:pt x="1094" y="488"/>
                </a:cubicBezTo>
                <a:cubicBezTo>
                  <a:pt x="1095" y="489"/>
                  <a:pt x="1095" y="489"/>
                  <a:pt x="1095" y="489"/>
                </a:cubicBezTo>
                <a:cubicBezTo>
                  <a:pt x="1095" y="489"/>
                  <a:pt x="1095" y="490"/>
                  <a:pt x="1095" y="490"/>
                </a:cubicBezTo>
                <a:cubicBezTo>
                  <a:pt x="1095" y="490"/>
                  <a:pt x="1094" y="490"/>
                  <a:pt x="1094" y="490"/>
                </a:cubicBezTo>
                <a:cubicBezTo>
                  <a:pt x="1094" y="491"/>
                  <a:pt x="1094" y="491"/>
                  <a:pt x="1094" y="491"/>
                </a:cubicBezTo>
                <a:cubicBezTo>
                  <a:pt x="1094" y="491"/>
                  <a:pt x="1095" y="492"/>
                  <a:pt x="1095" y="492"/>
                </a:cubicBezTo>
                <a:cubicBezTo>
                  <a:pt x="1095" y="492"/>
                  <a:pt x="1095" y="492"/>
                  <a:pt x="1094" y="492"/>
                </a:cubicBezTo>
                <a:cubicBezTo>
                  <a:pt x="1095" y="492"/>
                  <a:pt x="1095" y="492"/>
                  <a:pt x="1095" y="493"/>
                </a:cubicBezTo>
                <a:cubicBezTo>
                  <a:pt x="1095" y="493"/>
                  <a:pt x="1095" y="493"/>
                  <a:pt x="1095" y="493"/>
                </a:cubicBezTo>
                <a:cubicBezTo>
                  <a:pt x="1095" y="493"/>
                  <a:pt x="1095" y="494"/>
                  <a:pt x="1095" y="494"/>
                </a:cubicBezTo>
                <a:cubicBezTo>
                  <a:pt x="1095" y="494"/>
                  <a:pt x="1095" y="494"/>
                  <a:pt x="1095" y="494"/>
                </a:cubicBezTo>
                <a:cubicBezTo>
                  <a:pt x="1095" y="494"/>
                  <a:pt x="1095" y="495"/>
                  <a:pt x="1095" y="495"/>
                </a:cubicBezTo>
                <a:cubicBezTo>
                  <a:pt x="1095" y="495"/>
                  <a:pt x="1095" y="496"/>
                  <a:pt x="1096" y="496"/>
                </a:cubicBezTo>
                <a:cubicBezTo>
                  <a:pt x="1095" y="496"/>
                  <a:pt x="1095" y="496"/>
                  <a:pt x="1095" y="496"/>
                </a:cubicBezTo>
                <a:cubicBezTo>
                  <a:pt x="1096" y="497"/>
                  <a:pt x="1096" y="497"/>
                  <a:pt x="1097" y="498"/>
                </a:cubicBezTo>
                <a:cubicBezTo>
                  <a:pt x="1097" y="498"/>
                  <a:pt x="1098" y="498"/>
                  <a:pt x="1098" y="498"/>
                </a:cubicBezTo>
                <a:cubicBezTo>
                  <a:pt x="1098" y="498"/>
                  <a:pt x="1099" y="499"/>
                  <a:pt x="1099" y="499"/>
                </a:cubicBezTo>
                <a:cubicBezTo>
                  <a:pt x="1099" y="499"/>
                  <a:pt x="1099" y="499"/>
                  <a:pt x="1099" y="499"/>
                </a:cubicBezTo>
                <a:cubicBezTo>
                  <a:pt x="1099" y="499"/>
                  <a:pt x="1099" y="499"/>
                  <a:pt x="1099" y="499"/>
                </a:cubicBezTo>
                <a:cubicBezTo>
                  <a:pt x="1099" y="499"/>
                  <a:pt x="1099" y="499"/>
                  <a:pt x="1099" y="500"/>
                </a:cubicBezTo>
                <a:cubicBezTo>
                  <a:pt x="1099" y="500"/>
                  <a:pt x="1099" y="500"/>
                  <a:pt x="1099" y="500"/>
                </a:cubicBezTo>
                <a:cubicBezTo>
                  <a:pt x="1099" y="501"/>
                  <a:pt x="1099" y="501"/>
                  <a:pt x="1099" y="501"/>
                </a:cubicBezTo>
                <a:cubicBezTo>
                  <a:pt x="1099" y="501"/>
                  <a:pt x="1099" y="501"/>
                  <a:pt x="1099" y="501"/>
                </a:cubicBezTo>
                <a:cubicBezTo>
                  <a:pt x="1099" y="501"/>
                  <a:pt x="1098" y="502"/>
                  <a:pt x="1098" y="502"/>
                </a:cubicBezTo>
                <a:cubicBezTo>
                  <a:pt x="1098" y="502"/>
                  <a:pt x="1098" y="502"/>
                  <a:pt x="1098" y="502"/>
                </a:cubicBezTo>
                <a:cubicBezTo>
                  <a:pt x="1098" y="502"/>
                  <a:pt x="1098" y="503"/>
                  <a:pt x="1098" y="503"/>
                </a:cubicBezTo>
                <a:cubicBezTo>
                  <a:pt x="1098" y="503"/>
                  <a:pt x="1098" y="503"/>
                  <a:pt x="1098" y="503"/>
                </a:cubicBezTo>
                <a:cubicBezTo>
                  <a:pt x="1098" y="503"/>
                  <a:pt x="1098" y="503"/>
                  <a:pt x="1098" y="503"/>
                </a:cubicBezTo>
                <a:cubicBezTo>
                  <a:pt x="1098" y="504"/>
                  <a:pt x="1098" y="504"/>
                  <a:pt x="1098" y="504"/>
                </a:cubicBezTo>
                <a:cubicBezTo>
                  <a:pt x="1098" y="505"/>
                  <a:pt x="1098" y="505"/>
                  <a:pt x="1098" y="505"/>
                </a:cubicBezTo>
                <a:cubicBezTo>
                  <a:pt x="1098" y="505"/>
                  <a:pt x="1098" y="505"/>
                  <a:pt x="1098" y="505"/>
                </a:cubicBezTo>
                <a:cubicBezTo>
                  <a:pt x="1098" y="506"/>
                  <a:pt x="1098" y="506"/>
                  <a:pt x="1098" y="506"/>
                </a:cubicBezTo>
                <a:cubicBezTo>
                  <a:pt x="1098" y="507"/>
                  <a:pt x="1098" y="507"/>
                  <a:pt x="1098" y="507"/>
                </a:cubicBezTo>
                <a:cubicBezTo>
                  <a:pt x="1098" y="507"/>
                  <a:pt x="1098" y="507"/>
                  <a:pt x="1098" y="508"/>
                </a:cubicBezTo>
                <a:cubicBezTo>
                  <a:pt x="1098" y="508"/>
                  <a:pt x="1098" y="508"/>
                  <a:pt x="1097" y="508"/>
                </a:cubicBezTo>
                <a:cubicBezTo>
                  <a:pt x="1097" y="508"/>
                  <a:pt x="1098" y="509"/>
                  <a:pt x="1098" y="509"/>
                </a:cubicBezTo>
                <a:cubicBezTo>
                  <a:pt x="1097" y="510"/>
                  <a:pt x="1097" y="510"/>
                  <a:pt x="1097" y="511"/>
                </a:cubicBezTo>
                <a:cubicBezTo>
                  <a:pt x="1097" y="511"/>
                  <a:pt x="1097" y="511"/>
                  <a:pt x="1097" y="511"/>
                </a:cubicBezTo>
                <a:cubicBezTo>
                  <a:pt x="1097" y="511"/>
                  <a:pt x="1097" y="511"/>
                  <a:pt x="1097" y="511"/>
                </a:cubicBezTo>
                <a:cubicBezTo>
                  <a:pt x="1097" y="512"/>
                  <a:pt x="1097" y="512"/>
                  <a:pt x="1097" y="513"/>
                </a:cubicBezTo>
                <a:cubicBezTo>
                  <a:pt x="1097" y="513"/>
                  <a:pt x="1096" y="513"/>
                  <a:pt x="1096" y="513"/>
                </a:cubicBezTo>
                <a:cubicBezTo>
                  <a:pt x="1096" y="513"/>
                  <a:pt x="1096" y="513"/>
                  <a:pt x="1096" y="513"/>
                </a:cubicBezTo>
                <a:cubicBezTo>
                  <a:pt x="1096" y="513"/>
                  <a:pt x="1096" y="513"/>
                  <a:pt x="1096" y="513"/>
                </a:cubicBezTo>
                <a:cubicBezTo>
                  <a:pt x="1097" y="513"/>
                  <a:pt x="1097" y="513"/>
                  <a:pt x="1097" y="513"/>
                </a:cubicBezTo>
                <a:cubicBezTo>
                  <a:pt x="1097" y="513"/>
                  <a:pt x="1097" y="513"/>
                  <a:pt x="1098" y="514"/>
                </a:cubicBezTo>
                <a:cubicBezTo>
                  <a:pt x="1098" y="514"/>
                  <a:pt x="1098" y="514"/>
                  <a:pt x="1098" y="515"/>
                </a:cubicBezTo>
                <a:cubicBezTo>
                  <a:pt x="1097" y="515"/>
                  <a:pt x="1097" y="515"/>
                  <a:pt x="1097" y="515"/>
                </a:cubicBezTo>
                <a:cubicBezTo>
                  <a:pt x="1097" y="515"/>
                  <a:pt x="1097" y="516"/>
                  <a:pt x="1097" y="516"/>
                </a:cubicBezTo>
                <a:cubicBezTo>
                  <a:pt x="1097" y="516"/>
                  <a:pt x="1097" y="516"/>
                  <a:pt x="1097" y="516"/>
                </a:cubicBezTo>
                <a:cubicBezTo>
                  <a:pt x="1097" y="516"/>
                  <a:pt x="1097" y="516"/>
                  <a:pt x="1097" y="516"/>
                </a:cubicBezTo>
                <a:cubicBezTo>
                  <a:pt x="1096" y="516"/>
                  <a:pt x="1096" y="516"/>
                  <a:pt x="1096" y="516"/>
                </a:cubicBezTo>
                <a:cubicBezTo>
                  <a:pt x="1096" y="516"/>
                  <a:pt x="1096" y="517"/>
                  <a:pt x="1095" y="517"/>
                </a:cubicBezTo>
                <a:cubicBezTo>
                  <a:pt x="1095" y="517"/>
                  <a:pt x="1095" y="517"/>
                  <a:pt x="1095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8"/>
                  <a:pt x="1096" y="518"/>
                  <a:pt x="1096" y="518"/>
                </a:cubicBezTo>
                <a:cubicBezTo>
                  <a:pt x="1095" y="518"/>
                  <a:pt x="1095" y="518"/>
                  <a:pt x="1095" y="518"/>
                </a:cubicBezTo>
                <a:cubicBezTo>
                  <a:pt x="1095" y="518"/>
                  <a:pt x="1094" y="519"/>
                  <a:pt x="1094" y="519"/>
                </a:cubicBezTo>
                <a:cubicBezTo>
                  <a:pt x="1094" y="519"/>
                  <a:pt x="1094" y="519"/>
                  <a:pt x="1094" y="519"/>
                </a:cubicBezTo>
                <a:cubicBezTo>
                  <a:pt x="1093" y="520"/>
                  <a:pt x="1093" y="520"/>
                  <a:pt x="1093" y="520"/>
                </a:cubicBezTo>
                <a:cubicBezTo>
                  <a:pt x="1093" y="520"/>
                  <a:pt x="1092" y="520"/>
                  <a:pt x="1092" y="520"/>
                </a:cubicBezTo>
                <a:cubicBezTo>
                  <a:pt x="1092" y="521"/>
                  <a:pt x="1092" y="521"/>
                  <a:pt x="1092" y="521"/>
                </a:cubicBezTo>
                <a:cubicBezTo>
                  <a:pt x="1091" y="521"/>
                  <a:pt x="1090" y="522"/>
                  <a:pt x="1089" y="522"/>
                </a:cubicBezTo>
                <a:cubicBezTo>
                  <a:pt x="1089" y="522"/>
                  <a:pt x="1089" y="522"/>
                  <a:pt x="1088" y="522"/>
                </a:cubicBezTo>
                <a:cubicBezTo>
                  <a:pt x="1088" y="522"/>
                  <a:pt x="1088" y="522"/>
                  <a:pt x="1088" y="523"/>
                </a:cubicBezTo>
                <a:cubicBezTo>
                  <a:pt x="1087" y="523"/>
                  <a:pt x="1086" y="523"/>
                  <a:pt x="1085" y="524"/>
                </a:cubicBezTo>
                <a:cubicBezTo>
                  <a:pt x="1085" y="524"/>
                  <a:pt x="1084" y="524"/>
                  <a:pt x="1084" y="523"/>
                </a:cubicBezTo>
                <a:cubicBezTo>
                  <a:pt x="1084" y="523"/>
                  <a:pt x="1084" y="524"/>
                  <a:pt x="1084" y="524"/>
                </a:cubicBezTo>
                <a:cubicBezTo>
                  <a:pt x="1083" y="524"/>
                  <a:pt x="1083" y="524"/>
                  <a:pt x="1082" y="524"/>
                </a:cubicBezTo>
                <a:cubicBezTo>
                  <a:pt x="1082" y="524"/>
                  <a:pt x="1081" y="525"/>
                  <a:pt x="1080" y="525"/>
                </a:cubicBezTo>
                <a:cubicBezTo>
                  <a:pt x="1080" y="525"/>
                  <a:pt x="1080" y="525"/>
                  <a:pt x="1080" y="525"/>
                </a:cubicBezTo>
                <a:cubicBezTo>
                  <a:pt x="1080" y="525"/>
                  <a:pt x="1080" y="525"/>
                  <a:pt x="1080" y="525"/>
                </a:cubicBezTo>
                <a:cubicBezTo>
                  <a:pt x="1080" y="525"/>
                  <a:pt x="1079" y="526"/>
                  <a:pt x="1079" y="526"/>
                </a:cubicBezTo>
                <a:cubicBezTo>
                  <a:pt x="1079" y="526"/>
                  <a:pt x="1078" y="526"/>
                  <a:pt x="1078" y="526"/>
                </a:cubicBezTo>
                <a:cubicBezTo>
                  <a:pt x="1078" y="526"/>
                  <a:pt x="1078" y="526"/>
                  <a:pt x="1078" y="526"/>
                </a:cubicBezTo>
                <a:cubicBezTo>
                  <a:pt x="1078" y="526"/>
                  <a:pt x="1078" y="526"/>
                  <a:pt x="1078" y="526"/>
                </a:cubicBezTo>
                <a:cubicBezTo>
                  <a:pt x="1077" y="526"/>
                  <a:pt x="1077" y="527"/>
                  <a:pt x="1077" y="527"/>
                </a:cubicBezTo>
                <a:cubicBezTo>
                  <a:pt x="1077" y="527"/>
                  <a:pt x="1077" y="527"/>
                  <a:pt x="1077" y="527"/>
                </a:cubicBezTo>
                <a:cubicBezTo>
                  <a:pt x="1076" y="527"/>
                  <a:pt x="1076" y="528"/>
                  <a:pt x="1075" y="528"/>
                </a:cubicBezTo>
                <a:cubicBezTo>
                  <a:pt x="1075" y="528"/>
                  <a:pt x="1075" y="528"/>
                  <a:pt x="1075" y="528"/>
                </a:cubicBezTo>
                <a:cubicBezTo>
                  <a:pt x="1075" y="528"/>
                  <a:pt x="1075" y="528"/>
                  <a:pt x="1074" y="528"/>
                </a:cubicBezTo>
                <a:cubicBezTo>
                  <a:pt x="1074" y="528"/>
                  <a:pt x="1074" y="529"/>
                  <a:pt x="1074" y="529"/>
                </a:cubicBezTo>
                <a:cubicBezTo>
                  <a:pt x="1074" y="529"/>
                  <a:pt x="1074" y="529"/>
                  <a:pt x="1074" y="529"/>
                </a:cubicBezTo>
                <a:cubicBezTo>
                  <a:pt x="1074" y="529"/>
                  <a:pt x="1073" y="529"/>
                  <a:pt x="1073" y="529"/>
                </a:cubicBezTo>
                <a:cubicBezTo>
                  <a:pt x="1072" y="529"/>
                  <a:pt x="1071" y="530"/>
                  <a:pt x="1070" y="530"/>
                </a:cubicBezTo>
                <a:cubicBezTo>
                  <a:pt x="1070" y="530"/>
                  <a:pt x="1070" y="531"/>
                  <a:pt x="1070" y="531"/>
                </a:cubicBezTo>
                <a:cubicBezTo>
                  <a:pt x="1070" y="531"/>
                  <a:pt x="1070" y="531"/>
                  <a:pt x="1069" y="531"/>
                </a:cubicBezTo>
                <a:cubicBezTo>
                  <a:pt x="1069" y="531"/>
                  <a:pt x="1069" y="531"/>
                  <a:pt x="1068" y="531"/>
                </a:cubicBezTo>
                <a:cubicBezTo>
                  <a:pt x="1068" y="531"/>
                  <a:pt x="1068" y="532"/>
                  <a:pt x="1068" y="532"/>
                </a:cubicBezTo>
                <a:cubicBezTo>
                  <a:pt x="1068" y="532"/>
                  <a:pt x="1067" y="531"/>
                  <a:pt x="1067" y="531"/>
                </a:cubicBezTo>
                <a:cubicBezTo>
                  <a:pt x="1067" y="531"/>
                  <a:pt x="1067" y="531"/>
                  <a:pt x="1067" y="531"/>
                </a:cubicBezTo>
                <a:cubicBezTo>
                  <a:pt x="1067" y="531"/>
                  <a:pt x="1067" y="531"/>
                  <a:pt x="1067" y="532"/>
                </a:cubicBezTo>
                <a:cubicBezTo>
                  <a:pt x="1067" y="532"/>
                  <a:pt x="1067" y="532"/>
                  <a:pt x="1067" y="532"/>
                </a:cubicBezTo>
                <a:cubicBezTo>
                  <a:pt x="1067" y="532"/>
                  <a:pt x="1067" y="532"/>
                  <a:pt x="1067" y="533"/>
                </a:cubicBezTo>
                <a:cubicBezTo>
                  <a:pt x="1067" y="533"/>
                  <a:pt x="1067" y="533"/>
                  <a:pt x="1066" y="533"/>
                </a:cubicBezTo>
                <a:cubicBezTo>
                  <a:pt x="1067" y="533"/>
                  <a:pt x="1067" y="533"/>
                  <a:pt x="1067" y="533"/>
                </a:cubicBezTo>
                <a:cubicBezTo>
                  <a:pt x="1066" y="534"/>
                  <a:pt x="1066" y="534"/>
                  <a:pt x="1066" y="534"/>
                </a:cubicBezTo>
                <a:cubicBezTo>
                  <a:pt x="1066" y="535"/>
                  <a:pt x="1067" y="535"/>
                  <a:pt x="1067" y="536"/>
                </a:cubicBezTo>
                <a:cubicBezTo>
                  <a:pt x="1067" y="536"/>
                  <a:pt x="1067" y="536"/>
                  <a:pt x="1067" y="536"/>
                </a:cubicBezTo>
                <a:cubicBezTo>
                  <a:pt x="1067" y="536"/>
                  <a:pt x="1067" y="536"/>
                  <a:pt x="1067" y="536"/>
                </a:cubicBezTo>
                <a:cubicBezTo>
                  <a:pt x="1067" y="536"/>
                  <a:pt x="1067" y="537"/>
                  <a:pt x="1067" y="537"/>
                </a:cubicBezTo>
                <a:cubicBezTo>
                  <a:pt x="1067" y="537"/>
                  <a:pt x="1067" y="537"/>
                  <a:pt x="1067" y="537"/>
                </a:cubicBezTo>
                <a:cubicBezTo>
                  <a:pt x="1067" y="538"/>
                  <a:pt x="1067" y="538"/>
                  <a:pt x="1067" y="538"/>
                </a:cubicBezTo>
                <a:cubicBezTo>
                  <a:pt x="1068" y="538"/>
                  <a:pt x="1068" y="539"/>
                  <a:pt x="1068" y="539"/>
                </a:cubicBezTo>
                <a:cubicBezTo>
                  <a:pt x="1068" y="540"/>
                  <a:pt x="1068" y="541"/>
                  <a:pt x="1067" y="541"/>
                </a:cubicBezTo>
                <a:cubicBezTo>
                  <a:pt x="1068" y="542"/>
                  <a:pt x="1068" y="542"/>
                  <a:pt x="1068" y="542"/>
                </a:cubicBezTo>
                <a:cubicBezTo>
                  <a:pt x="1068" y="542"/>
                  <a:pt x="1068" y="542"/>
                  <a:pt x="1068" y="542"/>
                </a:cubicBezTo>
                <a:cubicBezTo>
                  <a:pt x="1068" y="542"/>
                  <a:pt x="1068" y="542"/>
                  <a:pt x="1068" y="541"/>
                </a:cubicBezTo>
                <a:cubicBezTo>
                  <a:pt x="1068" y="541"/>
                  <a:pt x="1068" y="541"/>
                  <a:pt x="1069" y="541"/>
                </a:cubicBezTo>
                <a:cubicBezTo>
                  <a:pt x="1069" y="541"/>
                  <a:pt x="1069" y="541"/>
                  <a:pt x="1069" y="541"/>
                </a:cubicBezTo>
                <a:cubicBezTo>
                  <a:pt x="1069" y="541"/>
                  <a:pt x="1069" y="541"/>
                  <a:pt x="1069" y="541"/>
                </a:cubicBezTo>
                <a:cubicBezTo>
                  <a:pt x="1069" y="542"/>
                  <a:pt x="1069" y="542"/>
                  <a:pt x="1069" y="542"/>
                </a:cubicBezTo>
                <a:cubicBezTo>
                  <a:pt x="1069" y="542"/>
                  <a:pt x="1068" y="543"/>
                  <a:pt x="1068" y="543"/>
                </a:cubicBezTo>
                <a:cubicBezTo>
                  <a:pt x="1068" y="543"/>
                  <a:pt x="1068" y="543"/>
                  <a:pt x="1068" y="544"/>
                </a:cubicBezTo>
                <a:cubicBezTo>
                  <a:pt x="1068" y="544"/>
                  <a:pt x="1068" y="544"/>
                  <a:pt x="1068" y="544"/>
                </a:cubicBezTo>
                <a:cubicBezTo>
                  <a:pt x="1068" y="544"/>
                  <a:pt x="1068" y="545"/>
                  <a:pt x="1068" y="545"/>
                </a:cubicBezTo>
                <a:cubicBezTo>
                  <a:pt x="1068" y="545"/>
                  <a:pt x="1068" y="545"/>
                  <a:pt x="1068" y="546"/>
                </a:cubicBezTo>
                <a:cubicBezTo>
                  <a:pt x="1067" y="546"/>
                  <a:pt x="1067" y="546"/>
                  <a:pt x="1067" y="546"/>
                </a:cubicBezTo>
                <a:cubicBezTo>
                  <a:pt x="1067" y="546"/>
                  <a:pt x="1067" y="547"/>
                  <a:pt x="1067" y="547"/>
                </a:cubicBezTo>
                <a:cubicBezTo>
                  <a:pt x="1067" y="547"/>
                  <a:pt x="1067" y="547"/>
                  <a:pt x="1067" y="547"/>
                </a:cubicBezTo>
                <a:cubicBezTo>
                  <a:pt x="1067" y="547"/>
                  <a:pt x="1067" y="547"/>
                  <a:pt x="1067" y="547"/>
                </a:cubicBezTo>
                <a:cubicBezTo>
                  <a:pt x="1067" y="547"/>
                  <a:pt x="1067" y="547"/>
                  <a:pt x="1068" y="547"/>
                </a:cubicBezTo>
                <a:cubicBezTo>
                  <a:pt x="1068" y="547"/>
                  <a:pt x="1068" y="547"/>
                  <a:pt x="1068" y="548"/>
                </a:cubicBezTo>
                <a:cubicBezTo>
                  <a:pt x="1068" y="548"/>
                  <a:pt x="1067" y="548"/>
                  <a:pt x="1067" y="548"/>
                </a:cubicBezTo>
                <a:cubicBezTo>
                  <a:pt x="1067" y="549"/>
                  <a:pt x="1067" y="549"/>
                  <a:pt x="1067" y="549"/>
                </a:cubicBezTo>
                <a:cubicBezTo>
                  <a:pt x="1066" y="550"/>
                  <a:pt x="1066" y="550"/>
                  <a:pt x="1065" y="550"/>
                </a:cubicBezTo>
                <a:cubicBezTo>
                  <a:pt x="1064" y="551"/>
                  <a:pt x="1063" y="551"/>
                  <a:pt x="1062" y="551"/>
                </a:cubicBezTo>
                <a:cubicBezTo>
                  <a:pt x="1061" y="551"/>
                  <a:pt x="1059" y="552"/>
                  <a:pt x="1058" y="552"/>
                </a:cubicBezTo>
                <a:cubicBezTo>
                  <a:pt x="1057" y="552"/>
                  <a:pt x="1057" y="552"/>
                  <a:pt x="1056" y="553"/>
                </a:cubicBezTo>
                <a:cubicBezTo>
                  <a:pt x="1056" y="553"/>
                  <a:pt x="1056" y="553"/>
                  <a:pt x="1055" y="553"/>
                </a:cubicBezTo>
                <a:cubicBezTo>
                  <a:pt x="1055" y="553"/>
                  <a:pt x="1055" y="553"/>
                  <a:pt x="1055" y="553"/>
                </a:cubicBezTo>
                <a:cubicBezTo>
                  <a:pt x="1055" y="553"/>
                  <a:pt x="1054" y="553"/>
                  <a:pt x="1054" y="554"/>
                </a:cubicBezTo>
                <a:cubicBezTo>
                  <a:pt x="1054" y="554"/>
                  <a:pt x="1054" y="554"/>
                  <a:pt x="1054" y="554"/>
                </a:cubicBezTo>
                <a:cubicBezTo>
                  <a:pt x="1054" y="554"/>
                  <a:pt x="1053" y="554"/>
                  <a:pt x="1053" y="554"/>
                </a:cubicBezTo>
                <a:cubicBezTo>
                  <a:pt x="1053" y="555"/>
                  <a:pt x="1053" y="555"/>
                  <a:pt x="1053" y="555"/>
                </a:cubicBezTo>
                <a:cubicBezTo>
                  <a:pt x="1053" y="555"/>
                  <a:pt x="1053" y="555"/>
                  <a:pt x="1053" y="555"/>
                </a:cubicBezTo>
                <a:cubicBezTo>
                  <a:pt x="1053" y="555"/>
                  <a:pt x="1053" y="555"/>
                  <a:pt x="1053" y="556"/>
                </a:cubicBezTo>
                <a:cubicBezTo>
                  <a:pt x="1053" y="556"/>
                  <a:pt x="1053" y="556"/>
                  <a:pt x="1053" y="556"/>
                </a:cubicBezTo>
                <a:cubicBezTo>
                  <a:pt x="1053" y="556"/>
                  <a:pt x="1054" y="556"/>
                  <a:pt x="1054" y="556"/>
                </a:cubicBezTo>
                <a:cubicBezTo>
                  <a:pt x="1054" y="556"/>
                  <a:pt x="1054" y="556"/>
                  <a:pt x="1054" y="556"/>
                </a:cubicBezTo>
                <a:cubicBezTo>
                  <a:pt x="1055" y="556"/>
                  <a:pt x="1055" y="556"/>
                  <a:pt x="1055" y="555"/>
                </a:cubicBezTo>
                <a:cubicBezTo>
                  <a:pt x="1055" y="555"/>
                  <a:pt x="1055" y="555"/>
                  <a:pt x="1055" y="555"/>
                </a:cubicBezTo>
                <a:cubicBezTo>
                  <a:pt x="1055" y="556"/>
                  <a:pt x="1055" y="556"/>
                  <a:pt x="1055" y="556"/>
                </a:cubicBezTo>
                <a:cubicBezTo>
                  <a:pt x="1055" y="556"/>
                  <a:pt x="1055" y="556"/>
                  <a:pt x="1055" y="557"/>
                </a:cubicBezTo>
                <a:cubicBezTo>
                  <a:pt x="1055" y="557"/>
                  <a:pt x="1054" y="557"/>
                  <a:pt x="1054" y="557"/>
                </a:cubicBezTo>
                <a:cubicBezTo>
                  <a:pt x="1054" y="558"/>
                  <a:pt x="1054" y="558"/>
                  <a:pt x="1054" y="558"/>
                </a:cubicBezTo>
                <a:cubicBezTo>
                  <a:pt x="1054" y="558"/>
                  <a:pt x="1054" y="558"/>
                  <a:pt x="1054" y="558"/>
                </a:cubicBezTo>
                <a:cubicBezTo>
                  <a:pt x="1054" y="558"/>
                  <a:pt x="1054" y="558"/>
                  <a:pt x="1054" y="559"/>
                </a:cubicBezTo>
                <a:cubicBezTo>
                  <a:pt x="1054" y="559"/>
                  <a:pt x="1054" y="559"/>
                  <a:pt x="1054" y="559"/>
                </a:cubicBezTo>
                <a:cubicBezTo>
                  <a:pt x="1054" y="559"/>
                  <a:pt x="1053" y="560"/>
                  <a:pt x="1053" y="560"/>
                </a:cubicBezTo>
                <a:cubicBezTo>
                  <a:pt x="1053" y="560"/>
                  <a:pt x="1053" y="561"/>
                  <a:pt x="1053" y="561"/>
                </a:cubicBezTo>
                <a:cubicBezTo>
                  <a:pt x="1053" y="562"/>
                  <a:pt x="1052" y="562"/>
                  <a:pt x="1052" y="562"/>
                </a:cubicBezTo>
                <a:cubicBezTo>
                  <a:pt x="1052" y="563"/>
                  <a:pt x="1052" y="563"/>
                  <a:pt x="1052" y="564"/>
                </a:cubicBezTo>
                <a:cubicBezTo>
                  <a:pt x="1051" y="564"/>
                  <a:pt x="1051" y="564"/>
                  <a:pt x="1051" y="564"/>
                </a:cubicBezTo>
                <a:cubicBezTo>
                  <a:pt x="1051" y="564"/>
                  <a:pt x="1051" y="565"/>
                  <a:pt x="1051" y="565"/>
                </a:cubicBezTo>
                <a:cubicBezTo>
                  <a:pt x="1050" y="565"/>
                  <a:pt x="1050" y="566"/>
                  <a:pt x="1049" y="566"/>
                </a:cubicBezTo>
                <a:cubicBezTo>
                  <a:pt x="1049" y="566"/>
                  <a:pt x="1049" y="566"/>
                  <a:pt x="1049" y="566"/>
                </a:cubicBezTo>
                <a:cubicBezTo>
                  <a:pt x="1049" y="566"/>
                  <a:pt x="1049" y="566"/>
                  <a:pt x="1049" y="566"/>
                </a:cubicBezTo>
                <a:cubicBezTo>
                  <a:pt x="1048" y="566"/>
                  <a:pt x="1048" y="566"/>
                  <a:pt x="1048" y="567"/>
                </a:cubicBezTo>
                <a:cubicBezTo>
                  <a:pt x="1048" y="567"/>
                  <a:pt x="1047" y="567"/>
                  <a:pt x="1047" y="567"/>
                </a:cubicBezTo>
                <a:cubicBezTo>
                  <a:pt x="1047" y="567"/>
                  <a:pt x="1047" y="567"/>
                  <a:pt x="1046" y="567"/>
                </a:cubicBezTo>
                <a:cubicBezTo>
                  <a:pt x="1046" y="568"/>
                  <a:pt x="1046" y="568"/>
                  <a:pt x="1046" y="568"/>
                </a:cubicBezTo>
                <a:cubicBezTo>
                  <a:pt x="1045" y="569"/>
                  <a:pt x="1045" y="569"/>
                  <a:pt x="1045" y="569"/>
                </a:cubicBezTo>
                <a:cubicBezTo>
                  <a:pt x="1045" y="569"/>
                  <a:pt x="1045" y="569"/>
                  <a:pt x="1045" y="569"/>
                </a:cubicBezTo>
                <a:cubicBezTo>
                  <a:pt x="1044" y="570"/>
                  <a:pt x="1044" y="570"/>
                  <a:pt x="1044" y="570"/>
                </a:cubicBezTo>
                <a:cubicBezTo>
                  <a:pt x="1044" y="570"/>
                  <a:pt x="1043" y="570"/>
                  <a:pt x="1043" y="570"/>
                </a:cubicBezTo>
                <a:cubicBezTo>
                  <a:pt x="1043" y="570"/>
                  <a:pt x="1043" y="571"/>
                  <a:pt x="1042" y="571"/>
                </a:cubicBezTo>
                <a:cubicBezTo>
                  <a:pt x="1042" y="572"/>
                  <a:pt x="1041" y="573"/>
                  <a:pt x="1040" y="574"/>
                </a:cubicBezTo>
                <a:cubicBezTo>
                  <a:pt x="1040" y="574"/>
                  <a:pt x="1039" y="574"/>
                  <a:pt x="1039" y="575"/>
                </a:cubicBezTo>
                <a:cubicBezTo>
                  <a:pt x="1039" y="575"/>
                  <a:pt x="1039" y="575"/>
                  <a:pt x="1039" y="576"/>
                </a:cubicBezTo>
                <a:cubicBezTo>
                  <a:pt x="1038" y="576"/>
                  <a:pt x="1038" y="576"/>
                  <a:pt x="1038" y="576"/>
                </a:cubicBezTo>
                <a:cubicBezTo>
                  <a:pt x="1037" y="576"/>
                  <a:pt x="1037" y="576"/>
                  <a:pt x="1037" y="577"/>
                </a:cubicBezTo>
                <a:cubicBezTo>
                  <a:pt x="1037" y="577"/>
                  <a:pt x="1037" y="577"/>
                  <a:pt x="1036" y="577"/>
                </a:cubicBezTo>
                <a:cubicBezTo>
                  <a:pt x="1036" y="577"/>
                  <a:pt x="1036" y="577"/>
                  <a:pt x="1036" y="577"/>
                </a:cubicBezTo>
                <a:cubicBezTo>
                  <a:pt x="1035" y="578"/>
                  <a:pt x="1033" y="579"/>
                  <a:pt x="1031" y="580"/>
                </a:cubicBezTo>
                <a:cubicBezTo>
                  <a:pt x="1031" y="580"/>
                  <a:pt x="1031" y="580"/>
                  <a:pt x="1031" y="581"/>
                </a:cubicBezTo>
                <a:cubicBezTo>
                  <a:pt x="1031" y="581"/>
                  <a:pt x="1031" y="581"/>
                  <a:pt x="1031" y="581"/>
                </a:cubicBezTo>
                <a:cubicBezTo>
                  <a:pt x="1031" y="581"/>
                  <a:pt x="1030" y="581"/>
                  <a:pt x="1030" y="581"/>
                </a:cubicBezTo>
                <a:cubicBezTo>
                  <a:pt x="1029" y="582"/>
                  <a:pt x="1028" y="582"/>
                  <a:pt x="1027" y="583"/>
                </a:cubicBezTo>
                <a:cubicBezTo>
                  <a:pt x="1027" y="583"/>
                  <a:pt x="1026" y="583"/>
                  <a:pt x="1026" y="583"/>
                </a:cubicBezTo>
                <a:cubicBezTo>
                  <a:pt x="1026" y="583"/>
                  <a:pt x="1025" y="584"/>
                  <a:pt x="1025" y="584"/>
                </a:cubicBezTo>
                <a:cubicBezTo>
                  <a:pt x="1025" y="584"/>
                  <a:pt x="1025" y="584"/>
                  <a:pt x="1025" y="584"/>
                </a:cubicBezTo>
                <a:cubicBezTo>
                  <a:pt x="1024" y="584"/>
                  <a:pt x="1024" y="584"/>
                  <a:pt x="1023" y="584"/>
                </a:cubicBezTo>
                <a:cubicBezTo>
                  <a:pt x="1023" y="584"/>
                  <a:pt x="1023" y="584"/>
                  <a:pt x="1022" y="585"/>
                </a:cubicBezTo>
                <a:cubicBezTo>
                  <a:pt x="1022" y="585"/>
                  <a:pt x="1022" y="585"/>
                  <a:pt x="1021" y="585"/>
                </a:cubicBezTo>
                <a:cubicBezTo>
                  <a:pt x="1021" y="584"/>
                  <a:pt x="1021" y="584"/>
                  <a:pt x="1021" y="584"/>
                </a:cubicBezTo>
                <a:cubicBezTo>
                  <a:pt x="1020" y="584"/>
                  <a:pt x="1020" y="584"/>
                  <a:pt x="1020" y="584"/>
                </a:cubicBezTo>
                <a:cubicBezTo>
                  <a:pt x="1019" y="584"/>
                  <a:pt x="1019" y="584"/>
                  <a:pt x="1018" y="584"/>
                </a:cubicBezTo>
                <a:cubicBezTo>
                  <a:pt x="1018" y="585"/>
                  <a:pt x="1018" y="585"/>
                  <a:pt x="1018" y="585"/>
                </a:cubicBezTo>
                <a:cubicBezTo>
                  <a:pt x="1018" y="585"/>
                  <a:pt x="1018" y="585"/>
                  <a:pt x="1019" y="586"/>
                </a:cubicBezTo>
                <a:cubicBezTo>
                  <a:pt x="1019" y="586"/>
                  <a:pt x="1018" y="586"/>
                  <a:pt x="1018" y="586"/>
                </a:cubicBezTo>
                <a:cubicBezTo>
                  <a:pt x="1018" y="586"/>
                  <a:pt x="1017" y="586"/>
                  <a:pt x="1017" y="586"/>
                </a:cubicBezTo>
                <a:cubicBezTo>
                  <a:pt x="1017" y="586"/>
                  <a:pt x="1016" y="585"/>
                  <a:pt x="1016" y="585"/>
                </a:cubicBezTo>
                <a:cubicBezTo>
                  <a:pt x="1016" y="585"/>
                  <a:pt x="1016" y="585"/>
                  <a:pt x="1015" y="585"/>
                </a:cubicBezTo>
                <a:cubicBezTo>
                  <a:pt x="1015" y="585"/>
                  <a:pt x="1015" y="586"/>
                  <a:pt x="1015" y="586"/>
                </a:cubicBezTo>
                <a:cubicBezTo>
                  <a:pt x="1015" y="586"/>
                  <a:pt x="1015" y="586"/>
                  <a:pt x="1015" y="586"/>
                </a:cubicBezTo>
                <a:cubicBezTo>
                  <a:pt x="1015" y="586"/>
                  <a:pt x="1015" y="586"/>
                  <a:pt x="1015" y="586"/>
                </a:cubicBezTo>
                <a:cubicBezTo>
                  <a:pt x="1014" y="586"/>
                  <a:pt x="1013" y="586"/>
                  <a:pt x="1013" y="586"/>
                </a:cubicBezTo>
                <a:cubicBezTo>
                  <a:pt x="1012" y="586"/>
                  <a:pt x="1012" y="586"/>
                  <a:pt x="1012" y="586"/>
                </a:cubicBezTo>
                <a:cubicBezTo>
                  <a:pt x="1011" y="585"/>
                  <a:pt x="1011" y="585"/>
                  <a:pt x="1010" y="585"/>
                </a:cubicBezTo>
                <a:cubicBezTo>
                  <a:pt x="1009" y="585"/>
                  <a:pt x="1009" y="585"/>
                  <a:pt x="1009" y="585"/>
                </a:cubicBezTo>
                <a:cubicBezTo>
                  <a:pt x="1009" y="585"/>
                  <a:pt x="1009" y="585"/>
                  <a:pt x="1009" y="585"/>
                </a:cubicBezTo>
                <a:cubicBezTo>
                  <a:pt x="1008" y="585"/>
                  <a:pt x="1008" y="586"/>
                  <a:pt x="1008" y="586"/>
                </a:cubicBezTo>
                <a:cubicBezTo>
                  <a:pt x="1008" y="585"/>
                  <a:pt x="1007" y="585"/>
                  <a:pt x="1007" y="585"/>
                </a:cubicBezTo>
                <a:cubicBezTo>
                  <a:pt x="1006" y="585"/>
                  <a:pt x="1005" y="585"/>
                  <a:pt x="1004" y="585"/>
                </a:cubicBezTo>
                <a:cubicBezTo>
                  <a:pt x="1004" y="585"/>
                  <a:pt x="1004" y="585"/>
                  <a:pt x="1004" y="585"/>
                </a:cubicBezTo>
                <a:cubicBezTo>
                  <a:pt x="1004" y="585"/>
                  <a:pt x="1004" y="586"/>
                  <a:pt x="1004" y="586"/>
                </a:cubicBezTo>
                <a:cubicBezTo>
                  <a:pt x="1003" y="586"/>
                  <a:pt x="1003" y="586"/>
                  <a:pt x="1003" y="586"/>
                </a:cubicBezTo>
                <a:cubicBezTo>
                  <a:pt x="1003" y="586"/>
                  <a:pt x="1003" y="586"/>
                  <a:pt x="1002" y="586"/>
                </a:cubicBezTo>
                <a:cubicBezTo>
                  <a:pt x="1002" y="586"/>
                  <a:pt x="1002" y="586"/>
                  <a:pt x="1002" y="586"/>
                </a:cubicBezTo>
                <a:cubicBezTo>
                  <a:pt x="1002" y="586"/>
                  <a:pt x="1002" y="586"/>
                  <a:pt x="1002" y="586"/>
                </a:cubicBezTo>
                <a:cubicBezTo>
                  <a:pt x="1001" y="586"/>
                  <a:pt x="1001" y="586"/>
                  <a:pt x="1001" y="586"/>
                </a:cubicBezTo>
                <a:cubicBezTo>
                  <a:pt x="1000" y="586"/>
                  <a:pt x="1000" y="586"/>
                  <a:pt x="1000" y="587"/>
                </a:cubicBezTo>
                <a:cubicBezTo>
                  <a:pt x="1000" y="586"/>
                  <a:pt x="999" y="586"/>
                  <a:pt x="999" y="586"/>
                </a:cubicBezTo>
                <a:cubicBezTo>
                  <a:pt x="998" y="586"/>
                  <a:pt x="998" y="586"/>
                  <a:pt x="998" y="586"/>
                </a:cubicBezTo>
                <a:cubicBezTo>
                  <a:pt x="998" y="586"/>
                  <a:pt x="997" y="586"/>
                  <a:pt x="997" y="586"/>
                </a:cubicBezTo>
                <a:cubicBezTo>
                  <a:pt x="997" y="586"/>
                  <a:pt x="997" y="586"/>
                  <a:pt x="996" y="586"/>
                </a:cubicBezTo>
                <a:cubicBezTo>
                  <a:pt x="996" y="586"/>
                  <a:pt x="996" y="587"/>
                  <a:pt x="995" y="587"/>
                </a:cubicBezTo>
                <a:cubicBezTo>
                  <a:pt x="995" y="587"/>
                  <a:pt x="995" y="587"/>
                  <a:pt x="995" y="587"/>
                </a:cubicBezTo>
                <a:cubicBezTo>
                  <a:pt x="994" y="587"/>
                  <a:pt x="994" y="587"/>
                  <a:pt x="994" y="588"/>
                </a:cubicBezTo>
                <a:cubicBezTo>
                  <a:pt x="994" y="588"/>
                  <a:pt x="994" y="588"/>
                  <a:pt x="994" y="588"/>
                </a:cubicBezTo>
                <a:cubicBezTo>
                  <a:pt x="994" y="588"/>
                  <a:pt x="993" y="588"/>
                  <a:pt x="993" y="588"/>
                </a:cubicBezTo>
                <a:cubicBezTo>
                  <a:pt x="993" y="587"/>
                  <a:pt x="992" y="587"/>
                  <a:pt x="991" y="587"/>
                </a:cubicBezTo>
                <a:cubicBezTo>
                  <a:pt x="991" y="587"/>
                  <a:pt x="991" y="587"/>
                  <a:pt x="991" y="587"/>
                </a:cubicBezTo>
                <a:cubicBezTo>
                  <a:pt x="991" y="587"/>
                  <a:pt x="991" y="586"/>
                  <a:pt x="991" y="586"/>
                </a:cubicBezTo>
                <a:cubicBezTo>
                  <a:pt x="990" y="586"/>
                  <a:pt x="990" y="586"/>
                  <a:pt x="990" y="586"/>
                </a:cubicBezTo>
                <a:cubicBezTo>
                  <a:pt x="990" y="586"/>
                  <a:pt x="989" y="586"/>
                  <a:pt x="989" y="586"/>
                </a:cubicBezTo>
                <a:cubicBezTo>
                  <a:pt x="989" y="586"/>
                  <a:pt x="989" y="586"/>
                  <a:pt x="989" y="586"/>
                </a:cubicBezTo>
                <a:cubicBezTo>
                  <a:pt x="989" y="586"/>
                  <a:pt x="989" y="586"/>
                  <a:pt x="989" y="586"/>
                </a:cubicBezTo>
                <a:cubicBezTo>
                  <a:pt x="989" y="585"/>
                  <a:pt x="989" y="585"/>
                  <a:pt x="989" y="585"/>
                </a:cubicBezTo>
                <a:cubicBezTo>
                  <a:pt x="989" y="585"/>
                  <a:pt x="988" y="585"/>
                  <a:pt x="988" y="585"/>
                </a:cubicBezTo>
                <a:cubicBezTo>
                  <a:pt x="988" y="585"/>
                  <a:pt x="987" y="585"/>
                  <a:pt x="987" y="585"/>
                </a:cubicBezTo>
                <a:cubicBezTo>
                  <a:pt x="987" y="585"/>
                  <a:pt x="987" y="586"/>
                  <a:pt x="987" y="586"/>
                </a:cubicBezTo>
                <a:cubicBezTo>
                  <a:pt x="987" y="586"/>
                  <a:pt x="987" y="586"/>
                  <a:pt x="987" y="585"/>
                </a:cubicBezTo>
                <a:cubicBezTo>
                  <a:pt x="987" y="585"/>
                  <a:pt x="987" y="585"/>
                  <a:pt x="987" y="585"/>
                </a:cubicBezTo>
                <a:cubicBezTo>
                  <a:pt x="987" y="584"/>
                  <a:pt x="987" y="584"/>
                  <a:pt x="987" y="584"/>
                </a:cubicBezTo>
                <a:cubicBezTo>
                  <a:pt x="987" y="584"/>
                  <a:pt x="987" y="583"/>
                  <a:pt x="987" y="583"/>
                </a:cubicBezTo>
                <a:cubicBezTo>
                  <a:pt x="987" y="583"/>
                  <a:pt x="987" y="583"/>
                  <a:pt x="987" y="582"/>
                </a:cubicBezTo>
                <a:cubicBezTo>
                  <a:pt x="987" y="582"/>
                  <a:pt x="987" y="581"/>
                  <a:pt x="987" y="581"/>
                </a:cubicBezTo>
                <a:cubicBezTo>
                  <a:pt x="986" y="581"/>
                  <a:pt x="986" y="581"/>
                  <a:pt x="986" y="580"/>
                </a:cubicBezTo>
                <a:cubicBezTo>
                  <a:pt x="986" y="580"/>
                  <a:pt x="986" y="580"/>
                  <a:pt x="985" y="579"/>
                </a:cubicBezTo>
                <a:cubicBezTo>
                  <a:pt x="985" y="579"/>
                  <a:pt x="985" y="579"/>
                  <a:pt x="985" y="579"/>
                </a:cubicBezTo>
                <a:cubicBezTo>
                  <a:pt x="985" y="578"/>
                  <a:pt x="986" y="578"/>
                  <a:pt x="986" y="578"/>
                </a:cubicBezTo>
                <a:cubicBezTo>
                  <a:pt x="986" y="578"/>
                  <a:pt x="986" y="578"/>
                  <a:pt x="986" y="579"/>
                </a:cubicBezTo>
                <a:cubicBezTo>
                  <a:pt x="986" y="579"/>
                  <a:pt x="986" y="579"/>
                  <a:pt x="987" y="579"/>
                </a:cubicBezTo>
                <a:cubicBezTo>
                  <a:pt x="987" y="578"/>
                  <a:pt x="987" y="578"/>
                  <a:pt x="987" y="578"/>
                </a:cubicBezTo>
                <a:cubicBezTo>
                  <a:pt x="987" y="578"/>
                  <a:pt x="987" y="577"/>
                  <a:pt x="987" y="577"/>
                </a:cubicBezTo>
                <a:cubicBezTo>
                  <a:pt x="987" y="577"/>
                  <a:pt x="987" y="576"/>
                  <a:pt x="987" y="576"/>
                </a:cubicBezTo>
                <a:cubicBezTo>
                  <a:pt x="987" y="576"/>
                  <a:pt x="987" y="575"/>
                  <a:pt x="987" y="575"/>
                </a:cubicBezTo>
                <a:cubicBezTo>
                  <a:pt x="987" y="575"/>
                  <a:pt x="986" y="574"/>
                  <a:pt x="986" y="573"/>
                </a:cubicBezTo>
                <a:cubicBezTo>
                  <a:pt x="986" y="573"/>
                  <a:pt x="986" y="573"/>
                  <a:pt x="986" y="573"/>
                </a:cubicBezTo>
                <a:cubicBezTo>
                  <a:pt x="985" y="572"/>
                  <a:pt x="985" y="572"/>
                  <a:pt x="985" y="571"/>
                </a:cubicBezTo>
                <a:cubicBezTo>
                  <a:pt x="984" y="570"/>
                  <a:pt x="984" y="570"/>
                  <a:pt x="984" y="569"/>
                </a:cubicBezTo>
                <a:cubicBezTo>
                  <a:pt x="984" y="568"/>
                  <a:pt x="984" y="568"/>
                  <a:pt x="983" y="567"/>
                </a:cubicBezTo>
                <a:cubicBezTo>
                  <a:pt x="983" y="567"/>
                  <a:pt x="983" y="566"/>
                  <a:pt x="983" y="566"/>
                </a:cubicBezTo>
                <a:cubicBezTo>
                  <a:pt x="983" y="565"/>
                  <a:pt x="983" y="564"/>
                  <a:pt x="982" y="564"/>
                </a:cubicBezTo>
                <a:cubicBezTo>
                  <a:pt x="982" y="563"/>
                  <a:pt x="981" y="563"/>
                  <a:pt x="981" y="563"/>
                </a:cubicBezTo>
                <a:cubicBezTo>
                  <a:pt x="981" y="562"/>
                  <a:pt x="981" y="562"/>
                  <a:pt x="981" y="562"/>
                </a:cubicBezTo>
                <a:cubicBezTo>
                  <a:pt x="981" y="562"/>
                  <a:pt x="981" y="562"/>
                  <a:pt x="981" y="561"/>
                </a:cubicBezTo>
                <a:cubicBezTo>
                  <a:pt x="980" y="561"/>
                  <a:pt x="980" y="561"/>
                  <a:pt x="979" y="561"/>
                </a:cubicBezTo>
                <a:cubicBezTo>
                  <a:pt x="979" y="560"/>
                  <a:pt x="979" y="560"/>
                  <a:pt x="979" y="560"/>
                </a:cubicBezTo>
                <a:cubicBezTo>
                  <a:pt x="979" y="560"/>
                  <a:pt x="978" y="559"/>
                  <a:pt x="978" y="559"/>
                </a:cubicBezTo>
                <a:cubicBezTo>
                  <a:pt x="978" y="559"/>
                  <a:pt x="977" y="558"/>
                  <a:pt x="977" y="557"/>
                </a:cubicBezTo>
                <a:cubicBezTo>
                  <a:pt x="977" y="557"/>
                  <a:pt x="976" y="557"/>
                  <a:pt x="976" y="556"/>
                </a:cubicBezTo>
                <a:cubicBezTo>
                  <a:pt x="976" y="556"/>
                  <a:pt x="976" y="555"/>
                  <a:pt x="976" y="555"/>
                </a:cubicBezTo>
                <a:cubicBezTo>
                  <a:pt x="976" y="555"/>
                  <a:pt x="976" y="555"/>
                  <a:pt x="975" y="554"/>
                </a:cubicBezTo>
                <a:cubicBezTo>
                  <a:pt x="975" y="554"/>
                  <a:pt x="975" y="554"/>
                  <a:pt x="975" y="554"/>
                </a:cubicBezTo>
                <a:cubicBezTo>
                  <a:pt x="976" y="553"/>
                  <a:pt x="976" y="553"/>
                  <a:pt x="976" y="553"/>
                </a:cubicBezTo>
                <a:cubicBezTo>
                  <a:pt x="976" y="553"/>
                  <a:pt x="976" y="553"/>
                  <a:pt x="975" y="553"/>
                </a:cubicBezTo>
                <a:cubicBezTo>
                  <a:pt x="975" y="553"/>
                  <a:pt x="975" y="552"/>
                  <a:pt x="975" y="552"/>
                </a:cubicBezTo>
                <a:cubicBezTo>
                  <a:pt x="975" y="552"/>
                  <a:pt x="975" y="551"/>
                  <a:pt x="975" y="550"/>
                </a:cubicBezTo>
                <a:cubicBezTo>
                  <a:pt x="974" y="550"/>
                  <a:pt x="974" y="550"/>
                  <a:pt x="974" y="550"/>
                </a:cubicBezTo>
                <a:cubicBezTo>
                  <a:pt x="974" y="550"/>
                  <a:pt x="974" y="550"/>
                  <a:pt x="975" y="549"/>
                </a:cubicBezTo>
                <a:cubicBezTo>
                  <a:pt x="975" y="549"/>
                  <a:pt x="974" y="549"/>
                  <a:pt x="974" y="548"/>
                </a:cubicBezTo>
                <a:cubicBezTo>
                  <a:pt x="974" y="548"/>
                  <a:pt x="974" y="547"/>
                  <a:pt x="974" y="547"/>
                </a:cubicBezTo>
                <a:cubicBezTo>
                  <a:pt x="974" y="546"/>
                  <a:pt x="974" y="545"/>
                  <a:pt x="973" y="544"/>
                </a:cubicBezTo>
                <a:cubicBezTo>
                  <a:pt x="973" y="543"/>
                  <a:pt x="973" y="542"/>
                  <a:pt x="973" y="541"/>
                </a:cubicBezTo>
                <a:cubicBezTo>
                  <a:pt x="973" y="540"/>
                  <a:pt x="973" y="540"/>
                  <a:pt x="972" y="539"/>
                </a:cubicBezTo>
                <a:cubicBezTo>
                  <a:pt x="973" y="539"/>
                  <a:pt x="973" y="539"/>
                  <a:pt x="973" y="539"/>
                </a:cubicBezTo>
                <a:cubicBezTo>
                  <a:pt x="973" y="538"/>
                  <a:pt x="973" y="538"/>
                  <a:pt x="973" y="537"/>
                </a:cubicBezTo>
                <a:cubicBezTo>
                  <a:pt x="972" y="536"/>
                  <a:pt x="972" y="536"/>
                  <a:pt x="971" y="535"/>
                </a:cubicBezTo>
                <a:cubicBezTo>
                  <a:pt x="971" y="534"/>
                  <a:pt x="971" y="534"/>
                  <a:pt x="971" y="534"/>
                </a:cubicBezTo>
                <a:cubicBezTo>
                  <a:pt x="970" y="533"/>
                  <a:pt x="969" y="532"/>
                  <a:pt x="969" y="531"/>
                </a:cubicBezTo>
                <a:cubicBezTo>
                  <a:pt x="968" y="530"/>
                  <a:pt x="968" y="530"/>
                  <a:pt x="968" y="529"/>
                </a:cubicBezTo>
                <a:cubicBezTo>
                  <a:pt x="967" y="528"/>
                  <a:pt x="967" y="526"/>
                  <a:pt x="966" y="525"/>
                </a:cubicBezTo>
                <a:cubicBezTo>
                  <a:pt x="966" y="524"/>
                  <a:pt x="965" y="524"/>
                  <a:pt x="965" y="523"/>
                </a:cubicBezTo>
                <a:cubicBezTo>
                  <a:pt x="964" y="522"/>
                  <a:pt x="963" y="522"/>
                  <a:pt x="962" y="521"/>
                </a:cubicBezTo>
                <a:cubicBezTo>
                  <a:pt x="962" y="520"/>
                  <a:pt x="962" y="519"/>
                  <a:pt x="962" y="518"/>
                </a:cubicBezTo>
                <a:cubicBezTo>
                  <a:pt x="962" y="517"/>
                  <a:pt x="962" y="517"/>
                  <a:pt x="962" y="517"/>
                </a:cubicBezTo>
                <a:cubicBezTo>
                  <a:pt x="962" y="517"/>
                  <a:pt x="962" y="516"/>
                  <a:pt x="962" y="516"/>
                </a:cubicBezTo>
                <a:cubicBezTo>
                  <a:pt x="962" y="515"/>
                  <a:pt x="962" y="515"/>
                  <a:pt x="962" y="514"/>
                </a:cubicBezTo>
                <a:cubicBezTo>
                  <a:pt x="962" y="514"/>
                  <a:pt x="962" y="513"/>
                  <a:pt x="962" y="513"/>
                </a:cubicBezTo>
                <a:cubicBezTo>
                  <a:pt x="962" y="513"/>
                  <a:pt x="962" y="512"/>
                  <a:pt x="962" y="512"/>
                </a:cubicBezTo>
                <a:cubicBezTo>
                  <a:pt x="962" y="511"/>
                  <a:pt x="963" y="511"/>
                  <a:pt x="963" y="511"/>
                </a:cubicBezTo>
                <a:cubicBezTo>
                  <a:pt x="963" y="510"/>
                  <a:pt x="964" y="510"/>
                  <a:pt x="964" y="509"/>
                </a:cubicBezTo>
                <a:cubicBezTo>
                  <a:pt x="964" y="509"/>
                  <a:pt x="964" y="508"/>
                  <a:pt x="965" y="508"/>
                </a:cubicBezTo>
                <a:cubicBezTo>
                  <a:pt x="965" y="507"/>
                  <a:pt x="965" y="506"/>
                  <a:pt x="965" y="505"/>
                </a:cubicBezTo>
                <a:cubicBezTo>
                  <a:pt x="965" y="505"/>
                  <a:pt x="965" y="505"/>
                  <a:pt x="965" y="505"/>
                </a:cubicBezTo>
                <a:cubicBezTo>
                  <a:pt x="965" y="504"/>
                  <a:pt x="965" y="504"/>
                  <a:pt x="965" y="503"/>
                </a:cubicBezTo>
                <a:cubicBezTo>
                  <a:pt x="966" y="503"/>
                  <a:pt x="967" y="502"/>
                  <a:pt x="968" y="502"/>
                </a:cubicBezTo>
                <a:cubicBezTo>
                  <a:pt x="968" y="501"/>
                  <a:pt x="968" y="501"/>
                  <a:pt x="968" y="501"/>
                </a:cubicBezTo>
                <a:cubicBezTo>
                  <a:pt x="969" y="500"/>
                  <a:pt x="969" y="500"/>
                  <a:pt x="970" y="500"/>
                </a:cubicBezTo>
                <a:cubicBezTo>
                  <a:pt x="970" y="500"/>
                  <a:pt x="970" y="500"/>
                  <a:pt x="971" y="500"/>
                </a:cubicBezTo>
                <a:cubicBezTo>
                  <a:pt x="971" y="499"/>
                  <a:pt x="972" y="498"/>
                  <a:pt x="973" y="497"/>
                </a:cubicBezTo>
                <a:cubicBezTo>
                  <a:pt x="973" y="496"/>
                  <a:pt x="973" y="495"/>
                  <a:pt x="973" y="494"/>
                </a:cubicBezTo>
                <a:cubicBezTo>
                  <a:pt x="972" y="493"/>
                  <a:pt x="972" y="493"/>
                  <a:pt x="972" y="493"/>
                </a:cubicBezTo>
                <a:cubicBezTo>
                  <a:pt x="972" y="493"/>
                  <a:pt x="972" y="493"/>
                  <a:pt x="972" y="492"/>
                </a:cubicBezTo>
                <a:cubicBezTo>
                  <a:pt x="972" y="492"/>
                  <a:pt x="971" y="491"/>
                  <a:pt x="970" y="490"/>
                </a:cubicBezTo>
                <a:cubicBezTo>
                  <a:pt x="970" y="490"/>
                  <a:pt x="970" y="490"/>
                  <a:pt x="970" y="489"/>
                </a:cubicBezTo>
                <a:cubicBezTo>
                  <a:pt x="970" y="489"/>
                  <a:pt x="970" y="489"/>
                  <a:pt x="970" y="488"/>
                </a:cubicBezTo>
                <a:cubicBezTo>
                  <a:pt x="970" y="488"/>
                  <a:pt x="970" y="487"/>
                  <a:pt x="970" y="487"/>
                </a:cubicBezTo>
                <a:cubicBezTo>
                  <a:pt x="969" y="487"/>
                  <a:pt x="969" y="487"/>
                  <a:pt x="969" y="487"/>
                </a:cubicBezTo>
                <a:cubicBezTo>
                  <a:pt x="969" y="486"/>
                  <a:pt x="970" y="486"/>
                  <a:pt x="970" y="485"/>
                </a:cubicBezTo>
                <a:cubicBezTo>
                  <a:pt x="970" y="485"/>
                  <a:pt x="971" y="484"/>
                  <a:pt x="971" y="484"/>
                </a:cubicBezTo>
                <a:cubicBezTo>
                  <a:pt x="970" y="483"/>
                  <a:pt x="970" y="483"/>
                  <a:pt x="969" y="482"/>
                </a:cubicBezTo>
                <a:cubicBezTo>
                  <a:pt x="969" y="481"/>
                  <a:pt x="969" y="480"/>
                  <a:pt x="969" y="479"/>
                </a:cubicBezTo>
                <a:cubicBezTo>
                  <a:pt x="968" y="478"/>
                  <a:pt x="967" y="478"/>
                  <a:pt x="967" y="477"/>
                </a:cubicBezTo>
                <a:cubicBezTo>
                  <a:pt x="967" y="477"/>
                  <a:pt x="967" y="476"/>
                  <a:pt x="967" y="476"/>
                </a:cubicBezTo>
                <a:cubicBezTo>
                  <a:pt x="966" y="476"/>
                  <a:pt x="966" y="476"/>
                  <a:pt x="966" y="476"/>
                </a:cubicBezTo>
                <a:cubicBezTo>
                  <a:pt x="967" y="476"/>
                  <a:pt x="967" y="475"/>
                  <a:pt x="967" y="475"/>
                </a:cubicBezTo>
                <a:cubicBezTo>
                  <a:pt x="967" y="475"/>
                  <a:pt x="967" y="475"/>
                  <a:pt x="967" y="475"/>
                </a:cubicBezTo>
                <a:cubicBezTo>
                  <a:pt x="966" y="475"/>
                  <a:pt x="966" y="475"/>
                  <a:pt x="966" y="475"/>
                </a:cubicBezTo>
                <a:cubicBezTo>
                  <a:pt x="965" y="475"/>
                  <a:pt x="965" y="475"/>
                  <a:pt x="965" y="474"/>
                </a:cubicBezTo>
                <a:cubicBezTo>
                  <a:pt x="965" y="474"/>
                  <a:pt x="965" y="474"/>
                  <a:pt x="965" y="474"/>
                </a:cubicBezTo>
                <a:cubicBezTo>
                  <a:pt x="965" y="474"/>
                  <a:pt x="965" y="473"/>
                  <a:pt x="966" y="473"/>
                </a:cubicBezTo>
                <a:cubicBezTo>
                  <a:pt x="965" y="473"/>
                  <a:pt x="965" y="473"/>
                  <a:pt x="965" y="472"/>
                </a:cubicBezTo>
                <a:cubicBezTo>
                  <a:pt x="965" y="472"/>
                  <a:pt x="965" y="472"/>
                  <a:pt x="965" y="472"/>
                </a:cubicBezTo>
                <a:cubicBezTo>
                  <a:pt x="965" y="472"/>
                  <a:pt x="964" y="471"/>
                  <a:pt x="964" y="471"/>
                </a:cubicBezTo>
                <a:cubicBezTo>
                  <a:pt x="964" y="471"/>
                  <a:pt x="964" y="471"/>
                  <a:pt x="964" y="470"/>
                </a:cubicBezTo>
                <a:cubicBezTo>
                  <a:pt x="964" y="470"/>
                  <a:pt x="964" y="470"/>
                  <a:pt x="963" y="470"/>
                </a:cubicBezTo>
                <a:cubicBezTo>
                  <a:pt x="963" y="470"/>
                  <a:pt x="963" y="469"/>
                  <a:pt x="963" y="469"/>
                </a:cubicBezTo>
                <a:cubicBezTo>
                  <a:pt x="963" y="469"/>
                  <a:pt x="962" y="469"/>
                  <a:pt x="962" y="468"/>
                </a:cubicBezTo>
                <a:cubicBezTo>
                  <a:pt x="962" y="468"/>
                  <a:pt x="962" y="468"/>
                  <a:pt x="962" y="468"/>
                </a:cubicBezTo>
                <a:cubicBezTo>
                  <a:pt x="961" y="468"/>
                  <a:pt x="961" y="467"/>
                  <a:pt x="961" y="467"/>
                </a:cubicBezTo>
                <a:cubicBezTo>
                  <a:pt x="961" y="467"/>
                  <a:pt x="961" y="467"/>
                  <a:pt x="961" y="467"/>
                </a:cubicBezTo>
                <a:cubicBezTo>
                  <a:pt x="960" y="467"/>
                  <a:pt x="960" y="467"/>
                  <a:pt x="960" y="467"/>
                </a:cubicBezTo>
                <a:cubicBezTo>
                  <a:pt x="960" y="467"/>
                  <a:pt x="960" y="466"/>
                  <a:pt x="960" y="466"/>
                </a:cubicBezTo>
                <a:cubicBezTo>
                  <a:pt x="959" y="466"/>
                  <a:pt x="958" y="466"/>
                  <a:pt x="958" y="466"/>
                </a:cubicBezTo>
                <a:cubicBezTo>
                  <a:pt x="958" y="465"/>
                  <a:pt x="958" y="465"/>
                  <a:pt x="957" y="465"/>
                </a:cubicBezTo>
                <a:cubicBezTo>
                  <a:pt x="957" y="464"/>
                  <a:pt x="956" y="464"/>
                  <a:pt x="955" y="463"/>
                </a:cubicBezTo>
                <a:cubicBezTo>
                  <a:pt x="955" y="463"/>
                  <a:pt x="954" y="463"/>
                  <a:pt x="954" y="462"/>
                </a:cubicBezTo>
                <a:cubicBezTo>
                  <a:pt x="954" y="462"/>
                  <a:pt x="954" y="462"/>
                  <a:pt x="954" y="462"/>
                </a:cubicBezTo>
                <a:cubicBezTo>
                  <a:pt x="954" y="462"/>
                  <a:pt x="953" y="462"/>
                  <a:pt x="953" y="461"/>
                </a:cubicBezTo>
                <a:cubicBezTo>
                  <a:pt x="953" y="461"/>
                  <a:pt x="953" y="461"/>
                  <a:pt x="953" y="460"/>
                </a:cubicBezTo>
                <a:cubicBezTo>
                  <a:pt x="952" y="460"/>
                  <a:pt x="952" y="460"/>
                  <a:pt x="952" y="460"/>
                </a:cubicBezTo>
                <a:cubicBezTo>
                  <a:pt x="952" y="460"/>
                  <a:pt x="952" y="459"/>
                  <a:pt x="952" y="459"/>
                </a:cubicBezTo>
                <a:cubicBezTo>
                  <a:pt x="952" y="458"/>
                  <a:pt x="951" y="458"/>
                  <a:pt x="951" y="458"/>
                </a:cubicBezTo>
                <a:cubicBezTo>
                  <a:pt x="951" y="458"/>
                  <a:pt x="951" y="457"/>
                  <a:pt x="951" y="457"/>
                </a:cubicBezTo>
                <a:cubicBezTo>
                  <a:pt x="951" y="457"/>
                  <a:pt x="951" y="457"/>
                  <a:pt x="950" y="457"/>
                </a:cubicBezTo>
                <a:cubicBezTo>
                  <a:pt x="950" y="456"/>
                  <a:pt x="950" y="456"/>
                  <a:pt x="949" y="455"/>
                </a:cubicBezTo>
                <a:cubicBezTo>
                  <a:pt x="949" y="455"/>
                  <a:pt x="949" y="455"/>
                  <a:pt x="949" y="455"/>
                </a:cubicBezTo>
                <a:cubicBezTo>
                  <a:pt x="950" y="455"/>
                  <a:pt x="950" y="455"/>
                  <a:pt x="951" y="455"/>
                </a:cubicBezTo>
                <a:cubicBezTo>
                  <a:pt x="951" y="455"/>
                  <a:pt x="951" y="455"/>
                  <a:pt x="952" y="455"/>
                </a:cubicBezTo>
                <a:cubicBezTo>
                  <a:pt x="952" y="454"/>
                  <a:pt x="952" y="453"/>
                  <a:pt x="952" y="453"/>
                </a:cubicBezTo>
                <a:cubicBezTo>
                  <a:pt x="952" y="452"/>
                  <a:pt x="952" y="452"/>
                  <a:pt x="952" y="452"/>
                </a:cubicBezTo>
                <a:cubicBezTo>
                  <a:pt x="952" y="452"/>
                  <a:pt x="952" y="452"/>
                  <a:pt x="952" y="452"/>
                </a:cubicBezTo>
                <a:cubicBezTo>
                  <a:pt x="953" y="452"/>
                  <a:pt x="954" y="452"/>
                  <a:pt x="955" y="452"/>
                </a:cubicBezTo>
                <a:cubicBezTo>
                  <a:pt x="954" y="452"/>
                  <a:pt x="954" y="451"/>
                  <a:pt x="953" y="451"/>
                </a:cubicBezTo>
                <a:cubicBezTo>
                  <a:pt x="953" y="451"/>
                  <a:pt x="952" y="451"/>
                  <a:pt x="952" y="450"/>
                </a:cubicBezTo>
                <a:cubicBezTo>
                  <a:pt x="953" y="450"/>
                  <a:pt x="953" y="450"/>
                  <a:pt x="953" y="450"/>
                </a:cubicBezTo>
                <a:cubicBezTo>
                  <a:pt x="953" y="450"/>
                  <a:pt x="953" y="449"/>
                  <a:pt x="953" y="449"/>
                </a:cubicBezTo>
                <a:cubicBezTo>
                  <a:pt x="953" y="449"/>
                  <a:pt x="953" y="449"/>
                  <a:pt x="953" y="449"/>
                </a:cubicBezTo>
                <a:cubicBezTo>
                  <a:pt x="953" y="449"/>
                  <a:pt x="952" y="449"/>
                  <a:pt x="952" y="448"/>
                </a:cubicBezTo>
                <a:cubicBezTo>
                  <a:pt x="952" y="448"/>
                  <a:pt x="953" y="447"/>
                  <a:pt x="953" y="447"/>
                </a:cubicBezTo>
                <a:cubicBezTo>
                  <a:pt x="954" y="446"/>
                  <a:pt x="954" y="446"/>
                  <a:pt x="955" y="445"/>
                </a:cubicBezTo>
                <a:cubicBezTo>
                  <a:pt x="955" y="445"/>
                  <a:pt x="955" y="445"/>
                  <a:pt x="954" y="445"/>
                </a:cubicBezTo>
                <a:cubicBezTo>
                  <a:pt x="955" y="445"/>
                  <a:pt x="955" y="445"/>
                  <a:pt x="955" y="445"/>
                </a:cubicBezTo>
                <a:cubicBezTo>
                  <a:pt x="955" y="444"/>
                  <a:pt x="955" y="444"/>
                  <a:pt x="955" y="444"/>
                </a:cubicBezTo>
                <a:cubicBezTo>
                  <a:pt x="955" y="444"/>
                  <a:pt x="955" y="444"/>
                  <a:pt x="955" y="443"/>
                </a:cubicBezTo>
                <a:cubicBezTo>
                  <a:pt x="955" y="443"/>
                  <a:pt x="955" y="443"/>
                  <a:pt x="955" y="442"/>
                </a:cubicBezTo>
                <a:cubicBezTo>
                  <a:pt x="955" y="442"/>
                  <a:pt x="955" y="441"/>
                  <a:pt x="955" y="441"/>
                </a:cubicBezTo>
                <a:cubicBezTo>
                  <a:pt x="955" y="440"/>
                  <a:pt x="955" y="440"/>
                  <a:pt x="954" y="440"/>
                </a:cubicBezTo>
                <a:cubicBezTo>
                  <a:pt x="954" y="439"/>
                  <a:pt x="954" y="439"/>
                  <a:pt x="954" y="439"/>
                </a:cubicBezTo>
                <a:cubicBezTo>
                  <a:pt x="954" y="439"/>
                  <a:pt x="955" y="438"/>
                  <a:pt x="955" y="438"/>
                </a:cubicBezTo>
                <a:cubicBezTo>
                  <a:pt x="954" y="438"/>
                  <a:pt x="954" y="438"/>
                  <a:pt x="954" y="437"/>
                </a:cubicBezTo>
                <a:cubicBezTo>
                  <a:pt x="953" y="438"/>
                  <a:pt x="953" y="438"/>
                  <a:pt x="953" y="438"/>
                </a:cubicBezTo>
                <a:cubicBezTo>
                  <a:pt x="952" y="438"/>
                  <a:pt x="952" y="438"/>
                  <a:pt x="952" y="437"/>
                </a:cubicBezTo>
                <a:cubicBezTo>
                  <a:pt x="952" y="437"/>
                  <a:pt x="952" y="437"/>
                  <a:pt x="951" y="437"/>
                </a:cubicBezTo>
                <a:cubicBezTo>
                  <a:pt x="951" y="437"/>
                  <a:pt x="951" y="436"/>
                  <a:pt x="951" y="435"/>
                </a:cubicBezTo>
                <a:cubicBezTo>
                  <a:pt x="950" y="435"/>
                  <a:pt x="950" y="435"/>
                  <a:pt x="950" y="435"/>
                </a:cubicBezTo>
                <a:cubicBezTo>
                  <a:pt x="950" y="435"/>
                  <a:pt x="949" y="435"/>
                  <a:pt x="949" y="435"/>
                </a:cubicBezTo>
                <a:cubicBezTo>
                  <a:pt x="949" y="435"/>
                  <a:pt x="949" y="435"/>
                  <a:pt x="949" y="435"/>
                </a:cubicBezTo>
                <a:cubicBezTo>
                  <a:pt x="949" y="435"/>
                  <a:pt x="949" y="435"/>
                  <a:pt x="949" y="435"/>
                </a:cubicBezTo>
                <a:cubicBezTo>
                  <a:pt x="948" y="435"/>
                  <a:pt x="948" y="435"/>
                  <a:pt x="948" y="435"/>
                </a:cubicBezTo>
                <a:cubicBezTo>
                  <a:pt x="948" y="435"/>
                  <a:pt x="948" y="435"/>
                  <a:pt x="947" y="436"/>
                </a:cubicBezTo>
                <a:cubicBezTo>
                  <a:pt x="947" y="436"/>
                  <a:pt x="947" y="436"/>
                  <a:pt x="946" y="436"/>
                </a:cubicBezTo>
                <a:cubicBezTo>
                  <a:pt x="946" y="436"/>
                  <a:pt x="946" y="436"/>
                  <a:pt x="945" y="436"/>
                </a:cubicBezTo>
                <a:cubicBezTo>
                  <a:pt x="945" y="436"/>
                  <a:pt x="944" y="436"/>
                  <a:pt x="943" y="436"/>
                </a:cubicBezTo>
                <a:cubicBezTo>
                  <a:pt x="943" y="436"/>
                  <a:pt x="943" y="436"/>
                  <a:pt x="942" y="436"/>
                </a:cubicBezTo>
                <a:cubicBezTo>
                  <a:pt x="942" y="436"/>
                  <a:pt x="942" y="436"/>
                  <a:pt x="941" y="436"/>
                </a:cubicBezTo>
                <a:cubicBezTo>
                  <a:pt x="940" y="437"/>
                  <a:pt x="938" y="437"/>
                  <a:pt x="937" y="437"/>
                </a:cubicBezTo>
                <a:cubicBezTo>
                  <a:pt x="936" y="437"/>
                  <a:pt x="936" y="436"/>
                  <a:pt x="935" y="436"/>
                </a:cubicBezTo>
                <a:cubicBezTo>
                  <a:pt x="935" y="436"/>
                  <a:pt x="934" y="436"/>
                  <a:pt x="934" y="435"/>
                </a:cubicBezTo>
                <a:cubicBezTo>
                  <a:pt x="934" y="435"/>
                  <a:pt x="933" y="435"/>
                  <a:pt x="933" y="434"/>
                </a:cubicBezTo>
                <a:cubicBezTo>
                  <a:pt x="933" y="434"/>
                  <a:pt x="933" y="434"/>
                  <a:pt x="932" y="434"/>
                </a:cubicBezTo>
                <a:cubicBezTo>
                  <a:pt x="933" y="434"/>
                  <a:pt x="933" y="433"/>
                  <a:pt x="933" y="433"/>
                </a:cubicBezTo>
                <a:cubicBezTo>
                  <a:pt x="932" y="432"/>
                  <a:pt x="932" y="432"/>
                  <a:pt x="931" y="431"/>
                </a:cubicBezTo>
                <a:cubicBezTo>
                  <a:pt x="931" y="430"/>
                  <a:pt x="930" y="430"/>
                  <a:pt x="929" y="430"/>
                </a:cubicBezTo>
                <a:cubicBezTo>
                  <a:pt x="928" y="429"/>
                  <a:pt x="927" y="429"/>
                  <a:pt x="926" y="428"/>
                </a:cubicBezTo>
                <a:cubicBezTo>
                  <a:pt x="925" y="428"/>
                  <a:pt x="925" y="428"/>
                  <a:pt x="924" y="429"/>
                </a:cubicBezTo>
                <a:cubicBezTo>
                  <a:pt x="923" y="429"/>
                  <a:pt x="923" y="428"/>
                  <a:pt x="922" y="428"/>
                </a:cubicBezTo>
                <a:cubicBezTo>
                  <a:pt x="922" y="428"/>
                  <a:pt x="922" y="428"/>
                  <a:pt x="922" y="428"/>
                </a:cubicBezTo>
                <a:cubicBezTo>
                  <a:pt x="921" y="429"/>
                  <a:pt x="920" y="429"/>
                  <a:pt x="919" y="429"/>
                </a:cubicBezTo>
                <a:cubicBezTo>
                  <a:pt x="918" y="429"/>
                  <a:pt x="917" y="429"/>
                  <a:pt x="917" y="429"/>
                </a:cubicBezTo>
                <a:cubicBezTo>
                  <a:pt x="917" y="429"/>
                  <a:pt x="916" y="429"/>
                  <a:pt x="916" y="429"/>
                </a:cubicBezTo>
                <a:cubicBezTo>
                  <a:pt x="915" y="429"/>
                  <a:pt x="915" y="430"/>
                  <a:pt x="914" y="430"/>
                </a:cubicBezTo>
                <a:cubicBezTo>
                  <a:pt x="914" y="430"/>
                  <a:pt x="913" y="430"/>
                  <a:pt x="913" y="430"/>
                </a:cubicBezTo>
                <a:cubicBezTo>
                  <a:pt x="912" y="430"/>
                  <a:pt x="912" y="431"/>
                  <a:pt x="911" y="431"/>
                </a:cubicBezTo>
                <a:cubicBezTo>
                  <a:pt x="910" y="431"/>
                  <a:pt x="909" y="431"/>
                  <a:pt x="908" y="432"/>
                </a:cubicBezTo>
                <a:cubicBezTo>
                  <a:pt x="907" y="432"/>
                  <a:pt x="907" y="433"/>
                  <a:pt x="906" y="433"/>
                </a:cubicBezTo>
                <a:cubicBezTo>
                  <a:pt x="905" y="433"/>
                  <a:pt x="904" y="433"/>
                  <a:pt x="903" y="434"/>
                </a:cubicBezTo>
                <a:cubicBezTo>
                  <a:pt x="901" y="434"/>
                  <a:pt x="900" y="435"/>
                  <a:pt x="899" y="435"/>
                </a:cubicBezTo>
                <a:cubicBezTo>
                  <a:pt x="898" y="435"/>
                  <a:pt x="897" y="435"/>
                  <a:pt x="897" y="435"/>
                </a:cubicBezTo>
                <a:cubicBezTo>
                  <a:pt x="896" y="435"/>
                  <a:pt x="895" y="434"/>
                  <a:pt x="894" y="434"/>
                </a:cubicBezTo>
                <a:cubicBezTo>
                  <a:pt x="894" y="434"/>
                  <a:pt x="894" y="434"/>
                  <a:pt x="894" y="434"/>
                </a:cubicBezTo>
                <a:cubicBezTo>
                  <a:pt x="894" y="434"/>
                  <a:pt x="893" y="433"/>
                  <a:pt x="893" y="433"/>
                </a:cubicBezTo>
                <a:cubicBezTo>
                  <a:pt x="893" y="433"/>
                  <a:pt x="892" y="433"/>
                  <a:pt x="892" y="433"/>
                </a:cubicBezTo>
                <a:cubicBezTo>
                  <a:pt x="892" y="434"/>
                  <a:pt x="892" y="434"/>
                  <a:pt x="892" y="434"/>
                </a:cubicBezTo>
                <a:cubicBezTo>
                  <a:pt x="891" y="434"/>
                  <a:pt x="890" y="434"/>
                  <a:pt x="890" y="433"/>
                </a:cubicBezTo>
                <a:cubicBezTo>
                  <a:pt x="889" y="434"/>
                  <a:pt x="888" y="434"/>
                  <a:pt x="887" y="434"/>
                </a:cubicBezTo>
                <a:cubicBezTo>
                  <a:pt x="885" y="434"/>
                  <a:pt x="883" y="434"/>
                  <a:pt x="881" y="434"/>
                </a:cubicBezTo>
                <a:cubicBezTo>
                  <a:pt x="880" y="435"/>
                  <a:pt x="880" y="435"/>
                  <a:pt x="879" y="435"/>
                </a:cubicBezTo>
                <a:cubicBezTo>
                  <a:pt x="879" y="435"/>
                  <a:pt x="879" y="435"/>
                  <a:pt x="879" y="435"/>
                </a:cubicBezTo>
                <a:cubicBezTo>
                  <a:pt x="878" y="435"/>
                  <a:pt x="877" y="436"/>
                  <a:pt x="876" y="436"/>
                </a:cubicBezTo>
                <a:cubicBezTo>
                  <a:pt x="875" y="436"/>
                  <a:pt x="875" y="436"/>
                  <a:pt x="875" y="437"/>
                </a:cubicBezTo>
                <a:cubicBezTo>
                  <a:pt x="875" y="437"/>
                  <a:pt x="875" y="437"/>
                  <a:pt x="874" y="437"/>
                </a:cubicBezTo>
                <a:cubicBezTo>
                  <a:pt x="874" y="437"/>
                  <a:pt x="873" y="437"/>
                  <a:pt x="873" y="438"/>
                </a:cubicBezTo>
                <a:cubicBezTo>
                  <a:pt x="872" y="438"/>
                  <a:pt x="872" y="438"/>
                  <a:pt x="872" y="438"/>
                </a:cubicBezTo>
                <a:cubicBezTo>
                  <a:pt x="870" y="437"/>
                  <a:pt x="869" y="437"/>
                  <a:pt x="867" y="437"/>
                </a:cubicBezTo>
                <a:cubicBezTo>
                  <a:pt x="866" y="436"/>
                  <a:pt x="865" y="435"/>
                  <a:pt x="863" y="435"/>
                </a:cubicBezTo>
                <a:cubicBezTo>
                  <a:pt x="863" y="435"/>
                  <a:pt x="863" y="435"/>
                  <a:pt x="862" y="435"/>
                </a:cubicBezTo>
                <a:cubicBezTo>
                  <a:pt x="861" y="434"/>
                  <a:pt x="860" y="433"/>
                  <a:pt x="859" y="432"/>
                </a:cubicBezTo>
                <a:cubicBezTo>
                  <a:pt x="859" y="432"/>
                  <a:pt x="859" y="432"/>
                  <a:pt x="859" y="432"/>
                </a:cubicBezTo>
                <a:cubicBezTo>
                  <a:pt x="858" y="432"/>
                  <a:pt x="858" y="432"/>
                  <a:pt x="857" y="432"/>
                </a:cubicBezTo>
                <a:cubicBezTo>
                  <a:pt x="857" y="432"/>
                  <a:pt x="857" y="432"/>
                  <a:pt x="856" y="432"/>
                </a:cubicBezTo>
                <a:cubicBezTo>
                  <a:pt x="856" y="431"/>
                  <a:pt x="855" y="431"/>
                  <a:pt x="855" y="430"/>
                </a:cubicBezTo>
                <a:cubicBezTo>
                  <a:pt x="855" y="430"/>
                  <a:pt x="854" y="430"/>
                  <a:pt x="854" y="430"/>
                </a:cubicBezTo>
                <a:cubicBezTo>
                  <a:pt x="854" y="430"/>
                  <a:pt x="854" y="430"/>
                  <a:pt x="854" y="429"/>
                </a:cubicBezTo>
                <a:cubicBezTo>
                  <a:pt x="854" y="429"/>
                  <a:pt x="854" y="429"/>
                  <a:pt x="854" y="429"/>
                </a:cubicBezTo>
                <a:cubicBezTo>
                  <a:pt x="854" y="429"/>
                  <a:pt x="854" y="429"/>
                  <a:pt x="854" y="429"/>
                </a:cubicBezTo>
                <a:cubicBezTo>
                  <a:pt x="853" y="429"/>
                  <a:pt x="853" y="429"/>
                  <a:pt x="852" y="429"/>
                </a:cubicBezTo>
                <a:cubicBezTo>
                  <a:pt x="852" y="429"/>
                  <a:pt x="852" y="429"/>
                  <a:pt x="852" y="429"/>
                </a:cubicBezTo>
                <a:cubicBezTo>
                  <a:pt x="851" y="429"/>
                  <a:pt x="850" y="429"/>
                  <a:pt x="849" y="428"/>
                </a:cubicBezTo>
                <a:cubicBezTo>
                  <a:pt x="849" y="428"/>
                  <a:pt x="848" y="428"/>
                  <a:pt x="848" y="428"/>
                </a:cubicBezTo>
                <a:cubicBezTo>
                  <a:pt x="848" y="428"/>
                  <a:pt x="848" y="428"/>
                  <a:pt x="848" y="428"/>
                </a:cubicBezTo>
                <a:cubicBezTo>
                  <a:pt x="848" y="428"/>
                  <a:pt x="848" y="427"/>
                  <a:pt x="847" y="427"/>
                </a:cubicBezTo>
                <a:cubicBezTo>
                  <a:pt x="847" y="427"/>
                  <a:pt x="847" y="427"/>
                  <a:pt x="847" y="427"/>
                </a:cubicBezTo>
                <a:cubicBezTo>
                  <a:pt x="847" y="427"/>
                  <a:pt x="847" y="426"/>
                  <a:pt x="847" y="426"/>
                </a:cubicBezTo>
                <a:cubicBezTo>
                  <a:pt x="847" y="426"/>
                  <a:pt x="847" y="426"/>
                  <a:pt x="847" y="426"/>
                </a:cubicBezTo>
                <a:cubicBezTo>
                  <a:pt x="847" y="426"/>
                  <a:pt x="847" y="426"/>
                  <a:pt x="846" y="426"/>
                </a:cubicBezTo>
                <a:cubicBezTo>
                  <a:pt x="846" y="426"/>
                  <a:pt x="845" y="426"/>
                  <a:pt x="845" y="426"/>
                </a:cubicBezTo>
                <a:cubicBezTo>
                  <a:pt x="845" y="425"/>
                  <a:pt x="845" y="425"/>
                  <a:pt x="845" y="425"/>
                </a:cubicBezTo>
                <a:cubicBezTo>
                  <a:pt x="845" y="424"/>
                  <a:pt x="845" y="424"/>
                  <a:pt x="844" y="424"/>
                </a:cubicBezTo>
                <a:cubicBezTo>
                  <a:pt x="844" y="424"/>
                  <a:pt x="844" y="424"/>
                  <a:pt x="843" y="424"/>
                </a:cubicBezTo>
                <a:cubicBezTo>
                  <a:pt x="843" y="423"/>
                  <a:pt x="843" y="423"/>
                  <a:pt x="843" y="423"/>
                </a:cubicBezTo>
                <a:cubicBezTo>
                  <a:pt x="843" y="423"/>
                  <a:pt x="843" y="422"/>
                  <a:pt x="844" y="422"/>
                </a:cubicBezTo>
                <a:cubicBezTo>
                  <a:pt x="843" y="422"/>
                  <a:pt x="843" y="422"/>
                  <a:pt x="843" y="422"/>
                </a:cubicBezTo>
                <a:cubicBezTo>
                  <a:pt x="843" y="422"/>
                  <a:pt x="843" y="421"/>
                  <a:pt x="843" y="421"/>
                </a:cubicBezTo>
                <a:cubicBezTo>
                  <a:pt x="843" y="421"/>
                  <a:pt x="843" y="421"/>
                  <a:pt x="843" y="420"/>
                </a:cubicBezTo>
                <a:cubicBezTo>
                  <a:pt x="843" y="420"/>
                  <a:pt x="843" y="420"/>
                  <a:pt x="843" y="420"/>
                </a:cubicBezTo>
                <a:cubicBezTo>
                  <a:pt x="843" y="420"/>
                  <a:pt x="843" y="420"/>
                  <a:pt x="843" y="420"/>
                </a:cubicBezTo>
                <a:cubicBezTo>
                  <a:pt x="842" y="420"/>
                  <a:pt x="842" y="420"/>
                  <a:pt x="841" y="420"/>
                </a:cubicBezTo>
                <a:cubicBezTo>
                  <a:pt x="841" y="419"/>
                  <a:pt x="841" y="419"/>
                  <a:pt x="841" y="418"/>
                </a:cubicBezTo>
                <a:cubicBezTo>
                  <a:pt x="840" y="418"/>
                  <a:pt x="840" y="418"/>
                  <a:pt x="840" y="418"/>
                </a:cubicBezTo>
                <a:cubicBezTo>
                  <a:pt x="840" y="418"/>
                  <a:pt x="839" y="418"/>
                  <a:pt x="839" y="418"/>
                </a:cubicBezTo>
                <a:cubicBezTo>
                  <a:pt x="839" y="418"/>
                  <a:pt x="839" y="418"/>
                  <a:pt x="839" y="418"/>
                </a:cubicBezTo>
                <a:cubicBezTo>
                  <a:pt x="839" y="418"/>
                  <a:pt x="840" y="417"/>
                  <a:pt x="840" y="417"/>
                </a:cubicBezTo>
                <a:cubicBezTo>
                  <a:pt x="839" y="417"/>
                  <a:pt x="839" y="417"/>
                  <a:pt x="839" y="417"/>
                </a:cubicBezTo>
                <a:cubicBezTo>
                  <a:pt x="839" y="417"/>
                  <a:pt x="839" y="417"/>
                  <a:pt x="838" y="418"/>
                </a:cubicBezTo>
                <a:cubicBezTo>
                  <a:pt x="838" y="418"/>
                  <a:pt x="838" y="417"/>
                  <a:pt x="838" y="417"/>
                </a:cubicBezTo>
                <a:cubicBezTo>
                  <a:pt x="837" y="417"/>
                  <a:pt x="837" y="417"/>
                  <a:pt x="836" y="417"/>
                </a:cubicBezTo>
                <a:cubicBezTo>
                  <a:pt x="836" y="417"/>
                  <a:pt x="836" y="417"/>
                  <a:pt x="835" y="416"/>
                </a:cubicBezTo>
                <a:cubicBezTo>
                  <a:pt x="835" y="416"/>
                  <a:pt x="836" y="415"/>
                  <a:pt x="836" y="415"/>
                </a:cubicBezTo>
                <a:cubicBezTo>
                  <a:pt x="835" y="415"/>
                  <a:pt x="835" y="415"/>
                  <a:pt x="835" y="414"/>
                </a:cubicBezTo>
                <a:cubicBezTo>
                  <a:pt x="835" y="414"/>
                  <a:pt x="835" y="414"/>
                  <a:pt x="835" y="414"/>
                </a:cubicBezTo>
                <a:cubicBezTo>
                  <a:pt x="834" y="414"/>
                  <a:pt x="834" y="415"/>
                  <a:pt x="834" y="415"/>
                </a:cubicBezTo>
                <a:cubicBezTo>
                  <a:pt x="833" y="415"/>
                  <a:pt x="833" y="415"/>
                  <a:pt x="833" y="415"/>
                </a:cubicBezTo>
                <a:cubicBezTo>
                  <a:pt x="833" y="414"/>
                  <a:pt x="833" y="414"/>
                  <a:pt x="833" y="414"/>
                </a:cubicBezTo>
                <a:cubicBezTo>
                  <a:pt x="833" y="414"/>
                  <a:pt x="832" y="414"/>
                  <a:pt x="831" y="414"/>
                </a:cubicBezTo>
                <a:cubicBezTo>
                  <a:pt x="832" y="414"/>
                  <a:pt x="832" y="414"/>
                  <a:pt x="832" y="413"/>
                </a:cubicBezTo>
                <a:cubicBezTo>
                  <a:pt x="832" y="413"/>
                  <a:pt x="832" y="413"/>
                  <a:pt x="832" y="413"/>
                </a:cubicBezTo>
                <a:cubicBezTo>
                  <a:pt x="832" y="413"/>
                  <a:pt x="832" y="413"/>
                  <a:pt x="832" y="413"/>
                </a:cubicBezTo>
                <a:cubicBezTo>
                  <a:pt x="832" y="413"/>
                  <a:pt x="832" y="413"/>
                  <a:pt x="832" y="412"/>
                </a:cubicBezTo>
                <a:cubicBezTo>
                  <a:pt x="831" y="412"/>
                  <a:pt x="831" y="412"/>
                  <a:pt x="831" y="412"/>
                </a:cubicBezTo>
                <a:cubicBezTo>
                  <a:pt x="831" y="412"/>
                  <a:pt x="831" y="412"/>
                  <a:pt x="830" y="412"/>
                </a:cubicBezTo>
                <a:cubicBezTo>
                  <a:pt x="831" y="412"/>
                  <a:pt x="832" y="412"/>
                  <a:pt x="833" y="412"/>
                </a:cubicBezTo>
                <a:cubicBezTo>
                  <a:pt x="833" y="412"/>
                  <a:pt x="833" y="412"/>
                  <a:pt x="833" y="412"/>
                </a:cubicBezTo>
                <a:cubicBezTo>
                  <a:pt x="833" y="412"/>
                  <a:pt x="832" y="411"/>
                  <a:pt x="832" y="411"/>
                </a:cubicBezTo>
                <a:cubicBezTo>
                  <a:pt x="832" y="411"/>
                  <a:pt x="831" y="411"/>
                  <a:pt x="831" y="412"/>
                </a:cubicBezTo>
                <a:cubicBezTo>
                  <a:pt x="830" y="412"/>
                  <a:pt x="830" y="412"/>
                  <a:pt x="829" y="412"/>
                </a:cubicBezTo>
                <a:cubicBezTo>
                  <a:pt x="829" y="412"/>
                  <a:pt x="829" y="412"/>
                  <a:pt x="829" y="412"/>
                </a:cubicBezTo>
                <a:cubicBezTo>
                  <a:pt x="829" y="412"/>
                  <a:pt x="829" y="412"/>
                  <a:pt x="829" y="412"/>
                </a:cubicBezTo>
                <a:cubicBezTo>
                  <a:pt x="828" y="412"/>
                  <a:pt x="828" y="412"/>
                  <a:pt x="828" y="412"/>
                </a:cubicBezTo>
                <a:cubicBezTo>
                  <a:pt x="827" y="411"/>
                  <a:pt x="827" y="411"/>
                  <a:pt x="827" y="411"/>
                </a:cubicBezTo>
                <a:cubicBezTo>
                  <a:pt x="827" y="411"/>
                  <a:pt x="827" y="411"/>
                  <a:pt x="828" y="410"/>
                </a:cubicBezTo>
                <a:cubicBezTo>
                  <a:pt x="827" y="410"/>
                  <a:pt x="827" y="410"/>
                  <a:pt x="827" y="410"/>
                </a:cubicBezTo>
                <a:cubicBezTo>
                  <a:pt x="826" y="410"/>
                  <a:pt x="826" y="410"/>
                  <a:pt x="825" y="410"/>
                </a:cubicBezTo>
                <a:cubicBezTo>
                  <a:pt x="825" y="410"/>
                  <a:pt x="825" y="410"/>
                  <a:pt x="825" y="410"/>
                </a:cubicBezTo>
                <a:cubicBezTo>
                  <a:pt x="825" y="410"/>
                  <a:pt x="825" y="410"/>
                  <a:pt x="825" y="410"/>
                </a:cubicBezTo>
                <a:cubicBezTo>
                  <a:pt x="825" y="410"/>
                  <a:pt x="825" y="409"/>
                  <a:pt x="825" y="409"/>
                </a:cubicBezTo>
                <a:cubicBezTo>
                  <a:pt x="825" y="409"/>
                  <a:pt x="824" y="409"/>
                  <a:pt x="824" y="409"/>
                </a:cubicBezTo>
                <a:cubicBezTo>
                  <a:pt x="825" y="409"/>
                  <a:pt x="825" y="409"/>
                  <a:pt x="825" y="409"/>
                </a:cubicBezTo>
                <a:cubicBezTo>
                  <a:pt x="825" y="409"/>
                  <a:pt x="825" y="409"/>
                  <a:pt x="826" y="409"/>
                </a:cubicBezTo>
                <a:cubicBezTo>
                  <a:pt x="826" y="409"/>
                  <a:pt x="826" y="409"/>
                  <a:pt x="827" y="409"/>
                </a:cubicBezTo>
                <a:cubicBezTo>
                  <a:pt x="826" y="408"/>
                  <a:pt x="826" y="408"/>
                  <a:pt x="825" y="408"/>
                </a:cubicBezTo>
                <a:cubicBezTo>
                  <a:pt x="825" y="408"/>
                  <a:pt x="824" y="409"/>
                  <a:pt x="824" y="409"/>
                </a:cubicBezTo>
                <a:cubicBezTo>
                  <a:pt x="824" y="409"/>
                  <a:pt x="824" y="409"/>
                  <a:pt x="824" y="409"/>
                </a:cubicBezTo>
                <a:cubicBezTo>
                  <a:pt x="824" y="408"/>
                  <a:pt x="824" y="408"/>
                  <a:pt x="824" y="408"/>
                </a:cubicBezTo>
                <a:cubicBezTo>
                  <a:pt x="824" y="408"/>
                  <a:pt x="824" y="408"/>
                  <a:pt x="824" y="407"/>
                </a:cubicBezTo>
                <a:cubicBezTo>
                  <a:pt x="824" y="407"/>
                  <a:pt x="824" y="407"/>
                  <a:pt x="824" y="407"/>
                </a:cubicBezTo>
                <a:cubicBezTo>
                  <a:pt x="824" y="407"/>
                  <a:pt x="824" y="407"/>
                  <a:pt x="823" y="406"/>
                </a:cubicBezTo>
                <a:cubicBezTo>
                  <a:pt x="824" y="406"/>
                  <a:pt x="824" y="406"/>
                  <a:pt x="824" y="406"/>
                </a:cubicBezTo>
                <a:cubicBezTo>
                  <a:pt x="825" y="406"/>
                  <a:pt x="825" y="406"/>
                  <a:pt x="825" y="407"/>
                </a:cubicBezTo>
                <a:cubicBezTo>
                  <a:pt x="826" y="407"/>
                  <a:pt x="826" y="407"/>
                  <a:pt x="827" y="407"/>
                </a:cubicBezTo>
                <a:cubicBezTo>
                  <a:pt x="827" y="406"/>
                  <a:pt x="827" y="406"/>
                  <a:pt x="827" y="406"/>
                </a:cubicBezTo>
                <a:cubicBezTo>
                  <a:pt x="827" y="406"/>
                  <a:pt x="827" y="406"/>
                  <a:pt x="826" y="406"/>
                </a:cubicBezTo>
                <a:cubicBezTo>
                  <a:pt x="826" y="406"/>
                  <a:pt x="825" y="406"/>
                  <a:pt x="825" y="406"/>
                </a:cubicBezTo>
                <a:cubicBezTo>
                  <a:pt x="825" y="406"/>
                  <a:pt x="825" y="406"/>
                  <a:pt x="825" y="405"/>
                </a:cubicBezTo>
                <a:cubicBezTo>
                  <a:pt x="825" y="405"/>
                  <a:pt x="825" y="405"/>
                  <a:pt x="824" y="405"/>
                </a:cubicBezTo>
                <a:cubicBezTo>
                  <a:pt x="825" y="405"/>
                  <a:pt x="825" y="405"/>
                  <a:pt x="825" y="405"/>
                </a:cubicBezTo>
                <a:cubicBezTo>
                  <a:pt x="825" y="404"/>
                  <a:pt x="824" y="404"/>
                  <a:pt x="824" y="404"/>
                </a:cubicBezTo>
                <a:cubicBezTo>
                  <a:pt x="824" y="404"/>
                  <a:pt x="824" y="404"/>
                  <a:pt x="824" y="404"/>
                </a:cubicBezTo>
                <a:cubicBezTo>
                  <a:pt x="824" y="404"/>
                  <a:pt x="824" y="404"/>
                  <a:pt x="824" y="403"/>
                </a:cubicBezTo>
                <a:cubicBezTo>
                  <a:pt x="824" y="403"/>
                  <a:pt x="824" y="403"/>
                  <a:pt x="823" y="403"/>
                </a:cubicBezTo>
                <a:cubicBezTo>
                  <a:pt x="823" y="403"/>
                  <a:pt x="822" y="402"/>
                  <a:pt x="822" y="402"/>
                </a:cubicBezTo>
                <a:cubicBezTo>
                  <a:pt x="821" y="402"/>
                  <a:pt x="821" y="401"/>
                  <a:pt x="820" y="401"/>
                </a:cubicBezTo>
                <a:cubicBezTo>
                  <a:pt x="821" y="400"/>
                  <a:pt x="822" y="399"/>
                  <a:pt x="823" y="399"/>
                </a:cubicBezTo>
                <a:cubicBezTo>
                  <a:pt x="824" y="398"/>
                  <a:pt x="824" y="397"/>
                  <a:pt x="824" y="397"/>
                </a:cubicBezTo>
                <a:cubicBezTo>
                  <a:pt x="824" y="396"/>
                  <a:pt x="824" y="396"/>
                  <a:pt x="825" y="396"/>
                </a:cubicBezTo>
                <a:cubicBezTo>
                  <a:pt x="825" y="395"/>
                  <a:pt x="825" y="395"/>
                  <a:pt x="825" y="394"/>
                </a:cubicBezTo>
                <a:cubicBezTo>
                  <a:pt x="825" y="393"/>
                  <a:pt x="825" y="393"/>
                  <a:pt x="825" y="392"/>
                </a:cubicBezTo>
                <a:cubicBezTo>
                  <a:pt x="826" y="391"/>
                  <a:pt x="826" y="391"/>
                  <a:pt x="826" y="390"/>
                </a:cubicBezTo>
                <a:cubicBezTo>
                  <a:pt x="826" y="390"/>
                  <a:pt x="827" y="389"/>
                  <a:pt x="827" y="388"/>
                </a:cubicBezTo>
                <a:cubicBezTo>
                  <a:pt x="826" y="387"/>
                  <a:pt x="826" y="385"/>
                  <a:pt x="825" y="384"/>
                </a:cubicBezTo>
                <a:cubicBezTo>
                  <a:pt x="825" y="383"/>
                  <a:pt x="824" y="383"/>
                  <a:pt x="824" y="382"/>
                </a:cubicBezTo>
                <a:cubicBezTo>
                  <a:pt x="824" y="382"/>
                  <a:pt x="824" y="382"/>
                  <a:pt x="824" y="382"/>
                </a:cubicBezTo>
                <a:cubicBezTo>
                  <a:pt x="825" y="382"/>
                  <a:pt x="825" y="382"/>
                  <a:pt x="825" y="382"/>
                </a:cubicBezTo>
                <a:cubicBezTo>
                  <a:pt x="825" y="382"/>
                  <a:pt x="825" y="381"/>
                  <a:pt x="825" y="381"/>
                </a:cubicBezTo>
                <a:cubicBezTo>
                  <a:pt x="825" y="381"/>
                  <a:pt x="825" y="380"/>
                  <a:pt x="825" y="380"/>
                </a:cubicBezTo>
                <a:cubicBezTo>
                  <a:pt x="825" y="380"/>
                  <a:pt x="825" y="380"/>
                  <a:pt x="825" y="380"/>
                </a:cubicBezTo>
                <a:cubicBezTo>
                  <a:pt x="825" y="379"/>
                  <a:pt x="824" y="379"/>
                  <a:pt x="824" y="378"/>
                </a:cubicBezTo>
                <a:cubicBezTo>
                  <a:pt x="824" y="378"/>
                  <a:pt x="823" y="378"/>
                  <a:pt x="823" y="378"/>
                </a:cubicBezTo>
                <a:cubicBezTo>
                  <a:pt x="823" y="378"/>
                  <a:pt x="823" y="378"/>
                  <a:pt x="823" y="378"/>
                </a:cubicBezTo>
                <a:cubicBezTo>
                  <a:pt x="823" y="378"/>
                  <a:pt x="822" y="378"/>
                  <a:pt x="822" y="377"/>
                </a:cubicBezTo>
                <a:cubicBezTo>
                  <a:pt x="822" y="378"/>
                  <a:pt x="822" y="378"/>
                  <a:pt x="821" y="378"/>
                </a:cubicBezTo>
                <a:cubicBezTo>
                  <a:pt x="821" y="378"/>
                  <a:pt x="821" y="378"/>
                  <a:pt x="821" y="377"/>
                </a:cubicBezTo>
                <a:cubicBezTo>
                  <a:pt x="821" y="377"/>
                  <a:pt x="821" y="376"/>
                  <a:pt x="822" y="376"/>
                </a:cubicBezTo>
                <a:cubicBezTo>
                  <a:pt x="822" y="376"/>
                  <a:pt x="821" y="376"/>
                  <a:pt x="821" y="376"/>
                </a:cubicBezTo>
                <a:cubicBezTo>
                  <a:pt x="821" y="376"/>
                  <a:pt x="821" y="375"/>
                  <a:pt x="821" y="375"/>
                </a:cubicBezTo>
                <a:cubicBezTo>
                  <a:pt x="821" y="375"/>
                  <a:pt x="822" y="374"/>
                  <a:pt x="822" y="374"/>
                </a:cubicBezTo>
                <a:cubicBezTo>
                  <a:pt x="822" y="374"/>
                  <a:pt x="822" y="373"/>
                  <a:pt x="822" y="373"/>
                </a:cubicBezTo>
                <a:cubicBezTo>
                  <a:pt x="822" y="373"/>
                  <a:pt x="822" y="373"/>
                  <a:pt x="822" y="372"/>
                </a:cubicBezTo>
                <a:cubicBezTo>
                  <a:pt x="823" y="372"/>
                  <a:pt x="823" y="372"/>
                  <a:pt x="823" y="372"/>
                </a:cubicBezTo>
                <a:cubicBezTo>
                  <a:pt x="823" y="372"/>
                  <a:pt x="824" y="371"/>
                  <a:pt x="824" y="370"/>
                </a:cubicBezTo>
                <a:cubicBezTo>
                  <a:pt x="825" y="370"/>
                  <a:pt x="825" y="370"/>
                  <a:pt x="825" y="370"/>
                </a:cubicBezTo>
                <a:cubicBezTo>
                  <a:pt x="825" y="370"/>
                  <a:pt x="825" y="370"/>
                  <a:pt x="825" y="369"/>
                </a:cubicBezTo>
                <a:cubicBezTo>
                  <a:pt x="825" y="369"/>
                  <a:pt x="825" y="369"/>
                  <a:pt x="825" y="369"/>
                </a:cubicBezTo>
                <a:cubicBezTo>
                  <a:pt x="825" y="368"/>
                  <a:pt x="826" y="368"/>
                  <a:pt x="827" y="367"/>
                </a:cubicBezTo>
                <a:cubicBezTo>
                  <a:pt x="827" y="367"/>
                  <a:pt x="826" y="367"/>
                  <a:pt x="826" y="366"/>
                </a:cubicBezTo>
                <a:cubicBezTo>
                  <a:pt x="827" y="366"/>
                  <a:pt x="827" y="365"/>
                  <a:pt x="828" y="364"/>
                </a:cubicBezTo>
                <a:cubicBezTo>
                  <a:pt x="828" y="364"/>
                  <a:pt x="828" y="364"/>
                  <a:pt x="828" y="364"/>
                </a:cubicBezTo>
                <a:cubicBezTo>
                  <a:pt x="829" y="363"/>
                  <a:pt x="830" y="363"/>
                  <a:pt x="831" y="362"/>
                </a:cubicBezTo>
                <a:cubicBezTo>
                  <a:pt x="831" y="362"/>
                  <a:pt x="831" y="362"/>
                  <a:pt x="831" y="361"/>
                </a:cubicBezTo>
                <a:cubicBezTo>
                  <a:pt x="832" y="360"/>
                  <a:pt x="833" y="359"/>
                  <a:pt x="834" y="358"/>
                </a:cubicBezTo>
                <a:cubicBezTo>
                  <a:pt x="833" y="357"/>
                  <a:pt x="833" y="357"/>
                  <a:pt x="833" y="357"/>
                </a:cubicBezTo>
                <a:cubicBezTo>
                  <a:pt x="834" y="357"/>
                  <a:pt x="834" y="356"/>
                  <a:pt x="834" y="356"/>
                </a:cubicBezTo>
                <a:cubicBezTo>
                  <a:pt x="835" y="356"/>
                  <a:pt x="835" y="356"/>
                  <a:pt x="835" y="355"/>
                </a:cubicBezTo>
                <a:cubicBezTo>
                  <a:pt x="836" y="355"/>
                  <a:pt x="837" y="354"/>
                  <a:pt x="838" y="354"/>
                </a:cubicBezTo>
                <a:cubicBezTo>
                  <a:pt x="839" y="354"/>
                  <a:pt x="839" y="354"/>
                  <a:pt x="839" y="354"/>
                </a:cubicBezTo>
                <a:cubicBezTo>
                  <a:pt x="839" y="353"/>
                  <a:pt x="839" y="353"/>
                  <a:pt x="839" y="352"/>
                </a:cubicBezTo>
                <a:cubicBezTo>
                  <a:pt x="840" y="352"/>
                  <a:pt x="840" y="351"/>
                  <a:pt x="841" y="350"/>
                </a:cubicBezTo>
                <a:cubicBezTo>
                  <a:pt x="841" y="350"/>
                  <a:pt x="842" y="349"/>
                  <a:pt x="842" y="349"/>
                </a:cubicBezTo>
                <a:cubicBezTo>
                  <a:pt x="844" y="348"/>
                  <a:pt x="845" y="348"/>
                  <a:pt x="847" y="348"/>
                </a:cubicBezTo>
                <a:cubicBezTo>
                  <a:pt x="848" y="347"/>
                  <a:pt x="849" y="346"/>
                  <a:pt x="851" y="345"/>
                </a:cubicBezTo>
                <a:cubicBezTo>
                  <a:pt x="851" y="345"/>
                  <a:pt x="852" y="345"/>
                  <a:pt x="852" y="345"/>
                </a:cubicBezTo>
                <a:cubicBezTo>
                  <a:pt x="853" y="345"/>
                  <a:pt x="853" y="344"/>
                  <a:pt x="854" y="344"/>
                </a:cubicBezTo>
                <a:cubicBezTo>
                  <a:pt x="854" y="344"/>
                  <a:pt x="854" y="343"/>
                  <a:pt x="854" y="343"/>
                </a:cubicBezTo>
                <a:cubicBezTo>
                  <a:pt x="855" y="342"/>
                  <a:pt x="856" y="341"/>
                  <a:pt x="857" y="340"/>
                </a:cubicBezTo>
                <a:cubicBezTo>
                  <a:pt x="857" y="340"/>
                  <a:pt x="857" y="339"/>
                  <a:pt x="857" y="339"/>
                </a:cubicBezTo>
                <a:cubicBezTo>
                  <a:pt x="857" y="339"/>
                  <a:pt x="857" y="339"/>
                  <a:pt x="857" y="338"/>
                </a:cubicBezTo>
                <a:cubicBezTo>
                  <a:pt x="857" y="338"/>
                  <a:pt x="856" y="338"/>
                  <a:pt x="856" y="338"/>
                </a:cubicBezTo>
                <a:cubicBezTo>
                  <a:pt x="856" y="338"/>
                  <a:pt x="857" y="337"/>
                  <a:pt x="857" y="337"/>
                </a:cubicBezTo>
                <a:cubicBezTo>
                  <a:pt x="857" y="336"/>
                  <a:pt x="856" y="336"/>
                  <a:pt x="856" y="336"/>
                </a:cubicBezTo>
                <a:cubicBezTo>
                  <a:pt x="856" y="335"/>
                  <a:pt x="856" y="335"/>
                  <a:pt x="856" y="335"/>
                </a:cubicBezTo>
                <a:cubicBezTo>
                  <a:pt x="856" y="334"/>
                  <a:pt x="857" y="333"/>
                  <a:pt x="857" y="333"/>
                </a:cubicBezTo>
                <a:cubicBezTo>
                  <a:pt x="858" y="332"/>
                  <a:pt x="859" y="332"/>
                  <a:pt x="859" y="331"/>
                </a:cubicBezTo>
                <a:cubicBezTo>
                  <a:pt x="859" y="331"/>
                  <a:pt x="859" y="331"/>
                  <a:pt x="859" y="330"/>
                </a:cubicBezTo>
                <a:cubicBezTo>
                  <a:pt x="859" y="330"/>
                  <a:pt x="859" y="330"/>
                  <a:pt x="858" y="329"/>
                </a:cubicBezTo>
                <a:cubicBezTo>
                  <a:pt x="859" y="329"/>
                  <a:pt x="860" y="328"/>
                  <a:pt x="861" y="328"/>
                </a:cubicBezTo>
                <a:cubicBezTo>
                  <a:pt x="861" y="328"/>
                  <a:pt x="861" y="327"/>
                  <a:pt x="861" y="327"/>
                </a:cubicBezTo>
                <a:cubicBezTo>
                  <a:pt x="862" y="327"/>
                  <a:pt x="862" y="327"/>
                  <a:pt x="863" y="327"/>
                </a:cubicBezTo>
                <a:cubicBezTo>
                  <a:pt x="863" y="326"/>
                  <a:pt x="864" y="326"/>
                  <a:pt x="865" y="326"/>
                </a:cubicBezTo>
                <a:cubicBezTo>
                  <a:pt x="865" y="326"/>
                  <a:pt x="865" y="326"/>
                  <a:pt x="865" y="326"/>
                </a:cubicBezTo>
                <a:cubicBezTo>
                  <a:pt x="866" y="325"/>
                  <a:pt x="866" y="325"/>
                  <a:pt x="867" y="324"/>
                </a:cubicBezTo>
                <a:cubicBezTo>
                  <a:pt x="867" y="324"/>
                  <a:pt x="868" y="324"/>
                  <a:pt x="869" y="324"/>
                </a:cubicBezTo>
                <a:cubicBezTo>
                  <a:pt x="869" y="324"/>
                  <a:pt x="869" y="323"/>
                  <a:pt x="870" y="323"/>
                </a:cubicBezTo>
                <a:cubicBezTo>
                  <a:pt x="870" y="323"/>
                  <a:pt x="870" y="323"/>
                  <a:pt x="870" y="323"/>
                </a:cubicBezTo>
                <a:cubicBezTo>
                  <a:pt x="871" y="323"/>
                  <a:pt x="872" y="322"/>
                  <a:pt x="873" y="322"/>
                </a:cubicBezTo>
                <a:cubicBezTo>
                  <a:pt x="873" y="321"/>
                  <a:pt x="873" y="321"/>
                  <a:pt x="873" y="321"/>
                </a:cubicBezTo>
                <a:cubicBezTo>
                  <a:pt x="873" y="320"/>
                  <a:pt x="873" y="320"/>
                  <a:pt x="873" y="319"/>
                </a:cubicBezTo>
                <a:cubicBezTo>
                  <a:pt x="874" y="319"/>
                  <a:pt x="874" y="318"/>
                  <a:pt x="875" y="318"/>
                </a:cubicBezTo>
                <a:cubicBezTo>
                  <a:pt x="875" y="317"/>
                  <a:pt x="875" y="317"/>
                  <a:pt x="875" y="316"/>
                </a:cubicBezTo>
                <a:cubicBezTo>
                  <a:pt x="875" y="316"/>
                  <a:pt x="875" y="315"/>
                  <a:pt x="876" y="315"/>
                </a:cubicBezTo>
                <a:cubicBezTo>
                  <a:pt x="876" y="315"/>
                  <a:pt x="876" y="315"/>
                  <a:pt x="876" y="315"/>
                </a:cubicBezTo>
                <a:cubicBezTo>
                  <a:pt x="877" y="315"/>
                  <a:pt x="877" y="315"/>
                  <a:pt x="877" y="315"/>
                </a:cubicBezTo>
                <a:cubicBezTo>
                  <a:pt x="877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6"/>
                  <a:pt x="878" y="316"/>
                  <a:pt x="878" y="316"/>
                </a:cubicBezTo>
                <a:cubicBezTo>
                  <a:pt x="879" y="316"/>
                  <a:pt x="879" y="316"/>
                  <a:pt x="879" y="316"/>
                </a:cubicBezTo>
                <a:cubicBezTo>
                  <a:pt x="879" y="317"/>
                  <a:pt x="880" y="317"/>
                  <a:pt x="880" y="317"/>
                </a:cubicBezTo>
                <a:cubicBezTo>
                  <a:pt x="881" y="317"/>
                  <a:pt x="881" y="317"/>
                  <a:pt x="882" y="317"/>
                </a:cubicBezTo>
                <a:cubicBezTo>
                  <a:pt x="882" y="317"/>
                  <a:pt x="883" y="317"/>
                  <a:pt x="883" y="317"/>
                </a:cubicBezTo>
                <a:cubicBezTo>
                  <a:pt x="884" y="317"/>
                  <a:pt x="884" y="317"/>
                  <a:pt x="884" y="317"/>
                </a:cubicBezTo>
                <a:cubicBezTo>
                  <a:pt x="885" y="317"/>
                  <a:pt x="885" y="317"/>
                  <a:pt x="885" y="317"/>
                </a:cubicBezTo>
                <a:cubicBezTo>
                  <a:pt x="886" y="317"/>
                  <a:pt x="886" y="317"/>
                  <a:pt x="887" y="317"/>
                </a:cubicBezTo>
                <a:cubicBezTo>
                  <a:pt x="887" y="317"/>
                  <a:pt x="888" y="317"/>
                  <a:pt x="889" y="317"/>
                </a:cubicBezTo>
                <a:cubicBezTo>
                  <a:pt x="889" y="317"/>
                  <a:pt x="889" y="316"/>
                  <a:pt x="889" y="316"/>
                </a:cubicBezTo>
                <a:cubicBezTo>
                  <a:pt x="889" y="316"/>
                  <a:pt x="889" y="316"/>
                  <a:pt x="889" y="316"/>
                </a:cubicBezTo>
                <a:cubicBezTo>
                  <a:pt x="890" y="316"/>
                  <a:pt x="890" y="316"/>
                  <a:pt x="890" y="316"/>
                </a:cubicBezTo>
                <a:cubicBezTo>
                  <a:pt x="890" y="316"/>
                  <a:pt x="890" y="317"/>
                  <a:pt x="890" y="317"/>
                </a:cubicBezTo>
                <a:cubicBezTo>
                  <a:pt x="890" y="317"/>
                  <a:pt x="891" y="317"/>
                  <a:pt x="891" y="317"/>
                </a:cubicBezTo>
                <a:cubicBezTo>
                  <a:pt x="892" y="317"/>
                  <a:pt x="893" y="317"/>
                  <a:pt x="894" y="317"/>
                </a:cubicBezTo>
                <a:cubicBezTo>
                  <a:pt x="894" y="317"/>
                  <a:pt x="894" y="317"/>
                  <a:pt x="895" y="317"/>
                </a:cubicBezTo>
                <a:cubicBezTo>
                  <a:pt x="895" y="317"/>
                  <a:pt x="895" y="317"/>
                  <a:pt x="896" y="317"/>
                </a:cubicBezTo>
                <a:cubicBezTo>
                  <a:pt x="896" y="317"/>
                  <a:pt x="897" y="317"/>
                  <a:pt x="898" y="317"/>
                </a:cubicBezTo>
                <a:cubicBezTo>
                  <a:pt x="898" y="317"/>
                  <a:pt x="898" y="316"/>
                  <a:pt x="899" y="316"/>
                </a:cubicBezTo>
                <a:cubicBezTo>
                  <a:pt x="899" y="316"/>
                  <a:pt x="899" y="316"/>
                  <a:pt x="899" y="316"/>
                </a:cubicBezTo>
                <a:cubicBezTo>
                  <a:pt x="899" y="315"/>
                  <a:pt x="899" y="315"/>
                  <a:pt x="899" y="315"/>
                </a:cubicBezTo>
                <a:cubicBezTo>
                  <a:pt x="900" y="315"/>
                  <a:pt x="900" y="315"/>
                  <a:pt x="901" y="315"/>
                </a:cubicBezTo>
                <a:cubicBezTo>
                  <a:pt x="901" y="315"/>
                  <a:pt x="902" y="315"/>
                  <a:pt x="902" y="315"/>
                </a:cubicBezTo>
                <a:cubicBezTo>
                  <a:pt x="902" y="314"/>
                  <a:pt x="902" y="314"/>
                  <a:pt x="902" y="314"/>
                </a:cubicBezTo>
                <a:cubicBezTo>
                  <a:pt x="903" y="314"/>
                  <a:pt x="903" y="314"/>
                  <a:pt x="903" y="314"/>
                </a:cubicBezTo>
                <a:cubicBezTo>
                  <a:pt x="903" y="314"/>
                  <a:pt x="903" y="314"/>
                  <a:pt x="904" y="314"/>
                </a:cubicBezTo>
                <a:cubicBezTo>
                  <a:pt x="904" y="314"/>
                  <a:pt x="904" y="314"/>
                  <a:pt x="904" y="314"/>
                </a:cubicBezTo>
                <a:cubicBezTo>
                  <a:pt x="904" y="314"/>
                  <a:pt x="904" y="314"/>
                  <a:pt x="905" y="314"/>
                </a:cubicBezTo>
                <a:cubicBezTo>
                  <a:pt x="905" y="314"/>
                  <a:pt x="905" y="314"/>
                  <a:pt x="905" y="314"/>
                </a:cubicBezTo>
                <a:cubicBezTo>
                  <a:pt x="905" y="313"/>
                  <a:pt x="905" y="313"/>
                  <a:pt x="905" y="313"/>
                </a:cubicBezTo>
                <a:cubicBezTo>
                  <a:pt x="906" y="313"/>
                  <a:pt x="906" y="313"/>
                  <a:pt x="907" y="312"/>
                </a:cubicBezTo>
                <a:cubicBezTo>
                  <a:pt x="907" y="312"/>
                  <a:pt x="907" y="312"/>
                  <a:pt x="907" y="312"/>
                </a:cubicBezTo>
                <a:cubicBezTo>
                  <a:pt x="908" y="312"/>
                  <a:pt x="908" y="312"/>
                  <a:pt x="909" y="312"/>
                </a:cubicBezTo>
                <a:cubicBezTo>
                  <a:pt x="910" y="312"/>
                  <a:pt x="910" y="311"/>
                  <a:pt x="911" y="311"/>
                </a:cubicBezTo>
                <a:cubicBezTo>
                  <a:pt x="912" y="311"/>
                  <a:pt x="912" y="311"/>
                  <a:pt x="912" y="311"/>
                </a:cubicBezTo>
                <a:cubicBezTo>
                  <a:pt x="913" y="311"/>
                  <a:pt x="914" y="311"/>
                  <a:pt x="914" y="311"/>
                </a:cubicBezTo>
                <a:cubicBezTo>
                  <a:pt x="915" y="311"/>
                  <a:pt x="915" y="311"/>
                  <a:pt x="916" y="310"/>
                </a:cubicBezTo>
                <a:cubicBezTo>
                  <a:pt x="916" y="311"/>
                  <a:pt x="916" y="311"/>
                  <a:pt x="917" y="311"/>
                </a:cubicBezTo>
                <a:cubicBezTo>
                  <a:pt x="917" y="311"/>
                  <a:pt x="917" y="311"/>
                  <a:pt x="918" y="311"/>
                </a:cubicBezTo>
                <a:cubicBezTo>
                  <a:pt x="918" y="311"/>
                  <a:pt x="919" y="310"/>
                  <a:pt x="919" y="310"/>
                </a:cubicBezTo>
                <a:cubicBezTo>
                  <a:pt x="919" y="310"/>
                  <a:pt x="920" y="310"/>
                  <a:pt x="920" y="310"/>
                </a:cubicBezTo>
                <a:cubicBezTo>
                  <a:pt x="920" y="310"/>
                  <a:pt x="921" y="310"/>
                  <a:pt x="921" y="310"/>
                </a:cubicBezTo>
                <a:cubicBezTo>
                  <a:pt x="921" y="310"/>
                  <a:pt x="921" y="310"/>
                  <a:pt x="922" y="309"/>
                </a:cubicBezTo>
                <a:cubicBezTo>
                  <a:pt x="922" y="309"/>
                  <a:pt x="922" y="309"/>
                  <a:pt x="922" y="309"/>
                </a:cubicBezTo>
                <a:cubicBezTo>
                  <a:pt x="923" y="309"/>
                  <a:pt x="923" y="309"/>
                  <a:pt x="923" y="310"/>
                </a:cubicBezTo>
                <a:cubicBezTo>
                  <a:pt x="923" y="310"/>
                  <a:pt x="924" y="309"/>
                  <a:pt x="924" y="309"/>
                </a:cubicBezTo>
                <a:cubicBezTo>
                  <a:pt x="924" y="309"/>
                  <a:pt x="925" y="310"/>
                  <a:pt x="925" y="310"/>
                </a:cubicBezTo>
                <a:cubicBezTo>
                  <a:pt x="925" y="309"/>
                  <a:pt x="926" y="309"/>
                  <a:pt x="926" y="309"/>
                </a:cubicBezTo>
                <a:cubicBezTo>
                  <a:pt x="927" y="309"/>
                  <a:pt x="927" y="309"/>
                  <a:pt x="927" y="310"/>
                </a:cubicBezTo>
                <a:cubicBezTo>
                  <a:pt x="927" y="310"/>
                  <a:pt x="928" y="310"/>
                  <a:pt x="928" y="310"/>
                </a:cubicBezTo>
                <a:cubicBezTo>
                  <a:pt x="929" y="310"/>
                  <a:pt x="929" y="310"/>
                  <a:pt x="929" y="310"/>
                </a:cubicBezTo>
                <a:cubicBezTo>
                  <a:pt x="929" y="310"/>
                  <a:pt x="930" y="310"/>
                  <a:pt x="930" y="310"/>
                </a:cubicBezTo>
                <a:cubicBezTo>
                  <a:pt x="931" y="310"/>
                  <a:pt x="931" y="310"/>
                  <a:pt x="931" y="310"/>
                </a:cubicBezTo>
                <a:cubicBezTo>
                  <a:pt x="932" y="310"/>
                  <a:pt x="932" y="310"/>
                  <a:pt x="932" y="310"/>
                </a:cubicBezTo>
                <a:cubicBezTo>
                  <a:pt x="932" y="310"/>
                  <a:pt x="933" y="310"/>
                  <a:pt x="933" y="310"/>
                </a:cubicBezTo>
                <a:cubicBezTo>
                  <a:pt x="933" y="310"/>
                  <a:pt x="933" y="310"/>
                  <a:pt x="933" y="309"/>
                </a:cubicBezTo>
                <a:cubicBezTo>
                  <a:pt x="934" y="309"/>
                  <a:pt x="934" y="309"/>
                  <a:pt x="934" y="309"/>
                </a:cubicBezTo>
                <a:cubicBezTo>
                  <a:pt x="934" y="309"/>
                  <a:pt x="935" y="309"/>
                  <a:pt x="935" y="309"/>
                </a:cubicBezTo>
                <a:cubicBezTo>
                  <a:pt x="935" y="309"/>
                  <a:pt x="935" y="309"/>
                  <a:pt x="936" y="308"/>
                </a:cubicBezTo>
                <a:cubicBezTo>
                  <a:pt x="936" y="309"/>
                  <a:pt x="936" y="309"/>
                  <a:pt x="937" y="309"/>
                </a:cubicBezTo>
                <a:cubicBezTo>
                  <a:pt x="937" y="309"/>
                  <a:pt x="937" y="309"/>
                  <a:pt x="937" y="309"/>
                </a:cubicBezTo>
                <a:cubicBezTo>
                  <a:pt x="937" y="309"/>
                  <a:pt x="938" y="310"/>
                  <a:pt x="938" y="310"/>
                </a:cubicBezTo>
                <a:cubicBezTo>
                  <a:pt x="939" y="309"/>
                  <a:pt x="939" y="309"/>
                  <a:pt x="939" y="309"/>
                </a:cubicBezTo>
                <a:cubicBezTo>
                  <a:pt x="939" y="309"/>
                  <a:pt x="939" y="309"/>
                  <a:pt x="939" y="309"/>
                </a:cubicBezTo>
                <a:cubicBezTo>
                  <a:pt x="940" y="309"/>
                  <a:pt x="940" y="309"/>
                  <a:pt x="941" y="309"/>
                </a:cubicBezTo>
                <a:cubicBezTo>
                  <a:pt x="941" y="309"/>
                  <a:pt x="942" y="309"/>
                  <a:pt x="942" y="310"/>
                </a:cubicBezTo>
                <a:cubicBezTo>
                  <a:pt x="943" y="309"/>
                  <a:pt x="944" y="309"/>
                  <a:pt x="944" y="309"/>
                </a:cubicBezTo>
                <a:cubicBezTo>
                  <a:pt x="945" y="309"/>
                  <a:pt x="945" y="309"/>
                  <a:pt x="945" y="309"/>
                </a:cubicBezTo>
                <a:cubicBezTo>
                  <a:pt x="946" y="309"/>
                  <a:pt x="946" y="309"/>
                  <a:pt x="947" y="309"/>
                </a:cubicBezTo>
                <a:cubicBezTo>
                  <a:pt x="947" y="309"/>
                  <a:pt x="947" y="309"/>
                  <a:pt x="947" y="309"/>
                </a:cubicBezTo>
                <a:cubicBezTo>
                  <a:pt x="947" y="309"/>
                  <a:pt x="948" y="309"/>
                  <a:pt x="948" y="308"/>
                </a:cubicBezTo>
                <a:cubicBezTo>
                  <a:pt x="949" y="308"/>
                  <a:pt x="949" y="308"/>
                  <a:pt x="950" y="308"/>
                </a:cubicBezTo>
                <a:cubicBezTo>
                  <a:pt x="951" y="308"/>
                  <a:pt x="951" y="308"/>
                  <a:pt x="952" y="308"/>
                </a:cubicBezTo>
                <a:cubicBezTo>
                  <a:pt x="952" y="308"/>
                  <a:pt x="952" y="308"/>
                  <a:pt x="952" y="308"/>
                </a:cubicBezTo>
                <a:cubicBezTo>
                  <a:pt x="952" y="308"/>
                  <a:pt x="952" y="308"/>
                  <a:pt x="952" y="308"/>
                </a:cubicBezTo>
                <a:cubicBezTo>
                  <a:pt x="953" y="308"/>
                  <a:pt x="953" y="308"/>
                  <a:pt x="953" y="308"/>
                </a:cubicBezTo>
                <a:cubicBezTo>
                  <a:pt x="954" y="308"/>
                  <a:pt x="954" y="308"/>
                  <a:pt x="954" y="308"/>
                </a:cubicBezTo>
                <a:cubicBezTo>
                  <a:pt x="954" y="308"/>
                  <a:pt x="954" y="308"/>
                  <a:pt x="954" y="309"/>
                </a:cubicBezTo>
                <a:cubicBezTo>
                  <a:pt x="954" y="309"/>
                  <a:pt x="954" y="309"/>
                  <a:pt x="954" y="309"/>
                </a:cubicBezTo>
                <a:cubicBezTo>
                  <a:pt x="955" y="309"/>
                  <a:pt x="955" y="310"/>
                  <a:pt x="955" y="310"/>
                </a:cubicBezTo>
                <a:cubicBezTo>
                  <a:pt x="955" y="310"/>
                  <a:pt x="955" y="310"/>
                  <a:pt x="956" y="310"/>
                </a:cubicBezTo>
                <a:cubicBezTo>
                  <a:pt x="956" y="310"/>
                  <a:pt x="956" y="310"/>
                  <a:pt x="956" y="310"/>
                </a:cubicBezTo>
                <a:cubicBezTo>
                  <a:pt x="957" y="309"/>
                  <a:pt x="958" y="309"/>
                  <a:pt x="958" y="309"/>
                </a:cubicBezTo>
                <a:cubicBezTo>
                  <a:pt x="958" y="309"/>
                  <a:pt x="959" y="309"/>
                  <a:pt x="959" y="309"/>
                </a:cubicBezTo>
                <a:cubicBezTo>
                  <a:pt x="959" y="309"/>
                  <a:pt x="959" y="309"/>
                  <a:pt x="959" y="310"/>
                </a:cubicBezTo>
                <a:cubicBezTo>
                  <a:pt x="958" y="310"/>
                  <a:pt x="958" y="310"/>
                  <a:pt x="958" y="311"/>
                </a:cubicBezTo>
                <a:cubicBezTo>
                  <a:pt x="958" y="311"/>
                  <a:pt x="958" y="311"/>
                  <a:pt x="958" y="311"/>
                </a:cubicBezTo>
                <a:cubicBezTo>
                  <a:pt x="957" y="311"/>
                  <a:pt x="957" y="312"/>
                  <a:pt x="956" y="312"/>
                </a:cubicBezTo>
                <a:cubicBezTo>
                  <a:pt x="956" y="312"/>
                  <a:pt x="956" y="313"/>
                  <a:pt x="956" y="313"/>
                </a:cubicBezTo>
                <a:cubicBezTo>
                  <a:pt x="956" y="313"/>
                  <a:pt x="957" y="314"/>
                  <a:pt x="957" y="314"/>
                </a:cubicBezTo>
                <a:cubicBezTo>
                  <a:pt x="958" y="314"/>
                  <a:pt x="958" y="314"/>
                  <a:pt x="959" y="315"/>
                </a:cubicBezTo>
                <a:cubicBezTo>
                  <a:pt x="959" y="315"/>
                  <a:pt x="959" y="315"/>
                  <a:pt x="959" y="316"/>
                </a:cubicBezTo>
                <a:cubicBezTo>
                  <a:pt x="959" y="316"/>
                  <a:pt x="959" y="316"/>
                  <a:pt x="959" y="316"/>
                </a:cubicBezTo>
                <a:cubicBezTo>
                  <a:pt x="959" y="316"/>
                  <a:pt x="959" y="316"/>
                  <a:pt x="959" y="316"/>
                </a:cubicBezTo>
                <a:cubicBezTo>
                  <a:pt x="959" y="317"/>
                  <a:pt x="959" y="317"/>
                  <a:pt x="959" y="317"/>
                </a:cubicBezTo>
                <a:cubicBezTo>
                  <a:pt x="959" y="317"/>
                  <a:pt x="959" y="317"/>
                  <a:pt x="959" y="317"/>
                </a:cubicBezTo>
                <a:cubicBezTo>
                  <a:pt x="959" y="317"/>
                  <a:pt x="959" y="318"/>
                  <a:pt x="959" y="318"/>
                </a:cubicBezTo>
                <a:cubicBezTo>
                  <a:pt x="958" y="318"/>
                  <a:pt x="958" y="318"/>
                  <a:pt x="957" y="319"/>
                </a:cubicBezTo>
                <a:cubicBezTo>
                  <a:pt x="956" y="319"/>
                  <a:pt x="956" y="320"/>
                  <a:pt x="955" y="320"/>
                </a:cubicBezTo>
                <a:cubicBezTo>
                  <a:pt x="955" y="320"/>
                  <a:pt x="954" y="321"/>
                  <a:pt x="954" y="321"/>
                </a:cubicBezTo>
                <a:cubicBezTo>
                  <a:pt x="954" y="321"/>
                  <a:pt x="955" y="322"/>
                  <a:pt x="955" y="322"/>
                </a:cubicBezTo>
                <a:cubicBezTo>
                  <a:pt x="956" y="322"/>
                  <a:pt x="956" y="323"/>
                  <a:pt x="957" y="323"/>
                </a:cubicBezTo>
                <a:cubicBezTo>
                  <a:pt x="957" y="323"/>
                  <a:pt x="957" y="323"/>
                  <a:pt x="957" y="323"/>
                </a:cubicBezTo>
                <a:cubicBezTo>
                  <a:pt x="957" y="323"/>
                  <a:pt x="958" y="323"/>
                  <a:pt x="958" y="323"/>
                </a:cubicBezTo>
                <a:cubicBezTo>
                  <a:pt x="958" y="323"/>
                  <a:pt x="958" y="324"/>
                  <a:pt x="958" y="324"/>
                </a:cubicBezTo>
                <a:cubicBezTo>
                  <a:pt x="958" y="324"/>
                  <a:pt x="959" y="323"/>
                  <a:pt x="959" y="323"/>
                </a:cubicBezTo>
                <a:cubicBezTo>
                  <a:pt x="959" y="323"/>
                  <a:pt x="959" y="323"/>
                  <a:pt x="959" y="323"/>
                </a:cubicBezTo>
                <a:cubicBezTo>
                  <a:pt x="959" y="323"/>
                  <a:pt x="959" y="323"/>
                  <a:pt x="959" y="323"/>
                </a:cubicBezTo>
                <a:cubicBezTo>
                  <a:pt x="959" y="323"/>
                  <a:pt x="960" y="323"/>
                  <a:pt x="960" y="323"/>
                </a:cubicBezTo>
                <a:cubicBezTo>
                  <a:pt x="960" y="323"/>
                  <a:pt x="960" y="324"/>
                  <a:pt x="960" y="324"/>
                </a:cubicBezTo>
                <a:cubicBezTo>
                  <a:pt x="960" y="324"/>
                  <a:pt x="960" y="324"/>
                  <a:pt x="960" y="324"/>
                </a:cubicBezTo>
                <a:cubicBezTo>
                  <a:pt x="960" y="324"/>
                  <a:pt x="961" y="325"/>
                  <a:pt x="962" y="325"/>
                </a:cubicBezTo>
                <a:cubicBezTo>
                  <a:pt x="962" y="325"/>
                  <a:pt x="962" y="325"/>
                  <a:pt x="962" y="325"/>
                </a:cubicBezTo>
                <a:cubicBezTo>
                  <a:pt x="963" y="325"/>
                  <a:pt x="963" y="325"/>
                  <a:pt x="963" y="325"/>
                </a:cubicBezTo>
                <a:cubicBezTo>
                  <a:pt x="964" y="325"/>
                  <a:pt x="964" y="326"/>
                  <a:pt x="964" y="326"/>
                </a:cubicBezTo>
                <a:cubicBezTo>
                  <a:pt x="965" y="326"/>
                  <a:pt x="966" y="326"/>
                  <a:pt x="967" y="326"/>
                </a:cubicBezTo>
                <a:cubicBezTo>
                  <a:pt x="968" y="326"/>
                  <a:pt x="969" y="326"/>
                  <a:pt x="971" y="326"/>
                </a:cubicBezTo>
                <a:cubicBezTo>
                  <a:pt x="971" y="326"/>
                  <a:pt x="972" y="326"/>
                  <a:pt x="972" y="326"/>
                </a:cubicBezTo>
                <a:cubicBezTo>
                  <a:pt x="973" y="326"/>
                  <a:pt x="974" y="326"/>
                  <a:pt x="975" y="326"/>
                </a:cubicBezTo>
                <a:cubicBezTo>
                  <a:pt x="976" y="327"/>
                  <a:pt x="976" y="327"/>
                  <a:pt x="977" y="327"/>
                </a:cubicBezTo>
                <a:cubicBezTo>
                  <a:pt x="978" y="327"/>
                  <a:pt x="979" y="328"/>
                  <a:pt x="980" y="328"/>
                </a:cubicBezTo>
                <a:cubicBezTo>
                  <a:pt x="981" y="328"/>
                  <a:pt x="981" y="328"/>
                  <a:pt x="982" y="329"/>
                </a:cubicBezTo>
                <a:cubicBezTo>
                  <a:pt x="981" y="329"/>
                  <a:pt x="981" y="330"/>
                  <a:pt x="981" y="330"/>
                </a:cubicBezTo>
                <a:cubicBezTo>
                  <a:pt x="982" y="331"/>
                  <a:pt x="982" y="332"/>
                  <a:pt x="983" y="332"/>
                </a:cubicBezTo>
                <a:cubicBezTo>
                  <a:pt x="984" y="333"/>
                  <a:pt x="984" y="333"/>
                  <a:pt x="985" y="333"/>
                </a:cubicBezTo>
                <a:cubicBezTo>
                  <a:pt x="985" y="333"/>
                  <a:pt x="986" y="333"/>
                  <a:pt x="987" y="333"/>
                </a:cubicBezTo>
                <a:cubicBezTo>
                  <a:pt x="987" y="333"/>
                  <a:pt x="987" y="333"/>
                  <a:pt x="987" y="333"/>
                </a:cubicBezTo>
                <a:cubicBezTo>
                  <a:pt x="988" y="333"/>
                  <a:pt x="988" y="333"/>
                  <a:pt x="989" y="333"/>
                </a:cubicBezTo>
                <a:cubicBezTo>
                  <a:pt x="990" y="333"/>
                  <a:pt x="992" y="334"/>
                  <a:pt x="993" y="334"/>
                </a:cubicBezTo>
                <a:cubicBezTo>
                  <a:pt x="994" y="335"/>
                  <a:pt x="994" y="335"/>
                  <a:pt x="995" y="335"/>
                </a:cubicBezTo>
                <a:cubicBezTo>
                  <a:pt x="996" y="335"/>
                  <a:pt x="996" y="336"/>
                  <a:pt x="997" y="336"/>
                </a:cubicBezTo>
                <a:cubicBezTo>
                  <a:pt x="997" y="337"/>
                  <a:pt x="998" y="337"/>
                  <a:pt x="999" y="337"/>
                </a:cubicBezTo>
                <a:cubicBezTo>
                  <a:pt x="999" y="338"/>
                  <a:pt x="1000" y="338"/>
                  <a:pt x="1001" y="338"/>
                </a:cubicBezTo>
                <a:cubicBezTo>
                  <a:pt x="1001" y="338"/>
                  <a:pt x="1002" y="338"/>
                  <a:pt x="1002" y="338"/>
                </a:cubicBezTo>
                <a:cubicBezTo>
                  <a:pt x="1003" y="337"/>
                  <a:pt x="1003" y="337"/>
                  <a:pt x="1004" y="337"/>
                </a:cubicBezTo>
                <a:cubicBezTo>
                  <a:pt x="1004" y="337"/>
                  <a:pt x="1004" y="337"/>
                  <a:pt x="1004" y="336"/>
                </a:cubicBezTo>
                <a:cubicBezTo>
                  <a:pt x="1005" y="336"/>
                  <a:pt x="1005" y="336"/>
                  <a:pt x="1005" y="336"/>
                </a:cubicBezTo>
                <a:cubicBezTo>
                  <a:pt x="1006" y="335"/>
                  <a:pt x="1006" y="335"/>
                  <a:pt x="1006" y="335"/>
                </a:cubicBezTo>
                <a:cubicBezTo>
                  <a:pt x="1006" y="334"/>
                  <a:pt x="1006" y="334"/>
                  <a:pt x="1005" y="333"/>
                </a:cubicBezTo>
                <a:cubicBezTo>
                  <a:pt x="1005" y="333"/>
                  <a:pt x="1005" y="332"/>
                  <a:pt x="1004" y="332"/>
                </a:cubicBezTo>
                <a:cubicBezTo>
                  <a:pt x="1005" y="331"/>
                  <a:pt x="1005" y="331"/>
                  <a:pt x="1005" y="330"/>
                </a:cubicBezTo>
                <a:cubicBezTo>
                  <a:pt x="1005" y="330"/>
                  <a:pt x="1005" y="330"/>
                  <a:pt x="1005" y="330"/>
                </a:cubicBezTo>
                <a:cubicBezTo>
                  <a:pt x="1005" y="330"/>
                  <a:pt x="1006" y="329"/>
                  <a:pt x="1006" y="329"/>
                </a:cubicBezTo>
                <a:cubicBezTo>
                  <a:pt x="1006" y="329"/>
                  <a:pt x="1007" y="328"/>
                  <a:pt x="1007" y="328"/>
                </a:cubicBezTo>
                <a:cubicBezTo>
                  <a:pt x="1008" y="328"/>
                  <a:pt x="1009" y="328"/>
                  <a:pt x="1009" y="327"/>
                </a:cubicBezTo>
                <a:cubicBezTo>
                  <a:pt x="1010" y="327"/>
                  <a:pt x="1011" y="327"/>
                  <a:pt x="1012" y="327"/>
                </a:cubicBezTo>
                <a:cubicBezTo>
                  <a:pt x="1012" y="327"/>
                  <a:pt x="1013" y="327"/>
                  <a:pt x="1013" y="327"/>
                </a:cubicBezTo>
                <a:cubicBezTo>
                  <a:pt x="1014" y="327"/>
                  <a:pt x="1014" y="327"/>
                  <a:pt x="1014" y="327"/>
                </a:cubicBezTo>
                <a:cubicBezTo>
                  <a:pt x="1014" y="327"/>
                  <a:pt x="1015" y="327"/>
                  <a:pt x="1015" y="327"/>
                </a:cubicBezTo>
                <a:cubicBezTo>
                  <a:pt x="1015" y="327"/>
                  <a:pt x="1015" y="327"/>
                  <a:pt x="1016" y="327"/>
                </a:cubicBezTo>
                <a:cubicBezTo>
                  <a:pt x="1016" y="327"/>
                  <a:pt x="1016" y="327"/>
                  <a:pt x="1016" y="327"/>
                </a:cubicBezTo>
                <a:cubicBezTo>
                  <a:pt x="1017" y="327"/>
                  <a:pt x="1017" y="327"/>
                  <a:pt x="1018" y="328"/>
                </a:cubicBezTo>
                <a:cubicBezTo>
                  <a:pt x="1018" y="328"/>
                  <a:pt x="1019" y="328"/>
                  <a:pt x="1019" y="328"/>
                </a:cubicBezTo>
                <a:cubicBezTo>
                  <a:pt x="1020" y="328"/>
                  <a:pt x="1020" y="328"/>
                  <a:pt x="1021" y="329"/>
                </a:cubicBezTo>
                <a:cubicBezTo>
                  <a:pt x="1021" y="329"/>
                  <a:pt x="1021" y="329"/>
                  <a:pt x="1021" y="329"/>
                </a:cubicBezTo>
                <a:cubicBezTo>
                  <a:pt x="1021" y="329"/>
                  <a:pt x="1021" y="329"/>
                  <a:pt x="1021" y="329"/>
                </a:cubicBezTo>
                <a:cubicBezTo>
                  <a:pt x="1021" y="329"/>
                  <a:pt x="1021" y="329"/>
                  <a:pt x="1021" y="330"/>
                </a:cubicBezTo>
                <a:cubicBezTo>
                  <a:pt x="1022" y="330"/>
                  <a:pt x="1022" y="330"/>
                  <a:pt x="1023" y="330"/>
                </a:cubicBezTo>
                <a:cubicBezTo>
                  <a:pt x="1023" y="330"/>
                  <a:pt x="1024" y="330"/>
                  <a:pt x="1024" y="330"/>
                </a:cubicBezTo>
                <a:cubicBezTo>
                  <a:pt x="1025" y="330"/>
                  <a:pt x="1025" y="330"/>
                  <a:pt x="1025" y="331"/>
                </a:cubicBezTo>
                <a:cubicBezTo>
                  <a:pt x="1026" y="331"/>
                  <a:pt x="1027" y="331"/>
                  <a:pt x="1029" y="331"/>
                </a:cubicBezTo>
                <a:cubicBezTo>
                  <a:pt x="1029" y="331"/>
                  <a:pt x="1029" y="331"/>
                  <a:pt x="1029" y="331"/>
                </a:cubicBezTo>
                <a:cubicBezTo>
                  <a:pt x="1030" y="331"/>
                  <a:pt x="1030" y="331"/>
                  <a:pt x="1030" y="331"/>
                </a:cubicBezTo>
                <a:cubicBezTo>
                  <a:pt x="1031" y="331"/>
                  <a:pt x="1031" y="332"/>
                  <a:pt x="1031" y="332"/>
                </a:cubicBezTo>
                <a:cubicBezTo>
                  <a:pt x="1031" y="332"/>
                  <a:pt x="1031" y="332"/>
                  <a:pt x="1032" y="333"/>
                </a:cubicBezTo>
                <a:cubicBezTo>
                  <a:pt x="1032" y="333"/>
                  <a:pt x="1032" y="333"/>
                  <a:pt x="1032" y="333"/>
                </a:cubicBezTo>
                <a:cubicBezTo>
                  <a:pt x="1032" y="333"/>
                  <a:pt x="1032" y="333"/>
                  <a:pt x="1032" y="333"/>
                </a:cubicBezTo>
                <a:cubicBezTo>
                  <a:pt x="1033" y="333"/>
                  <a:pt x="1034" y="333"/>
                  <a:pt x="1035" y="333"/>
                </a:cubicBezTo>
                <a:cubicBezTo>
                  <a:pt x="1035" y="333"/>
                  <a:pt x="1036" y="333"/>
                  <a:pt x="1037" y="333"/>
                </a:cubicBezTo>
                <a:cubicBezTo>
                  <a:pt x="1038" y="334"/>
                  <a:pt x="1039" y="334"/>
                  <a:pt x="1041" y="334"/>
                </a:cubicBezTo>
                <a:cubicBezTo>
                  <a:pt x="1041" y="334"/>
                  <a:pt x="1042" y="334"/>
                  <a:pt x="1042" y="334"/>
                </a:cubicBezTo>
                <a:cubicBezTo>
                  <a:pt x="1043" y="334"/>
                  <a:pt x="1043" y="335"/>
                  <a:pt x="1044" y="335"/>
                </a:cubicBezTo>
                <a:cubicBezTo>
                  <a:pt x="1044" y="335"/>
                  <a:pt x="1044" y="335"/>
                  <a:pt x="1044" y="335"/>
                </a:cubicBezTo>
                <a:cubicBezTo>
                  <a:pt x="1045" y="335"/>
                  <a:pt x="1045" y="335"/>
                  <a:pt x="1045" y="335"/>
                </a:cubicBezTo>
                <a:cubicBezTo>
                  <a:pt x="1046" y="335"/>
                  <a:pt x="1046" y="335"/>
                  <a:pt x="1047" y="336"/>
                </a:cubicBezTo>
                <a:cubicBezTo>
                  <a:pt x="1047" y="336"/>
                  <a:pt x="1048" y="336"/>
                  <a:pt x="1048" y="336"/>
                </a:cubicBezTo>
                <a:cubicBezTo>
                  <a:pt x="1049" y="336"/>
                  <a:pt x="1049" y="336"/>
                  <a:pt x="1050" y="336"/>
                </a:cubicBezTo>
                <a:cubicBezTo>
                  <a:pt x="1050" y="336"/>
                  <a:pt x="1051" y="336"/>
                  <a:pt x="1051" y="337"/>
                </a:cubicBezTo>
                <a:cubicBezTo>
                  <a:pt x="1052" y="337"/>
                  <a:pt x="1052" y="337"/>
                  <a:pt x="1053" y="337"/>
                </a:cubicBezTo>
                <a:cubicBezTo>
                  <a:pt x="1053" y="337"/>
                  <a:pt x="1053" y="337"/>
                  <a:pt x="1053" y="336"/>
                </a:cubicBezTo>
                <a:cubicBezTo>
                  <a:pt x="1054" y="336"/>
                  <a:pt x="1054" y="336"/>
                  <a:pt x="1054" y="336"/>
                </a:cubicBezTo>
                <a:cubicBezTo>
                  <a:pt x="1055" y="336"/>
                  <a:pt x="1055" y="336"/>
                  <a:pt x="1056" y="336"/>
                </a:cubicBezTo>
                <a:cubicBezTo>
                  <a:pt x="1056" y="335"/>
                  <a:pt x="1056" y="335"/>
                  <a:pt x="1057" y="335"/>
                </a:cubicBezTo>
                <a:cubicBezTo>
                  <a:pt x="1057" y="335"/>
                  <a:pt x="1057" y="335"/>
                  <a:pt x="1058" y="335"/>
                </a:cubicBezTo>
                <a:cubicBezTo>
                  <a:pt x="1058" y="335"/>
                  <a:pt x="1058" y="335"/>
                  <a:pt x="1059" y="335"/>
                </a:cubicBezTo>
                <a:cubicBezTo>
                  <a:pt x="1059" y="335"/>
                  <a:pt x="1060" y="335"/>
                  <a:pt x="1060" y="335"/>
                </a:cubicBezTo>
                <a:cubicBezTo>
                  <a:pt x="1060" y="335"/>
                  <a:pt x="1061" y="335"/>
                  <a:pt x="1061" y="335"/>
                </a:cubicBezTo>
                <a:cubicBezTo>
                  <a:pt x="1061" y="335"/>
                  <a:pt x="1061" y="335"/>
                  <a:pt x="1060" y="335"/>
                </a:cubicBezTo>
                <a:cubicBezTo>
                  <a:pt x="1060" y="335"/>
                  <a:pt x="1060" y="335"/>
                  <a:pt x="1059" y="335"/>
                </a:cubicBezTo>
                <a:cubicBezTo>
                  <a:pt x="1059" y="335"/>
                  <a:pt x="1059" y="335"/>
                  <a:pt x="1059" y="335"/>
                </a:cubicBezTo>
                <a:cubicBezTo>
                  <a:pt x="1059" y="335"/>
                  <a:pt x="1059" y="335"/>
                  <a:pt x="1060" y="335"/>
                </a:cubicBezTo>
                <a:cubicBezTo>
                  <a:pt x="1060" y="335"/>
                  <a:pt x="1060" y="335"/>
                  <a:pt x="1061" y="335"/>
                </a:cubicBezTo>
                <a:cubicBezTo>
                  <a:pt x="1061" y="335"/>
                  <a:pt x="1061" y="335"/>
                  <a:pt x="1062" y="335"/>
                </a:cubicBezTo>
                <a:cubicBezTo>
                  <a:pt x="1062" y="335"/>
                  <a:pt x="1062" y="335"/>
                  <a:pt x="1063" y="335"/>
                </a:cubicBezTo>
                <a:cubicBezTo>
                  <a:pt x="1063" y="335"/>
                  <a:pt x="1063" y="335"/>
                  <a:pt x="1063" y="335"/>
                </a:cubicBezTo>
                <a:cubicBezTo>
                  <a:pt x="1062" y="335"/>
                  <a:pt x="1062" y="335"/>
                  <a:pt x="1062" y="335"/>
                </a:cubicBezTo>
                <a:cubicBezTo>
                  <a:pt x="1062" y="335"/>
                  <a:pt x="1062" y="335"/>
                  <a:pt x="1062" y="335"/>
                </a:cubicBezTo>
                <a:cubicBezTo>
                  <a:pt x="1063" y="335"/>
                  <a:pt x="1063" y="335"/>
                  <a:pt x="1064" y="335"/>
                </a:cubicBezTo>
                <a:cubicBezTo>
                  <a:pt x="1064" y="335"/>
                  <a:pt x="1065" y="335"/>
                  <a:pt x="1065" y="335"/>
                </a:cubicBezTo>
                <a:cubicBezTo>
                  <a:pt x="1065" y="335"/>
                  <a:pt x="1065" y="335"/>
                  <a:pt x="1066" y="335"/>
                </a:cubicBezTo>
                <a:cubicBezTo>
                  <a:pt x="1066" y="335"/>
                  <a:pt x="1066" y="335"/>
                  <a:pt x="1066" y="336"/>
                </a:cubicBezTo>
                <a:cubicBezTo>
                  <a:pt x="1066" y="336"/>
                  <a:pt x="1066" y="336"/>
                  <a:pt x="1066" y="336"/>
                </a:cubicBezTo>
                <a:cubicBezTo>
                  <a:pt x="1066" y="336"/>
                  <a:pt x="1066" y="336"/>
                  <a:pt x="1066" y="336"/>
                </a:cubicBezTo>
                <a:cubicBezTo>
                  <a:pt x="1066" y="337"/>
                  <a:pt x="1067" y="337"/>
                  <a:pt x="1067" y="337"/>
                </a:cubicBezTo>
                <a:cubicBezTo>
                  <a:pt x="1067" y="337"/>
                  <a:pt x="1067" y="337"/>
                  <a:pt x="1068" y="338"/>
                </a:cubicBezTo>
                <a:cubicBezTo>
                  <a:pt x="1068" y="338"/>
                  <a:pt x="1068" y="337"/>
                  <a:pt x="1068" y="337"/>
                </a:cubicBezTo>
                <a:cubicBezTo>
                  <a:pt x="1067" y="337"/>
                  <a:pt x="1067" y="337"/>
                  <a:pt x="1067" y="336"/>
                </a:cubicBezTo>
                <a:cubicBezTo>
                  <a:pt x="1067" y="336"/>
                  <a:pt x="1067" y="336"/>
                  <a:pt x="1067" y="336"/>
                </a:cubicBezTo>
                <a:cubicBezTo>
                  <a:pt x="1068" y="336"/>
                  <a:pt x="1068" y="337"/>
                  <a:pt x="1069" y="337"/>
                </a:cubicBezTo>
                <a:cubicBezTo>
                  <a:pt x="1070" y="337"/>
                  <a:pt x="1071" y="337"/>
                  <a:pt x="1072" y="337"/>
                </a:cubicBezTo>
                <a:cubicBezTo>
                  <a:pt x="1073" y="337"/>
                  <a:pt x="1074" y="337"/>
                  <a:pt x="1075" y="337"/>
                </a:cubicBezTo>
                <a:cubicBezTo>
                  <a:pt x="1075" y="337"/>
                  <a:pt x="1076" y="337"/>
                  <a:pt x="1076" y="337"/>
                </a:cubicBezTo>
                <a:cubicBezTo>
                  <a:pt x="1077" y="337"/>
                  <a:pt x="1077" y="337"/>
                  <a:pt x="1077" y="336"/>
                </a:cubicBezTo>
                <a:cubicBezTo>
                  <a:pt x="1078" y="336"/>
                  <a:pt x="1078" y="335"/>
                  <a:pt x="1079" y="335"/>
                </a:cubicBezTo>
                <a:cubicBezTo>
                  <a:pt x="1079" y="334"/>
                  <a:pt x="1080" y="334"/>
                  <a:pt x="1081" y="333"/>
                </a:cubicBezTo>
                <a:cubicBezTo>
                  <a:pt x="1081" y="332"/>
                  <a:pt x="1081" y="331"/>
                  <a:pt x="1081" y="330"/>
                </a:cubicBezTo>
                <a:cubicBezTo>
                  <a:pt x="1082" y="330"/>
                  <a:pt x="1082" y="330"/>
                  <a:pt x="1082" y="329"/>
                </a:cubicBezTo>
                <a:cubicBezTo>
                  <a:pt x="1082" y="329"/>
                  <a:pt x="1082" y="329"/>
                  <a:pt x="1083" y="329"/>
                </a:cubicBezTo>
                <a:cubicBezTo>
                  <a:pt x="1083" y="329"/>
                  <a:pt x="1083" y="329"/>
                  <a:pt x="1083" y="328"/>
                </a:cubicBezTo>
                <a:cubicBezTo>
                  <a:pt x="1083" y="328"/>
                  <a:pt x="1083" y="328"/>
                  <a:pt x="1084" y="327"/>
                </a:cubicBezTo>
                <a:cubicBezTo>
                  <a:pt x="1084" y="327"/>
                  <a:pt x="1084" y="327"/>
                  <a:pt x="1085" y="327"/>
                </a:cubicBezTo>
                <a:cubicBezTo>
                  <a:pt x="1085" y="326"/>
                  <a:pt x="1085" y="325"/>
                  <a:pt x="1085" y="324"/>
                </a:cubicBezTo>
                <a:cubicBezTo>
                  <a:pt x="1085" y="324"/>
                  <a:pt x="1086" y="324"/>
                  <a:pt x="1086" y="324"/>
                </a:cubicBezTo>
                <a:cubicBezTo>
                  <a:pt x="1086" y="324"/>
                  <a:pt x="1086" y="324"/>
                  <a:pt x="1086" y="324"/>
                </a:cubicBezTo>
                <a:cubicBezTo>
                  <a:pt x="1086" y="323"/>
                  <a:pt x="1086" y="323"/>
                  <a:pt x="1086" y="322"/>
                </a:cubicBezTo>
                <a:cubicBezTo>
                  <a:pt x="1086" y="322"/>
                  <a:pt x="1086" y="322"/>
                  <a:pt x="1086" y="322"/>
                </a:cubicBezTo>
                <a:cubicBezTo>
                  <a:pt x="1086" y="321"/>
                  <a:pt x="1086" y="321"/>
                  <a:pt x="1086" y="321"/>
                </a:cubicBezTo>
                <a:cubicBezTo>
                  <a:pt x="1086" y="320"/>
                  <a:pt x="1086" y="320"/>
                  <a:pt x="1085" y="319"/>
                </a:cubicBezTo>
                <a:cubicBezTo>
                  <a:pt x="1085" y="319"/>
                  <a:pt x="1085" y="319"/>
                  <a:pt x="1085" y="318"/>
                </a:cubicBezTo>
                <a:cubicBezTo>
                  <a:pt x="1085" y="318"/>
                  <a:pt x="1086" y="318"/>
                  <a:pt x="1086" y="318"/>
                </a:cubicBezTo>
                <a:cubicBezTo>
                  <a:pt x="1086" y="318"/>
                  <a:pt x="1086" y="318"/>
                  <a:pt x="1086" y="318"/>
                </a:cubicBezTo>
                <a:cubicBezTo>
                  <a:pt x="1086" y="318"/>
                  <a:pt x="1086" y="318"/>
                  <a:pt x="1086" y="317"/>
                </a:cubicBezTo>
                <a:cubicBezTo>
                  <a:pt x="1086" y="317"/>
                  <a:pt x="1086" y="317"/>
                  <a:pt x="1085" y="317"/>
                </a:cubicBezTo>
                <a:cubicBezTo>
                  <a:pt x="1085" y="316"/>
                  <a:pt x="1085" y="316"/>
                  <a:pt x="1085" y="316"/>
                </a:cubicBezTo>
                <a:cubicBezTo>
                  <a:pt x="1086" y="316"/>
                  <a:pt x="1086" y="316"/>
                  <a:pt x="1086" y="316"/>
                </a:cubicBezTo>
                <a:cubicBezTo>
                  <a:pt x="1087" y="315"/>
                  <a:pt x="1087" y="315"/>
                  <a:pt x="1087" y="315"/>
                </a:cubicBezTo>
                <a:cubicBezTo>
                  <a:pt x="1087" y="315"/>
                  <a:pt x="1087" y="315"/>
                  <a:pt x="1087" y="314"/>
                </a:cubicBezTo>
                <a:cubicBezTo>
                  <a:pt x="1087" y="314"/>
                  <a:pt x="1087" y="314"/>
                  <a:pt x="1086" y="314"/>
                </a:cubicBezTo>
                <a:cubicBezTo>
                  <a:pt x="1086" y="314"/>
                  <a:pt x="1086" y="314"/>
                  <a:pt x="1085" y="315"/>
                </a:cubicBezTo>
                <a:cubicBezTo>
                  <a:pt x="1085" y="315"/>
                  <a:pt x="1085" y="315"/>
                  <a:pt x="1085" y="315"/>
                </a:cubicBezTo>
                <a:cubicBezTo>
                  <a:pt x="1084" y="315"/>
                  <a:pt x="1084" y="315"/>
                  <a:pt x="1083" y="315"/>
                </a:cubicBezTo>
                <a:cubicBezTo>
                  <a:pt x="1083" y="315"/>
                  <a:pt x="1083" y="315"/>
                  <a:pt x="1082" y="314"/>
                </a:cubicBezTo>
                <a:cubicBezTo>
                  <a:pt x="1081" y="314"/>
                  <a:pt x="1081" y="314"/>
                  <a:pt x="1080" y="314"/>
                </a:cubicBezTo>
                <a:cubicBezTo>
                  <a:pt x="1080" y="314"/>
                  <a:pt x="1080" y="314"/>
                  <a:pt x="1079" y="314"/>
                </a:cubicBezTo>
                <a:cubicBezTo>
                  <a:pt x="1079" y="314"/>
                  <a:pt x="1078" y="315"/>
                  <a:pt x="1077" y="315"/>
                </a:cubicBezTo>
                <a:cubicBezTo>
                  <a:pt x="1077" y="316"/>
                  <a:pt x="1077" y="316"/>
                  <a:pt x="1077" y="316"/>
                </a:cubicBezTo>
                <a:cubicBezTo>
                  <a:pt x="1076" y="316"/>
                  <a:pt x="1076" y="316"/>
                  <a:pt x="1076" y="316"/>
                </a:cubicBezTo>
                <a:cubicBezTo>
                  <a:pt x="1076" y="316"/>
                  <a:pt x="1076" y="316"/>
                  <a:pt x="1076" y="316"/>
                </a:cubicBezTo>
                <a:cubicBezTo>
                  <a:pt x="1076" y="316"/>
                  <a:pt x="1075" y="316"/>
                  <a:pt x="1075" y="316"/>
                </a:cubicBezTo>
                <a:cubicBezTo>
                  <a:pt x="1075" y="316"/>
                  <a:pt x="1074" y="316"/>
                  <a:pt x="1074" y="316"/>
                </a:cubicBezTo>
                <a:cubicBezTo>
                  <a:pt x="1072" y="316"/>
                  <a:pt x="1071" y="316"/>
                  <a:pt x="1069" y="317"/>
                </a:cubicBezTo>
                <a:cubicBezTo>
                  <a:pt x="1069" y="316"/>
                  <a:pt x="1068" y="316"/>
                  <a:pt x="1068" y="316"/>
                </a:cubicBezTo>
                <a:cubicBezTo>
                  <a:pt x="1067" y="315"/>
                  <a:pt x="1067" y="315"/>
                  <a:pt x="1066" y="314"/>
                </a:cubicBezTo>
                <a:cubicBezTo>
                  <a:pt x="1066" y="314"/>
                  <a:pt x="1065" y="314"/>
                  <a:pt x="1065" y="314"/>
                </a:cubicBezTo>
                <a:cubicBezTo>
                  <a:pt x="1064" y="314"/>
                  <a:pt x="1063" y="313"/>
                  <a:pt x="1063" y="313"/>
                </a:cubicBezTo>
                <a:cubicBezTo>
                  <a:pt x="1062" y="313"/>
                  <a:pt x="1061" y="313"/>
                  <a:pt x="1061" y="313"/>
                </a:cubicBezTo>
                <a:cubicBezTo>
                  <a:pt x="1060" y="313"/>
                  <a:pt x="1059" y="313"/>
                  <a:pt x="1058" y="313"/>
                </a:cubicBezTo>
                <a:cubicBezTo>
                  <a:pt x="1059" y="313"/>
                  <a:pt x="1059" y="313"/>
                  <a:pt x="1059" y="314"/>
                </a:cubicBezTo>
                <a:cubicBezTo>
                  <a:pt x="1059" y="314"/>
                  <a:pt x="1058" y="314"/>
                  <a:pt x="1058" y="314"/>
                </a:cubicBezTo>
                <a:cubicBezTo>
                  <a:pt x="1058" y="314"/>
                  <a:pt x="1058" y="315"/>
                  <a:pt x="1058" y="315"/>
                </a:cubicBezTo>
                <a:cubicBezTo>
                  <a:pt x="1058" y="315"/>
                  <a:pt x="1058" y="315"/>
                  <a:pt x="1058" y="315"/>
                </a:cubicBezTo>
                <a:cubicBezTo>
                  <a:pt x="1058" y="315"/>
                  <a:pt x="1057" y="315"/>
                  <a:pt x="1057" y="315"/>
                </a:cubicBezTo>
                <a:cubicBezTo>
                  <a:pt x="1057" y="315"/>
                  <a:pt x="1056" y="315"/>
                  <a:pt x="1056" y="315"/>
                </a:cubicBezTo>
                <a:cubicBezTo>
                  <a:pt x="1056" y="315"/>
                  <a:pt x="1056" y="315"/>
                  <a:pt x="1055" y="315"/>
                </a:cubicBezTo>
                <a:cubicBezTo>
                  <a:pt x="1055" y="315"/>
                  <a:pt x="1055" y="315"/>
                  <a:pt x="1055" y="315"/>
                </a:cubicBezTo>
                <a:cubicBezTo>
                  <a:pt x="1054" y="315"/>
                  <a:pt x="1054" y="315"/>
                  <a:pt x="1053" y="315"/>
                </a:cubicBezTo>
                <a:cubicBezTo>
                  <a:pt x="1053" y="315"/>
                  <a:pt x="1053" y="315"/>
                  <a:pt x="1052" y="315"/>
                </a:cubicBezTo>
                <a:cubicBezTo>
                  <a:pt x="1052" y="315"/>
                  <a:pt x="1052" y="315"/>
                  <a:pt x="1052" y="315"/>
                </a:cubicBezTo>
                <a:cubicBezTo>
                  <a:pt x="1051" y="315"/>
                  <a:pt x="1051" y="314"/>
                  <a:pt x="1051" y="314"/>
                </a:cubicBezTo>
                <a:cubicBezTo>
                  <a:pt x="1051" y="314"/>
                  <a:pt x="1051" y="314"/>
                  <a:pt x="1051" y="314"/>
                </a:cubicBezTo>
                <a:cubicBezTo>
                  <a:pt x="1050" y="314"/>
                  <a:pt x="1050" y="313"/>
                  <a:pt x="1050" y="313"/>
                </a:cubicBezTo>
                <a:cubicBezTo>
                  <a:pt x="1050" y="313"/>
                  <a:pt x="1050" y="313"/>
                  <a:pt x="1051" y="313"/>
                </a:cubicBezTo>
                <a:cubicBezTo>
                  <a:pt x="1051" y="313"/>
                  <a:pt x="1051" y="313"/>
                  <a:pt x="1051" y="313"/>
                </a:cubicBezTo>
                <a:cubicBezTo>
                  <a:pt x="1050" y="313"/>
                  <a:pt x="1050" y="313"/>
                  <a:pt x="1050" y="313"/>
                </a:cubicBezTo>
                <a:cubicBezTo>
                  <a:pt x="1050" y="313"/>
                  <a:pt x="1050" y="313"/>
                  <a:pt x="1049" y="313"/>
                </a:cubicBezTo>
                <a:cubicBezTo>
                  <a:pt x="1049" y="313"/>
                  <a:pt x="1049" y="313"/>
                  <a:pt x="1048" y="313"/>
                </a:cubicBezTo>
                <a:cubicBezTo>
                  <a:pt x="1048" y="313"/>
                  <a:pt x="1048" y="313"/>
                  <a:pt x="1048" y="313"/>
                </a:cubicBezTo>
                <a:cubicBezTo>
                  <a:pt x="1048" y="312"/>
                  <a:pt x="1047" y="312"/>
                  <a:pt x="1047" y="312"/>
                </a:cubicBezTo>
                <a:cubicBezTo>
                  <a:pt x="1047" y="312"/>
                  <a:pt x="1047" y="312"/>
                  <a:pt x="1046" y="312"/>
                </a:cubicBezTo>
                <a:cubicBezTo>
                  <a:pt x="1046" y="312"/>
                  <a:pt x="1046" y="312"/>
                  <a:pt x="1046" y="313"/>
                </a:cubicBezTo>
                <a:cubicBezTo>
                  <a:pt x="1046" y="313"/>
                  <a:pt x="1045" y="313"/>
                  <a:pt x="1045" y="313"/>
                </a:cubicBezTo>
                <a:cubicBezTo>
                  <a:pt x="1045" y="313"/>
                  <a:pt x="1045" y="313"/>
                  <a:pt x="1045" y="313"/>
                </a:cubicBezTo>
                <a:cubicBezTo>
                  <a:pt x="1045" y="313"/>
                  <a:pt x="1045" y="313"/>
                  <a:pt x="1045" y="312"/>
                </a:cubicBezTo>
                <a:cubicBezTo>
                  <a:pt x="1045" y="312"/>
                  <a:pt x="1044" y="312"/>
                  <a:pt x="1044" y="313"/>
                </a:cubicBezTo>
                <a:cubicBezTo>
                  <a:pt x="1044" y="312"/>
                  <a:pt x="1043" y="312"/>
                  <a:pt x="1043" y="312"/>
                </a:cubicBezTo>
                <a:cubicBezTo>
                  <a:pt x="1043" y="313"/>
                  <a:pt x="1042" y="313"/>
                  <a:pt x="1042" y="313"/>
                </a:cubicBezTo>
                <a:cubicBezTo>
                  <a:pt x="1042" y="313"/>
                  <a:pt x="1042" y="313"/>
                  <a:pt x="1042" y="312"/>
                </a:cubicBezTo>
                <a:cubicBezTo>
                  <a:pt x="1042" y="312"/>
                  <a:pt x="1042" y="312"/>
                  <a:pt x="1042" y="312"/>
                </a:cubicBezTo>
                <a:cubicBezTo>
                  <a:pt x="1043" y="312"/>
                  <a:pt x="1043" y="312"/>
                  <a:pt x="1044" y="312"/>
                </a:cubicBezTo>
                <a:cubicBezTo>
                  <a:pt x="1044" y="312"/>
                  <a:pt x="1044" y="312"/>
                  <a:pt x="1045" y="312"/>
                </a:cubicBezTo>
                <a:cubicBezTo>
                  <a:pt x="1045" y="312"/>
                  <a:pt x="1045" y="312"/>
                  <a:pt x="1045" y="312"/>
                </a:cubicBezTo>
                <a:cubicBezTo>
                  <a:pt x="1045" y="311"/>
                  <a:pt x="1046" y="311"/>
                  <a:pt x="1046" y="311"/>
                </a:cubicBezTo>
                <a:cubicBezTo>
                  <a:pt x="1045" y="311"/>
                  <a:pt x="1044" y="311"/>
                  <a:pt x="1043" y="311"/>
                </a:cubicBezTo>
                <a:cubicBezTo>
                  <a:pt x="1043" y="311"/>
                  <a:pt x="1042" y="311"/>
                  <a:pt x="1042" y="311"/>
                </a:cubicBezTo>
                <a:cubicBezTo>
                  <a:pt x="1041" y="311"/>
                  <a:pt x="1041" y="311"/>
                  <a:pt x="1041" y="311"/>
                </a:cubicBezTo>
                <a:cubicBezTo>
                  <a:pt x="1041" y="311"/>
                  <a:pt x="1041" y="311"/>
                  <a:pt x="1041" y="311"/>
                </a:cubicBezTo>
                <a:cubicBezTo>
                  <a:pt x="1042" y="311"/>
                  <a:pt x="1042" y="311"/>
                  <a:pt x="1042" y="311"/>
                </a:cubicBezTo>
                <a:cubicBezTo>
                  <a:pt x="1042" y="311"/>
                  <a:pt x="1042" y="311"/>
                  <a:pt x="1043" y="310"/>
                </a:cubicBezTo>
                <a:cubicBezTo>
                  <a:pt x="1042" y="310"/>
                  <a:pt x="1042" y="310"/>
                  <a:pt x="1041" y="309"/>
                </a:cubicBezTo>
                <a:cubicBezTo>
                  <a:pt x="1041" y="309"/>
                  <a:pt x="1041" y="309"/>
                  <a:pt x="1041" y="309"/>
                </a:cubicBezTo>
                <a:cubicBezTo>
                  <a:pt x="1041" y="309"/>
                  <a:pt x="1041" y="309"/>
                  <a:pt x="1041" y="309"/>
                </a:cubicBezTo>
                <a:cubicBezTo>
                  <a:pt x="1040" y="309"/>
                  <a:pt x="1040" y="309"/>
                  <a:pt x="1040" y="308"/>
                </a:cubicBezTo>
                <a:cubicBezTo>
                  <a:pt x="1040" y="308"/>
                  <a:pt x="1041" y="308"/>
                  <a:pt x="1041" y="308"/>
                </a:cubicBezTo>
                <a:cubicBezTo>
                  <a:pt x="1041" y="308"/>
                  <a:pt x="1041" y="307"/>
                  <a:pt x="1041" y="307"/>
                </a:cubicBezTo>
                <a:cubicBezTo>
                  <a:pt x="1040" y="307"/>
                  <a:pt x="1040" y="307"/>
                  <a:pt x="1039" y="306"/>
                </a:cubicBezTo>
                <a:cubicBezTo>
                  <a:pt x="1039" y="306"/>
                  <a:pt x="1039" y="306"/>
                  <a:pt x="1039" y="306"/>
                </a:cubicBezTo>
                <a:cubicBezTo>
                  <a:pt x="1038" y="306"/>
                  <a:pt x="1038" y="306"/>
                  <a:pt x="1038" y="306"/>
                </a:cubicBezTo>
                <a:cubicBezTo>
                  <a:pt x="1038" y="306"/>
                  <a:pt x="1037" y="306"/>
                  <a:pt x="1037" y="306"/>
                </a:cubicBezTo>
                <a:cubicBezTo>
                  <a:pt x="1037" y="306"/>
                  <a:pt x="1037" y="306"/>
                  <a:pt x="1037" y="306"/>
                </a:cubicBezTo>
                <a:cubicBezTo>
                  <a:pt x="1036" y="305"/>
                  <a:pt x="1036" y="305"/>
                  <a:pt x="1036" y="305"/>
                </a:cubicBezTo>
                <a:cubicBezTo>
                  <a:pt x="1037" y="305"/>
                  <a:pt x="1037" y="305"/>
                  <a:pt x="1037" y="305"/>
                </a:cubicBezTo>
                <a:cubicBezTo>
                  <a:pt x="1037" y="305"/>
                  <a:pt x="1037" y="304"/>
                  <a:pt x="1037" y="304"/>
                </a:cubicBezTo>
                <a:cubicBezTo>
                  <a:pt x="1037" y="304"/>
                  <a:pt x="1037" y="304"/>
                  <a:pt x="1037" y="303"/>
                </a:cubicBezTo>
                <a:cubicBezTo>
                  <a:pt x="1037" y="304"/>
                  <a:pt x="1037" y="304"/>
                  <a:pt x="1037" y="304"/>
                </a:cubicBezTo>
                <a:cubicBezTo>
                  <a:pt x="1037" y="304"/>
                  <a:pt x="1038" y="304"/>
                  <a:pt x="1038" y="305"/>
                </a:cubicBezTo>
                <a:cubicBezTo>
                  <a:pt x="1038" y="305"/>
                  <a:pt x="1038" y="305"/>
                  <a:pt x="1038" y="305"/>
                </a:cubicBezTo>
                <a:cubicBezTo>
                  <a:pt x="1038" y="304"/>
                  <a:pt x="1039" y="304"/>
                  <a:pt x="1039" y="304"/>
                </a:cubicBezTo>
                <a:cubicBezTo>
                  <a:pt x="1039" y="304"/>
                  <a:pt x="1039" y="304"/>
                  <a:pt x="1040" y="304"/>
                </a:cubicBezTo>
                <a:cubicBezTo>
                  <a:pt x="1039" y="304"/>
                  <a:pt x="1039" y="304"/>
                  <a:pt x="1039" y="304"/>
                </a:cubicBezTo>
                <a:cubicBezTo>
                  <a:pt x="1039" y="304"/>
                  <a:pt x="1038" y="303"/>
                  <a:pt x="1038" y="303"/>
                </a:cubicBezTo>
                <a:cubicBezTo>
                  <a:pt x="1039" y="303"/>
                  <a:pt x="1039" y="303"/>
                  <a:pt x="1040" y="303"/>
                </a:cubicBezTo>
                <a:cubicBezTo>
                  <a:pt x="1040" y="303"/>
                  <a:pt x="1040" y="303"/>
                  <a:pt x="1040" y="302"/>
                </a:cubicBezTo>
                <a:cubicBezTo>
                  <a:pt x="1040" y="302"/>
                  <a:pt x="1040" y="302"/>
                  <a:pt x="1040" y="302"/>
                </a:cubicBezTo>
                <a:cubicBezTo>
                  <a:pt x="1040" y="302"/>
                  <a:pt x="1040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1"/>
                  <a:pt x="1039" y="301"/>
                  <a:pt x="1039" y="301"/>
                </a:cubicBezTo>
                <a:cubicBezTo>
                  <a:pt x="1039" y="301"/>
                  <a:pt x="1039" y="301"/>
                  <a:pt x="1039" y="300"/>
                </a:cubicBezTo>
                <a:cubicBezTo>
                  <a:pt x="1039" y="300"/>
                  <a:pt x="1039" y="300"/>
                  <a:pt x="1040" y="300"/>
                </a:cubicBezTo>
                <a:cubicBezTo>
                  <a:pt x="1039" y="300"/>
                  <a:pt x="1039" y="300"/>
                  <a:pt x="1039" y="300"/>
                </a:cubicBezTo>
                <a:cubicBezTo>
                  <a:pt x="1038" y="300"/>
                  <a:pt x="1038" y="300"/>
                  <a:pt x="1037" y="300"/>
                </a:cubicBezTo>
                <a:cubicBezTo>
                  <a:pt x="1037" y="300"/>
                  <a:pt x="1037" y="300"/>
                  <a:pt x="1037" y="299"/>
                </a:cubicBezTo>
                <a:cubicBezTo>
                  <a:pt x="1037" y="300"/>
                  <a:pt x="1036" y="300"/>
                  <a:pt x="1036" y="300"/>
                </a:cubicBezTo>
                <a:cubicBezTo>
                  <a:pt x="1036" y="300"/>
                  <a:pt x="1035" y="299"/>
                  <a:pt x="1035" y="299"/>
                </a:cubicBezTo>
                <a:cubicBezTo>
                  <a:pt x="1035" y="299"/>
                  <a:pt x="1036" y="299"/>
                  <a:pt x="1036" y="299"/>
                </a:cubicBezTo>
                <a:cubicBezTo>
                  <a:pt x="1036" y="299"/>
                  <a:pt x="1036" y="298"/>
                  <a:pt x="1036" y="298"/>
                </a:cubicBezTo>
                <a:cubicBezTo>
                  <a:pt x="1036" y="298"/>
                  <a:pt x="1036" y="298"/>
                  <a:pt x="1035" y="298"/>
                </a:cubicBezTo>
                <a:cubicBezTo>
                  <a:pt x="1036" y="298"/>
                  <a:pt x="1036" y="297"/>
                  <a:pt x="1036" y="297"/>
                </a:cubicBezTo>
                <a:cubicBezTo>
                  <a:pt x="1036" y="297"/>
                  <a:pt x="1036" y="297"/>
                  <a:pt x="1036" y="296"/>
                </a:cubicBezTo>
                <a:cubicBezTo>
                  <a:pt x="1037" y="296"/>
                  <a:pt x="1038" y="296"/>
                  <a:pt x="1039" y="295"/>
                </a:cubicBezTo>
                <a:cubicBezTo>
                  <a:pt x="1039" y="295"/>
                  <a:pt x="1040" y="295"/>
                  <a:pt x="1040" y="295"/>
                </a:cubicBezTo>
                <a:cubicBezTo>
                  <a:pt x="1040" y="296"/>
                  <a:pt x="1041" y="296"/>
                  <a:pt x="1041" y="296"/>
                </a:cubicBezTo>
                <a:cubicBezTo>
                  <a:pt x="1042" y="296"/>
                  <a:pt x="1042" y="296"/>
                  <a:pt x="1042" y="296"/>
                </a:cubicBezTo>
                <a:cubicBezTo>
                  <a:pt x="1042" y="296"/>
                  <a:pt x="1043" y="296"/>
                  <a:pt x="1043" y="296"/>
                </a:cubicBezTo>
                <a:cubicBezTo>
                  <a:pt x="1043" y="296"/>
                  <a:pt x="1044" y="296"/>
                  <a:pt x="1044" y="296"/>
                </a:cubicBezTo>
                <a:cubicBezTo>
                  <a:pt x="1044" y="296"/>
                  <a:pt x="1044" y="296"/>
                  <a:pt x="1044" y="296"/>
                </a:cubicBezTo>
                <a:cubicBezTo>
                  <a:pt x="1045" y="296"/>
                  <a:pt x="1045" y="296"/>
                  <a:pt x="1046" y="296"/>
                </a:cubicBezTo>
                <a:cubicBezTo>
                  <a:pt x="1046" y="296"/>
                  <a:pt x="1046" y="296"/>
                  <a:pt x="1047" y="296"/>
                </a:cubicBezTo>
                <a:cubicBezTo>
                  <a:pt x="1047" y="296"/>
                  <a:pt x="1048" y="296"/>
                  <a:pt x="1049" y="296"/>
                </a:cubicBezTo>
                <a:cubicBezTo>
                  <a:pt x="1049" y="296"/>
                  <a:pt x="1050" y="296"/>
                  <a:pt x="1050" y="296"/>
                </a:cubicBezTo>
                <a:cubicBezTo>
                  <a:pt x="1050" y="296"/>
                  <a:pt x="1050" y="296"/>
                  <a:pt x="1050" y="296"/>
                </a:cubicBezTo>
                <a:cubicBezTo>
                  <a:pt x="1049" y="296"/>
                  <a:pt x="1049" y="296"/>
                  <a:pt x="1049" y="296"/>
                </a:cubicBezTo>
                <a:cubicBezTo>
                  <a:pt x="1048" y="296"/>
                  <a:pt x="1048" y="296"/>
                  <a:pt x="1048" y="296"/>
                </a:cubicBezTo>
                <a:cubicBezTo>
                  <a:pt x="1048" y="295"/>
                  <a:pt x="1049" y="295"/>
                  <a:pt x="1049" y="295"/>
                </a:cubicBezTo>
                <a:cubicBezTo>
                  <a:pt x="1050" y="295"/>
                  <a:pt x="1050" y="295"/>
                  <a:pt x="1051" y="295"/>
                </a:cubicBezTo>
                <a:cubicBezTo>
                  <a:pt x="1052" y="295"/>
                  <a:pt x="1052" y="295"/>
                  <a:pt x="1053" y="295"/>
                </a:cubicBezTo>
                <a:cubicBezTo>
                  <a:pt x="1053" y="295"/>
                  <a:pt x="1053" y="295"/>
                  <a:pt x="1053" y="295"/>
                </a:cubicBezTo>
                <a:cubicBezTo>
                  <a:pt x="1053" y="294"/>
                  <a:pt x="1052" y="294"/>
                  <a:pt x="1052" y="294"/>
                </a:cubicBezTo>
                <a:cubicBezTo>
                  <a:pt x="1052" y="294"/>
                  <a:pt x="1051" y="294"/>
                  <a:pt x="1051" y="294"/>
                </a:cubicBezTo>
                <a:cubicBezTo>
                  <a:pt x="1050" y="294"/>
                  <a:pt x="1050" y="293"/>
                  <a:pt x="1050" y="293"/>
                </a:cubicBezTo>
                <a:cubicBezTo>
                  <a:pt x="1050" y="293"/>
                  <a:pt x="1050" y="293"/>
                  <a:pt x="1050" y="293"/>
                </a:cubicBezTo>
                <a:cubicBezTo>
                  <a:pt x="1050" y="292"/>
                  <a:pt x="1051" y="292"/>
                  <a:pt x="1051" y="292"/>
                </a:cubicBezTo>
                <a:cubicBezTo>
                  <a:pt x="1051" y="292"/>
                  <a:pt x="1052" y="293"/>
                  <a:pt x="1052" y="293"/>
                </a:cubicBezTo>
                <a:cubicBezTo>
                  <a:pt x="1053" y="293"/>
                  <a:pt x="1053" y="292"/>
                  <a:pt x="1054" y="292"/>
                </a:cubicBezTo>
                <a:cubicBezTo>
                  <a:pt x="1054" y="292"/>
                  <a:pt x="1054" y="293"/>
                  <a:pt x="1055" y="293"/>
                </a:cubicBezTo>
                <a:cubicBezTo>
                  <a:pt x="1055" y="293"/>
                  <a:pt x="1055" y="292"/>
                  <a:pt x="1055" y="292"/>
                </a:cubicBezTo>
                <a:cubicBezTo>
                  <a:pt x="1056" y="292"/>
                  <a:pt x="1056" y="292"/>
                  <a:pt x="1056" y="292"/>
                </a:cubicBezTo>
                <a:cubicBezTo>
                  <a:pt x="1057" y="293"/>
                  <a:pt x="1058" y="293"/>
                  <a:pt x="1059" y="293"/>
                </a:cubicBezTo>
                <a:cubicBezTo>
                  <a:pt x="1060" y="293"/>
                  <a:pt x="1060" y="293"/>
                  <a:pt x="1061" y="293"/>
                </a:cubicBezTo>
                <a:cubicBezTo>
                  <a:pt x="1061" y="293"/>
                  <a:pt x="1061" y="293"/>
                  <a:pt x="1061" y="293"/>
                </a:cubicBezTo>
                <a:cubicBezTo>
                  <a:pt x="1061" y="293"/>
                  <a:pt x="1061" y="293"/>
                  <a:pt x="1062" y="293"/>
                </a:cubicBezTo>
                <a:cubicBezTo>
                  <a:pt x="1062" y="292"/>
                  <a:pt x="1062" y="292"/>
                  <a:pt x="1062" y="292"/>
                </a:cubicBezTo>
                <a:cubicBezTo>
                  <a:pt x="1062" y="292"/>
                  <a:pt x="1062" y="292"/>
                  <a:pt x="1063" y="292"/>
                </a:cubicBezTo>
                <a:cubicBezTo>
                  <a:pt x="1063" y="292"/>
                  <a:pt x="1063" y="291"/>
                  <a:pt x="1064" y="291"/>
                </a:cubicBezTo>
                <a:cubicBezTo>
                  <a:pt x="1064" y="291"/>
                  <a:pt x="1064" y="291"/>
                  <a:pt x="1064" y="291"/>
                </a:cubicBezTo>
                <a:cubicBezTo>
                  <a:pt x="1065" y="291"/>
                  <a:pt x="1065" y="291"/>
                  <a:pt x="1065" y="291"/>
                </a:cubicBezTo>
                <a:cubicBezTo>
                  <a:pt x="1066" y="291"/>
                  <a:pt x="1066" y="290"/>
                  <a:pt x="1067" y="290"/>
                </a:cubicBezTo>
                <a:cubicBezTo>
                  <a:pt x="1067" y="290"/>
                  <a:pt x="1068" y="290"/>
                  <a:pt x="1068" y="290"/>
                </a:cubicBezTo>
                <a:cubicBezTo>
                  <a:pt x="1069" y="290"/>
                  <a:pt x="1070" y="290"/>
                  <a:pt x="1071" y="290"/>
                </a:cubicBezTo>
                <a:cubicBezTo>
                  <a:pt x="1071" y="290"/>
                  <a:pt x="1072" y="290"/>
                  <a:pt x="1072" y="290"/>
                </a:cubicBezTo>
                <a:cubicBezTo>
                  <a:pt x="1073" y="290"/>
                  <a:pt x="1074" y="290"/>
                  <a:pt x="1075" y="290"/>
                </a:cubicBezTo>
                <a:cubicBezTo>
                  <a:pt x="1075" y="290"/>
                  <a:pt x="1075" y="290"/>
                  <a:pt x="1076" y="290"/>
                </a:cubicBezTo>
                <a:cubicBezTo>
                  <a:pt x="1076" y="290"/>
                  <a:pt x="1076" y="290"/>
                  <a:pt x="1077" y="290"/>
                </a:cubicBezTo>
                <a:cubicBezTo>
                  <a:pt x="1077" y="290"/>
                  <a:pt x="1078" y="290"/>
                  <a:pt x="1078" y="290"/>
                </a:cubicBezTo>
                <a:cubicBezTo>
                  <a:pt x="1079" y="290"/>
                  <a:pt x="1079" y="290"/>
                  <a:pt x="1080" y="290"/>
                </a:cubicBezTo>
                <a:cubicBezTo>
                  <a:pt x="1080" y="290"/>
                  <a:pt x="1080" y="290"/>
                  <a:pt x="1080" y="290"/>
                </a:cubicBezTo>
                <a:cubicBezTo>
                  <a:pt x="1080" y="290"/>
                  <a:pt x="1080" y="291"/>
                  <a:pt x="1080" y="291"/>
                </a:cubicBezTo>
                <a:cubicBezTo>
                  <a:pt x="1081" y="291"/>
                  <a:pt x="1081" y="292"/>
                  <a:pt x="1082" y="292"/>
                </a:cubicBezTo>
                <a:cubicBezTo>
                  <a:pt x="1082" y="292"/>
                  <a:pt x="1082" y="292"/>
                  <a:pt x="1082" y="292"/>
                </a:cubicBezTo>
                <a:cubicBezTo>
                  <a:pt x="1083" y="292"/>
                  <a:pt x="1083" y="292"/>
                  <a:pt x="1083" y="292"/>
                </a:cubicBezTo>
                <a:cubicBezTo>
                  <a:pt x="1083" y="292"/>
                  <a:pt x="1084" y="292"/>
                  <a:pt x="1084" y="291"/>
                </a:cubicBezTo>
                <a:cubicBezTo>
                  <a:pt x="1084" y="291"/>
                  <a:pt x="1085" y="291"/>
                  <a:pt x="1085" y="291"/>
                </a:cubicBezTo>
                <a:cubicBezTo>
                  <a:pt x="1085" y="291"/>
                  <a:pt x="1085" y="292"/>
                  <a:pt x="1086" y="292"/>
                </a:cubicBezTo>
                <a:cubicBezTo>
                  <a:pt x="1086" y="292"/>
                  <a:pt x="1086" y="292"/>
                  <a:pt x="1086" y="293"/>
                </a:cubicBezTo>
                <a:cubicBezTo>
                  <a:pt x="1086" y="293"/>
                  <a:pt x="1086" y="293"/>
                  <a:pt x="1087" y="294"/>
                </a:cubicBezTo>
                <a:cubicBezTo>
                  <a:pt x="1087" y="294"/>
                  <a:pt x="1087" y="294"/>
                  <a:pt x="1088" y="294"/>
                </a:cubicBezTo>
                <a:cubicBezTo>
                  <a:pt x="1088" y="294"/>
                  <a:pt x="1088" y="294"/>
                  <a:pt x="1088" y="293"/>
                </a:cubicBezTo>
                <a:cubicBezTo>
                  <a:pt x="1088" y="293"/>
                  <a:pt x="1088" y="294"/>
                  <a:pt x="1089" y="294"/>
                </a:cubicBezTo>
                <a:cubicBezTo>
                  <a:pt x="1089" y="294"/>
                  <a:pt x="1090" y="294"/>
                  <a:pt x="1090" y="295"/>
                </a:cubicBezTo>
                <a:cubicBezTo>
                  <a:pt x="1091" y="295"/>
                  <a:pt x="1091" y="295"/>
                  <a:pt x="1091" y="295"/>
                </a:cubicBezTo>
                <a:cubicBezTo>
                  <a:pt x="1092" y="295"/>
                  <a:pt x="1093" y="295"/>
                  <a:pt x="1093" y="296"/>
                </a:cubicBezTo>
                <a:cubicBezTo>
                  <a:pt x="1094" y="296"/>
                  <a:pt x="1094" y="295"/>
                  <a:pt x="1094" y="295"/>
                </a:cubicBezTo>
                <a:cubicBezTo>
                  <a:pt x="1094" y="296"/>
                  <a:pt x="1095" y="296"/>
                  <a:pt x="1095" y="296"/>
                </a:cubicBezTo>
                <a:cubicBezTo>
                  <a:pt x="1096" y="296"/>
                  <a:pt x="1096" y="296"/>
                  <a:pt x="1097" y="296"/>
                </a:cubicBezTo>
                <a:cubicBezTo>
                  <a:pt x="1098" y="296"/>
                  <a:pt x="1099" y="296"/>
                  <a:pt x="1099" y="296"/>
                </a:cubicBezTo>
                <a:cubicBezTo>
                  <a:pt x="1100" y="296"/>
                  <a:pt x="1101" y="296"/>
                  <a:pt x="1101" y="296"/>
                </a:cubicBezTo>
                <a:cubicBezTo>
                  <a:pt x="1102" y="296"/>
                  <a:pt x="1102" y="296"/>
                  <a:pt x="1102" y="296"/>
                </a:cubicBezTo>
                <a:cubicBezTo>
                  <a:pt x="1102" y="296"/>
                  <a:pt x="1103" y="296"/>
                  <a:pt x="1103" y="296"/>
                </a:cubicBezTo>
                <a:cubicBezTo>
                  <a:pt x="1103" y="296"/>
                  <a:pt x="1103" y="296"/>
                  <a:pt x="1103" y="296"/>
                </a:cubicBezTo>
                <a:cubicBezTo>
                  <a:pt x="1104" y="296"/>
                  <a:pt x="1104" y="296"/>
                  <a:pt x="1104" y="297"/>
                </a:cubicBezTo>
                <a:cubicBezTo>
                  <a:pt x="1105" y="297"/>
                  <a:pt x="1106" y="297"/>
                  <a:pt x="1106" y="297"/>
                </a:cubicBezTo>
                <a:cubicBezTo>
                  <a:pt x="1106" y="297"/>
                  <a:pt x="1107" y="297"/>
                  <a:pt x="1107" y="297"/>
                </a:cubicBezTo>
                <a:cubicBezTo>
                  <a:pt x="1107" y="297"/>
                  <a:pt x="1108" y="297"/>
                  <a:pt x="1109" y="297"/>
                </a:cubicBezTo>
                <a:cubicBezTo>
                  <a:pt x="1109" y="297"/>
                  <a:pt x="1109" y="296"/>
                  <a:pt x="1109" y="296"/>
                </a:cubicBezTo>
                <a:cubicBezTo>
                  <a:pt x="1110" y="296"/>
                  <a:pt x="1110" y="296"/>
                  <a:pt x="1111" y="296"/>
                </a:cubicBezTo>
                <a:cubicBezTo>
                  <a:pt x="1111" y="296"/>
                  <a:pt x="1112" y="296"/>
                  <a:pt x="1112" y="295"/>
                </a:cubicBezTo>
                <a:cubicBezTo>
                  <a:pt x="1112" y="295"/>
                  <a:pt x="1113" y="295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4" y="294"/>
                  <a:pt x="1114" y="294"/>
                </a:cubicBezTo>
                <a:cubicBezTo>
                  <a:pt x="1114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3"/>
                </a:cubicBezTo>
                <a:cubicBezTo>
                  <a:pt x="1113" y="293"/>
                  <a:pt x="1113" y="293"/>
                  <a:pt x="1114" y="293"/>
                </a:cubicBezTo>
                <a:cubicBezTo>
                  <a:pt x="1113" y="293"/>
                  <a:pt x="1113" y="292"/>
                  <a:pt x="1113" y="292"/>
                </a:cubicBezTo>
                <a:cubicBezTo>
                  <a:pt x="1113" y="291"/>
                  <a:pt x="1113" y="291"/>
                  <a:pt x="1113" y="290"/>
                </a:cubicBezTo>
                <a:cubicBezTo>
                  <a:pt x="1112" y="290"/>
                  <a:pt x="1112" y="290"/>
                  <a:pt x="1112" y="290"/>
                </a:cubicBezTo>
                <a:cubicBezTo>
                  <a:pt x="1112" y="289"/>
                  <a:pt x="1111" y="289"/>
                  <a:pt x="1111" y="288"/>
                </a:cubicBezTo>
                <a:cubicBezTo>
                  <a:pt x="1111" y="288"/>
                  <a:pt x="1110" y="288"/>
                  <a:pt x="1110" y="288"/>
                </a:cubicBezTo>
                <a:cubicBezTo>
                  <a:pt x="1110" y="288"/>
                  <a:pt x="1110" y="288"/>
                  <a:pt x="1110" y="288"/>
                </a:cubicBezTo>
                <a:cubicBezTo>
                  <a:pt x="1109" y="287"/>
                  <a:pt x="1109" y="287"/>
                  <a:pt x="1108" y="287"/>
                </a:cubicBezTo>
                <a:cubicBezTo>
                  <a:pt x="1108" y="287"/>
                  <a:pt x="1108" y="287"/>
                  <a:pt x="1108" y="287"/>
                </a:cubicBezTo>
                <a:cubicBezTo>
                  <a:pt x="1108" y="287"/>
                  <a:pt x="1107" y="287"/>
                  <a:pt x="1107" y="287"/>
                </a:cubicBezTo>
                <a:cubicBezTo>
                  <a:pt x="1107" y="287"/>
                  <a:pt x="1107" y="286"/>
                  <a:pt x="1106" y="286"/>
                </a:cubicBezTo>
                <a:cubicBezTo>
                  <a:pt x="1106" y="286"/>
                  <a:pt x="1106" y="286"/>
                  <a:pt x="1105" y="285"/>
                </a:cubicBezTo>
                <a:cubicBezTo>
                  <a:pt x="1105" y="285"/>
                  <a:pt x="1105" y="285"/>
                  <a:pt x="1105" y="285"/>
                </a:cubicBezTo>
                <a:cubicBezTo>
                  <a:pt x="1105" y="285"/>
                  <a:pt x="1104" y="285"/>
                  <a:pt x="1104" y="285"/>
                </a:cubicBezTo>
                <a:cubicBezTo>
                  <a:pt x="1104" y="285"/>
                  <a:pt x="1104" y="285"/>
                  <a:pt x="1104" y="285"/>
                </a:cubicBezTo>
                <a:cubicBezTo>
                  <a:pt x="1103" y="285"/>
                  <a:pt x="1103" y="284"/>
                  <a:pt x="1103" y="284"/>
                </a:cubicBezTo>
                <a:cubicBezTo>
                  <a:pt x="1103" y="284"/>
                  <a:pt x="1102" y="284"/>
                  <a:pt x="1102" y="284"/>
                </a:cubicBezTo>
                <a:cubicBezTo>
                  <a:pt x="1102" y="284"/>
                  <a:pt x="1102" y="284"/>
                  <a:pt x="1102" y="283"/>
                </a:cubicBezTo>
                <a:cubicBezTo>
                  <a:pt x="1101" y="283"/>
                  <a:pt x="1101" y="283"/>
                  <a:pt x="1101" y="283"/>
                </a:cubicBezTo>
                <a:cubicBezTo>
                  <a:pt x="1101" y="283"/>
                  <a:pt x="1100" y="282"/>
                  <a:pt x="1100" y="282"/>
                </a:cubicBezTo>
                <a:cubicBezTo>
                  <a:pt x="1099" y="281"/>
                  <a:pt x="1098" y="281"/>
                  <a:pt x="1097" y="280"/>
                </a:cubicBezTo>
                <a:cubicBezTo>
                  <a:pt x="1096" y="280"/>
                  <a:pt x="1096" y="280"/>
                  <a:pt x="1095" y="280"/>
                </a:cubicBezTo>
                <a:cubicBezTo>
                  <a:pt x="1095" y="279"/>
                  <a:pt x="1094" y="279"/>
                  <a:pt x="1093" y="279"/>
                </a:cubicBezTo>
                <a:cubicBezTo>
                  <a:pt x="1093" y="279"/>
                  <a:pt x="1092" y="279"/>
                  <a:pt x="1091" y="279"/>
                </a:cubicBezTo>
                <a:cubicBezTo>
                  <a:pt x="1091" y="278"/>
                  <a:pt x="1091" y="278"/>
                  <a:pt x="1090" y="278"/>
                </a:cubicBezTo>
                <a:cubicBezTo>
                  <a:pt x="1090" y="278"/>
                  <a:pt x="1090" y="277"/>
                  <a:pt x="1090" y="277"/>
                </a:cubicBezTo>
                <a:cubicBezTo>
                  <a:pt x="1090" y="277"/>
                  <a:pt x="1089" y="277"/>
                  <a:pt x="1089" y="276"/>
                </a:cubicBezTo>
                <a:cubicBezTo>
                  <a:pt x="1089" y="276"/>
                  <a:pt x="1088" y="276"/>
                  <a:pt x="1088" y="276"/>
                </a:cubicBezTo>
                <a:cubicBezTo>
                  <a:pt x="1088" y="276"/>
                  <a:pt x="1087" y="276"/>
                  <a:pt x="1087" y="276"/>
                </a:cubicBezTo>
                <a:cubicBezTo>
                  <a:pt x="1087" y="276"/>
                  <a:pt x="1088" y="276"/>
                  <a:pt x="1088" y="276"/>
                </a:cubicBezTo>
                <a:cubicBezTo>
                  <a:pt x="1088" y="276"/>
                  <a:pt x="1088" y="275"/>
                  <a:pt x="1089" y="275"/>
                </a:cubicBezTo>
                <a:cubicBezTo>
                  <a:pt x="1088" y="275"/>
                  <a:pt x="1088" y="275"/>
                  <a:pt x="1088" y="275"/>
                </a:cubicBezTo>
                <a:cubicBezTo>
                  <a:pt x="1088" y="275"/>
                  <a:pt x="1088" y="275"/>
                  <a:pt x="1088" y="275"/>
                </a:cubicBezTo>
                <a:cubicBezTo>
                  <a:pt x="1089" y="275"/>
                  <a:pt x="1089" y="275"/>
                  <a:pt x="1089" y="275"/>
                </a:cubicBezTo>
                <a:cubicBezTo>
                  <a:pt x="1090" y="275"/>
                  <a:pt x="1090" y="275"/>
                  <a:pt x="1090" y="275"/>
                </a:cubicBezTo>
                <a:cubicBezTo>
                  <a:pt x="1090" y="275"/>
                  <a:pt x="1090" y="275"/>
                  <a:pt x="1091" y="275"/>
                </a:cubicBezTo>
                <a:cubicBezTo>
                  <a:pt x="1091" y="275"/>
                  <a:pt x="1091" y="275"/>
                  <a:pt x="1092" y="275"/>
                </a:cubicBezTo>
                <a:cubicBezTo>
                  <a:pt x="1092" y="275"/>
                  <a:pt x="1092" y="275"/>
                  <a:pt x="1092" y="274"/>
                </a:cubicBezTo>
                <a:cubicBezTo>
                  <a:pt x="1092" y="274"/>
                  <a:pt x="1092" y="274"/>
                  <a:pt x="1091" y="274"/>
                </a:cubicBezTo>
                <a:cubicBezTo>
                  <a:pt x="1091" y="274"/>
                  <a:pt x="1091" y="274"/>
                  <a:pt x="1092" y="273"/>
                </a:cubicBezTo>
                <a:cubicBezTo>
                  <a:pt x="1092" y="273"/>
                  <a:pt x="1092" y="273"/>
                  <a:pt x="1093" y="273"/>
                </a:cubicBezTo>
                <a:cubicBezTo>
                  <a:pt x="1093" y="273"/>
                  <a:pt x="1093" y="272"/>
                  <a:pt x="1093" y="272"/>
                </a:cubicBezTo>
                <a:cubicBezTo>
                  <a:pt x="1093" y="272"/>
                  <a:pt x="1093" y="272"/>
                  <a:pt x="1093" y="272"/>
                </a:cubicBezTo>
                <a:cubicBezTo>
                  <a:pt x="1093" y="272"/>
                  <a:pt x="1094" y="272"/>
                  <a:pt x="1094" y="272"/>
                </a:cubicBezTo>
                <a:cubicBezTo>
                  <a:pt x="1094" y="272"/>
                  <a:pt x="1094" y="272"/>
                  <a:pt x="1094" y="272"/>
                </a:cubicBezTo>
                <a:cubicBezTo>
                  <a:pt x="1095" y="272"/>
                  <a:pt x="1095" y="272"/>
                  <a:pt x="1095" y="272"/>
                </a:cubicBezTo>
                <a:cubicBezTo>
                  <a:pt x="1095" y="272"/>
                  <a:pt x="1095" y="272"/>
                  <a:pt x="1095" y="272"/>
                </a:cubicBezTo>
                <a:cubicBezTo>
                  <a:pt x="1095" y="271"/>
                  <a:pt x="1094" y="271"/>
                  <a:pt x="1094" y="271"/>
                </a:cubicBezTo>
                <a:cubicBezTo>
                  <a:pt x="1094" y="271"/>
                  <a:pt x="1094" y="271"/>
                  <a:pt x="1094" y="271"/>
                </a:cubicBezTo>
                <a:cubicBezTo>
                  <a:pt x="1094" y="271"/>
                  <a:pt x="1093" y="271"/>
                  <a:pt x="1093" y="271"/>
                </a:cubicBezTo>
                <a:cubicBezTo>
                  <a:pt x="1093" y="271"/>
                  <a:pt x="1093" y="271"/>
                  <a:pt x="1092" y="270"/>
                </a:cubicBezTo>
                <a:cubicBezTo>
                  <a:pt x="1092" y="270"/>
                  <a:pt x="1092" y="270"/>
                  <a:pt x="1092" y="269"/>
                </a:cubicBezTo>
                <a:cubicBezTo>
                  <a:pt x="1092" y="269"/>
                  <a:pt x="1093" y="269"/>
                  <a:pt x="1094" y="269"/>
                </a:cubicBezTo>
                <a:cubicBezTo>
                  <a:pt x="1094" y="269"/>
                  <a:pt x="1095" y="270"/>
                  <a:pt x="1095" y="270"/>
                </a:cubicBezTo>
                <a:cubicBezTo>
                  <a:pt x="1095" y="269"/>
                  <a:pt x="1096" y="269"/>
                  <a:pt x="1096" y="269"/>
                </a:cubicBezTo>
                <a:cubicBezTo>
                  <a:pt x="1096" y="269"/>
                  <a:pt x="1095" y="269"/>
                  <a:pt x="1095" y="269"/>
                </a:cubicBezTo>
                <a:cubicBezTo>
                  <a:pt x="1095" y="269"/>
                  <a:pt x="1095" y="269"/>
                  <a:pt x="1095" y="269"/>
                </a:cubicBezTo>
                <a:cubicBezTo>
                  <a:pt x="1095" y="269"/>
                  <a:pt x="1095" y="268"/>
                  <a:pt x="1096" y="268"/>
                </a:cubicBezTo>
                <a:cubicBezTo>
                  <a:pt x="1097" y="268"/>
                  <a:pt x="1098" y="268"/>
                  <a:pt x="1099" y="267"/>
                </a:cubicBezTo>
                <a:cubicBezTo>
                  <a:pt x="1099" y="267"/>
                  <a:pt x="1099" y="267"/>
                  <a:pt x="1099" y="267"/>
                </a:cubicBezTo>
                <a:cubicBezTo>
                  <a:pt x="1099" y="267"/>
                  <a:pt x="1099" y="267"/>
                  <a:pt x="1099" y="266"/>
                </a:cubicBezTo>
                <a:cubicBezTo>
                  <a:pt x="1098" y="266"/>
                  <a:pt x="1098" y="266"/>
                  <a:pt x="1097" y="266"/>
                </a:cubicBezTo>
                <a:cubicBezTo>
                  <a:pt x="1097" y="267"/>
                  <a:pt x="1096" y="267"/>
                  <a:pt x="1096" y="267"/>
                </a:cubicBezTo>
                <a:cubicBezTo>
                  <a:pt x="1096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4" y="267"/>
                  <a:pt x="1094" y="267"/>
                  <a:pt x="1094" y="267"/>
                </a:cubicBezTo>
                <a:cubicBezTo>
                  <a:pt x="1094" y="267"/>
                  <a:pt x="1094" y="267"/>
                  <a:pt x="1094" y="267"/>
                </a:cubicBezTo>
                <a:cubicBezTo>
                  <a:pt x="1093" y="266"/>
                  <a:pt x="1093" y="266"/>
                  <a:pt x="1093" y="266"/>
                </a:cubicBezTo>
                <a:cubicBezTo>
                  <a:pt x="1093" y="267"/>
                  <a:pt x="1092" y="267"/>
                  <a:pt x="1092" y="267"/>
                </a:cubicBezTo>
                <a:cubicBezTo>
                  <a:pt x="1091" y="267"/>
                  <a:pt x="1091" y="267"/>
                  <a:pt x="1090" y="267"/>
                </a:cubicBezTo>
                <a:cubicBezTo>
                  <a:pt x="1090" y="267"/>
                  <a:pt x="1090" y="267"/>
                  <a:pt x="1090" y="267"/>
                </a:cubicBezTo>
                <a:cubicBezTo>
                  <a:pt x="1089" y="267"/>
                  <a:pt x="1089" y="267"/>
                  <a:pt x="1089" y="267"/>
                </a:cubicBezTo>
                <a:cubicBezTo>
                  <a:pt x="1089" y="267"/>
                  <a:pt x="1088" y="267"/>
                  <a:pt x="1088" y="267"/>
                </a:cubicBezTo>
                <a:cubicBezTo>
                  <a:pt x="1088" y="268"/>
                  <a:pt x="1087" y="268"/>
                  <a:pt x="1087" y="268"/>
                </a:cubicBezTo>
                <a:cubicBezTo>
                  <a:pt x="1087" y="268"/>
                  <a:pt x="1086" y="268"/>
                  <a:pt x="1086" y="269"/>
                </a:cubicBezTo>
                <a:cubicBezTo>
                  <a:pt x="1086" y="269"/>
                  <a:pt x="1086" y="269"/>
                  <a:pt x="1086" y="269"/>
                </a:cubicBezTo>
                <a:cubicBezTo>
                  <a:pt x="1085" y="269"/>
                  <a:pt x="1085" y="269"/>
                  <a:pt x="1084" y="269"/>
                </a:cubicBezTo>
                <a:cubicBezTo>
                  <a:pt x="1084" y="269"/>
                  <a:pt x="1084" y="269"/>
                  <a:pt x="1084" y="269"/>
                </a:cubicBezTo>
                <a:cubicBezTo>
                  <a:pt x="1083" y="269"/>
                  <a:pt x="1083" y="269"/>
                  <a:pt x="1082" y="269"/>
                </a:cubicBezTo>
                <a:cubicBezTo>
                  <a:pt x="1082" y="269"/>
                  <a:pt x="1081" y="269"/>
                  <a:pt x="1081" y="269"/>
                </a:cubicBezTo>
                <a:cubicBezTo>
                  <a:pt x="1081" y="269"/>
                  <a:pt x="1081" y="269"/>
                  <a:pt x="1080" y="269"/>
                </a:cubicBezTo>
                <a:cubicBezTo>
                  <a:pt x="1080" y="269"/>
                  <a:pt x="1080" y="268"/>
                  <a:pt x="1080" y="268"/>
                </a:cubicBezTo>
                <a:cubicBezTo>
                  <a:pt x="1079" y="268"/>
                  <a:pt x="1079" y="268"/>
                  <a:pt x="1079" y="268"/>
                </a:cubicBezTo>
                <a:cubicBezTo>
                  <a:pt x="1079" y="268"/>
                  <a:pt x="1079" y="268"/>
                  <a:pt x="1079" y="268"/>
                </a:cubicBezTo>
                <a:cubicBezTo>
                  <a:pt x="1080" y="269"/>
                  <a:pt x="1080" y="269"/>
                  <a:pt x="1080" y="269"/>
                </a:cubicBezTo>
                <a:cubicBezTo>
                  <a:pt x="1080" y="269"/>
                  <a:pt x="1080" y="269"/>
                  <a:pt x="1080" y="269"/>
                </a:cubicBezTo>
                <a:cubicBezTo>
                  <a:pt x="1079" y="270"/>
                  <a:pt x="1079" y="270"/>
                  <a:pt x="1079" y="271"/>
                </a:cubicBezTo>
                <a:cubicBezTo>
                  <a:pt x="1078" y="271"/>
                  <a:pt x="1078" y="271"/>
                  <a:pt x="1078" y="271"/>
                </a:cubicBezTo>
                <a:cubicBezTo>
                  <a:pt x="1078" y="271"/>
                  <a:pt x="1078" y="270"/>
                  <a:pt x="1078" y="270"/>
                </a:cubicBezTo>
                <a:cubicBezTo>
                  <a:pt x="1078" y="270"/>
                  <a:pt x="1078" y="270"/>
                  <a:pt x="1078" y="270"/>
                </a:cubicBezTo>
                <a:cubicBezTo>
                  <a:pt x="1078" y="270"/>
                  <a:pt x="1079" y="270"/>
                  <a:pt x="1079" y="269"/>
                </a:cubicBezTo>
                <a:cubicBezTo>
                  <a:pt x="1079" y="269"/>
                  <a:pt x="1079" y="269"/>
                  <a:pt x="1079" y="269"/>
                </a:cubicBezTo>
                <a:cubicBezTo>
                  <a:pt x="1079" y="269"/>
                  <a:pt x="1079" y="269"/>
                  <a:pt x="1078" y="269"/>
                </a:cubicBezTo>
                <a:cubicBezTo>
                  <a:pt x="1078" y="269"/>
                  <a:pt x="1078" y="269"/>
                  <a:pt x="1078" y="269"/>
                </a:cubicBezTo>
                <a:cubicBezTo>
                  <a:pt x="1078" y="270"/>
                  <a:pt x="1077" y="270"/>
                  <a:pt x="1077" y="270"/>
                </a:cubicBezTo>
                <a:cubicBezTo>
                  <a:pt x="1076" y="270"/>
                  <a:pt x="1076" y="270"/>
                  <a:pt x="1076" y="270"/>
                </a:cubicBezTo>
                <a:cubicBezTo>
                  <a:pt x="1075" y="270"/>
                  <a:pt x="1075" y="271"/>
                  <a:pt x="1075" y="271"/>
                </a:cubicBezTo>
                <a:cubicBezTo>
                  <a:pt x="1075" y="271"/>
                  <a:pt x="1075" y="271"/>
                  <a:pt x="1074" y="271"/>
                </a:cubicBezTo>
                <a:cubicBezTo>
                  <a:pt x="1074" y="271"/>
                  <a:pt x="1074" y="270"/>
                  <a:pt x="1073" y="270"/>
                </a:cubicBezTo>
                <a:cubicBezTo>
                  <a:pt x="1073" y="270"/>
                  <a:pt x="1073" y="270"/>
                  <a:pt x="1073" y="271"/>
                </a:cubicBezTo>
                <a:cubicBezTo>
                  <a:pt x="1072" y="271"/>
                  <a:pt x="1072" y="270"/>
                  <a:pt x="1072" y="270"/>
                </a:cubicBezTo>
                <a:cubicBezTo>
                  <a:pt x="1072" y="270"/>
                  <a:pt x="1071" y="271"/>
                  <a:pt x="1071" y="271"/>
                </a:cubicBezTo>
                <a:cubicBezTo>
                  <a:pt x="1072" y="271"/>
                  <a:pt x="1072" y="271"/>
                  <a:pt x="1072" y="271"/>
                </a:cubicBezTo>
                <a:cubicBezTo>
                  <a:pt x="1073" y="271"/>
                  <a:pt x="1073" y="271"/>
                  <a:pt x="1074" y="271"/>
                </a:cubicBezTo>
                <a:cubicBezTo>
                  <a:pt x="1074" y="271"/>
                  <a:pt x="1074" y="271"/>
                  <a:pt x="1074" y="272"/>
                </a:cubicBezTo>
                <a:cubicBezTo>
                  <a:pt x="1075" y="272"/>
                  <a:pt x="1075" y="272"/>
                  <a:pt x="1075" y="272"/>
                </a:cubicBezTo>
                <a:cubicBezTo>
                  <a:pt x="1075" y="272"/>
                  <a:pt x="1075" y="272"/>
                  <a:pt x="1076" y="272"/>
                </a:cubicBezTo>
                <a:cubicBezTo>
                  <a:pt x="1076" y="272"/>
                  <a:pt x="1076" y="272"/>
                  <a:pt x="1076" y="272"/>
                </a:cubicBezTo>
                <a:cubicBezTo>
                  <a:pt x="1076" y="272"/>
                  <a:pt x="1076" y="273"/>
                  <a:pt x="1075" y="273"/>
                </a:cubicBezTo>
                <a:cubicBezTo>
                  <a:pt x="1075" y="273"/>
                  <a:pt x="1075" y="273"/>
                  <a:pt x="1075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7" y="273"/>
                  <a:pt x="1077" y="273"/>
                </a:cubicBezTo>
                <a:cubicBezTo>
                  <a:pt x="1077" y="273"/>
                  <a:pt x="1077" y="273"/>
                  <a:pt x="1077" y="273"/>
                </a:cubicBezTo>
                <a:cubicBezTo>
                  <a:pt x="1078" y="274"/>
                  <a:pt x="1078" y="274"/>
                  <a:pt x="1078" y="274"/>
                </a:cubicBezTo>
                <a:cubicBezTo>
                  <a:pt x="1078" y="274"/>
                  <a:pt x="1078" y="275"/>
                  <a:pt x="1078" y="275"/>
                </a:cubicBezTo>
                <a:cubicBezTo>
                  <a:pt x="1079" y="275"/>
                  <a:pt x="1079" y="275"/>
                  <a:pt x="1079" y="275"/>
                </a:cubicBezTo>
                <a:cubicBezTo>
                  <a:pt x="1080" y="275"/>
                  <a:pt x="1080" y="275"/>
                  <a:pt x="1080" y="275"/>
                </a:cubicBezTo>
                <a:cubicBezTo>
                  <a:pt x="1079" y="274"/>
                  <a:pt x="1079" y="274"/>
                  <a:pt x="1078" y="274"/>
                </a:cubicBezTo>
                <a:cubicBezTo>
                  <a:pt x="1078" y="273"/>
                  <a:pt x="1077" y="272"/>
                  <a:pt x="1077" y="272"/>
                </a:cubicBezTo>
                <a:cubicBezTo>
                  <a:pt x="1076" y="272"/>
                  <a:pt x="1076" y="271"/>
                  <a:pt x="1076" y="271"/>
                </a:cubicBezTo>
                <a:cubicBezTo>
                  <a:pt x="1076" y="271"/>
                  <a:pt x="1076" y="271"/>
                  <a:pt x="1077" y="271"/>
                </a:cubicBezTo>
                <a:cubicBezTo>
                  <a:pt x="1077" y="271"/>
                  <a:pt x="1077" y="271"/>
                  <a:pt x="1077" y="272"/>
                </a:cubicBezTo>
                <a:cubicBezTo>
                  <a:pt x="1077" y="272"/>
                  <a:pt x="1078" y="272"/>
                  <a:pt x="1078" y="273"/>
                </a:cubicBezTo>
                <a:cubicBezTo>
                  <a:pt x="1078" y="273"/>
                  <a:pt x="1079" y="274"/>
                  <a:pt x="1080" y="275"/>
                </a:cubicBezTo>
                <a:cubicBezTo>
                  <a:pt x="1080" y="275"/>
                  <a:pt x="1080" y="275"/>
                  <a:pt x="1081" y="275"/>
                </a:cubicBezTo>
                <a:cubicBezTo>
                  <a:pt x="1081" y="275"/>
                  <a:pt x="1081" y="275"/>
                  <a:pt x="1082" y="274"/>
                </a:cubicBezTo>
                <a:cubicBezTo>
                  <a:pt x="1082" y="274"/>
                  <a:pt x="1082" y="274"/>
                  <a:pt x="1082" y="274"/>
                </a:cubicBezTo>
                <a:cubicBezTo>
                  <a:pt x="1083" y="275"/>
                  <a:pt x="1083" y="275"/>
                  <a:pt x="1083" y="275"/>
                </a:cubicBezTo>
                <a:cubicBezTo>
                  <a:pt x="1083" y="275"/>
                  <a:pt x="1084" y="274"/>
                  <a:pt x="1084" y="274"/>
                </a:cubicBezTo>
                <a:cubicBezTo>
                  <a:pt x="1084" y="274"/>
                  <a:pt x="1085" y="274"/>
                  <a:pt x="1085" y="274"/>
                </a:cubicBezTo>
                <a:cubicBezTo>
                  <a:pt x="1086" y="274"/>
                  <a:pt x="1086" y="274"/>
                  <a:pt x="1087" y="274"/>
                </a:cubicBezTo>
                <a:cubicBezTo>
                  <a:pt x="1087" y="274"/>
                  <a:pt x="1087" y="275"/>
                  <a:pt x="1086" y="275"/>
                </a:cubicBezTo>
                <a:cubicBezTo>
                  <a:pt x="1086" y="275"/>
                  <a:pt x="1086" y="275"/>
                  <a:pt x="1086" y="275"/>
                </a:cubicBezTo>
                <a:cubicBezTo>
                  <a:pt x="1086" y="275"/>
                  <a:pt x="1086" y="276"/>
                  <a:pt x="1086" y="276"/>
                </a:cubicBezTo>
                <a:cubicBezTo>
                  <a:pt x="1086" y="276"/>
                  <a:pt x="1086" y="276"/>
                  <a:pt x="1086" y="276"/>
                </a:cubicBezTo>
                <a:cubicBezTo>
                  <a:pt x="1085" y="276"/>
                  <a:pt x="1084" y="276"/>
                  <a:pt x="1084" y="276"/>
                </a:cubicBezTo>
                <a:cubicBezTo>
                  <a:pt x="1083" y="276"/>
                  <a:pt x="1082" y="276"/>
                  <a:pt x="1082" y="276"/>
                </a:cubicBezTo>
                <a:cubicBezTo>
                  <a:pt x="1081" y="276"/>
                  <a:pt x="1081" y="276"/>
                  <a:pt x="1080" y="276"/>
                </a:cubicBezTo>
                <a:cubicBezTo>
                  <a:pt x="1080" y="276"/>
                  <a:pt x="1080" y="277"/>
                  <a:pt x="1079" y="277"/>
                </a:cubicBezTo>
                <a:cubicBezTo>
                  <a:pt x="1079" y="277"/>
                  <a:pt x="1078" y="277"/>
                  <a:pt x="1078" y="277"/>
                </a:cubicBezTo>
                <a:cubicBezTo>
                  <a:pt x="1077" y="277"/>
                  <a:pt x="1076" y="278"/>
                  <a:pt x="1075" y="278"/>
                </a:cubicBezTo>
                <a:cubicBezTo>
                  <a:pt x="1074" y="278"/>
                  <a:pt x="1074" y="278"/>
                  <a:pt x="1073" y="278"/>
                </a:cubicBezTo>
                <a:cubicBezTo>
                  <a:pt x="1072" y="278"/>
                  <a:pt x="1072" y="278"/>
                  <a:pt x="1071" y="278"/>
                </a:cubicBezTo>
                <a:cubicBezTo>
                  <a:pt x="1071" y="278"/>
                  <a:pt x="1071" y="278"/>
                  <a:pt x="1070" y="278"/>
                </a:cubicBezTo>
                <a:cubicBezTo>
                  <a:pt x="1070" y="278"/>
                  <a:pt x="1070" y="277"/>
                  <a:pt x="1071" y="277"/>
                </a:cubicBezTo>
                <a:cubicBezTo>
                  <a:pt x="1071" y="277"/>
                  <a:pt x="1071" y="277"/>
                  <a:pt x="1071" y="276"/>
                </a:cubicBezTo>
                <a:cubicBezTo>
                  <a:pt x="1071" y="276"/>
                  <a:pt x="1071" y="276"/>
                  <a:pt x="1071" y="276"/>
                </a:cubicBezTo>
                <a:cubicBezTo>
                  <a:pt x="1071" y="275"/>
                  <a:pt x="1070" y="275"/>
                  <a:pt x="1070" y="274"/>
                </a:cubicBezTo>
                <a:cubicBezTo>
                  <a:pt x="1069" y="275"/>
                  <a:pt x="1069" y="275"/>
                  <a:pt x="1069" y="275"/>
                </a:cubicBezTo>
                <a:cubicBezTo>
                  <a:pt x="1069" y="274"/>
                  <a:pt x="1068" y="274"/>
                  <a:pt x="1068" y="274"/>
                </a:cubicBezTo>
                <a:cubicBezTo>
                  <a:pt x="1068" y="274"/>
                  <a:pt x="1067" y="274"/>
                  <a:pt x="1067" y="274"/>
                </a:cubicBezTo>
                <a:cubicBezTo>
                  <a:pt x="1067" y="274"/>
                  <a:pt x="1066" y="274"/>
                  <a:pt x="1066" y="274"/>
                </a:cubicBezTo>
                <a:cubicBezTo>
                  <a:pt x="1067" y="274"/>
                  <a:pt x="1067" y="273"/>
                  <a:pt x="1067" y="273"/>
                </a:cubicBezTo>
                <a:cubicBezTo>
                  <a:pt x="1068" y="273"/>
                  <a:pt x="1069" y="273"/>
                  <a:pt x="1069" y="272"/>
                </a:cubicBezTo>
                <a:cubicBezTo>
                  <a:pt x="1070" y="272"/>
                  <a:pt x="1070" y="272"/>
                  <a:pt x="1071" y="272"/>
                </a:cubicBezTo>
                <a:cubicBezTo>
                  <a:pt x="1071" y="272"/>
                  <a:pt x="1071" y="272"/>
                  <a:pt x="1071" y="272"/>
                </a:cubicBezTo>
                <a:cubicBezTo>
                  <a:pt x="1071" y="272"/>
                  <a:pt x="1071" y="272"/>
                  <a:pt x="1071" y="272"/>
                </a:cubicBezTo>
                <a:cubicBezTo>
                  <a:pt x="1071" y="271"/>
                  <a:pt x="1071" y="271"/>
                  <a:pt x="1071" y="271"/>
                </a:cubicBezTo>
                <a:cubicBezTo>
                  <a:pt x="1070" y="271"/>
                  <a:pt x="1070" y="270"/>
                  <a:pt x="1070" y="270"/>
                </a:cubicBezTo>
                <a:cubicBezTo>
                  <a:pt x="1070" y="271"/>
                  <a:pt x="1070" y="271"/>
                  <a:pt x="1070" y="271"/>
                </a:cubicBezTo>
                <a:cubicBezTo>
                  <a:pt x="1069" y="271"/>
                  <a:pt x="1069" y="271"/>
                  <a:pt x="1069" y="271"/>
                </a:cubicBezTo>
                <a:cubicBezTo>
                  <a:pt x="1068" y="270"/>
                  <a:pt x="1068" y="270"/>
                  <a:pt x="1068" y="270"/>
                </a:cubicBezTo>
                <a:cubicBezTo>
                  <a:pt x="1067" y="270"/>
                  <a:pt x="1067" y="270"/>
                  <a:pt x="1066" y="270"/>
                </a:cubicBezTo>
                <a:cubicBezTo>
                  <a:pt x="1066" y="270"/>
                  <a:pt x="1066" y="270"/>
                  <a:pt x="1065" y="270"/>
                </a:cubicBezTo>
                <a:cubicBezTo>
                  <a:pt x="1065" y="270"/>
                  <a:pt x="1065" y="270"/>
                  <a:pt x="1064" y="270"/>
                </a:cubicBezTo>
                <a:cubicBezTo>
                  <a:pt x="1064" y="270"/>
                  <a:pt x="1064" y="270"/>
                  <a:pt x="1063" y="270"/>
                </a:cubicBezTo>
                <a:cubicBezTo>
                  <a:pt x="1063" y="270"/>
                  <a:pt x="1063" y="270"/>
                  <a:pt x="1063" y="269"/>
                </a:cubicBezTo>
                <a:cubicBezTo>
                  <a:pt x="1063" y="269"/>
                  <a:pt x="1063" y="269"/>
                  <a:pt x="1063" y="269"/>
                </a:cubicBezTo>
                <a:cubicBezTo>
                  <a:pt x="1063" y="269"/>
                  <a:pt x="1063" y="269"/>
                  <a:pt x="1064" y="269"/>
                </a:cubicBezTo>
                <a:cubicBezTo>
                  <a:pt x="1063" y="269"/>
                  <a:pt x="1063" y="269"/>
                  <a:pt x="1062" y="268"/>
                </a:cubicBezTo>
                <a:cubicBezTo>
                  <a:pt x="1061" y="268"/>
                  <a:pt x="1061" y="268"/>
                  <a:pt x="1060" y="268"/>
                </a:cubicBezTo>
                <a:cubicBezTo>
                  <a:pt x="1060" y="268"/>
                  <a:pt x="1060" y="268"/>
                  <a:pt x="1060" y="268"/>
                </a:cubicBezTo>
                <a:cubicBezTo>
                  <a:pt x="1060" y="268"/>
                  <a:pt x="1060" y="268"/>
                  <a:pt x="1061" y="268"/>
                </a:cubicBezTo>
                <a:cubicBezTo>
                  <a:pt x="1061" y="268"/>
                  <a:pt x="1062" y="268"/>
                  <a:pt x="1063" y="268"/>
                </a:cubicBezTo>
                <a:cubicBezTo>
                  <a:pt x="1063" y="268"/>
                  <a:pt x="1063" y="268"/>
                  <a:pt x="1064" y="268"/>
                </a:cubicBezTo>
                <a:cubicBezTo>
                  <a:pt x="1064" y="268"/>
                  <a:pt x="1064" y="268"/>
                  <a:pt x="1064" y="268"/>
                </a:cubicBezTo>
                <a:cubicBezTo>
                  <a:pt x="1065" y="268"/>
                  <a:pt x="1065" y="268"/>
                  <a:pt x="1066" y="268"/>
                </a:cubicBezTo>
                <a:cubicBezTo>
                  <a:pt x="1065" y="268"/>
                  <a:pt x="1064" y="268"/>
                  <a:pt x="1064" y="268"/>
                </a:cubicBezTo>
                <a:cubicBezTo>
                  <a:pt x="1064" y="268"/>
                  <a:pt x="1063" y="268"/>
                  <a:pt x="1063" y="267"/>
                </a:cubicBezTo>
                <a:cubicBezTo>
                  <a:pt x="1063" y="267"/>
                  <a:pt x="1063" y="267"/>
                  <a:pt x="1062" y="267"/>
                </a:cubicBezTo>
                <a:cubicBezTo>
                  <a:pt x="1062" y="267"/>
                  <a:pt x="1062" y="267"/>
                  <a:pt x="1062" y="267"/>
                </a:cubicBezTo>
                <a:cubicBezTo>
                  <a:pt x="1062" y="267"/>
                  <a:pt x="1062" y="267"/>
                  <a:pt x="1062" y="267"/>
                </a:cubicBezTo>
                <a:cubicBezTo>
                  <a:pt x="1061" y="267"/>
                  <a:pt x="1061" y="267"/>
                  <a:pt x="1061" y="268"/>
                </a:cubicBezTo>
                <a:cubicBezTo>
                  <a:pt x="1061" y="267"/>
                  <a:pt x="1060" y="267"/>
                  <a:pt x="1060" y="267"/>
                </a:cubicBezTo>
                <a:cubicBezTo>
                  <a:pt x="1060" y="267"/>
                  <a:pt x="1060" y="267"/>
                  <a:pt x="1060" y="267"/>
                </a:cubicBezTo>
                <a:cubicBezTo>
                  <a:pt x="1060" y="267"/>
                  <a:pt x="1060" y="267"/>
                  <a:pt x="1060" y="267"/>
                </a:cubicBezTo>
                <a:cubicBezTo>
                  <a:pt x="1059" y="267"/>
                  <a:pt x="1059" y="267"/>
                  <a:pt x="1058" y="268"/>
                </a:cubicBezTo>
                <a:cubicBezTo>
                  <a:pt x="1058" y="268"/>
                  <a:pt x="1058" y="268"/>
                  <a:pt x="1057" y="268"/>
                </a:cubicBezTo>
                <a:cubicBezTo>
                  <a:pt x="1057" y="268"/>
                  <a:pt x="1057" y="268"/>
                  <a:pt x="1056" y="268"/>
                </a:cubicBezTo>
                <a:cubicBezTo>
                  <a:pt x="1056" y="268"/>
                  <a:pt x="1056" y="269"/>
                  <a:pt x="1056" y="269"/>
                </a:cubicBezTo>
                <a:cubicBezTo>
                  <a:pt x="1056" y="269"/>
                  <a:pt x="1056" y="270"/>
                  <a:pt x="1055" y="270"/>
                </a:cubicBezTo>
                <a:cubicBezTo>
                  <a:pt x="1055" y="270"/>
                  <a:pt x="1055" y="270"/>
                  <a:pt x="1055" y="270"/>
                </a:cubicBezTo>
                <a:cubicBezTo>
                  <a:pt x="1055" y="270"/>
                  <a:pt x="1055" y="270"/>
                  <a:pt x="1055" y="270"/>
                </a:cubicBezTo>
                <a:cubicBezTo>
                  <a:pt x="1054" y="271"/>
                  <a:pt x="1053" y="271"/>
                  <a:pt x="1053" y="272"/>
                </a:cubicBezTo>
                <a:cubicBezTo>
                  <a:pt x="1052" y="272"/>
                  <a:pt x="1052" y="272"/>
                  <a:pt x="1052" y="272"/>
                </a:cubicBezTo>
                <a:cubicBezTo>
                  <a:pt x="1052" y="272"/>
                  <a:pt x="1052" y="272"/>
                  <a:pt x="1052" y="271"/>
                </a:cubicBezTo>
                <a:cubicBezTo>
                  <a:pt x="1052" y="272"/>
                  <a:pt x="1052" y="272"/>
                  <a:pt x="1052" y="272"/>
                </a:cubicBezTo>
                <a:cubicBezTo>
                  <a:pt x="1051" y="272"/>
                  <a:pt x="1051" y="272"/>
                  <a:pt x="1051" y="272"/>
                </a:cubicBezTo>
                <a:cubicBezTo>
                  <a:pt x="1052" y="272"/>
                  <a:pt x="1052" y="273"/>
                  <a:pt x="1052" y="273"/>
                </a:cubicBezTo>
                <a:cubicBezTo>
                  <a:pt x="1052" y="273"/>
                  <a:pt x="1052" y="273"/>
                  <a:pt x="1052" y="273"/>
                </a:cubicBezTo>
                <a:cubicBezTo>
                  <a:pt x="1052" y="273"/>
                  <a:pt x="1052" y="273"/>
                  <a:pt x="1052" y="273"/>
                </a:cubicBezTo>
                <a:cubicBezTo>
                  <a:pt x="1051" y="274"/>
                  <a:pt x="1051" y="274"/>
                  <a:pt x="1051" y="274"/>
                </a:cubicBezTo>
                <a:cubicBezTo>
                  <a:pt x="1051" y="274"/>
                  <a:pt x="1051" y="274"/>
                  <a:pt x="1052" y="274"/>
                </a:cubicBezTo>
                <a:cubicBezTo>
                  <a:pt x="1052" y="274"/>
                  <a:pt x="1052" y="274"/>
                  <a:pt x="1052" y="275"/>
                </a:cubicBezTo>
                <a:cubicBezTo>
                  <a:pt x="1051" y="275"/>
                  <a:pt x="1051" y="275"/>
                  <a:pt x="1051" y="276"/>
                </a:cubicBezTo>
                <a:cubicBezTo>
                  <a:pt x="1050" y="276"/>
                  <a:pt x="1050" y="276"/>
                  <a:pt x="1050" y="276"/>
                </a:cubicBezTo>
                <a:cubicBezTo>
                  <a:pt x="1049" y="276"/>
                  <a:pt x="1048" y="276"/>
                  <a:pt x="1048" y="276"/>
                </a:cubicBezTo>
                <a:cubicBezTo>
                  <a:pt x="1048" y="276"/>
                  <a:pt x="1047" y="276"/>
                  <a:pt x="1047" y="276"/>
                </a:cubicBezTo>
                <a:cubicBezTo>
                  <a:pt x="1047" y="277"/>
                  <a:pt x="1047" y="277"/>
                  <a:pt x="1047" y="277"/>
                </a:cubicBezTo>
                <a:cubicBezTo>
                  <a:pt x="1047" y="277"/>
                  <a:pt x="1047" y="277"/>
                  <a:pt x="1047" y="277"/>
                </a:cubicBezTo>
                <a:cubicBezTo>
                  <a:pt x="1047" y="278"/>
                  <a:pt x="1047" y="278"/>
                  <a:pt x="1047" y="279"/>
                </a:cubicBezTo>
                <a:cubicBezTo>
                  <a:pt x="1047" y="279"/>
                  <a:pt x="1046" y="279"/>
                  <a:pt x="1046" y="279"/>
                </a:cubicBezTo>
                <a:cubicBezTo>
                  <a:pt x="1046" y="279"/>
                  <a:pt x="1047" y="280"/>
                  <a:pt x="1047" y="280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81"/>
                  <a:pt x="1046" y="281"/>
                  <a:pt x="1046" y="282"/>
                </a:cubicBezTo>
                <a:cubicBezTo>
                  <a:pt x="1046" y="282"/>
                  <a:pt x="1046" y="282"/>
                  <a:pt x="1046" y="282"/>
                </a:cubicBezTo>
                <a:cubicBezTo>
                  <a:pt x="1045" y="282"/>
                  <a:pt x="1045" y="282"/>
                  <a:pt x="1045" y="282"/>
                </a:cubicBezTo>
                <a:cubicBezTo>
                  <a:pt x="1044" y="282"/>
                  <a:pt x="1044" y="282"/>
                  <a:pt x="1043" y="283"/>
                </a:cubicBezTo>
                <a:cubicBezTo>
                  <a:pt x="1043" y="283"/>
                  <a:pt x="1043" y="284"/>
                  <a:pt x="1043" y="284"/>
                </a:cubicBezTo>
                <a:cubicBezTo>
                  <a:pt x="1043" y="285"/>
                  <a:pt x="1043" y="285"/>
                  <a:pt x="1043" y="285"/>
                </a:cubicBezTo>
                <a:cubicBezTo>
                  <a:pt x="1042" y="285"/>
                  <a:pt x="1042" y="286"/>
                  <a:pt x="1041" y="286"/>
                </a:cubicBezTo>
                <a:cubicBezTo>
                  <a:pt x="1041" y="286"/>
                  <a:pt x="1041" y="286"/>
                  <a:pt x="1042" y="286"/>
                </a:cubicBezTo>
                <a:cubicBezTo>
                  <a:pt x="1042" y="286"/>
                  <a:pt x="1042" y="286"/>
                  <a:pt x="1042" y="286"/>
                </a:cubicBezTo>
                <a:cubicBezTo>
                  <a:pt x="1043" y="287"/>
                  <a:pt x="1043" y="287"/>
                  <a:pt x="1043" y="287"/>
                </a:cubicBezTo>
                <a:cubicBezTo>
                  <a:pt x="1044" y="288"/>
                  <a:pt x="1044" y="288"/>
                  <a:pt x="1044" y="288"/>
                </a:cubicBezTo>
                <a:cubicBezTo>
                  <a:pt x="1044" y="288"/>
                  <a:pt x="1044" y="288"/>
                  <a:pt x="1044" y="288"/>
                </a:cubicBezTo>
                <a:cubicBezTo>
                  <a:pt x="1044" y="289"/>
                  <a:pt x="1044" y="289"/>
                  <a:pt x="1044" y="290"/>
                </a:cubicBezTo>
                <a:cubicBezTo>
                  <a:pt x="1045" y="290"/>
                  <a:pt x="1045" y="290"/>
                  <a:pt x="1046" y="291"/>
                </a:cubicBezTo>
                <a:cubicBezTo>
                  <a:pt x="1046" y="291"/>
                  <a:pt x="1047" y="291"/>
                  <a:pt x="1047" y="291"/>
                </a:cubicBezTo>
                <a:cubicBezTo>
                  <a:pt x="1047" y="291"/>
                  <a:pt x="1048" y="292"/>
                  <a:pt x="1048" y="292"/>
                </a:cubicBezTo>
                <a:cubicBezTo>
                  <a:pt x="1049" y="292"/>
                  <a:pt x="1049" y="292"/>
                  <a:pt x="1049" y="292"/>
                </a:cubicBezTo>
                <a:cubicBezTo>
                  <a:pt x="1049" y="293"/>
                  <a:pt x="1049" y="293"/>
                  <a:pt x="1049" y="293"/>
                </a:cubicBezTo>
                <a:cubicBezTo>
                  <a:pt x="1049" y="293"/>
                  <a:pt x="1049" y="293"/>
                  <a:pt x="1048" y="293"/>
                </a:cubicBezTo>
                <a:cubicBezTo>
                  <a:pt x="1048" y="293"/>
                  <a:pt x="1047" y="293"/>
                  <a:pt x="1047" y="293"/>
                </a:cubicBezTo>
                <a:cubicBezTo>
                  <a:pt x="1047" y="293"/>
                  <a:pt x="1046" y="293"/>
                  <a:pt x="1046" y="293"/>
                </a:cubicBezTo>
                <a:cubicBezTo>
                  <a:pt x="1046" y="293"/>
                  <a:pt x="1045" y="293"/>
                  <a:pt x="1045" y="293"/>
                </a:cubicBezTo>
                <a:cubicBezTo>
                  <a:pt x="1045" y="293"/>
                  <a:pt x="1045" y="293"/>
                  <a:pt x="1044" y="293"/>
                </a:cubicBezTo>
                <a:cubicBezTo>
                  <a:pt x="1044" y="293"/>
                  <a:pt x="1043" y="293"/>
                  <a:pt x="1043" y="293"/>
                </a:cubicBezTo>
                <a:cubicBezTo>
                  <a:pt x="1042" y="293"/>
                  <a:pt x="1042" y="293"/>
                  <a:pt x="1042" y="293"/>
                </a:cubicBezTo>
                <a:cubicBezTo>
                  <a:pt x="1041" y="294"/>
                  <a:pt x="1041" y="294"/>
                  <a:pt x="1041" y="294"/>
                </a:cubicBezTo>
                <a:cubicBezTo>
                  <a:pt x="1040" y="295"/>
                  <a:pt x="1039" y="295"/>
                  <a:pt x="1038" y="295"/>
                </a:cubicBezTo>
                <a:cubicBezTo>
                  <a:pt x="1037" y="296"/>
                  <a:pt x="1037" y="296"/>
                  <a:pt x="1036" y="296"/>
                </a:cubicBezTo>
                <a:cubicBezTo>
                  <a:pt x="1036" y="296"/>
                  <a:pt x="1036" y="296"/>
                  <a:pt x="1036" y="296"/>
                </a:cubicBezTo>
                <a:cubicBezTo>
                  <a:pt x="1036" y="295"/>
                  <a:pt x="1036" y="295"/>
                  <a:pt x="1036" y="295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37" y="295"/>
                  <a:pt x="1038" y="294"/>
                  <a:pt x="1038" y="294"/>
                </a:cubicBezTo>
                <a:cubicBezTo>
                  <a:pt x="1038" y="294"/>
                  <a:pt x="1037" y="294"/>
                  <a:pt x="1037" y="294"/>
                </a:cubicBezTo>
                <a:cubicBezTo>
                  <a:pt x="1037" y="294"/>
                  <a:pt x="1037" y="294"/>
                  <a:pt x="1036" y="294"/>
                </a:cubicBezTo>
                <a:cubicBezTo>
                  <a:pt x="1036" y="294"/>
                  <a:pt x="1036" y="294"/>
                  <a:pt x="1036" y="294"/>
                </a:cubicBezTo>
                <a:cubicBezTo>
                  <a:pt x="1035" y="294"/>
                  <a:pt x="1035" y="294"/>
                  <a:pt x="1035" y="294"/>
                </a:cubicBezTo>
                <a:cubicBezTo>
                  <a:pt x="1035" y="294"/>
                  <a:pt x="1035" y="293"/>
                  <a:pt x="1035" y="293"/>
                </a:cubicBezTo>
                <a:cubicBezTo>
                  <a:pt x="1034" y="293"/>
                  <a:pt x="1034" y="293"/>
                  <a:pt x="1034" y="293"/>
                </a:cubicBezTo>
                <a:cubicBezTo>
                  <a:pt x="1034" y="293"/>
                  <a:pt x="1033" y="293"/>
                  <a:pt x="1033" y="293"/>
                </a:cubicBezTo>
                <a:cubicBezTo>
                  <a:pt x="1032" y="293"/>
                  <a:pt x="1031" y="293"/>
                  <a:pt x="1031" y="293"/>
                </a:cubicBezTo>
                <a:cubicBezTo>
                  <a:pt x="1030" y="292"/>
                  <a:pt x="1030" y="292"/>
                  <a:pt x="1030" y="292"/>
                </a:cubicBezTo>
                <a:cubicBezTo>
                  <a:pt x="1030" y="292"/>
                  <a:pt x="1030" y="292"/>
                  <a:pt x="1029" y="292"/>
                </a:cubicBezTo>
                <a:cubicBezTo>
                  <a:pt x="1029" y="292"/>
                  <a:pt x="1029" y="292"/>
                  <a:pt x="1029" y="292"/>
                </a:cubicBezTo>
                <a:cubicBezTo>
                  <a:pt x="1029" y="293"/>
                  <a:pt x="1029" y="293"/>
                  <a:pt x="1028" y="293"/>
                </a:cubicBezTo>
                <a:cubicBezTo>
                  <a:pt x="1028" y="293"/>
                  <a:pt x="1028" y="293"/>
                  <a:pt x="1028" y="293"/>
                </a:cubicBezTo>
                <a:cubicBezTo>
                  <a:pt x="1027" y="293"/>
                  <a:pt x="1027" y="293"/>
                  <a:pt x="1026" y="292"/>
                </a:cubicBezTo>
                <a:cubicBezTo>
                  <a:pt x="1026" y="292"/>
                  <a:pt x="1026" y="292"/>
                  <a:pt x="1026" y="292"/>
                </a:cubicBezTo>
                <a:cubicBezTo>
                  <a:pt x="1025" y="293"/>
                  <a:pt x="1025" y="293"/>
                  <a:pt x="1025" y="293"/>
                </a:cubicBezTo>
                <a:cubicBezTo>
                  <a:pt x="1025" y="294"/>
                  <a:pt x="1025" y="294"/>
                  <a:pt x="1024" y="294"/>
                </a:cubicBezTo>
                <a:cubicBezTo>
                  <a:pt x="1024" y="294"/>
                  <a:pt x="1024" y="294"/>
                  <a:pt x="1023" y="293"/>
                </a:cubicBezTo>
                <a:cubicBezTo>
                  <a:pt x="1023" y="294"/>
                  <a:pt x="1023" y="294"/>
                  <a:pt x="1023" y="294"/>
                </a:cubicBezTo>
                <a:cubicBezTo>
                  <a:pt x="1023" y="294"/>
                  <a:pt x="1023" y="294"/>
                  <a:pt x="1024" y="295"/>
                </a:cubicBezTo>
                <a:cubicBezTo>
                  <a:pt x="1024" y="295"/>
                  <a:pt x="1024" y="295"/>
                  <a:pt x="1025" y="295"/>
                </a:cubicBezTo>
                <a:cubicBezTo>
                  <a:pt x="1025" y="295"/>
                  <a:pt x="1026" y="295"/>
                  <a:pt x="1026" y="296"/>
                </a:cubicBezTo>
                <a:cubicBezTo>
                  <a:pt x="1026" y="296"/>
                  <a:pt x="1026" y="296"/>
                  <a:pt x="1026" y="296"/>
                </a:cubicBezTo>
                <a:cubicBezTo>
                  <a:pt x="1025" y="296"/>
                  <a:pt x="1025" y="296"/>
                  <a:pt x="1025" y="295"/>
                </a:cubicBezTo>
                <a:cubicBezTo>
                  <a:pt x="1024" y="295"/>
                  <a:pt x="1024" y="295"/>
                  <a:pt x="1023" y="295"/>
                </a:cubicBezTo>
                <a:cubicBezTo>
                  <a:pt x="1023" y="295"/>
                  <a:pt x="1023" y="295"/>
                  <a:pt x="1023" y="296"/>
                </a:cubicBezTo>
                <a:cubicBezTo>
                  <a:pt x="1023" y="296"/>
                  <a:pt x="1023" y="296"/>
                  <a:pt x="1024" y="296"/>
                </a:cubicBezTo>
                <a:cubicBezTo>
                  <a:pt x="1024" y="296"/>
                  <a:pt x="1024" y="296"/>
                  <a:pt x="1024" y="296"/>
                </a:cubicBezTo>
                <a:cubicBezTo>
                  <a:pt x="1024" y="296"/>
                  <a:pt x="1024" y="297"/>
                  <a:pt x="1024" y="297"/>
                </a:cubicBezTo>
                <a:cubicBezTo>
                  <a:pt x="1024" y="297"/>
                  <a:pt x="1023" y="297"/>
                  <a:pt x="1023" y="297"/>
                </a:cubicBezTo>
                <a:cubicBezTo>
                  <a:pt x="1023" y="296"/>
                  <a:pt x="1023" y="296"/>
                  <a:pt x="1022" y="296"/>
                </a:cubicBezTo>
                <a:cubicBezTo>
                  <a:pt x="1022" y="296"/>
                  <a:pt x="1022" y="295"/>
                  <a:pt x="1021" y="295"/>
                </a:cubicBezTo>
                <a:cubicBezTo>
                  <a:pt x="1021" y="296"/>
                  <a:pt x="1021" y="296"/>
                  <a:pt x="1021" y="296"/>
                </a:cubicBezTo>
                <a:cubicBezTo>
                  <a:pt x="1021" y="296"/>
                  <a:pt x="1021" y="296"/>
                  <a:pt x="1022" y="296"/>
                </a:cubicBezTo>
                <a:cubicBezTo>
                  <a:pt x="1022" y="297"/>
                  <a:pt x="1022" y="297"/>
                  <a:pt x="1022" y="297"/>
                </a:cubicBezTo>
                <a:cubicBezTo>
                  <a:pt x="1022" y="297"/>
                  <a:pt x="1022" y="297"/>
                  <a:pt x="1021" y="297"/>
                </a:cubicBezTo>
                <a:cubicBezTo>
                  <a:pt x="1021" y="297"/>
                  <a:pt x="1020" y="296"/>
                  <a:pt x="1020" y="296"/>
                </a:cubicBezTo>
                <a:cubicBezTo>
                  <a:pt x="1020" y="296"/>
                  <a:pt x="1020" y="296"/>
                  <a:pt x="1020" y="295"/>
                </a:cubicBezTo>
                <a:cubicBezTo>
                  <a:pt x="1019" y="295"/>
                  <a:pt x="1019" y="295"/>
                  <a:pt x="1018" y="295"/>
                </a:cubicBezTo>
                <a:cubicBezTo>
                  <a:pt x="1018" y="295"/>
                  <a:pt x="1018" y="294"/>
                  <a:pt x="1018" y="294"/>
                </a:cubicBezTo>
                <a:cubicBezTo>
                  <a:pt x="1018" y="294"/>
                  <a:pt x="1019" y="294"/>
                  <a:pt x="1019" y="294"/>
                </a:cubicBezTo>
                <a:cubicBezTo>
                  <a:pt x="1019" y="294"/>
                  <a:pt x="1019" y="294"/>
                  <a:pt x="1019" y="294"/>
                </a:cubicBezTo>
                <a:cubicBezTo>
                  <a:pt x="1018" y="294"/>
                  <a:pt x="1018" y="294"/>
                  <a:pt x="1017" y="294"/>
                </a:cubicBezTo>
                <a:cubicBezTo>
                  <a:pt x="1017" y="294"/>
                  <a:pt x="1017" y="294"/>
                  <a:pt x="1017" y="294"/>
                </a:cubicBezTo>
                <a:cubicBezTo>
                  <a:pt x="1017" y="295"/>
                  <a:pt x="1017" y="295"/>
                  <a:pt x="1017" y="296"/>
                </a:cubicBezTo>
                <a:cubicBezTo>
                  <a:pt x="1017" y="296"/>
                  <a:pt x="1017" y="296"/>
                  <a:pt x="1016" y="296"/>
                </a:cubicBezTo>
                <a:cubicBezTo>
                  <a:pt x="1017" y="297"/>
                  <a:pt x="1017" y="297"/>
                  <a:pt x="1018" y="297"/>
                </a:cubicBezTo>
                <a:cubicBezTo>
                  <a:pt x="1018" y="297"/>
                  <a:pt x="1018" y="297"/>
                  <a:pt x="1018" y="298"/>
                </a:cubicBezTo>
                <a:cubicBezTo>
                  <a:pt x="1018" y="298"/>
                  <a:pt x="1018" y="298"/>
                  <a:pt x="1018" y="298"/>
                </a:cubicBezTo>
                <a:cubicBezTo>
                  <a:pt x="1019" y="298"/>
                  <a:pt x="1019" y="299"/>
                  <a:pt x="1020" y="299"/>
                </a:cubicBezTo>
                <a:cubicBezTo>
                  <a:pt x="1020" y="300"/>
                  <a:pt x="1020" y="300"/>
                  <a:pt x="1021" y="300"/>
                </a:cubicBezTo>
                <a:cubicBezTo>
                  <a:pt x="1021" y="300"/>
                  <a:pt x="1020" y="301"/>
                  <a:pt x="1020" y="301"/>
                </a:cubicBezTo>
                <a:cubicBezTo>
                  <a:pt x="1020" y="301"/>
                  <a:pt x="1020" y="301"/>
                  <a:pt x="1020" y="301"/>
                </a:cubicBezTo>
                <a:cubicBezTo>
                  <a:pt x="1020" y="301"/>
                  <a:pt x="1020" y="301"/>
                  <a:pt x="1020" y="301"/>
                </a:cubicBezTo>
                <a:cubicBezTo>
                  <a:pt x="1020" y="300"/>
                  <a:pt x="1020" y="300"/>
                  <a:pt x="1020" y="300"/>
                </a:cubicBezTo>
                <a:cubicBezTo>
                  <a:pt x="1020" y="300"/>
                  <a:pt x="1019" y="300"/>
                  <a:pt x="1019" y="300"/>
                </a:cubicBezTo>
                <a:cubicBezTo>
                  <a:pt x="1019" y="300"/>
                  <a:pt x="1019" y="300"/>
                  <a:pt x="1018" y="300"/>
                </a:cubicBezTo>
                <a:cubicBezTo>
                  <a:pt x="1018" y="300"/>
                  <a:pt x="1018" y="300"/>
                  <a:pt x="1018" y="300"/>
                </a:cubicBezTo>
                <a:cubicBezTo>
                  <a:pt x="1018" y="300"/>
                  <a:pt x="1018" y="300"/>
                  <a:pt x="1018" y="300"/>
                </a:cubicBezTo>
                <a:cubicBezTo>
                  <a:pt x="1018" y="301"/>
                  <a:pt x="1019" y="301"/>
                  <a:pt x="1019" y="301"/>
                </a:cubicBezTo>
                <a:cubicBezTo>
                  <a:pt x="1019" y="301"/>
                  <a:pt x="1019" y="301"/>
                  <a:pt x="1019" y="301"/>
                </a:cubicBezTo>
                <a:cubicBezTo>
                  <a:pt x="1019" y="301"/>
                  <a:pt x="1019" y="301"/>
                  <a:pt x="1018" y="302"/>
                </a:cubicBezTo>
                <a:cubicBezTo>
                  <a:pt x="1018" y="302"/>
                  <a:pt x="1018" y="302"/>
                  <a:pt x="1017" y="302"/>
                </a:cubicBezTo>
                <a:cubicBezTo>
                  <a:pt x="1017" y="302"/>
                  <a:pt x="1018" y="302"/>
                  <a:pt x="1018" y="302"/>
                </a:cubicBezTo>
                <a:cubicBezTo>
                  <a:pt x="1019" y="302"/>
                  <a:pt x="1019" y="302"/>
                  <a:pt x="1019" y="302"/>
                </a:cubicBezTo>
                <a:cubicBezTo>
                  <a:pt x="1019" y="303"/>
                  <a:pt x="1019" y="303"/>
                  <a:pt x="1020" y="303"/>
                </a:cubicBezTo>
                <a:cubicBezTo>
                  <a:pt x="1020" y="303"/>
                  <a:pt x="1020" y="303"/>
                  <a:pt x="1020" y="303"/>
                </a:cubicBezTo>
                <a:cubicBezTo>
                  <a:pt x="1020" y="303"/>
                  <a:pt x="1021" y="303"/>
                  <a:pt x="1021" y="303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2" y="304"/>
                  <a:pt x="1023" y="304"/>
                  <a:pt x="1024" y="305"/>
                </a:cubicBezTo>
                <a:cubicBezTo>
                  <a:pt x="1024" y="305"/>
                  <a:pt x="1024" y="305"/>
                  <a:pt x="1024" y="305"/>
                </a:cubicBezTo>
                <a:cubicBezTo>
                  <a:pt x="1024" y="305"/>
                  <a:pt x="1024" y="306"/>
                  <a:pt x="1024" y="306"/>
                </a:cubicBezTo>
                <a:cubicBezTo>
                  <a:pt x="1024" y="306"/>
                  <a:pt x="1024" y="307"/>
                  <a:pt x="1025" y="307"/>
                </a:cubicBezTo>
                <a:cubicBezTo>
                  <a:pt x="1025" y="307"/>
                  <a:pt x="1025" y="307"/>
                  <a:pt x="1024" y="307"/>
                </a:cubicBezTo>
                <a:cubicBezTo>
                  <a:pt x="1024" y="307"/>
                  <a:pt x="1024" y="307"/>
                  <a:pt x="1023" y="307"/>
                </a:cubicBezTo>
                <a:cubicBezTo>
                  <a:pt x="1023" y="307"/>
                  <a:pt x="1023" y="307"/>
                  <a:pt x="1023" y="307"/>
                </a:cubicBezTo>
                <a:cubicBezTo>
                  <a:pt x="1023" y="307"/>
                  <a:pt x="1022" y="306"/>
                  <a:pt x="1022" y="306"/>
                </a:cubicBezTo>
                <a:cubicBezTo>
                  <a:pt x="1022" y="306"/>
                  <a:pt x="1021" y="306"/>
                  <a:pt x="1021" y="306"/>
                </a:cubicBezTo>
                <a:cubicBezTo>
                  <a:pt x="1021" y="306"/>
                  <a:pt x="1021" y="306"/>
                  <a:pt x="1020" y="306"/>
                </a:cubicBezTo>
                <a:cubicBezTo>
                  <a:pt x="1020" y="306"/>
                  <a:pt x="1020" y="307"/>
                  <a:pt x="1019" y="307"/>
                </a:cubicBezTo>
                <a:cubicBezTo>
                  <a:pt x="1020" y="307"/>
                  <a:pt x="1020" y="307"/>
                  <a:pt x="1020" y="307"/>
                </a:cubicBezTo>
                <a:cubicBezTo>
                  <a:pt x="1020" y="307"/>
                  <a:pt x="1020" y="307"/>
                  <a:pt x="1020" y="308"/>
                </a:cubicBezTo>
                <a:cubicBezTo>
                  <a:pt x="1021" y="308"/>
                  <a:pt x="1021" y="308"/>
                  <a:pt x="1021" y="308"/>
                </a:cubicBezTo>
                <a:cubicBezTo>
                  <a:pt x="1021" y="308"/>
                  <a:pt x="1021" y="308"/>
                  <a:pt x="1022" y="308"/>
                </a:cubicBezTo>
                <a:cubicBezTo>
                  <a:pt x="1022" y="308"/>
                  <a:pt x="1022" y="308"/>
                  <a:pt x="1022" y="308"/>
                </a:cubicBezTo>
                <a:cubicBezTo>
                  <a:pt x="1022" y="309"/>
                  <a:pt x="1022" y="309"/>
                  <a:pt x="1022" y="309"/>
                </a:cubicBezTo>
                <a:cubicBezTo>
                  <a:pt x="1022" y="309"/>
                  <a:pt x="1022" y="309"/>
                  <a:pt x="1022" y="309"/>
                </a:cubicBezTo>
                <a:cubicBezTo>
                  <a:pt x="1022" y="309"/>
                  <a:pt x="1021" y="309"/>
                  <a:pt x="1021" y="309"/>
                </a:cubicBezTo>
                <a:cubicBezTo>
                  <a:pt x="1021" y="309"/>
                  <a:pt x="1020" y="309"/>
                  <a:pt x="1020" y="309"/>
                </a:cubicBezTo>
                <a:cubicBezTo>
                  <a:pt x="1020" y="309"/>
                  <a:pt x="1020" y="309"/>
                  <a:pt x="1020" y="309"/>
                </a:cubicBezTo>
                <a:cubicBezTo>
                  <a:pt x="1020" y="309"/>
                  <a:pt x="1020" y="309"/>
                  <a:pt x="1020" y="308"/>
                </a:cubicBezTo>
                <a:cubicBezTo>
                  <a:pt x="1020" y="308"/>
                  <a:pt x="1020" y="308"/>
                  <a:pt x="1019" y="308"/>
                </a:cubicBezTo>
                <a:cubicBezTo>
                  <a:pt x="1019" y="308"/>
                  <a:pt x="1019" y="308"/>
                  <a:pt x="1018" y="308"/>
                </a:cubicBezTo>
                <a:cubicBezTo>
                  <a:pt x="1018" y="308"/>
                  <a:pt x="1018" y="308"/>
                  <a:pt x="1018" y="308"/>
                </a:cubicBezTo>
                <a:cubicBezTo>
                  <a:pt x="1019" y="309"/>
                  <a:pt x="1019" y="309"/>
                  <a:pt x="1019" y="309"/>
                </a:cubicBezTo>
                <a:cubicBezTo>
                  <a:pt x="1019" y="309"/>
                  <a:pt x="1019" y="310"/>
                  <a:pt x="1020" y="310"/>
                </a:cubicBezTo>
                <a:cubicBezTo>
                  <a:pt x="1020" y="311"/>
                  <a:pt x="1020" y="311"/>
                  <a:pt x="1020" y="311"/>
                </a:cubicBezTo>
                <a:cubicBezTo>
                  <a:pt x="1020" y="311"/>
                  <a:pt x="1020" y="311"/>
                  <a:pt x="1020" y="312"/>
                </a:cubicBezTo>
                <a:cubicBezTo>
                  <a:pt x="1020" y="312"/>
                  <a:pt x="1020" y="312"/>
                  <a:pt x="1021" y="312"/>
                </a:cubicBezTo>
                <a:cubicBezTo>
                  <a:pt x="1020" y="312"/>
                  <a:pt x="1020" y="312"/>
                  <a:pt x="1019" y="312"/>
                </a:cubicBezTo>
                <a:cubicBezTo>
                  <a:pt x="1019" y="311"/>
                  <a:pt x="1019" y="311"/>
                  <a:pt x="1019" y="311"/>
                </a:cubicBezTo>
                <a:cubicBezTo>
                  <a:pt x="1018" y="311"/>
                  <a:pt x="1018" y="311"/>
                  <a:pt x="1018" y="311"/>
                </a:cubicBezTo>
                <a:cubicBezTo>
                  <a:pt x="1018" y="311"/>
                  <a:pt x="1018" y="311"/>
                  <a:pt x="1017" y="312"/>
                </a:cubicBezTo>
                <a:cubicBezTo>
                  <a:pt x="1017" y="312"/>
                  <a:pt x="1017" y="312"/>
                  <a:pt x="1017" y="313"/>
                </a:cubicBezTo>
                <a:cubicBezTo>
                  <a:pt x="1017" y="312"/>
                  <a:pt x="1017" y="312"/>
                  <a:pt x="1017" y="312"/>
                </a:cubicBezTo>
                <a:cubicBezTo>
                  <a:pt x="1017" y="312"/>
                  <a:pt x="1017" y="312"/>
                  <a:pt x="1017" y="312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6" y="311"/>
                  <a:pt x="1016" y="311"/>
                  <a:pt x="1015" y="310"/>
                </a:cubicBezTo>
                <a:cubicBezTo>
                  <a:pt x="1015" y="310"/>
                  <a:pt x="1015" y="310"/>
                  <a:pt x="1015" y="310"/>
                </a:cubicBezTo>
                <a:cubicBezTo>
                  <a:pt x="1015" y="310"/>
                  <a:pt x="1015" y="310"/>
                  <a:pt x="1014" y="310"/>
                </a:cubicBezTo>
                <a:cubicBezTo>
                  <a:pt x="1015" y="310"/>
                  <a:pt x="1015" y="311"/>
                  <a:pt x="1015" y="311"/>
                </a:cubicBezTo>
                <a:cubicBezTo>
                  <a:pt x="1015" y="311"/>
                  <a:pt x="1015" y="311"/>
                  <a:pt x="1014" y="311"/>
                </a:cubicBezTo>
                <a:cubicBezTo>
                  <a:pt x="1014" y="311"/>
                  <a:pt x="1014" y="311"/>
                  <a:pt x="1014" y="311"/>
                </a:cubicBezTo>
                <a:cubicBezTo>
                  <a:pt x="1013" y="310"/>
                  <a:pt x="1013" y="310"/>
                  <a:pt x="1013" y="310"/>
                </a:cubicBezTo>
                <a:cubicBezTo>
                  <a:pt x="1013" y="309"/>
                  <a:pt x="1013" y="309"/>
                  <a:pt x="1013" y="309"/>
                </a:cubicBezTo>
                <a:cubicBezTo>
                  <a:pt x="1013" y="309"/>
                  <a:pt x="1013" y="309"/>
                  <a:pt x="1013" y="309"/>
                </a:cubicBezTo>
                <a:cubicBezTo>
                  <a:pt x="1013" y="308"/>
                  <a:pt x="1013" y="308"/>
                  <a:pt x="1013" y="308"/>
                </a:cubicBezTo>
                <a:cubicBezTo>
                  <a:pt x="1013" y="308"/>
                  <a:pt x="1012" y="308"/>
                  <a:pt x="1012" y="307"/>
                </a:cubicBezTo>
                <a:cubicBezTo>
                  <a:pt x="1012" y="307"/>
                  <a:pt x="1011" y="307"/>
                  <a:pt x="1011" y="307"/>
                </a:cubicBezTo>
                <a:cubicBezTo>
                  <a:pt x="1011" y="307"/>
                  <a:pt x="1010" y="306"/>
                  <a:pt x="1010" y="306"/>
                </a:cubicBezTo>
                <a:cubicBezTo>
                  <a:pt x="1010" y="306"/>
                  <a:pt x="1010" y="306"/>
                  <a:pt x="1010" y="305"/>
                </a:cubicBezTo>
                <a:cubicBezTo>
                  <a:pt x="1010" y="305"/>
                  <a:pt x="1011" y="305"/>
                  <a:pt x="1011" y="305"/>
                </a:cubicBezTo>
                <a:cubicBezTo>
                  <a:pt x="1011" y="305"/>
                  <a:pt x="1011" y="305"/>
                  <a:pt x="1012" y="305"/>
                </a:cubicBezTo>
                <a:cubicBezTo>
                  <a:pt x="1012" y="305"/>
                  <a:pt x="1012" y="305"/>
                  <a:pt x="1013" y="305"/>
                </a:cubicBezTo>
                <a:cubicBezTo>
                  <a:pt x="1013" y="305"/>
                  <a:pt x="1013" y="305"/>
                  <a:pt x="1013" y="305"/>
                </a:cubicBezTo>
                <a:cubicBezTo>
                  <a:pt x="1014" y="305"/>
                  <a:pt x="1014" y="304"/>
                  <a:pt x="1014" y="304"/>
                </a:cubicBezTo>
                <a:cubicBezTo>
                  <a:pt x="1015" y="305"/>
                  <a:pt x="1016" y="305"/>
                  <a:pt x="1016" y="305"/>
                </a:cubicBezTo>
                <a:cubicBezTo>
                  <a:pt x="1017" y="306"/>
                  <a:pt x="1017" y="306"/>
                  <a:pt x="1017" y="306"/>
                </a:cubicBezTo>
                <a:cubicBezTo>
                  <a:pt x="1018" y="306"/>
                  <a:pt x="1018" y="306"/>
                  <a:pt x="1018" y="306"/>
                </a:cubicBezTo>
                <a:cubicBezTo>
                  <a:pt x="1018" y="306"/>
                  <a:pt x="1019" y="306"/>
                  <a:pt x="1019" y="306"/>
                </a:cubicBezTo>
                <a:cubicBezTo>
                  <a:pt x="1019" y="306"/>
                  <a:pt x="1019" y="305"/>
                  <a:pt x="1020" y="305"/>
                </a:cubicBezTo>
                <a:cubicBezTo>
                  <a:pt x="1019" y="305"/>
                  <a:pt x="1019" y="305"/>
                  <a:pt x="1018" y="305"/>
                </a:cubicBezTo>
                <a:cubicBezTo>
                  <a:pt x="1018" y="305"/>
                  <a:pt x="1018" y="305"/>
                  <a:pt x="1018" y="305"/>
                </a:cubicBezTo>
                <a:cubicBezTo>
                  <a:pt x="1018" y="305"/>
                  <a:pt x="1017" y="305"/>
                  <a:pt x="1017" y="305"/>
                </a:cubicBezTo>
                <a:cubicBezTo>
                  <a:pt x="1017" y="305"/>
                  <a:pt x="1017" y="304"/>
                  <a:pt x="1017" y="304"/>
                </a:cubicBezTo>
                <a:cubicBezTo>
                  <a:pt x="1017" y="304"/>
                  <a:pt x="1017" y="304"/>
                  <a:pt x="1016" y="305"/>
                </a:cubicBezTo>
                <a:cubicBezTo>
                  <a:pt x="1016" y="304"/>
                  <a:pt x="1015" y="304"/>
                  <a:pt x="1015" y="304"/>
                </a:cubicBezTo>
                <a:cubicBezTo>
                  <a:pt x="1015" y="304"/>
                  <a:pt x="1014" y="304"/>
                  <a:pt x="1014" y="304"/>
                </a:cubicBezTo>
                <a:cubicBezTo>
                  <a:pt x="1014" y="304"/>
                  <a:pt x="1014" y="304"/>
                  <a:pt x="1013" y="304"/>
                </a:cubicBezTo>
                <a:cubicBezTo>
                  <a:pt x="1013" y="304"/>
                  <a:pt x="1013" y="304"/>
                  <a:pt x="1012" y="304"/>
                </a:cubicBezTo>
                <a:cubicBezTo>
                  <a:pt x="1012" y="304"/>
                  <a:pt x="1012" y="304"/>
                  <a:pt x="1011" y="303"/>
                </a:cubicBezTo>
                <a:cubicBezTo>
                  <a:pt x="1011" y="304"/>
                  <a:pt x="1011" y="304"/>
                  <a:pt x="1011" y="304"/>
                </a:cubicBezTo>
                <a:cubicBezTo>
                  <a:pt x="1010" y="304"/>
                  <a:pt x="1010" y="304"/>
                  <a:pt x="1010" y="304"/>
                </a:cubicBezTo>
                <a:cubicBezTo>
                  <a:pt x="1010" y="304"/>
                  <a:pt x="1010" y="303"/>
                  <a:pt x="1010" y="303"/>
                </a:cubicBezTo>
                <a:cubicBezTo>
                  <a:pt x="1009" y="302"/>
                  <a:pt x="1009" y="302"/>
                  <a:pt x="1008" y="301"/>
                </a:cubicBezTo>
                <a:cubicBezTo>
                  <a:pt x="1008" y="301"/>
                  <a:pt x="1008" y="301"/>
                  <a:pt x="1008" y="301"/>
                </a:cubicBezTo>
                <a:cubicBezTo>
                  <a:pt x="1008" y="301"/>
                  <a:pt x="1008" y="301"/>
                  <a:pt x="1008" y="301"/>
                </a:cubicBezTo>
                <a:cubicBezTo>
                  <a:pt x="1007" y="301"/>
                  <a:pt x="1007" y="300"/>
                  <a:pt x="1007" y="300"/>
                </a:cubicBezTo>
                <a:cubicBezTo>
                  <a:pt x="1006" y="300"/>
                  <a:pt x="1005" y="299"/>
                  <a:pt x="1005" y="299"/>
                </a:cubicBezTo>
                <a:cubicBezTo>
                  <a:pt x="1005" y="298"/>
                  <a:pt x="1005" y="298"/>
                  <a:pt x="1005" y="298"/>
                </a:cubicBezTo>
                <a:cubicBezTo>
                  <a:pt x="1005" y="298"/>
                  <a:pt x="1005" y="298"/>
                  <a:pt x="1005" y="298"/>
                </a:cubicBezTo>
                <a:cubicBezTo>
                  <a:pt x="1004" y="298"/>
                  <a:pt x="1004" y="297"/>
                  <a:pt x="1004" y="297"/>
                </a:cubicBezTo>
                <a:cubicBezTo>
                  <a:pt x="1003" y="297"/>
                  <a:pt x="1003" y="296"/>
                  <a:pt x="1003" y="295"/>
                </a:cubicBezTo>
                <a:cubicBezTo>
                  <a:pt x="1002" y="295"/>
                  <a:pt x="1001" y="295"/>
                  <a:pt x="1001" y="295"/>
                </a:cubicBezTo>
                <a:cubicBezTo>
                  <a:pt x="1001" y="295"/>
                  <a:pt x="1000" y="295"/>
                  <a:pt x="1000" y="295"/>
                </a:cubicBezTo>
                <a:cubicBezTo>
                  <a:pt x="1000" y="295"/>
                  <a:pt x="1001" y="294"/>
                  <a:pt x="1001" y="294"/>
                </a:cubicBezTo>
                <a:cubicBezTo>
                  <a:pt x="1001" y="294"/>
                  <a:pt x="1000" y="294"/>
                  <a:pt x="1000" y="293"/>
                </a:cubicBezTo>
                <a:cubicBezTo>
                  <a:pt x="1000" y="293"/>
                  <a:pt x="1000" y="293"/>
                  <a:pt x="1000" y="292"/>
                </a:cubicBezTo>
                <a:cubicBezTo>
                  <a:pt x="1000" y="292"/>
                  <a:pt x="1001" y="292"/>
                  <a:pt x="1001" y="292"/>
                </a:cubicBezTo>
                <a:cubicBezTo>
                  <a:pt x="1001" y="291"/>
                  <a:pt x="1000" y="291"/>
                  <a:pt x="1000" y="290"/>
                </a:cubicBezTo>
                <a:cubicBezTo>
                  <a:pt x="1000" y="290"/>
                  <a:pt x="1000" y="289"/>
                  <a:pt x="1001" y="289"/>
                </a:cubicBezTo>
                <a:cubicBezTo>
                  <a:pt x="1001" y="289"/>
                  <a:pt x="1001" y="289"/>
                  <a:pt x="1001" y="289"/>
                </a:cubicBezTo>
                <a:cubicBezTo>
                  <a:pt x="1001" y="289"/>
                  <a:pt x="1001" y="288"/>
                  <a:pt x="1001" y="288"/>
                </a:cubicBezTo>
                <a:cubicBezTo>
                  <a:pt x="1001" y="288"/>
                  <a:pt x="1000" y="288"/>
                  <a:pt x="1000" y="288"/>
                </a:cubicBezTo>
                <a:cubicBezTo>
                  <a:pt x="999" y="287"/>
                  <a:pt x="999" y="287"/>
                  <a:pt x="999" y="287"/>
                </a:cubicBezTo>
                <a:cubicBezTo>
                  <a:pt x="999" y="287"/>
                  <a:pt x="998" y="287"/>
                  <a:pt x="998" y="287"/>
                </a:cubicBezTo>
                <a:cubicBezTo>
                  <a:pt x="998" y="286"/>
                  <a:pt x="997" y="285"/>
                  <a:pt x="996" y="285"/>
                </a:cubicBezTo>
                <a:cubicBezTo>
                  <a:pt x="996" y="285"/>
                  <a:pt x="996" y="285"/>
                  <a:pt x="995" y="284"/>
                </a:cubicBezTo>
                <a:cubicBezTo>
                  <a:pt x="995" y="284"/>
                  <a:pt x="995" y="284"/>
                  <a:pt x="995" y="284"/>
                </a:cubicBezTo>
                <a:cubicBezTo>
                  <a:pt x="995" y="284"/>
                  <a:pt x="994" y="283"/>
                  <a:pt x="994" y="283"/>
                </a:cubicBezTo>
                <a:cubicBezTo>
                  <a:pt x="994" y="283"/>
                  <a:pt x="994" y="283"/>
                  <a:pt x="993" y="283"/>
                </a:cubicBezTo>
                <a:cubicBezTo>
                  <a:pt x="993" y="283"/>
                  <a:pt x="992" y="283"/>
                  <a:pt x="991" y="283"/>
                </a:cubicBezTo>
                <a:cubicBezTo>
                  <a:pt x="991" y="283"/>
                  <a:pt x="991" y="283"/>
                  <a:pt x="991" y="283"/>
                </a:cubicBezTo>
                <a:cubicBezTo>
                  <a:pt x="990" y="283"/>
                  <a:pt x="990" y="283"/>
                  <a:pt x="990" y="283"/>
                </a:cubicBezTo>
                <a:cubicBezTo>
                  <a:pt x="989" y="282"/>
                  <a:pt x="989" y="282"/>
                  <a:pt x="989" y="282"/>
                </a:cubicBezTo>
                <a:cubicBezTo>
                  <a:pt x="989" y="282"/>
                  <a:pt x="990" y="282"/>
                  <a:pt x="990" y="282"/>
                </a:cubicBezTo>
                <a:cubicBezTo>
                  <a:pt x="990" y="282"/>
                  <a:pt x="991" y="282"/>
                  <a:pt x="991" y="282"/>
                </a:cubicBezTo>
                <a:cubicBezTo>
                  <a:pt x="990" y="282"/>
                  <a:pt x="989" y="281"/>
                  <a:pt x="988" y="281"/>
                </a:cubicBezTo>
                <a:cubicBezTo>
                  <a:pt x="988" y="280"/>
                  <a:pt x="987" y="280"/>
                  <a:pt x="987" y="280"/>
                </a:cubicBezTo>
                <a:cubicBezTo>
                  <a:pt x="986" y="280"/>
                  <a:pt x="985" y="280"/>
                  <a:pt x="985" y="280"/>
                </a:cubicBezTo>
                <a:cubicBezTo>
                  <a:pt x="984" y="280"/>
                  <a:pt x="984" y="280"/>
                  <a:pt x="983" y="280"/>
                </a:cubicBezTo>
                <a:cubicBezTo>
                  <a:pt x="983" y="280"/>
                  <a:pt x="983" y="280"/>
                  <a:pt x="983" y="280"/>
                </a:cubicBezTo>
                <a:cubicBezTo>
                  <a:pt x="983" y="279"/>
                  <a:pt x="983" y="279"/>
                  <a:pt x="983" y="279"/>
                </a:cubicBezTo>
                <a:cubicBezTo>
                  <a:pt x="982" y="279"/>
                  <a:pt x="982" y="279"/>
                  <a:pt x="981" y="279"/>
                </a:cubicBezTo>
                <a:cubicBezTo>
                  <a:pt x="981" y="278"/>
                  <a:pt x="981" y="278"/>
                  <a:pt x="980" y="278"/>
                </a:cubicBezTo>
                <a:cubicBezTo>
                  <a:pt x="980" y="278"/>
                  <a:pt x="979" y="278"/>
                  <a:pt x="979" y="278"/>
                </a:cubicBezTo>
                <a:cubicBezTo>
                  <a:pt x="979" y="278"/>
                  <a:pt x="979" y="277"/>
                  <a:pt x="979" y="277"/>
                </a:cubicBezTo>
                <a:cubicBezTo>
                  <a:pt x="979" y="277"/>
                  <a:pt x="979" y="277"/>
                  <a:pt x="979" y="276"/>
                </a:cubicBezTo>
                <a:cubicBezTo>
                  <a:pt x="979" y="276"/>
                  <a:pt x="980" y="276"/>
                  <a:pt x="980" y="276"/>
                </a:cubicBezTo>
                <a:cubicBezTo>
                  <a:pt x="980" y="276"/>
                  <a:pt x="980" y="277"/>
                  <a:pt x="981" y="277"/>
                </a:cubicBezTo>
                <a:cubicBezTo>
                  <a:pt x="980" y="276"/>
                  <a:pt x="980" y="276"/>
                  <a:pt x="980" y="276"/>
                </a:cubicBezTo>
                <a:cubicBezTo>
                  <a:pt x="980" y="276"/>
                  <a:pt x="979" y="276"/>
                  <a:pt x="979" y="276"/>
                </a:cubicBezTo>
                <a:cubicBezTo>
                  <a:pt x="979" y="275"/>
                  <a:pt x="978" y="275"/>
                  <a:pt x="978" y="275"/>
                </a:cubicBezTo>
                <a:cubicBezTo>
                  <a:pt x="977" y="274"/>
                  <a:pt x="977" y="274"/>
                  <a:pt x="977" y="274"/>
                </a:cubicBezTo>
                <a:cubicBezTo>
                  <a:pt x="977" y="273"/>
                  <a:pt x="977" y="273"/>
                  <a:pt x="977" y="273"/>
                </a:cubicBezTo>
                <a:cubicBezTo>
                  <a:pt x="976" y="272"/>
                  <a:pt x="976" y="272"/>
                  <a:pt x="976" y="272"/>
                </a:cubicBezTo>
                <a:cubicBezTo>
                  <a:pt x="976" y="272"/>
                  <a:pt x="975" y="272"/>
                  <a:pt x="975" y="271"/>
                </a:cubicBezTo>
                <a:cubicBezTo>
                  <a:pt x="975" y="271"/>
                  <a:pt x="974" y="271"/>
                  <a:pt x="974" y="271"/>
                </a:cubicBezTo>
                <a:cubicBezTo>
                  <a:pt x="974" y="272"/>
                  <a:pt x="973" y="272"/>
                  <a:pt x="973" y="272"/>
                </a:cubicBezTo>
                <a:cubicBezTo>
                  <a:pt x="973" y="272"/>
                  <a:pt x="973" y="272"/>
                  <a:pt x="973" y="273"/>
                </a:cubicBezTo>
                <a:cubicBezTo>
                  <a:pt x="973" y="273"/>
                  <a:pt x="972" y="274"/>
                  <a:pt x="972" y="274"/>
                </a:cubicBezTo>
                <a:cubicBezTo>
                  <a:pt x="971" y="274"/>
                  <a:pt x="971" y="274"/>
                  <a:pt x="971" y="274"/>
                </a:cubicBezTo>
                <a:cubicBezTo>
                  <a:pt x="971" y="274"/>
                  <a:pt x="971" y="274"/>
                  <a:pt x="971" y="274"/>
                </a:cubicBezTo>
                <a:cubicBezTo>
                  <a:pt x="971" y="273"/>
                  <a:pt x="970" y="273"/>
                  <a:pt x="970" y="273"/>
                </a:cubicBezTo>
                <a:cubicBezTo>
                  <a:pt x="970" y="272"/>
                  <a:pt x="970" y="272"/>
                  <a:pt x="970" y="271"/>
                </a:cubicBezTo>
                <a:cubicBezTo>
                  <a:pt x="970" y="271"/>
                  <a:pt x="970" y="271"/>
                  <a:pt x="970" y="271"/>
                </a:cubicBezTo>
                <a:cubicBezTo>
                  <a:pt x="970" y="271"/>
                  <a:pt x="970" y="271"/>
                  <a:pt x="970" y="271"/>
                </a:cubicBezTo>
                <a:cubicBezTo>
                  <a:pt x="970" y="271"/>
                  <a:pt x="970" y="270"/>
                  <a:pt x="971" y="270"/>
                </a:cubicBezTo>
                <a:cubicBezTo>
                  <a:pt x="971" y="270"/>
                  <a:pt x="971" y="270"/>
                  <a:pt x="971" y="270"/>
                </a:cubicBezTo>
                <a:cubicBezTo>
                  <a:pt x="970" y="270"/>
                  <a:pt x="970" y="270"/>
                  <a:pt x="970" y="270"/>
                </a:cubicBezTo>
                <a:cubicBezTo>
                  <a:pt x="970" y="270"/>
                  <a:pt x="970" y="270"/>
                  <a:pt x="970" y="270"/>
                </a:cubicBezTo>
                <a:cubicBezTo>
                  <a:pt x="969" y="269"/>
                  <a:pt x="969" y="269"/>
                  <a:pt x="968" y="269"/>
                </a:cubicBezTo>
                <a:cubicBezTo>
                  <a:pt x="968" y="269"/>
                  <a:pt x="968" y="269"/>
                  <a:pt x="968" y="270"/>
                </a:cubicBezTo>
                <a:cubicBezTo>
                  <a:pt x="967" y="270"/>
                  <a:pt x="967" y="270"/>
                  <a:pt x="967" y="270"/>
                </a:cubicBezTo>
                <a:cubicBezTo>
                  <a:pt x="966" y="270"/>
                  <a:pt x="966" y="270"/>
                  <a:pt x="966" y="270"/>
                </a:cubicBezTo>
                <a:cubicBezTo>
                  <a:pt x="965" y="270"/>
                  <a:pt x="965" y="271"/>
                  <a:pt x="965" y="271"/>
                </a:cubicBezTo>
                <a:cubicBezTo>
                  <a:pt x="964" y="271"/>
                  <a:pt x="964" y="271"/>
                  <a:pt x="963" y="271"/>
                </a:cubicBezTo>
                <a:cubicBezTo>
                  <a:pt x="963" y="271"/>
                  <a:pt x="963" y="271"/>
                  <a:pt x="963" y="271"/>
                </a:cubicBezTo>
                <a:cubicBezTo>
                  <a:pt x="963" y="272"/>
                  <a:pt x="963" y="272"/>
                  <a:pt x="964" y="272"/>
                </a:cubicBezTo>
                <a:cubicBezTo>
                  <a:pt x="964" y="272"/>
                  <a:pt x="964" y="273"/>
                  <a:pt x="964" y="273"/>
                </a:cubicBezTo>
                <a:cubicBezTo>
                  <a:pt x="964" y="273"/>
                  <a:pt x="964" y="273"/>
                  <a:pt x="963" y="274"/>
                </a:cubicBezTo>
                <a:cubicBezTo>
                  <a:pt x="963" y="274"/>
                  <a:pt x="963" y="274"/>
                  <a:pt x="963" y="274"/>
                </a:cubicBezTo>
                <a:cubicBezTo>
                  <a:pt x="963" y="274"/>
                  <a:pt x="963" y="275"/>
                  <a:pt x="964" y="275"/>
                </a:cubicBezTo>
                <a:cubicBezTo>
                  <a:pt x="964" y="275"/>
                  <a:pt x="964" y="276"/>
                  <a:pt x="964" y="276"/>
                </a:cubicBezTo>
                <a:cubicBezTo>
                  <a:pt x="964" y="276"/>
                  <a:pt x="964" y="276"/>
                  <a:pt x="964" y="276"/>
                </a:cubicBezTo>
                <a:cubicBezTo>
                  <a:pt x="965" y="277"/>
                  <a:pt x="966" y="277"/>
                  <a:pt x="967" y="277"/>
                </a:cubicBezTo>
                <a:cubicBezTo>
                  <a:pt x="967" y="278"/>
                  <a:pt x="967" y="278"/>
                  <a:pt x="968" y="278"/>
                </a:cubicBezTo>
                <a:cubicBezTo>
                  <a:pt x="968" y="278"/>
                  <a:pt x="968" y="278"/>
                  <a:pt x="969" y="279"/>
                </a:cubicBezTo>
                <a:cubicBezTo>
                  <a:pt x="970" y="279"/>
                  <a:pt x="971" y="280"/>
                  <a:pt x="972" y="281"/>
                </a:cubicBezTo>
                <a:cubicBezTo>
                  <a:pt x="972" y="281"/>
                  <a:pt x="972" y="281"/>
                  <a:pt x="972" y="282"/>
                </a:cubicBezTo>
                <a:cubicBezTo>
                  <a:pt x="972" y="282"/>
                  <a:pt x="972" y="282"/>
                  <a:pt x="973" y="282"/>
                </a:cubicBezTo>
                <a:cubicBezTo>
                  <a:pt x="973" y="282"/>
                  <a:pt x="973" y="282"/>
                  <a:pt x="973" y="283"/>
                </a:cubicBezTo>
                <a:cubicBezTo>
                  <a:pt x="973" y="283"/>
                  <a:pt x="973" y="283"/>
                  <a:pt x="973" y="283"/>
                </a:cubicBezTo>
                <a:cubicBezTo>
                  <a:pt x="974" y="284"/>
                  <a:pt x="974" y="284"/>
                  <a:pt x="974" y="284"/>
                </a:cubicBezTo>
                <a:cubicBezTo>
                  <a:pt x="975" y="284"/>
                  <a:pt x="975" y="285"/>
                  <a:pt x="975" y="285"/>
                </a:cubicBezTo>
                <a:cubicBezTo>
                  <a:pt x="976" y="285"/>
                  <a:pt x="976" y="285"/>
                  <a:pt x="977" y="286"/>
                </a:cubicBezTo>
                <a:cubicBezTo>
                  <a:pt x="977" y="286"/>
                  <a:pt x="977" y="286"/>
                  <a:pt x="977" y="286"/>
                </a:cubicBezTo>
                <a:cubicBezTo>
                  <a:pt x="978" y="286"/>
                  <a:pt x="978" y="286"/>
                  <a:pt x="978" y="286"/>
                </a:cubicBezTo>
                <a:cubicBezTo>
                  <a:pt x="979" y="287"/>
                  <a:pt x="979" y="287"/>
                  <a:pt x="979" y="287"/>
                </a:cubicBezTo>
                <a:cubicBezTo>
                  <a:pt x="980" y="287"/>
                  <a:pt x="980" y="287"/>
                  <a:pt x="981" y="287"/>
                </a:cubicBezTo>
                <a:cubicBezTo>
                  <a:pt x="981" y="287"/>
                  <a:pt x="982" y="287"/>
                  <a:pt x="982" y="287"/>
                </a:cubicBezTo>
                <a:cubicBezTo>
                  <a:pt x="982" y="287"/>
                  <a:pt x="983" y="287"/>
                  <a:pt x="983" y="287"/>
                </a:cubicBezTo>
                <a:cubicBezTo>
                  <a:pt x="983" y="287"/>
                  <a:pt x="984" y="287"/>
                  <a:pt x="984" y="287"/>
                </a:cubicBezTo>
                <a:cubicBezTo>
                  <a:pt x="984" y="287"/>
                  <a:pt x="984" y="287"/>
                  <a:pt x="984" y="288"/>
                </a:cubicBezTo>
                <a:cubicBezTo>
                  <a:pt x="983" y="288"/>
                  <a:pt x="983" y="288"/>
                  <a:pt x="983" y="288"/>
                </a:cubicBezTo>
                <a:cubicBezTo>
                  <a:pt x="983" y="288"/>
                  <a:pt x="983" y="289"/>
                  <a:pt x="982" y="289"/>
                </a:cubicBezTo>
                <a:cubicBezTo>
                  <a:pt x="983" y="289"/>
                  <a:pt x="983" y="289"/>
                  <a:pt x="983" y="289"/>
                </a:cubicBezTo>
                <a:cubicBezTo>
                  <a:pt x="983" y="289"/>
                  <a:pt x="984" y="289"/>
                  <a:pt x="984" y="289"/>
                </a:cubicBezTo>
                <a:cubicBezTo>
                  <a:pt x="985" y="289"/>
                  <a:pt x="985" y="289"/>
                  <a:pt x="986" y="290"/>
                </a:cubicBezTo>
                <a:cubicBezTo>
                  <a:pt x="988" y="290"/>
                  <a:pt x="989" y="291"/>
                  <a:pt x="990" y="291"/>
                </a:cubicBezTo>
                <a:cubicBezTo>
                  <a:pt x="991" y="292"/>
                  <a:pt x="991" y="292"/>
                  <a:pt x="992" y="292"/>
                </a:cubicBezTo>
                <a:cubicBezTo>
                  <a:pt x="992" y="292"/>
                  <a:pt x="993" y="293"/>
                  <a:pt x="993" y="293"/>
                </a:cubicBezTo>
                <a:cubicBezTo>
                  <a:pt x="994" y="293"/>
                  <a:pt x="994" y="293"/>
                  <a:pt x="995" y="293"/>
                </a:cubicBezTo>
                <a:cubicBezTo>
                  <a:pt x="995" y="293"/>
                  <a:pt x="995" y="294"/>
                  <a:pt x="996" y="294"/>
                </a:cubicBezTo>
                <a:cubicBezTo>
                  <a:pt x="996" y="294"/>
                  <a:pt x="996" y="294"/>
                  <a:pt x="996" y="294"/>
                </a:cubicBezTo>
                <a:cubicBezTo>
                  <a:pt x="996" y="295"/>
                  <a:pt x="996" y="295"/>
                  <a:pt x="996" y="295"/>
                </a:cubicBezTo>
                <a:cubicBezTo>
                  <a:pt x="996" y="295"/>
                  <a:pt x="995" y="296"/>
                  <a:pt x="995" y="296"/>
                </a:cubicBezTo>
                <a:cubicBezTo>
                  <a:pt x="995" y="296"/>
                  <a:pt x="995" y="296"/>
                  <a:pt x="995" y="296"/>
                </a:cubicBezTo>
                <a:cubicBezTo>
                  <a:pt x="995" y="296"/>
                  <a:pt x="995" y="296"/>
                  <a:pt x="995" y="296"/>
                </a:cubicBezTo>
                <a:cubicBezTo>
                  <a:pt x="995" y="297"/>
                  <a:pt x="995" y="297"/>
                  <a:pt x="995" y="297"/>
                </a:cubicBezTo>
                <a:cubicBezTo>
                  <a:pt x="995" y="297"/>
                  <a:pt x="994" y="296"/>
                  <a:pt x="994" y="296"/>
                </a:cubicBezTo>
                <a:cubicBezTo>
                  <a:pt x="994" y="296"/>
                  <a:pt x="994" y="296"/>
                  <a:pt x="993" y="296"/>
                </a:cubicBezTo>
                <a:cubicBezTo>
                  <a:pt x="993" y="295"/>
                  <a:pt x="993" y="295"/>
                  <a:pt x="993" y="295"/>
                </a:cubicBezTo>
                <a:cubicBezTo>
                  <a:pt x="993" y="295"/>
                  <a:pt x="993" y="295"/>
                  <a:pt x="993" y="294"/>
                </a:cubicBezTo>
                <a:cubicBezTo>
                  <a:pt x="993" y="294"/>
                  <a:pt x="993" y="294"/>
                  <a:pt x="993" y="294"/>
                </a:cubicBezTo>
                <a:cubicBezTo>
                  <a:pt x="992" y="294"/>
                  <a:pt x="991" y="294"/>
                  <a:pt x="991" y="294"/>
                </a:cubicBezTo>
                <a:cubicBezTo>
                  <a:pt x="991" y="294"/>
                  <a:pt x="991" y="294"/>
                  <a:pt x="991" y="294"/>
                </a:cubicBezTo>
                <a:cubicBezTo>
                  <a:pt x="990" y="294"/>
                  <a:pt x="990" y="294"/>
                  <a:pt x="990" y="293"/>
                </a:cubicBezTo>
                <a:cubicBezTo>
                  <a:pt x="989" y="293"/>
                  <a:pt x="989" y="293"/>
                  <a:pt x="989" y="293"/>
                </a:cubicBezTo>
                <a:cubicBezTo>
                  <a:pt x="989" y="294"/>
                  <a:pt x="988" y="294"/>
                  <a:pt x="988" y="294"/>
                </a:cubicBezTo>
                <a:cubicBezTo>
                  <a:pt x="988" y="294"/>
                  <a:pt x="988" y="294"/>
                  <a:pt x="988" y="295"/>
                </a:cubicBezTo>
                <a:cubicBezTo>
                  <a:pt x="988" y="295"/>
                  <a:pt x="987" y="295"/>
                  <a:pt x="987" y="295"/>
                </a:cubicBezTo>
                <a:cubicBezTo>
                  <a:pt x="987" y="295"/>
                  <a:pt x="987" y="295"/>
                  <a:pt x="987" y="295"/>
                </a:cubicBezTo>
                <a:cubicBezTo>
                  <a:pt x="987" y="296"/>
                  <a:pt x="987" y="296"/>
                  <a:pt x="987" y="296"/>
                </a:cubicBezTo>
                <a:cubicBezTo>
                  <a:pt x="987" y="296"/>
                  <a:pt x="987" y="296"/>
                  <a:pt x="986" y="296"/>
                </a:cubicBezTo>
                <a:cubicBezTo>
                  <a:pt x="986" y="297"/>
                  <a:pt x="986" y="297"/>
                  <a:pt x="986" y="297"/>
                </a:cubicBezTo>
                <a:cubicBezTo>
                  <a:pt x="986" y="297"/>
                  <a:pt x="987" y="297"/>
                  <a:pt x="987" y="297"/>
                </a:cubicBezTo>
                <a:cubicBezTo>
                  <a:pt x="987" y="297"/>
                  <a:pt x="987" y="297"/>
                  <a:pt x="988" y="297"/>
                </a:cubicBezTo>
                <a:cubicBezTo>
                  <a:pt x="988" y="298"/>
                  <a:pt x="989" y="298"/>
                  <a:pt x="989" y="298"/>
                </a:cubicBezTo>
                <a:cubicBezTo>
                  <a:pt x="989" y="299"/>
                  <a:pt x="989" y="299"/>
                  <a:pt x="989" y="299"/>
                </a:cubicBezTo>
                <a:cubicBezTo>
                  <a:pt x="989" y="299"/>
                  <a:pt x="989" y="299"/>
                  <a:pt x="989" y="300"/>
                </a:cubicBezTo>
                <a:cubicBezTo>
                  <a:pt x="989" y="300"/>
                  <a:pt x="989" y="300"/>
                  <a:pt x="989" y="300"/>
                </a:cubicBezTo>
                <a:cubicBezTo>
                  <a:pt x="989" y="300"/>
                  <a:pt x="989" y="300"/>
                  <a:pt x="989" y="301"/>
                </a:cubicBezTo>
                <a:cubicBezTo>
                  <a:pt x="989" y="301"/>
                  <a:pt x="988" y="301"/>
                  <a:pt x="988" y="301"/>
                </a:cubicBezTo>
                <a:cubicBezTo>
                  <a:pt x="988" y="301"/>
                  <a:pt x="987" y="301"/>
                  <a:pt x="987" y="301"/>
                </a:cubicBezTo>
                <a:cubicBezTo>
                  <a:pt x="987" y="302"/>
                  <a:pt x="987" y="303"/>
                  <a:pt x="987" y="303"/>
                </a:cubicBezTo>
                <a:cubicBezTo>
                  <a:pt x="987" y="303"/>
                  <a:pt x="986" y="304"/>
                  <a:pt x="986" y="304"/>
                </a:cubicBezTo>
                <a:cubicBezTo>
                  <a:pt x="985" y="304"/>
                  <a:pt x="985" y="304"/>
                  <a:pt x="985" y="305"/>
                </a:cubicBezTo>
                <a:cubicBezTo>
                  <a:pt x="985" y="305"/>
                  <a:pt x="985" y="305"/>
                  <a:pt x="985" y="305"/>
                </a:cubicBezTo>
                <a:cubicBezTo>
                  <a:pt x="984" y="305"/>
                  <a:pt x="984" y="305"/>
                  <a:pt x="983" y="305"/>
                </a:cubicBezTo>
                <a:cubicBezTo>
                  <a:pt x="983" y="305"/>
                  <a:pt x="982" y="305"/>
                  <a:pt x="982" y="305"/>
                </a:cubicBezTo>
                <a:cubicBezTo>
                  <a:pt x="982" y="304"/>
                  <a:pt x="982" y="304"/>
                  <a:pt x="982" y="304"/>
                </a:cubicBezTo>
                <a:cubicBezTo>
                  <a:pt x="982" y="304"/>
                  <a:pt x="982" y="304"/>
                  <a:pt x="982" y="304"/>
                </a:cubicBezTo>
                <a:cubicBezTo>
                  <a:pt x="982" y="304"/>
                  <a:pt x="983" y="304"/>
                  <a:pt x="983" y="304"/>
                </a:cubicBezTo>
                <a:cubicBezTo>
                  <a:pt x="983" y="303"/>
                  <a:pt x="983" y="303"/>
                  <a:pt x="983" y="303"/>
                </a:cubicBezTo>
                <a:cubicBezTo>
                  <a:pt x="983" y="303"/>
                  <a:pt x="983" y="303"/>
                  <a:pt x="984" y="302"/>
                </a:cubicBezTo>
                <a:cubicBezTo>
                  <a:pt x="983" y="302"/>
                  <a:pt x="983" y="302"/>
                  <a:pt x="983" y="302"/>
                </a:cubicBezTo>
                <a:cubicBezTo>
                  <a:pt x="984" y="302"/>
                  <a:pt x="984" y="302"/>
                  <a:pt x="984" y="301"/>
                </a:cubicBezTo>
                <a:cubicBezTo>
                  <a:pt x="984" y="301"/>
                  <a:pt x="984" y="301"/>
                  <a:pt x="984" y="301"/>
                </a:cubicBezTo>
                <a:cubicBezTo>
                  <a:pt x="984" y="301"/>
                  <a:pt x="985" y="301"/>
                  <a:pt x="985" y="301"/>
                </a:cubicBezTo>
                <a:cubicBezTo>
                  <a:pt x="985" y="301"/>
                  <a:pt x="985" y="301"/>
                  <a:pt x="985" y="300"/>
                </a:cubicBezTo>
                <a:cubicBezTo>
                  <a:pt x="985" y="300"/>
                  <a:pt x="984" y="300"/>
                  <a:pt x="984" y="300"/>
                </a:cubicBezTo>
                <a:cubicBezTo>
                  <a:pt x="984" y="299"/>
                  <a:pt x="984" y="299"/>
                  <a:pt x="984" y="298"/>
                </a:cubicBezTo>
                <a:cubicBezTo>
                  <a:pt x="984" y="298"/>
                  <a:pt x="983" y="298"/>
                  <a:pt x="983" y="298"/>
                </a:cubicBezTo>
                <a:cubicBezTo>
                  <a:pt x="983" y="297"/>
                  <a:pt x="983" y="297"/>
                  <a:pt x="983" y="297"/>
                </a:cubicBezTo>
                <a:cubicBezTo>
                  <a:pt x="983" y="296"/>
                  <a:pt x="983" y="296"/>
                  <a:pt x="983" y="296"/>
                </a:cubicBezTo>
                <a:cubicBezTo>
                  <a:pt x="982" y="295"/>
                  <a:pt x="982" y="295"/>
                  <a:pt x="982" y="295"/>
                </a:cubicBezTo>
                <a:cubicBezTo>
                  <a:pt x="982" y="295"/>
                  <a:pt x="981" y="295"/>
                  <a:pt x="981" y="295"/>
                </a:cubicBezTo>
                <a:cubicBezTo>
                  <a:pt x="981" y="295"/>
                  <a:pt x="980" y="295"/>
                  <a:pt x="980" y="295"/>
                </a:cubicBezTo>
                <a:cubicBezTo>
                  <a:pt x="980" y="295"/>
                  <a:pt x="980" y="295"/>
                  <a:pt x="979" y="295"/>
                </a:cubicBezTo>
                <a:cubicBezTo>
                  <a:pt x="979" y="295"/>
                  <a:pt x="979" y="295"/>
                  <a:pt x="978" y="294"/>
                </a:cubicBezTo>
                <a:cubicBezTo>
                  <a:pt x="978" y="294"/>
                  <a:pt x="978" y="294"/>
                  <a:pt x="978" y="294"/>
                </a:cubicBezTo>
                <a:cubicBezTo>
                  <a:pt x="978" y="294"/>
                  <a:pt x="978" y="294"/>
                  <a:pt x="978" y="294"/>
                </a:cubicBezTo>
                <a:cubicBezTo>
                  <a:pt x="978" y="294"/>
                  <a:pt x="978" y="293"/>
                  <a:pt x="978" y="293"/>
                </a:cubicBezTo>
                <a:cubicBezTo>
                  <a:pt x="978" y="293"/>
                  <a:pt x="978" y="293"/>
                  <a:pt x="977" y="292"/>
                </a:cubicBezTo>
                <a:cubicBezTo>
                  <a:pt x="977" y="292"/>
                  <a:pt x="977" y="292"/>
                  <a:pt x="977" y="292"/>
                </a:cubicBezTo>
                <a:cubicBezTo>
                  <a:pt x="976" y="292"/>
                  <a:pt x="976" y="292"/>
                  <a:pt x="976" y="292"/>
                </a:cubicBezTo>
                <a:cubicBezTo>
                  <a:pt x="976" y="292"/>
                  <a:pt x="976" y="292"/>
                  <a:pt x="976" y="292"/>
                </a:cubicBezTo>
                <a:cubicBezTo>
                  <a:pt x="975" y="292"/>
                  <a:pt x="975" y="292"/>
                  <a:pt x="975" y="292"/>
                </a:cubicBezTo>
                <a:cubicBezTo>
                  <a:pt x="975" y="292"/>
                  <a:pt x="974" y="292"/>
                  <a:pt x="974" y="292"/>
                </a:cubicBezTo>
                <a:cubicBezTo>
                  <a:pt x="974" y="292"/>
                  <a:pt x="974" y="292"/>
                  <a:pt x="973" y="291"/>
                </a:cubicBezTo>
                <a:cubicBezTo>
                  <a:pt x="973" y="291"/>
                  <a:pt x="973" y="291"/>
                  <a:pt x="972" y="290"/>
                </a:cubicBezTo>
                <a:cubicBezTo>
                  <a:pt x="972" y="290"/>
                  <a:pt x="972" y="290"/>
                  <a:pt x="971" y="290"/>
                </a:cubicBezTo>
                <a:cubicBezTo>
                  <a:pt x="971" y="290"/>
                  <a:pt x="971" y="290"/>
                  <a:pt x="970" y="290"/>
                </a:cubicBezTo>
                <a:cubicBezTo>
                  <a:pt x="970" y="290"/>
                  <a:pt x="970" y="290"/>
                  <a:pt x="970" y="290"/>
                </a:cubicBezTo>
                <a:cubicBezTo>
                  <a:pt x="969" y="290"/>
                  <a:pt x="969" y="290"/>
                  <a:pt x="969" y="290"/>
                </a:cubicBezTo>
                <a:cubicBezTo>
                  <a:pt x="969" y="290"/>
                  <a:pt x="968" y="290"/>
                  <a:pt x="968" y="289"/>
                </a:cubicBezTo>
                <a:cubicBezTo>
                  <a:pt x="968" y="289"/>
                  <a:pt x="968" y="289"/>
                  <a:pt x="967" y="289"/>
                </a:cubicBezTo>
                <a:cubicBezTo>
                  <a:pt x="967" y="289"/>
                  <a:pt x="967" y="289"/>
                  <a:pt x="966" y="289"/>
                </a:cubicBezTo>
                <a:cubicBezTo>
                  <a:pt x="966" y="289"/>
                  <a:pt x="965" y="288"/>
                  <a:pt x="964" y="288"/>
                </a:cubicBezTo>
                <a:cubicBezTo>
                  <a:pt x="964" y="287"/>
                  <a:pt x="963" y="286"/>
                  <a:pt x="962" y="286"/>
                </a:cubicBezTo>
                <a:cubicBezTo>
                  <a:pt x="962" y="286"/>
                  <a:pt x="962" y="286"/>
                  <a:pt x="962" y="286"/>
                </a:cubicBezTo>
                <a:cubicBezTo>
                  <a:pt x="961" y="285"/>
                  <a:pt x="961" y="285"/>
                  <a:pt x="961" y="285"/>
                </a:cubicBezTo>
                <a:cubicBezTo>
                  <a:pt x="961" y="285"/>
                  <a:pt x="961" y="284"/>
                  <a:pt x="960" y="284"/>
                </a:cubicBezTo>
                <a:cubicBezTo>
                  <a:pt x="960" y="284"/>
                  <a:pt x="959" y="284"/>
                  <a:pt x="959" y="284"/>
                </a:cubicBezTo>
                <a:cubicBezTo>
                  <a:pt x="959" y="284"/>
                  <a:pt x="959" y="284"/>
                  <a:pt x="959" y="283"/>
                </a:cubicBezTo>
                <a:cubicBezTo>
                  <a:pt x="958" y="283"/>
                  <a:pt x="958" y="283"/>
                  <a:pt x="957" y="282"/>
                </a:cubicBezTo>
                <a:cubicBezTo>
                  <a:pt x="957" y="282"/>
                  <a:pt x="957" y="282"/>
                  <a:pt x="956" y="282"/>
                </a:cubicBezTo>
                <a:cubicBezTo>
                  <a:pt x="956" y="282"/>
                  <a:pt x="956" y="281"/>
                  <a:pt x="955" y="281"/>
                </a:cubicBezTo>
                <a:cubicBezTo>
                  <a:pt x="955" y="281"/>
                  <a:pt x="955" y="281"/>
                  <a:pt x="955" y="280"/>
                </a:cubicBezTo>
                <a:cubicBezTo>
                  <a:pt x="955" y="280"/>
                  <a:pt x="955" y="280"/>
                  <a:pt x="954" y="280"/>
                </a:cubicBezTo>
                <a:cubicBezTo>
                  <a:pt x="954" y="280"/>
                  <a:pt x="954" y="280"/>
                  <a:pt x="954" y="279"/>
                </a:cubicBezTo>
                <a:cubicBezTo>
                  <a:pt x="954" y="279"/>
                  <a:pt x="954" y="279"/>
                  <a:pt x="953" y="278"/>
                </a:cubicBezTo>
                <a:cubicBezTo>
                  <a:pt x="953" y="278"/>
                  <a:pt x="953" y="278"/>
                  <a:pt x="953" y="278"/>
                </a:cubicBezTo>
                <a:cubicBezTo>
                  <a:pt x="953" y="277"/>
                  <a:pt x="953" y="277"/>
                  <a:pt x="953" y="277"/>
                </a:cubicBezTo>
                <a:cubicBezTo>
                  <a:pt x="952" y="277"/>
                  <a:pt x="952" y="277"/>
                  <a:pt x="952" y="277"/>
                </a:cubicBezTo>
                <a:cubicBezTo>
                  <a:pt x="952" y="277"/>
                  <a:pt x="951" y="276"/>
                  <a:pt x="951" y="276"/>
                </a:cubicBezTo>
                <a:cubicBezTo>
                  <a:pt x="950" y="276"/>
                  <a:pt x="950" y="276"/>
                  <a:pt x="949" y="276"/>
                </a:cubicBezTo>
                <a:cubicBezTo>
                  <a:pt x="948" y="276"/>
                  <a:pt x="947" y="275"/>
                  <a:pt x="946" y="275"/>
                </a:cubicBezTo>
                <a:cubicBezTo>
                  <a:pt x="945" y="276"/>
                  <a:pt x="944" y="276"/>
                  <a:pt x="943" y="276"/>
                </a:cubicBezTo>
                <a:cubicBezTo>
                  <a:pt x="943" y="276"/>
                  <a:pt x="943" y="277"/>
                  <a:pt x="943" y="277"/>
                </a:cubicBezTo>
                <a:cubicBezTo>
                  <a:pt x="943" y="277"/>
                  <a:pt x="942" y="277"/>
                  <a:pt x="942" y="278"/>
                </a:cubicBezTo>
                <a:cubicBezTo>
                  <a:pt x="941" y="278"/>
                  <a:pt x="940" y="278"/>
                  <a:pt x="940" y="278"/>
                </a:cubicBezTo>
                <a:cubicBezTo>
                  <a:pt x="939" y="278"/>
                  <a:pt x="939" y="278"/>
                  <a:pt x="939" y="278"/>
                </a:cubicBezTo>
                <a:cubicBezTo>
                  <a:pt x="938" y="279"/>
                  <a:pt x="937" y="279"/>
                  <a:pt x="936" y="280"/>
                </a:cubicBezTo>
                <a:cubicBezTo>
                  <a:pt x="936" y="280"/>
                  <a:pt x="935" y="280"/>
                  <a:pt x="935" y="281"/>
                </a:cubicBezTo>
                <a:cubicBezTo>
                  <a:pt x="935" y="281"/>
                  <a:pt x="935" y="281"/>
                  <a:pt x="935" y="281"/>
                </a:cubicBezTo>
                <a:cubicBezTo>
                  <a:pt x="935" y="281"/>
                  <a:pt x="935" y="281"/>
                  <a:pt x="934" y="282"/>
                </a:cubicBezTo>
                <a:cubicBezTo>
                  <a:pt x="933" y="282"/>
                  <a:pt x="933" y="281"/>
                  <a:pt x="932" y="281"/>
                </a:cubicBezTo>
                <a:cubicBezTo>
                  <a:pt x="932" y="281"/>
                  <a:pt x="931" y="281"/>
                  <a:pt x="931" y="281"/>
                </a:cubicBezTo>
                <a:cubicBezTo>
                  <a:pt x="930" y="280"/>
                  <a:pt x="929" y="280"/>
                  <a:pt x="928" y="280"/>
                </a:cubicBezTo>
                <a:cubicBezTo>
                  <a:pt x="927" y="280"/>
                  <a:pt x="927" y="280"/>
                  <a:pt x="927" y="280"/>
                </a:cubicBezTo>
                <a:cubicBezTo>
                  <a:pt x="927" y="280"/>
                  <a:pt x="926" y="280"/>
                  <a:pt x="926" y="280"/>
                </a:cubicBezTo>
                <a:cubicBezTo>
                  <a:pt x="926" y="280"/>
                  <a:pt x="925" y="280"/>
                  <a:pt x="925" y="280"/>
                </a:cubicBezTo>
                <a:cubicBezTo>
                  <a:pt x="925" y="280"/>
                  <a:pt x="924" y="280"/>
                  <a:pt x="924" y="280"/>
                </a:cubicBezTo>
                <a:cubicBezTo>
                  <a:pt x="923" y="280"/>
                  <a:pt x="923" y="280"/>
                  <a:pt x="923" y="279"/>
                </a:cubicBezTo>
                <a:cubicBezTo>
                  <a:pt x="922" y="279"/>
                  <a:pt x="922" y="279"/>
                  <a:pt x="922" y="279"/>
                </a:cubicBezTo>
                <a:cubicBezTo>
                  <a:pt x="922" y="279"/>
                  <a:pt x="922" y="279"/>
                  <a:pt x="921" y="279"/>
                </a:cubicBezTo>
                <a:cubicBezTo>
                  <a:pt x="921" y="280"/>
                  <a:pt x="920" y="280"/>
                  <a:pt x="920" y="281"/>
                </a:cubicBezTo>
                <a:cubicBezTo>
                  <a:pt x="919" y="281"/>
                  <a:pt x="919" y="281"/>
                  <a:pt x="918" y="281"/>
                </a:cubicBezTo>
                <a:cubicBezTo>
                  <a:pt x="918" y="282"/>
                  <a:pt x="918" y="282"/>
                  <a:pt x="918" y="282"/>
                </a:cubicBezTo>
                <a:cubicBezTo>
                  <a:pt x="918" y="282"/>
                  <a:pt x="918" y="283"/>
                  <a:pt x="918" y="283"/>
                </a:cubicBezTo>
                <a:cubicBezTo>
                  <a:pt x="918" y="284"/>
                  <a:pt x="918" y="284"/>
                  <a:pt x="918" y="284"/>
                </a:cubicBezTo>
                <a:cubicBezTo>
                  <a:pt x="918" y="284"/>
                  <a:pt x="918" y="285"/>
                  <a:pt x="918" y="285"/>
                </a:cubicBezTo>
                <a:cubicBezTo>
                  <a:pt x="918" y="285"/>
                  <a:pt x="918" y="285"/>
                  <a:pt x="918" y="285"/>
                </a:cubicBezTo>
                <a:cubicBezTo>
                  <a:pt x="918" y="285"/>
                  <a:pt x="918" y="285"/>
                  <a:pt x="918" y="285"/>
                </a:cubicBezTo>
                <a:cubicBezTo>
                  <a:pt x="918" y="286"/>
                  <a:pt x="918" y="286"/>
                  <a:pt x="918" y="287"/>
                </a:cubicBezTo>
                <a:cubicBezTo>
                  <a:pt x="918" y="287"/>
                  <a:pt x="918" y="287"/>
                  <a:pt x="918" y="288"/>
                </a:cubicBezTo>
                <a:cubicBezTo>
                  <a:pt x="918" y="288"/>
                  <a:pt x="917" y="288"/>
                  <a:pt x="917" y="288"/>
                </a:cubicBezTo>
                <a:cubicBezTo>
                  <a:pt x="917" y="289"/>
                  <a:pt x="916" y="289"/>
                  <a:pt x="915" y="289"/>
                </a:cubicBezTo>
                <a:cubicBezTo>
                  <a:pt x="915" y="289"/>
                  <a:pt x="914" y="290"/>
                  <a:pt x="914" y="290"/>
                </a:cubicBezTo>
                <a:cubicBezTo>
                  <a:pt x="914" y="290"/>
                  <a:pt x="913" y="290"/>
                  <a:pt x="913" y="290"/>
                </a:cubicBezTo>
                <a:cubicBezTo>
                  <a:pt x="912" y="290"/>
                  <a:pt x="911" y="290"/>
                  <a:pt x="911" y="290"/>
                </a:cubicBezTo>
                <a:cubicBezTo>
                  <a:pt x="910" y="291"/>
                  <a:pt x="910" y="291"/>
                  <a:pt x="909" y="291"/>
                </a:cubicBezTo>
                <a:cubicBezTo>
                  <a:pt x="909" y="291"/>
                  <a:pt x="908" y="291"/>
                  <a:pt x="908" y="292"/>
                </a:cubicBezTo>
                <a:cubicBezTo>
                  <a:pt x="908" y="292"/>
                  <a:pt x="908" y="292"/>
                  <a:pt x="909" y="292"/>
                </a:cubicBezTo>
                <a:cubicBezTo>
                  <a:pt x="909" y="292"/>
                  <a:pt x="908" y="292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7" y="293"/>
                  <a:pt x="907" y="293"/>
                </a:cubicBezTo>
                <a:cubicBezTo>
                  <a:pt x="907" y="293"/>
                  <a:pt x="906" y="294"/>
                  <a:pt x="906" y="295"/>
                </a:cubicBezTo>
                <a:cubicBezTo>
                  <a:pt x="905" y="295"/>
                  <a:pt x="905" y="295"/>
                  <a:pt x="905" y="295"/>
                </a:cubicBezTo>
                <a:cubicBezTo>
                  <a:pt x="904" y="296"/>
                  <a:pt x="903" y="297"/>
                  <a:pt x="903" y="297"/>
                </a:cubicBezTo>
                <a:cubicBezTo>
                  <a:pt x="902" y="298"/>
                  <a:pt x="902" y="298"/>
                  <a:pt x="902" y="298"/>
                </a:cubicBezTo>
                <a:cubicBezTo>
                  <a:pt x="902" y="298"/>
                  <a:pt x="903" y="299"/>
                  <a:pt x="903" y="299"/>
                </a:cubicBezTo>
                <a:cubicBezTo>
                  <a:pt x="903" y="299"/>
                  <a:pt x="903" y="300"/>
                  <a:pt x="903" y="300"/>
                </a:cubicBezTo>
                <a:cubicBezTo>
                  <a:pt x="903" y="300"/>
                  <a:pt x="904" y="300"/>
                  <a:pt x="904" y="300"/>
                </a:cubicBezTo>
                <a:cubicBezTo>
                  <a:pt x="904" y="300"/>
                  <a:pt x="905" y="301"/>
                  <a:pt x="905" y="301"/>
                </a:cubicBezTo>
                <a:cubicBezTo>
                  <a:pt x="905" y="302"/>
                  <a:pt x="905" y="302"/>
                  <a:pt x="904" y="302"/>
                </a:cubicBezTo>
                <a:cubicBezTo>
                  <a:pt x="904" y="302"/>
                  <a:pt x="903" y="302"/>
                  <a:pt x="902" y="302"/>
                </a:cubicBezTo>
                <a:cubicBezTo>
                  <a:pt x="902" y="303"/>
                  <a:pt x="902" y="303"/>
                  <a:pt x="902" y="303"/>
                </a:cubicBezTo>
                <a:cubicBezTo>
                  <a:pt x="902" y="304"/>
                  <a:pt x="901" y="304"/>
                  <a:pt x="901" y="305"/>
                </a:cubicBezTo>
                <a:cubicBezTo>
                  <a:pt x="901" y="305"/>
                  <a:pt x="901" y="306"/>
                  <a:pt x="901" y="306"/>
                </a:cubicBezTo>
                <a:cubicBezTo>
                  <a:pt x="901" y="306"/>
                  <a:pt x="901" y="306"/>
                  <a:pt x="901" y="306"/>
                </a:cubicBezTo>
                <a:cubicBezTo>
                  <a:pt x="901" y="307"/>
                  <a:pt x="901" y="307"/>
                  <a:pt x="901" y="307"/>
                </a:cubicBezTo>
                <a:cubicBezTo>
                  <a:pt x="900" y="307"/>
                  <a:pt x="899" y="307"/>
                  <a:pt x="899" y="307"/>
                </a:cubicBezTo>
                <a:cubicBezTo>
                  <a:pt x="898" y="307"/>
                  <a:pt x="897" y="308"/>
                  <a:pt x="896" y="308"/>
                </a:cubicBezTo>
                <a:cubicBezTo>
                  <a:pt x="896" y="308"/>
                  <a:pt x="896" y="309"/>
                  <a:pt x="896" y="309"/>
                </a:cubicBezTo>
                <a:cubicBezTo>
                  <a:pt x="895" y="309"/>
                  <a:pt x="895" y="310"/>
                  <a:pt x="895" y="310"/>
                </a:cubicBezTo>
                <a:cubicBezTo>
                  <a:pt x="894" y="310"/>
                  <a:pt x="894" y="310"/>
                  <a:pt x="893" y="310"/>
                </a:cubicBezTo>
                <a:cubicBezTo>
                  <a:pt x="893" y="310"/>
                  <a:pt x="893" y="310"/>
                  <a:pt x="892" y="309"/>
                </a:cubicBezTo>
                <a:cubicBezTo>
                  <a:pt x="892" y="310"/>
                  <a:pt x="892" y="310"/>
                  <a:pt x="892" y="310"/>
                </a:cubicBezTo>
                <a:cubicBezTo>
                  <a:pt x="892" y="310"/>
                  <a:pt x="891" y="310"/>
                  <a:pt x="891" y="311"/>
                </a:cubicBezTo>
                <a:cubicBezTo>
                  <a:pt x="891" y="310"/>
                  <a:pt x="890" y="310"/>
                  <a:pt x="890" y="310"/>
                </a:cubicBezTo>
                <a:cubicBezTo>
                  <a:pt x="890" y="310"/>
                  <a:pt x="890" y="310"/>
                  <a:pt x="889" y="310"/>
                </a:cubicBezTo>
                <a:cubicBezTo>
                  <a:pt x="889" y="310"/>
                  <a:pt x="889" y="310"/>
                  <a:pt x="889" y="310"/>
                </a:cubicBezTo>
                <a:cubicBezTo>
                  <a:pt x="888" y="310"/>
                  <a:pt x="888" y="310"/>
                  <a:pt x="887" y="310"/>
                </a:cubicBezTo>
                <a:cubicBezTo>
                  <a:pt x="887" y="310"/>
                  <a:pt x="886" y="310"/>
                  <a:pt x="885" y="310"/>
                </a:cubicBezTo>
                <a:cubicBezTo>
                  <a:pt x="885" y="310"/>
                  <a:pt x="885" y="310"/>
                  <a:pt x="884" y="310"/>
                </a:cubicBezTo>
                <a:cubicBezTo>
                  <a:pt x="884" y="310"/>
                  <a:pt x="883" y="311"/>
                  <a:pt x="882" y="311"/>
                </a:cubicBezTo>
                <a:cubicBezTo>
                  <a:pt x="882" y="311"/>
                  <a:pt x="881" y="311"/>
                  <a:pt x="881" y="312"/>
                </a:cubicBezTo>
                <a:cubicBezTo>
                  <a:pt x="880" y="312"/>
                  <a:pt x="880" y="312"/>
                  <a:pt x="879" y="312"/>
                </a:cubicBezTo>
                <a:cubicBezTo>
                  <a:pt x="879" y="312"/>
                  <a:pt x="878" y="312"/>
                  <a:pt x="878" y="313"/>
                </a:cubicBezTo>
                <a:cubicBezTo>
                  <a:pt x="878" y="313"/>
                  <a:pt x="878" y="313"/>
                  <a:pt x="878" y="313"/>
                </a:cubicBezTo>
                <a:cubicBezTo>
                  <a:pt x="878" y="313"/>
                  <a:pt x="877" y="314"/>
                  <a:pt x="877" y="314"/>
                </a:cubicBezTo>
                <a:cubicBezTo>
                  <a:pt x="876" y="314"/>
                  <a:pt x="876" y="314"/>
                  <a:pt x="875" y="314"/>
                </a:cubicBezTo>
                <a:cubicBezTo>
                  <a:pt x="874" y="313"/>
                  <a:pt x="874" y="313"/>
                  <a:pt x="873" y="313"/>
                </a:cubicBezTo>
                <a:cubicBezTo>
                  <a:pt x="873" y="312"/>
                  <a:pt x="872" y="311"/>
                  <a:pt x="872" y="311"/>
                </a:cubicBezTo>
                <a:cubicBezTo>
                  <a:pt x="872" y="311"/>
                  <a:pt x="872" y="311"/>
                  <a:pt x="872" y="311"/>
                </a:cubicBezTo>
                <a:cubicBezTo>
                  <a:pt x="872" y="310"/>
                  <a:pt x="871" y="310"/>
                  <a:pt x="870" y="309"/>
                </a:cubicBezTo>
                <a:cubicBezTo>
                  <a:pt x="870" y="309"/>
                  <a:pt x="869" y="309"/>
                  <a:pt x="868" y="309"/>
                </a:cubicBezTo>
                <a:cubicBezTo>
                  <a:pt x="868" y="309"/>
                  <a:pt x="868" y="309"/>
                  <a:pt x="868" y="309"/>
                </a:cubicBezTo>
                <a:cubicBezTo>
                  <a:pt x="868" y="309"/>
                  <a:pt x="868" y="309"/>
                  <a:pt x="868" y="309"/>
                </a:cubicBezTo>
                <a:cubicBezTo>
                  <a:pt x="867" y="309"/>
                  <a:pt x="867" y="309"/>
                  <a:pt x="867" y="309"/>
                </a:cubicBezTo>
                <a:cubicBezTo>
                  <a:pt x="867" y="309"/>
                  <a:pt x="866" y="309"/>
                  <a:pt x="866" y="310"/>
                </a:cubicBezTo>
                <a:cubicBezTo>
                  <a:pt x="865" y="310"/>
                  <a:pt x="865" y="310"/>
                  <a:pt x="864" y="310"/>
                </a:cubicBezTo>
                <a:cubicBezTo>
                  <a:pt x="864" y="310"/>
                  <a:pt x="864" y="310"/>
                  <a:pt x="863" y="310"/>
                </a:cubicBezTo>
                <a:cubicBezTo>
                  <a:pt x="863" y="310"/>
                  <a:pt x="862" y="309"/>
                  <a:pt x="861" y="309"/>
                </a:cubicBezTo>
                <a:cubicBezTo>
                  <a:pt x="861" y="310"/>
                  <a:pt x="860" y="310"/>
                  <a:pt x="860" y="310"/>
                </a:cubicBezTo>
                <a:cubicBezTo>
                  <a:pt x="860" y="310"/>
                  <a:pt x="859" y="310"/>
                  <a:pt x="859" y="310"/>
                </a:cubicBezTo>
                <a:cubicBezTo>
                  <a:pt x="859" y="310"/>
                  <a:pt x="859" y="310"/>
                  <a:pt x="860" y="310"/>
                </a:cubicBezTo>
                <a:cubicBezTo>
                  <a:pt x="860" y="309"/>
                  <a:pt x="860" y="309"/>
                  <a:pt x="860" y="308"/>
                </a:cubicBezTo>
                <a:cubicBezTo>
                  <a:pt x="860" y="307"/>
                  <a:pt x="860" y="307"/>
                  <a:pt x="860" y="306"/>
                </a:cubicBezTo>
                <a:cubicBezTo>
                  <a:pt x="860" y="306"/>
                  <a:pt x="860" y="306"/>
                  <a:pt x="860" y="305"/>
                </a:cubicBezTo>
                <a:cubicBezTo>
                  <a:pt x="860" y="305"/>
                  <a:pt x="860" y="305"/>
                  <a:pt x="860" y="304"/>
                </a:cubicBezTo>
                <a:cubicBezTo>
                  <a:pt x="860" y="304"/>
                  <a:pt x="860" y="304"/>
                  <a:pt x="860" y="304"/>
                </a:cubicBezTo>
                <a:cubicBezTo>
                  <a:pt x="860" y="304"/>
                  <a:pt x="860" y="304"/>
                  <a:pt x="859" y="304"/>
                </a:cubicBezTo>
                <a:cubicBezTo>
                  <a:pt x="859" y="304"/>
                  <a:pt x="859" y="304"/>
                  <a:pt x="858" y="304"/>
                </a:cubicBezTo>
                <a:cubicBezTo>
                  <a:pt x="858" y="304"/>
                  <a:pt x="858" y="304"/>
                  <a:pt x="858" y="304"/>
                </a:cubicBezTo>
                <a:cubicBezTo>
                  <a:pt x="858" y="304"/>
                  <a:pt x="858" y="303"/>
                  <a:pt x="858" y="303"/>
                </a:cubicBezTo>
                <a:cubicBezTo>
                  <a:pt x="858" y="303"/>
                  <a:pt x="859" y="303"/>
                  <a:pt x="859" y="303"/>
                </a:cubicBezTo>
                <a:cubicBezTo>
                  <a:pt x="859" y="302"/>
                  <a:pt x="859" y="302"/>
                  <a:pt x="859" y="302"/>
                </a:cubicBezTo>
                <a:cubicBezTo>
                  <a:pt x="859" y="302"/>
                  <a:pt x="859" y="302"/>
                  <a:pt x="859" y="302"/>
                </a:cubicBezTo>
                <a:cubicBezTo>
                  <a:pt x="859" y="302"/>
                  <a:pt x="859" y="302"/>
                  <a:pt x="858" y="302"/>
                </a:cubicBezTo>
                <a:cubicBezTo>
                  <a:pt x="858" y="302"/>
                  <a:pt x="858" y="303"/>
                  <a:pt x="858" y="303"/>
                </a:cubicBezTo>
                <a:cubicBezTo>
                  <a:pt x="857" y="303"/>
                  <a:pt x="857" y="303"/>
                  <a:pt x="857" y="303"/>
                </a:cubicBezTo>
                <a:cubicBezTo>
                  <a:pt x="857" y="303"/>
                  <a:pt x="857" y="303"/>
                  <a:pt x="857" y="302"/>
                </a:cubicBezTo>
                <a:cubicBezTo>
                  <a:pt x="857" y="302"/>
                  <a:pt x="857" y="301"/>
                  <a:pt x="857" y="300"/>
                </a:cubicBezTo>
                <a:cubicBezTo>
                  <a:pt x="858" y="300"/>
                  <a:pt x="858" y="299"/>
                  <a:pt x="858" y="299"/>
                </a:cubicBezTo>
                <a:cubicBezTo>
                  <a:pt x="858" y="298"/>
                  <a:pt x="858" y="298"/>
                  <a:pt x="858" y="298"/>
                </a:cubicBezTo>
                <a:cubicBezTo>
                  <a:pt x="859" y="298"/>
                  <a:pt x="859" y="297"/>
                  <a:pt x="860" y="297"/>
                </a:cubicBezTo>
                <a:cubicBezTo>
                  <a:pt x="860" y="296"/>
                  <a:pt x="860" y="296"/>
                  <a:pt x="860" y="296"/>
                </a:cubicBezTo>
                <a:cubicBezTo>
                  <a:pt x="860" y="295"/>
                  <a:pt x="860" y="295"/>
                  <a:pt x="860" y="295"/>
                </a:cubicBezTo>
                <a:cubicBezTo>
                  <a:pt x="860" y="294"/>
                  <a:pt x="861" y="294"/>
                  <a:pt x="861" y="294"/>
                </a:cubicBezTo>
                <a:cubicBezTo>
                  <a:pt x="860" y="294"/>
                  <a:pt x="860" y="294"/>
                  <a:pt x="860" y="293"/>
                </a:cubicBezTo>
                <a:cubicBezTo>
                  <a:pt x="860" y="293"/>
                  <a:pt x="860" y="293"/>
                  <a:pt x="860" y="292"/>
                </a:cubicBezTo>
                <a:cubicBezTo>
                  <a:pt x="860" y="292"/>
                  <a:pt x="860" y="292"/>
                  <a:pt x="860" y="292"/>
                </a:cubicBezTo>
                <a:cubicBezTo>
                  <a:pt x="860" y="291"/>
                  <a:pt x="860" y="290"/>
                  <a:pt x="860" y="290"/>
                </a:cubicBezTo>
                <a:cubicBezTo>
                  <a:pt x="860" y="289"/>
                  <a:pt x="860" y="289"/>
                  <a:pt x="859" y="288"/>
                </a:cubicBezTo>
                <a:cubicBezTo>
                  <a:pt x="859" y="288"/>
                  <a:pt x="859" y="288"/>
                  <a:pt x="859" y="288"/>
                </a:cubicBezTo>
                <a:cubicBezTo>
                  <a:pt x="859" y="288"/>
                  <a:pt x="859" y="288"/>
                  <a:pt x="859" y="287"/>
                </a:cubicBezTo>
                <a:cubicBezTo>
                  <a:pt x="860" y="287"/>
                  <a:pt x="860" y="287"/>
                  <a:pt x="861" y="287"/>
                </a:cubicBezTo>
                <a:cubicBezTo>
                  <a:pt x="860" y="287"/>
                  <a:pt x="860" y="287"/>
                  <a:pt x="860" y="287"/>
                </a:cubicBezTo>
                <a:cubicBezTo>
                  <a:pt x="860" y="286"/>
                  <a:pt x="860" y="286"/>
                  <a:pt x="860" y="286"/>
                </a:cubicBezTo>
                <a:cubicBezTo>
                  <a:pt x="860" y="286"/>
                  <a:pt x="860" y="286"/>
                  <a:pt x="860" y="286"/>
                </a:cubicBezTo>
                <a:cubicBezTo>
                  <a:pt x="860" y="286"/>
                  <a:pt x="860" y="285"/>
                  <a:pt x="860" y="285"/>
                </a:cubicBezTo>
                <a:cubicBezTo>
                  <a:pt x="860" y="285"/>
                  <a:pt x="859" y="285"/>
                  <a:pt x="859" y="286"/>
                </a:cubicBezTo>
                <a:cubicBezTo>
                  <a:pt x="859" y="286"/>
                  <a:pt x="859" y="286"/>
                  <a:pt x="859" y="286"/>
                </a:cubicBezTo>
                <a:cubicBezTo>
                  <a:pt x="859" y="285"/>
                  <a:pt x="859" y="285"/>
                  <a:pt x="859" y="285"/>
                </a:cubicBezTo>
                <a:cubicBezTo>
                  <a:pt x="859" y="285"/>
                  <a:pt x="859" y="284"/>
                  <a:pt x="859" y="284"/>
                </a:cubicBezTo>
                <a:cubicBezTo>
                  <a:pt x="859" y="284"/>
                  <a:pt x="859" y="284"/>
                  <a:pt x="859" y="284"/>
                </a:cubicBezTo>
                <a:cubicBezTo>
                  <a:pt x="858" y="284"/>
                  <a:pt x="858" y="284"/>
                  <a:pt x="858" y="284"/>
                </a:cubicBezTo>
                <a:cubicBezTo>
                  <a:pt x="858" y="284"/>
                  <a:pt x="858" y="284"/>
                  <a:pt x="857" y="283"/>
                </a:cubicBezTo>
                <a:cubicBezTo>
                  <a:pt x="858" y="283"/>
                  <a:pt x="858" y="283"/>
                  <a:pt x="858" y="283"/>
                </a:cubicBezTo>
                <a:cubicBezTo>
                  <a:pt x="859" y="282"/>
                  <a:pt x="859" y="282"/>
                  <a:pt x="860" y="282"/>
                </a:cubicBezTo>
                <a:cubicBezTo>
                  <a:pt x="860" y="282"/>
                  <a:pt x="860" y="282"/>
                  <a:pt x="861" y="282"/>
                </a:cubicBezTo>
                <a:cubicBezTo>
                  <a:pt x="861" y="282"/>
                  <a:pt x="862" y="282"/>
                  <a:pt x="862" y="282"/>
                </a:cubicBezTo>
                <a:cubicBezTo>
                  <a:pt x="863" y="282"/>
                  <a:pt x="863" y="282"/>
                  <a:pt x="863" y="282"/>
                </a:cubicBezTo>
                <a:cubicBezTo>
                  <a:pt x="863" y="281"/>
                  <a:pt x="863" y="281"/>
                  <a:pt x="862" y="281"/>
                </a:cubicBezTo>
                <a:cubicBezTo>
                  <a:pt x="862" y="281"/>
                  <a:pt x="862" y="281"/>
                  <a:pt x="862" y="281"/>
                </a:cubicBezTo>
                <a:cubicBezTo>
                  <a:pt x="863" y="280"/>
                  <a:pt x="864" y="280"/>
                  <a:pt x="864" y="280"/>
                </a:cubicBezTo>
                <a:cubicBezTo>
                  <a:pt x="864" y="280"/>
                  <a:pt x="864" y="280"/>
                  <a:pt x="864" y="280"/>
                </a:cubicBezTo>
                <a:cubicBezTo>
                  <a:pt x="865" y="280"/>
                  <a:pt x="865" y="280"/>
                  <a:pt x="865" y="280"/>
                </a:cubicBezTo>
                <a:cubicBezTo>
                  <a:pt x="866" y="280"/>
                  <a:pt x="866" y="280"/>
                  <a:pt x="867" y="280"/>
                </a:cubicBezTo>
                <a:cubicBezTo>
                  <a:pt x="867" y="280"/>
                  <a:pt x="867" y="280"/>
                  <a:pt x="868" y="281"/>
                </a:cubicBezTo>
                <a:cubicBezTo>
                  <a:pt x="868" y="281"/>
                  <a:pt x="868" y="280"/>
                  <a:pt x="869" y="280"/>
                </a:cubicBezTo>
                <a:cubicBezTo>
                  <a:pt x="869" y="280"/>
                  <a:pt x="870" y="280"/>
                  <a:pt x="870" y="280"/>
                </a:cubicBezTo>
                <a:cubicBezTo>
                  <a:pt x="870" y="280"/>
                  <a:pt x="871" y="280"/>
                  <a:pt x="871" y="280"/>
                </a:cubicBezTo>
                <a:cubicBezTo>
                  <a:pt x="872" y="280"/>
                  <a:pt x="872" y="280"/>
                  <a:pt x="873" y="280"/>
                </a:cubicBezTo>
                <a:cubicBezTo>
                  <a:pt x="873" y="280"/>
                  <a:pt x="874" y="280"/>
                  <a:pt x="874" y="280"/>
                </a:cubicBezTo>
                <a:cubicBezTo>
                  <a:pt x="874" y="280"/>
                  <a:pt x="874" y="280"/>
                  <a:pt x="875" y="280"/>
                </a:cubicBezTo>
                <a:cubicBezTo>
                  <a:pt x="875" y="280"/>
                  <a:pt x="876" y="280"/>
                  <a:pt x="876" y="280"/>
                </a:cubicBezTo>
                <a:cubicBezTo>
                  <a:pt x="877" y="281"/>
                  <a:pt x="879" y="281"/>
                  <a:pt x="880" y="281"/>
                </a:cubicBezTo>
                <a:cubicBezTo>
                  <a:pt x="880" y="281"/>
                  <a:pt x="881" y="281"/>
                  <a:pt x="882" y="281"/>
                </a:cubicBezTo>
                <a:cubicBezTo>
                  <a:pt x="882" y="281"/>
                  <a:pt x="883" y="280"/>
                  <a:pt x="884" y="280"/>
                </a:cubicBezTo>
                <a:cubicBezTo>
                  <a:pt x="885" y="280"/>
                  <a:pt x="885" y="280"/>
                  <a:pt x="886" y="280"/>
                </a:cubicBezTo>
                <a:cubicBezTo>
                  <a:pt x="886" y="280"/>
                  <a:pt x="886" y="280"/>
                  <a:pt x="887" y="281"/>
                </a:cubicBezTo>
                <a:cubicBezTo>
                  <a:pt x="887" y="281"/>
                  <a:pt x="888" y="281"/>
                  <a:pt x="888" y="281"/>
                </a:cubicBezTo>
                <a:cubicBezTo>
                  <a:pt x="889" y="281"/>
                  <a:pt x="889" y="280"/>
                  <a:pt x="889" y="280"/>
                </a:cubicBezTo>
                <a:cubicBezTo>
                  <a:pt x="890" y="280"/>
                  <a:pt x="890" y="280"/>
                  <a:pt x="890" y="280"/>
                </a:cubicBezTo>
                <a:cubicBezTo>
                  <a:pt x="891" y="281"/>
                  <a:pt x="892" y="281"/>
                  <a:pt x="893" y="281"/>
                </a:cubicBezTo>
                <a:cubicBezTo>
                  <a:pt x="893" y="281"/>
                  <a:pt x="894" y="281"/>
                  <a:pt x="894" y="281"/>
                </a:cubicBezTo>
                <a:cubicBezTo>
                  <a:pt x="894" y="281"/>
                  <a:pt x="894" y="281"/>
                  <a:pt x="895" y="281"/>
                </a:cubicBezTo>
                <a:cubicBezTo>
                  <a:pt x="895" y="281"/>
                  <a:pt x="895" y="280"/>
                  <a:pt x="895" y="280"/>
                </a:cubicBezTo>
                <a:cubicBezTo>
                  <a:pt x="895" y="280"/>
                  <a:pt x="896" y="280"/>
                  <a:pt x="896" y="280"/>
                </a:cubicBezTo>
                <a:cubicBezTo>
                  <a:pt x="897" y="279"/>
                  <a:pt x="897" y="278"/>
                  <a:pt x="897" y="278"/>
                </a:cubicBezTo>
                <a:cubicBezTo>
                  <a:pt x="897" y="277"/>
                  <a:pt x="897" y="276"/>
                  <a:pt x="897" y="275"/>
                </a:cubicBezTo>
                <a:cubicBezTo>
                  <a:pt x="898" y="275"/>
                  <a:pt x="898" y="275"/>
                  <a:pt x="898" y="275"/>
                </a:cubicBezTo>
                <a:cubicBezTo>
                  <a:pt x="898" y="275"/>
                  <a:pt x="897" y="274"/>
                  <a:pt x="897" y="274"/>
                </a:cubicBezTo>
                <a:cubicBezTo>
                  <a:pt x="897" y="274"/>
                  <a:pt x="897" y="273"/>
                  <a:pt x="897" y="273"/>
                </a:cubicBezTo>
                <a:cubicBezTo>
                  <a:pt x="897" y="272"/>
                  <a:pt x="897" y="272"/>
                  <a:pt x="898" y="271"/>
                </a:cubicBezTo>
                <a:cubicBezTo>
                  <a:pt x="898" y="271"/>
                  <a:pt x="898" y="271"/>
                  <a:pt x="898" y="271"/>
                </a:cubicBezTo>
                <a:cubicBezTo>
                  <a:pt x="898" y="271"/>
                  <a:pt x="899" y="271"/>
                  <a:pt x="899" y="271"/>
                </a:cubicBezTo>
                <a:cubicBezTo>
                  <a:pt x="899" y="272"/>
                  <a:pt x="899" y="272"/>
                  <a:pt x="900" y="272"/>
                </a:cubicBezTo>
                <a:cubicBezTo>
                  <a:pt x="900" y="272"/>
                  <a:pt x="901" y="273"/>
                  <a:pt x="901" y="273"/>
                </a:cubicBezTo>
                <a:cubicBezTo>
                  <a:pt x="901" y="272"/>
                  <a:pt x="900" y="272"/>
                  <a:pt x="900" y="271"/>
                </a:cubicBezTo>
                <a:cubicBezTo>
                  <a:pt x="899" y="271"/>
                  <a:pt x="899" y="270"/>
                  <a:pt x="898" y="270"/>
                </a:cubicBezTo>
                <a:cubicBezTo>
                  <a:pt x="898" y="270"/>
                  <a:pt x="897" y="270"/>
                  <a:pt x="897" y="270"/>
                </a:cubicBezTo>
                <a:cubicBezTo>
                  <a:pt x="897" y="270"/>
                  <a:pt x="897" y="270"/>
                  <a:pt x="897" y="269"/>
                </a:cubicBezTo>
                <a:cubicBezTo>
                  <a:pt x="897" y="269"/>
                  <a:pt x="898" y="269"/>
                  <a:pt x="898" y="269"/>
                </a:cubicBezTo>
                <a:cubicBezTo>
                  <a:pt x="898" y="269"/>
                  <a:pt x="898" y="269"/>
                  <a:pt x="898" y="269"/>
                </a:cubicBezTo>
                <a:cubicBezTo>
                  <a:pt x="898" y="268"/>
                  <a:pt x="898" y="268"/>
                  <a:pt x="897" y="268"/>
                </a:cubicBezTo>
                <a:cubicBezTo>
                  <a:pt x="897" y="268"/>
                  <a:pt x="897" y="268"/>
                  <a:pt x="897" y="267"/>
                </a:cubicBezTo>
                <a:cubicBezTo>
                  <a:pt x="897" y="267"/>
                  <a:pt x="897" y="267"/>
                  <a:pt x="896" y="267"/>
                </a:cubicBezTo>
                <a:cubicBezTo>
                  <a:pt x="896" y="267"/>
                  <a:pt x="895" y="267"/>
                  <a:pt x="895" y="267"/>
                </a:cubicBezTo>
                <a:cubicBezTo>
                  <a:pt x="894" y="266"/>
                  <a:pt x="894" y="266"/>
                  <a:pt x="894" y="266"/>
                </a:cubicBezTo>
                <a:cubicBezTo>
                  <a:pt x="893" y="266"/>
                  <a:pt x="893" y="266"/>
                  <a:pt x="893" y="266"/>
                </a:cubicBezTo>
                <a:cubicBezTo>
                  <a:pt x="893" y="265"/>
                  <a:pt x="892" y="265"/>
                  <a:pt x="892" y="265"/>
                </a:cubicBezTo>
                <a:cubicBezTo>
                  <a:pt x="893" y="265"/>
                  <a:pt x="893" y="265"/>
                  <a:pt x="893" y="265"/>
                </a:cubicBezTo>
                <a:cubicBezTo>
                  <a:pt x="893" y="264"/>
                  <a:pt x="893" y="264"/>
                  <a:pt x="893" y="264"/>
                </a:cubicBezTo>
                <a:cubicBezTo>
                  <a:pt x="892" y="264"/>
                  <a:pt x="892" y="264"/>
                  <a:pt x="892" y="264"/>
                </a:cubicBezTo>
                <a:cubicBezTo>
                  <a:pt x="892" y="263"/>
                  <a:pt x="892" y="263"/>
                  <a:pt x="893" y="263"/>
                </a:cubicBezTo>
                <a:cubicBezTo>
                  <a:pt x="893" y="263"/>
                  <a:pt x="893" y="263"/>
                  <a:pt x="894" y="263"/>
                </a:cubicBezTo>
                <a:cubicBezTo>
                  <a:pt x="894" y="263"/>
                  <a:pt x="894" y="263"/>
                  <a:pt x="895" y="263"/>
                </a:cubicBezTo>
                <a:cubicBezTo>
                  <a:pt x="894" y="263"/>
                  <a:pt x="894" y="263"/>
                  <a:pt x="894" y="263"/>
                </a:cubicBezTo>
                <a:cubicBezTo>
                  <a:pt x="893" y="263"/>
                  <a:pt x="893" y="263"/>
                  <a:pt x="893" y="263"/>
                </a:cubicBezTo>
                <a:cubicBezTo>
                  <a:pt x="892" y="263"/>
                  <a:pt x="892" y="263"/>
                  <a:pt x="892" y="263"/>
                </a:cubicBezTo>
                <a:cubicBezTo>
                  <a:pt x="891" y="263"/>
                  <a:pt x="891" y="263"/>
                  <a:pt x="891" y="263"/>
                </a:cubicBezTo>
                <a:cubicBezTo>
                  <a:pt x="891" y="263"/>
                  <a:pt x="891" y="263"/>
                  <a:pt x="890" y="263"/>
                </a:cubicBezTo>
                <a:cubicBezTo>
                  <a:pt x="891" y="262"/>
                  <a:pt x="891" y="262"/>
                  <a:pt x="891" y="262"/>
                </a:cubicBezTo>
                <a:cubicBezTo>
                  <a:pt x="891" y="262"/>
                  <a:pt x="891" y="262"/>
                  <a:pt x="890" y="262"/>
                </a:cubicBezTo>
                <a:cubicBezTo>
                  <a:pt x="890" y="262"/>
                  <a:pt x="890" y="262"/>
                  <a:pt x="889" y="262"/>
                </a:cubicBezTo>
                <a:cubicBezTo>
                  <a:pt x="889" y="262"/>
                  <a:pt x="889" y="262"/>
                  <a:pt x="889" y="262"/>
                </a:cubicBezTo>
                <a:cubicBezTo>
                  <a:pt x="889" y="262"/>
                  <a:pt x="889" y="261"/>
                  <a:pt x="889" y="261"/>
                </a:cubicBezTo>
                <a:cubicBezTo>
                  <a:pt x="889" y="261"/>
                  <a:pt x="889" y="261"/>
                  <a:pt x="889" y="261"/>
                </a:cubicBezTo>
                <a:cubicBezTo>
                  <a:pt x="889" y="261"/>
                  <a:pt x="888" y="262"/>
                  <a:pt x="888" y="262"/>
                </a:cubicBezTo>
                <a:cubicBezTo>
                  <a:pt x="888" y="262"/>
                  <a:pt x="887" y="261"/>
                  <a:pt x="887" y="261"/>
                </a:cubicBezTo>
                <a:cubicBezTo>
                  <a:pt x="886" y="261"/>
                  <a:pt x="886" y="261"/>
                  <a:pt x="886" y="261"/>
                </a:cubicBezTo>
                <a:cubicBezTo>
                  <a:pt x="886" y="261"/>
                  <a:pt x="886" y="261"/>
                  <a:pt x="886" y="261"/>
                </a:cubicBezTo>
                <a:cubicBezTo>
                  <a:pt x="885" y="261"/>
                  <a:pt x="884" y="261"/>
                  <a:pt x="884" y="260"/>
                </a:cubicBezTo>
                <a:cubicBezTo>
                  <a:pt x="884" y="260"/>
                  <a:pt x="883" y="260"/>
                  <a:pt x="883" y="261"/>
                </a:cubicBezTo>
                <a:cubicBezTo>
                  <a:pt x="883" y="260"/>
                  <a:pt x="883" y="260"/>
                  <a:pt x="882" y="260"/>
                </a:cubicBezTo>
                <a:cubicBezTo>
                  <a:pt x="882" y="261"/>
                  <a:pt x="882" y="261"/>
                  <a:pt x="881" y="261"/>
                </a:cubicBezTo>
                <a:cubicBezTo>
                  <a:pt x="881" y="261"/>
                  <a:pt x="881" y="261"/>
                  <a:pt x="881" y="261"/>
                </a:cubicBezTo>
                <a:cubicBezTo>
                  <a:pt x="881" y="260"/>
                  <a:pt x="881" y="260"/>
                  <a:pt x="881" y="260"/>
                </a:cubicBezTo>
                <a:cubicBezTo>
                  <a:pt x="881" y="260"/>
                  <a:pt x="880" y="260"/>
                  <a:pt x="880" y="260"/>
                </a:cubicBezTo>
                <a:cubicBezTo>
                  <a:pt x="880" y="260"/>
                  <a:pt x="880" y="260"/>
                  <a:pt x="880" y="260"/>
                </a:cubicBezTo>
                <a:cubicBezTo>
                  <a:pt x="880" y="259"/>
                  <a:pt x="881" y="259"/>
                  <a:pt x="881" y="259"/>
                </a:cubicBezTo>
                <a:cubicBezTo>
                  <a:pt x="881" y="259"/>
                  <a:pt x="881" y="259"/>
                  <a:pt x="882" y="259"/>
                </a:cubicBezTo>
                <a:cubicBezTo>
                  <a:pt x="882" y="259"/>
                  <a:pt x="882" y="259"/>
                  <a:pt x="881" y="259"/>
                </a:cubicBezTo>
                <a:cubicBezTo>
                  <a:pt x="881" y="259"/>
                  <a:pt x="881" y="259"/>
                  <a:pt x="881" y="258"/>
                </a:cubicBezTo>
                <a:cubicBezTo>
                  <a:pt x="881" y="259"/>
                  <a:pt x="881" y="259"/>
                  <a:pt x="880" y="259"/>
                </a:cubicBezTo>
                <a:cubicBezTo>
                  <a:pt x="880" y="259"/>
                  <a:pt x="880" y="259"/>
                  <a:pt x="880" y="258"/>
                </a:cubicBezTo>
                <a:cubicBezTo>
                  <a:pt x="880" y="258"/>
                  <a:pt x="880" y="258"/>
                  <a:pt x="881" y="258"/>
                </a:cubicBezTo>
                <a:cubicBezTo>
                  <a:pt x="881" y="258"/>
                  <a:pt x="881" y="258"/>
                  <a:pt x="882" y="258"/>
                </a:cubicBezTo>
                <a:cubicBezTo>
                  <a:pt x="882" y="258"/>
                  <a:pt x="882" y="258"/>
                  <a:pt x="881" y="258"/>
                </a:cubicBezTo>
                <a:cubicBezTo>
                  <a:pt x="881" y="258"/>
                  <a:pt x="881" y="258"/>
                  <a:pt x="881" y="258"/>
                </a:cubicBezTo>
                <a:cubicBezTo>
                  <a:pt x="880" y="258"/>
                  <a:pt x="880" y="258"/>
                  <a:pt x="880" y="258"/>
                </a:cubicBezTo>
                <a:cubicBezTo>
                  <a:pt x="879" y="258"/>
                  <a:pt x="879" y="258"/>
                  <a:pt x="879" y="258"/>
                </a:cubicBezTo>
                <a:cubicBezTo>
                  <a:pt x="879" y="258"/>
                  <a:pt x="880" y="257"/>
                  <a:pt x="880" y="257"/>
                </a:cubicBezTo>
                <a:cubicBezTo>
                  <a:pt x="880" y="257"/>
                  <a:pt x="881" y="257"/>
                  <a:pt x="882" y="257"/>
                </a:cubicBezTo>
                <a:cubicBezTo>
                  <a:pt x="882" y="257"/>
                  <a:pt x="882" y="257"/>
                  <a:pt x="882" y="257"/>
                </a:cubicBezTo>
                <a:cubicBezTo>
                  <a:pt x="883" y="256"/>
                  <a:pt x="883" y="256"/>
                  <a:pt x="883" y="256"/>
                </a:cubicBezTo>
                <a:cubicBezTo>
                  <a:pt x="883" y="256"/>
                  <a:pt x="884" y="257"/>
                  <a:pt x="884" y="257"/>
                </a:cubicBezTo>
                <a:cubicBezTo>
                  <a:pt x="884" y="256"/>
                  <a:pt x="884" y="256"/>
                  <a:pt x="884" y="256"/>
                </a:cubicBezTo>
                <a:cubicBezTo>
                  <a:pt x="885" y="256"/>
                  <a:pt x="885" y="256"/>
                  <a:pt x="885" y="256"/>
                </a:cubicBezTo>
                <a:cubicBezTo>
                  <a:pt x="885" y="256"/>
                  <a:pt x="886" y="256"/>
                  <a:pt x="886" y="256"/>
                </a:cubicBezTo>
                <a:cubicBezTo>
                  <a:pt x="886" y="256"/>
                  <a:pt x="887" y="256"/>
                  <a:pt x="887" y="255"/>
                </a:cubicBezTo>
                <a:cubicBezTo>
                  <a:pt x="888" y="256"/>
                  <a:pt x="888" y="256"/>
                  <a:pt x="888" y="256"/>
                </a:cubicBezTo>
                <a:cubicBezTo>
                  <a:pt x="889" y="256"/>
                  <a:pt x="889" y="257"/>
                  <a:pt x="890" y="257"/>
                </a:cubicBezTo>
                <a:cubicBezTo>
                  <a:pt x="890" y="257"/>
                  <a:pt x="891" y="256"/>
                  <a:pt x="891" y="256"/>
                </a:cubicBezTo>
                <a:cubicBezTo>
                  <a:pt x="891" y="256"/>
                  <a:pt x="891" y="256"/>
                  <a:pt x="891" y="257"/>
                </a:cubicBezTo>
                <a:cubicBezTo>
                  <a:pt x="892" y="256"/>
                  <a:pt x="892" y="256"/>
                  <a:pt x="892" y="256"/>
                </a:cubicBezTo>
                <a:cubicBezTo>
                  <a:pt x="892" y="256"/>
                  <a:pt x="893" y="256"/>
                  <a:pt x="893" y="256"/>
                </a:cubicBezTo>
                <a:cubicBezTo>
                  <a:pt x="893" y="256"/>
                  <a:pt x="894" y="256"/>
                  <a:pt x="894" y="256"/>
                </a:cubicBezTo>
                <a:cubicBezTo>
                  <a:pt x="894" y="256"/>
                  <a:pt x="895" y="256"/>
                  <a:pt x="896" y="256"/>
                </a:cubicBezTo>
                <a:cubicBezTo>
                  <a:pt x="896" y="256"/>
                  <a:pt x="896" y="256"/>
                  <a:pt x="896" y="256"/>
                </a:cubicBezTo>
                <a:cubicBezTo>
                  <a:pt x="895" y="256"/>
                  <a:pt x="895" y="255"/>
                  <a:pt x="895" y="255"/>
                </a:cubicBezTo>
                <a:cubicBezTo>
                  <a:pt x="895" y="255"/>
                  <a:pt x="895" y="255"/>
                  <a:pt x="895" y="255"/>
                </a:cubicBezTo>
                <a:cubicBezTo>
                  <a:pt x="895" y="254"/>
                  <a:pt x="895" y="254"/>
                  <a:pt x="895" y="254"/>
                </a:cubicBezTo>
                <a:cubicBezTo>
                  <a:pt x="895" y="254"/>
                  <a:pt x="895" y="254"/>
                  <a:pt x="895" y="254"/>
                </a:cubicBezTo>
                <a:cubicBezTo>
                  <a:pt x="895" y="253"/>
                  <a:pt x="894" y="253"/>
                  <a:pt x="893" y="253"/>
                </a:cubicBezTo>
                <a:cubicBezTo>
                  <a:pt x="893" y="252"/>
                  <a:pt x="894" y="252"/>
                  <a:pt x="894" y="252"/>
                </a:cubicBezTo>
                <a:cubicBezTo>
                  <a:pt x="893" y="252"/>
                  <a:pt x="893" y="252"/>
                  <a:pt x="893" y="251"/>
                </a:cubicBezTo>
                <a:cubicBezTo>
                  <a:pt x="893" y="251"/>
                  <a:pt x="894" y="252"/>
                  <a:pt x="894" y="252"/>
                </a:cubicBezTo>
                <a:cubicBezTo>
                  <a:pt x="894" y="252"/>
                  <a:pt x="895" y="252"/>
                  <a:pt x="895" y="252"/>
                </a:cubicBezTo>
                <a:cubicBezTo>
                  <a:pt x="895" y="251"/>
                  <a:pt x="896" y="251"/>
                  <a:pt x="896" y="251"/>
                </a:cubicBezTo>
                <a:cubicBezTo>
                  <a:pt x="896" y="251"/>
                  <a:pt x="897" y="251"/>
                  <a:pt x="897" y="252"/>
                </a:cubicBezTo>
                <a:cubicBezTo>
                  <a:pt x="897" y="252"/>
                  <a:pt x="897" y="252"/>
                  <a:pt x="897" y="252"/>
                </a:cubicBezTo>
                <a:cubicBezTo>
                  <a:pt x="897" y="252"/>
                  <a:pt x="897" y="252"/>
                  <a:pt x="897" y="253"/>
                </a:cubicBezTo>
                <a:cubicBezTo>
                  <a:pt x="897" y="253"/>
                  <a:pt x="897" y="253"/>
                  <a:pt x="898" y="253"/>
                </a:cubicBezTo>
                <a:cubicBezTo>
                  <a:pt x="898" y="253"/>
                  <a:pt x="898" y="253"/>
                  <a:pt x="898" y="253"/>
                </a:cubicBezTo>
                <a:cubicBezTo>
                  <a:pt x="899" y="253"/>
                  <a:pt x="899" y="253"/>
                  <a:pt x="899" y="253"/>
                </a:cubicBezTo>
                <a:cubicBezTo>
                  <a:pt x="900" y="253"/>
                  <a:pt x="901" y="253"/>
                  <a:pt x="901" y="253"/>
                </a:cubicBezTo>
                <a:cubicBezTo>
                  <a:pt x="902" y="253"/>
                  <a:pt x="903" y="253"/>
                  <a:pt x="903" y="253"/>
                </a:cubicBezTo>
                <a:cubicBezTo>
                  <a:pt x="903" y="253"/>
                  <a:pt x="904" y="252"/>
                  <a:pt x="904" y="252"/>
                </a:cubicBezTo>
                <a:cubicBezTo>
                  <a:pt x="904" y="252"/>
                  <a:pt x="904" y="252"/>
                  <a:pt x="903" y="252"/>
                </a:cubicBezTo>
                <a:cubicBezTo>
                  <a:pt x="903" y="252"/>
                  <a:pt x="903" y="252"/>
                  <a:pt x="903" y="252"/>
                </a:cubicBezTo>
                <a:cubicBezTo>
                  <a:pt x="903" y="251"/>
                  <a:pt x="903" y="251"/>
                  <a:pt x="903" y="251"/>
                </a:cubicBezTo>
                <a:cubicBezTo>
                  <a:pt x="904" y="251"/>
                  <a:pt x="905" y="250"/>
                  <a:pt x="906" y="250"/>
                </a:cubicBezTo>
                <a:cubicBezTo>
                  <a:pt x="906" y="250"/>
                  <a:pt x="906" y="250"/>
                  <a:pt x="907" y="250"/>
                </a:cubicBezTo>
                <a:cubicBezTo>
                  <a:pt x="907" y="250"/>
                  <a:pt x="907" y="250"/>
                  <a:pt x="907" y="250"/>
                </a:cubicBezTo>
                <a:cubicBezTo>
                  <a:pt x="908" y="250"/>
                  <a:pt x="909" y="250"/>
                  <a:pt x="909" y="250"/>
                </a:cubicBezTo>
                <a:cubicBezTo>
                  <a:pt x="909" y="250"/>
                  <a:pt x="909" y="250"/>
                  <a:pt x="909" y="249"/>
                </a:cubicBezTo>
                <a:cubicBezTo>
                  <a:pt x="910" y="249"/>
                  <a:pt x="910" y="249"/>
                  <a:pt x="911" y="248"/>
                </a:cubicBezTo>
                <a:cubicBezTo>
                  <a:pt x="911" y="248"/>
                  <a:pt x="911" y="247"/>
                  <a:pt x="911" y="247"/>
                </a:cubicBezTo>
                <a:cubicBezTo>
                  <a:pt x="911" y="247"/>
                  <a:pt x="911" y="246"/>
                  <a:pt x="911" y="246"/>
                </a:cubicBezTo>
                <a:cubicBezTo>
                  <a:pt x="911" y="246"/>
                  <a:pt x="911" y="246"/>
                  <a:pt x="911" y="245"/>
                </a:cubicBezTo>
                <a:cubicBezTo>
                  <a:pt x="912" y="245"/>
                  <a:pt x="912" y="245"/>
                  <a:pt x="913" y="245"/>
                </a:cubicBezTo>
                <a:cubicBezTo>
                  <a:pt x="913" y="245"/>
                  <a:pt x="913" y="245"/>
                  <a:pt x="913" y="245"/>
                </a:cubicBezTo>
                <a:cubicBezTo>
                  <a:pt x="914" y="245"/>
                  <a:pt x="914" y="245"/>
                  <a:pt x="915" y="245"/>
                </a:cubicBezTo>
                <a:cubicBezTo>
                  <a:pt x="915" y="244"/>
                  <a:pt x="915" y="244"/>
                  <a:pt x="915" y="244"/>
                </a:cubicBezTo>
                <a:cubicBezTo>
                  <a:pt x="916" y="244"/>
                  <a:pt x="916" y="244"/>
                  <a:pt x="916" y="243"/>
                </a:cubicBezTo>
                <a:cubicBezTo>
                  <a:pt x="916" y="243"/>
                  <a:pt x="917" y="243"/>
                  <a:pt x="917" y="243"/>
                </a:cubicBezTo>
                <a:cubicBezTo>
                  <a:pt x="917" y="243"/>
                  <a:pt x="917" y="243"/>
                  <a:pt x="917" y="243"/>
                </a:cubicBezTo>
                <a:cubicBezTo>
                  <a:pt x="917" y="243"/>
                  <a:pt x="918" y="243"/>
                  <a:pt x="918" y="243"/>
                </a:cubicBezTo>
                <a:cubicBezTo>
                  <a:pt x="919" y="243"/>
                  <a:pt x="919" y="243"/>
                  <a:pt x="920" y="243"/>
                </a:cubicBezTo>
                <a:cubicBezTo>
                  <a:pt x="920" y="243"/>
                  <a:pt x="920" y="243"/>
                  <a:pt x="920" y="243"/>
                </a:cubicBezTo>
                <a:cubicBezTo>
                  <a:pt x="921" y="243"/>
                  <a:pt x="921" y="243"/>
                  <a:pt x="921" y="243"/>
                </a:cubicBezTo>
                <a:cubicBezTo>
                  <a:pt x="921" y="243"/>
                  <a:pt x="921" y="243"/>
                  <a:pt x="920" y="243"/>
                </a:cubicBezTo>
                <a:cubicBezTo>
                  <a:pt x="920" y="243"/>
                  <a:pt x="920" y="243"/>
                  <a:pt x="920" y="243"/>
                </a:cubicBezTo>
                <a:cubicBezTo>
                  <a:pt x="920" y="243"/>
                  <a:pt x="919" y="243"/>
                  <a:pt x="919" y="242"/>
                </a:cubicBezTo>
                <a:cubicBezTo>
                  <a:pt x="919" y="242"/>
                  <a:pt x="919" y="242"/>
                  <a:pt x="918" y="242"/>
                </a:cubicBezTo>
                <a:cubicBezTo>
                  <a:pt x="918" y="242"/>
                  <a:pt x="918" y="242"/>
                  <a:pt x="918" y="242"/>
                </a:cubicBezTo>
                <a:cubicBezTo>
                  <a:pt x="918" y="242"/>
                  <a:pt x="918" y="242"/>
                  <a:pt x="919" y="242"/>
                </a:cubicBezTo>
                <a:cubicBezTo>
                  <a:pt x="919" y="242"/>
                  <a:pt x="919" y="242"/>
                  <a:pt x="920" y="242"/>
                </a:cubicBezTo>
                <a:cubicBezTo>
                  <a:pt x="920" y="242"/>
                  <a:pt x="920" y="243"/>
                  <a:pt x="921" y="243"/>
                </a:cubicBezTo>
                <a:cubicBezTo>
                  <a:pt x="921" y="243"/>
                  <a:pt x="921" y="243"/>
                  <a:pt x="922" y="243"/>
                </a:cubicBezTo>
                <a:cubicBezTo>
                  <a:pt x="922" y="243"/>
                  <a:pt x="922" y="242"/>
                  <a:pt x="922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1"/>
                  <a:pt x="921" y="241"/>
                </a:cubicBezTo>
                <a:cubicBezTo>
                  <a:pt x="922" y="241"/>
                  <a:pt x="922" y="241"/>
                  <a:pt x="923" y="241"/>
                </a:cubicBezTo>
                <a:cubicBezTo>
                  <a:pt x="922" y="241"/>
                  <a:pt x="922" y="241"/>
                  <a:pt x="922" y="241"/>
                </a:cubicBezTo>
                <a:cubicBezTo>
                  <a:pt x="921" y="241"/>
                  <a:pt x="921" y="241"/>
                  <a:pt x="920" y="240"/>
                </a:cubicBezTo>
                <a:cubicBezTo>
                  <a:pt x="920" y="240"/>
                  <a:pt x="920" y="240"/>
                  <a:pt x="920" y="240"/>
                </a:cubicBezTo>
                <a:cubicBezTo>
                  <a:pt x="921" y="240"/>
                  <a:pt x="921" y="239"/>
                  <a:pt x="921" y="239"/>
                </a:cubicBezTo>
                <a:cubicBezTo>
                  <a:pt x="921" y="239"/>
                  <a:pt x="921" y="239"/>
                  <a:pt x="921" y="239"/>
                </a:cubicBezTo>
                <a:cubicBezTo>
                  <a:pt x="922" y="239"/>
                  <a:pt x="922" y="238"/>
                  <a:pt x="922" y="238"/>
                </a:cubicBezTo>
                <a:cubicBezTo>
                  <a:pt x="922" y="238"/>
                  <a:pt x="922" y="238"/>
                  <a:pt x="922" y="237"/>
                </a:cubicBezTo>
                <a:cubicBezTo>
                  <a:pt x="922" y="237"/>
                  <a:pt x="922" y="237"/>
                  <a:pt x="922" y="237"/>
                </a:cubicBezTo>
                <a:cubicBezTo>
                  <a:pt x="922" y="236"/>
                  <a:pt x="923" y="236"/>
                  <a:pt x="923" y="236"/>
                </a:cubicBezTo>
                <a:cubicBezTo>
                  <a:pt x="923" y="236"/>
                  <a:pt x="923" y="235"/>
                  <a:pt x="923" y="235"/>
                </a:cubicBezTo>
                <a:cubicBezTo>
                  <a:pt x="923" y="235"/>
                  <a:pt x="924" y="235"/>
                  <a:pt x="924" y="235"/>
                </a:cubicBezTo>
                <a:cubicBezTo>
                  <a:pt x="924" y="235"/>
                  <a:pt x="924" y="235"/>
                  <a:pt x="925" y="235"/>
                </a:cubicBezTo>
                <a:cubicBezTo>
                  <a:pt x="925" y="235"/>
                  <a:pt x="926" y="234"/>
                  <a:pt x="927" y="234"/>
                </a:cubicBezTo>
                <a:cubicBezTo>
                  <a:pt x="927" y="234"/>
                  <a:pt x="927" y="234"/>
                  <a:pt x="928" y="233"/>
                </a:cubicBezTo>
                <a:cubicBezTo>
                  <a:pt x="928" y="233"/>
                  <a:pt x="929" y="233"/>
                  <a:pt x="929" y="233"/>
                </a:cubicBezTo>
                <a:cubicBezTo>
                  <a:pt x="929" y="233"/>
                  <a:pt x="929" y="233"/>
                  <a:pt x="930" y="233"/>
                </a:cubicBezTo>
                <a:cubicBezTo>
                  <a:pt x="930" y="233"/>
                  <a:pt x="930" y="233"/>
                  <a:pt x="931" y="233"/>
                </a:cubicBezTo>
                <a:cubicBezTo>
                  <a:pt x="931" y="233"/>
                  <a:pt x="931" y="233"/>
                  <a:pt x="932" y="233"/>
                </a:cubicBezTo>
                <a:cubicBezTo>
                  <a:pt x="932" y="233"/>
                  <a:pt x="933" y="233"/>
                  <a:pt x="933" y="232"/>
                </a:cubicBezTo>
                <a:cubicBezTo>
                  <a:pt x="934" y="233"/>
                  <a:pt x="934" y="233"/>
                  <a:pt x="935" y="233"/>
                </a:cubicBezTo>
                <a:cubicBezTo>
                  <a:pt x="935" y="233"/>
                  <a:pt x="935" y="233"/>
                  <a:pt x="936" y="234"/>
                </a:cubicBezTo>
                <a:cubicBezTo>
                  <a:pt x="936" y="234"/>
                  <a:pt x="936" y="234"/>
                  <a:pt x="937" y="234"/>
                </a:cubicBezTo>
                <a:cubicBezTo>
                  <a:pt x="937" y="234"/>
                  <a:pt x="937" y="234"/>
                  <a:pt x="937" y="234"/>
                </a:cubicBezTo>
                <a:cubicBezTo>
                  <a:pt x="937" y="234"/>
                  <a:pt x="937" y="233"/>
                  <a:pt x="937" y="233"/>
                </a:cubicBezTo>
                <a:cubicBezTo>
                  <a:pt x="936" y="233"/>
                  <a:pt x="936" y="233"/>
                  <a:pt x="935" y="233"/>
                </a:cubicBezTo>
                <a:cubicBezTo>
                  <a:pt x="935" y="233"/>
                  <a:pt x="935" y="233"/>
                  <a:pt x="935" y="232"/>
                </a:cubicBezTo>
                <a:cubicBezTo>
                  <a:pt x="935" y="232"/>
                  <a:pt x="935" y="232"/>
                  <a:pt x="935" y="232"/>
                </a:cubicBezTo>
                <a:cubicBezTo>
                  <a:pt x="936" y="231"/>
                  <a:pt x="937" y="231"/>
                  <a:pt x="937" y="231"/>
                </a:cubicBezTo>
                <a:cubicBezTo>
                  <a:pt x="938" y="231"/>
                  <a:pt x="938" y="231"/>
                  <a:pt x="938" y="231"/>
                </a:cubicBezTo>
                <a:cubicBezTo>
                  <a:pt x="939" y="231"/>
                  <a:pt x="939" y="231"/>
                  <a:pt x="939" y="231"/>
                </a:cubicBezTo>
                <a:cubicBezTo>
                  <a:pt x="939" y="232"/>
                  <a:pt x="939" y="232"/>
                  <a:pt x="939" y="232"/>
                </a:cubicBezTo>
                <a:cubicBezTo>
                  <a:pt x="940" y="233"/>
                  <a:pt x="940" y="233"/>
                  <a:pt x="940" y="233"/>
                </a:cubicBezTo>
                <a:cubicBezTo>
                  <a:pt x="940" y="233"/>
                  <a:pt x="941" y="233"/>
                  <a:pt x="941" y="233"/>
                </a:cubicBezTo>
                <a:cubicBezTo>
                  <a:pt x="941" y="232"/>
                  <a:pt x="941" y="232"/>
                  <a:pt x="940" y="232"/>
                </a:cubicBezTo>
                <a:cubicBezTo>
                  <a:pt x="940" y="232"/>
                  <a:pt x="940" y="232"/>
                  <a:pt x="940" y="231"/>
                </a:cubicBezTo>
                <a:cubicBezTo>
                  <a:pt x="941" y="231"/>
                  <a:pt x="941" y="231"/>
                  <a:pt x="941" y="231"/>
                </a:cubicBezTo>
                <a:cubicBezTo>
                  <a:pt x="941" y="231"/>
                  <a:pt x="941" y="232"/>
                  <a:pt x="942" y="232"/>
                </a:cubicBezTo>
                <a:cubicBezTo>
                  <a:pt x="942" y="232"/>
                  <a:pt x="942" y="232"/>
                  <a:pt x="942" y="233"/>
                </a:cubicBezTo>
                <a:cubicBezTo>
                  <a:pt x="942" y="233"/>
                  <a:pt x="942" y="233"/>
                  <a:pt x="943" y="234"/>
                </a:cubicBezTo>
                <a:cubicBezTo>
                  <a:pt x="943" y="233"/>
                  <a:pt x="942" y="233"/>
                  <a:pt x="942" y="233"/>
                </a:cubicBezTo>
                <a:cubicBezTo>
                  <a:pt x="942" y="232"/>
                  <a:pt x="942" y="232"/>
                  <a:pt x="942" y="232"/>
                </a:cubicBezTo>
                <a:cubicBezTo>
                  <a:pt x="942" y="232"/>
                  <a:pt x="942" y="231"/>
                  <a:pt x="942" y="231"/>
                </a:cubicBezTo>
                <a:cubicBezTo>
                  <a:pt x="942" y="231"/>
                  <a:pt x="942" y="231"/>
                  <a:pt x="943" y="230"/>
                </a:cubicBezTo>
                <a:cubicBezTo>
                  <a:pt x="943" y="230"/>
                  <a:pt x="943" y="230"/>
                  <a:pt x="944" y="230"/>
                </a:cubicBezTo>
                <a:cubicBezTo>
                  <a:pt x="944" y="230"/>
                  <a:pt x="944" y="231"/>
                  <a:pt x="944" y="231"/>
                </a:cubicBezTo>
                <a:cubicBezTo>
                  <a:pt x="945" y="231"/>
                  <a:pt x="945" y="230"/>
                  <a:pt x="946" y="230"/>
                </a:cubicBezTo>
                <a:cubicBezTo>
                  <a:pt x="946" y="231"/>
                  <a:pt x="947" y="231"/>
                  <a:pt x="947" y="232"/>
                </a:cubicBezTo>
                <a:cubicBezTo>
                  <a:pt x="948" y="232"/>
                  <a:pt x="949" y="232"/>
                  <a:pt x="950" y="232"/>
                </a:cubicBezTo>
                <a:cubicBezTo>
                  <a:pt x="949" y="232"/>
                  <a:pt x="948" y="232"/>
                  <a:pt x="948" y="231"/>
                </a:cubicBezTo>
                <a:cubicBezTo>
                  <a:pt x="947" y="231"/>
                  <a:pt x="946" y="230"/>
                  <a:pt x="946" y="230"/>
                </a:cubicBezTo>
                <a:cubicBezTo>
                  <a:pt x="945" y="230"/>
                  <a:pt x="945" y="230"/>
                  <a:pt x="944" y="230"/>
                </a:cubicBezTo>
                <a:cubicBezTo>
                  <a:pt x="944" y="230"/>
                  <a:pt x="944" y="230"/>
                  <a:pt x="944" y="230"/>
                </a:cubicBezTo>
                <a:cubicBezTo>
                  <a:pt x="944" y="230"/>
                  <a:pt x="944" y="229"/>
                  <a:pt x="944" y="229"/>
                </a:cubicBezTo>
                <a:cubicBezTo>
                  <a:pt x="944" y="229"/>
                  <a:pt x="944" y="229"/>
                  <a:pt x="945" y="229"/>
                </a:cubicBezTo>
                <a:cubicBezTo>
                  <a:pt x="944" y="229"/>
                  <a:pt x="944" y="228"/>
                  <a:pt x="944" y="228"/>
                </a:cubicBezTo>
                <a:cubicBezTo>
                  <a:pt x="944" y="228"/>
                  <a:pt x="944" y="228"/>
                  <a:pt x="944" y="227"/>
                </a:cubicBezTo>
                <a:cubicBezTo>
                  <a:pt x="943" y="228"/>
                  <a:pt x="943" y="228"/>
                  <a:pt x="943" y="228"/>
                </a:cubicBezTo>
                <a:cubicBezTo>
                  <a:pt x="943" y="228"/>
                  <a:pt x="943" y="227"/>
                  <a:pt x="943" y="227"/>
                </a:cubicBezTo>
                <a:cubicBezTo>
                  <a:pt x="943" y="227"/>
                  <a:pt x="943" y="227"/>
                  <a:pt x="943" y="227"/>
                </a:cubicBezTo>
                <a:cubicBezTo>
                  <a:pt x="944" y="227"/>
                  <a:pt x="944" y="227"/>
                  <a:pt x="944" y="227"/>
                </a:cubicBezTo>
                <a:cubicBezTo>
                  <a:pt x="944" y="227"/>
                  <a:pt x="944" y="226"/>
                  <a:pt x="943" y="226"/>
                </a:cubicBezTo>
                <a:cubicBezTo>
                  <a:pt x="943" y="226"/>
                  <a:pt x="943" y="226"/>
                  <a:pt x="943" y="226"/>
                </a:cubicBezTo>
                <a:cubicBezTo>
                  <a:pt x="943" y="226"/>
                  <a:pt x="943" y="226"/>
                  <a:pt x="943" y="226"/>
                </a:cubicBezTo>
                <a:cubicBezTo>
                  <a:pt x="942" y="225"/>
                  <a:pt x="942" y="225"/>
                  <a:pt x="942" y="225"/>
                </a:cubicBezTo>
                <a:cubicBezTo>
                  <a:pt x="942" y="225"/>
                  <a:pt x="942" y="225"/>
                  <a:pt x="942" y="225"/>
                </a:cubicBezTo>
                <a:cubicBezTo>
                  <a:pt x="942" y="225"/>
                  <a:pt x="942" y="224"/>
                  <a:pt x="942" y="224"/>
                </a:cubicBezTo>
                <a:cubicBezTo>
                  <a:pt x="942" y="224"/>
                  <a:pt x="942" y="224"/>
                  <a:pt x="942" y="224"/>
                </a:cubicBezTo>
                <a:cubicBezTo>
                  <a:pt x="942" y="224"/>
                  <a:pt x="942" y="224"/>
                  <a:pt x="942" y="224"/>
                </a:cubicBezTo>
                <a:cubicBezTo>
                  <a:pt x="942" y="223"/>
                  <a:pt x="942" y="223"/>
                  <a:pt x="942" y="223"/>
                </a:cubicBezTo>
                <a:cubicBezTo>
                  <a:pt x="942" y="222"/>
                  <a:pt x="941" y="222"/>
                  <a:pt x="941" y="222"/>
                </a:cubicBezTo>
                <a:cubicBezTo>
                  <a:pt x="940" y="222"/>
                  <a:pt x="940" y="222"/>
                  <a:pt x="940" y="222"/>
                </a:cubicBezTo>
                <a:cubicBezTo>
                  <a:pt x="940" y="222"/>
                  <a:pt x="939" y="222"/>
                  <a:pt x="939" y="222"/>
                </a:cubicBezTo>
                <a:cubicBezTo>
                  <a:pt x="939" y="221"/>
                  <a:pt x="940" y="221"/>
                  <a:pt x="940" y="221"/>
                </a:cubicBezTo>
                <a:cubicBezTo>
                  <a:pt x="940" y="221"/>
                  <a:pt x="941" y="220"/>
                  <a:pt x="941" y="220"/>
                </a:cubicBezTo>
                <a:cubicBezTo>
                  <a:pt x="941" y="220"/>
                  <a:pt x="941" y="220"/>
                  <a:pt x="941" y="220"/>
                </a:cubicBezTo>
                <a:cubicBezTo>
                  <a:pt x="941" y="220"/>
                  <a:pt x="941" y="219"/>
                  <a:pt x="941" y="219"/>
                </a:cubicBezTo>
                <a:cubicBezTo>
                  <a:pt x="940" y="219"/>
                  <a:pt x="940" y="219"/>
                  <a:pt x="940" y="219"/>
                </a:cubicBezTo>
                <a:cubicBezTo>
                  <a:pt x="940" y="218"/>
                  <a:pt x="940" y="218"/>
                  <a:pt x="940" y="218"/>
                </a:cubicBezTo>
                <a:cubicBezTo>
                  <a:pt x="940" y="218"/>
                  <a:pt x="940" y="218"/>
                  <a:pt x="940" y="218"/>
                </a:cubicBezTo>
                <a:cubicBezTo>
                  <a:pt x="940" y="218"/>
                  <a:pt x="941" y="218"/>
                  <a:pt x="941" y="218"/>
                </a:cubicBezTo>
                <a:cubicBezTo>
                  <a:pt x="941" y="218"/>
                  <a:pt x="941" y="218"/>
                  <a:pt x="941" y="217"/>
                </a:cubicBezTo>
                <a:cubicBezTo>
                  <a:pt x="940" y="217"/>
                  <a:pt x="940" y="217"/>
                  <a:pt x="940" y="217"/>
                </a:cubicBezTo>
                <a:cubicBezTo>
                  <a:pt x="940" y="217"/>
                  <a:pt x="940" y="216"/>
                  <a:pt x="940" y="216"/>
                </a:cubicBezTo>
                <a:cubicBezTo>
                  <a:pt x="941" y="216"/>
                  <a:pt x="941" y="216"/>
                  <a:pt x="941" y="216"/>
                </a:cubicBezTo>
                <a:cubicBezTo>
                  <a:pt x="941" y="216"/>
                  <a:pt x="942" y="216"/>
                  <a:pt x="942" y="216"/>
                </a:cubicBezTo>
                <a:cubicBezTo>
                  <a:pt x="942" y="217"/>
                  <a:pt x="942" y="217"/>
                  <a:pt x="943" y="217"/>
                </a:cubicBezTo>
                <a:cubicBezTo>
                  <a:pt x="943" y="217"/>
                  <a:pt x="943" y="217"/>
                  <a:pt x="944" y="216"/>
                </a:cubicBezTo>
                <a:cubicBezTo>
                  <a:pt x="944" y="216"/>
                  <a:pt x="943" y="216"/>
                  <a:pt x="943" y="216"/>
                </a:cubicBezTo>
                <a:cubicBezTo>
                  <a:pt x="943" y="216"/>
                  <a:pt x="944" y="215"/>
                  <a:pt x="944" y="215"/>
                </a:cubicBezTo>
                <a:cubicBezTo>
                  <a:pt x="944" y="215"/>
                  <a:pt x="944" y="215"/>
                  <a:pt x="944" y="215"/>
                </a:cubicBezTo>
                <a:cubicBezTo>
                  <a:pt x="945" y="215"/>
                  <a:pt x="945" y="216"/>
                  <a:pt x="945" y="216"/>
                </a:cubicBezTo>
                <a:cubicBezTo>
                  <a:pt x="945" y="216"/>
                  <a:pt x="945" y="216"/>
                  <a:pt x="944" y="216"/>
                </a:cubicBezTo>
                <a:cubicBezTo>
                  <a:pt x="944" y="216"/>
                  <a:pt x="944" y="216"/>
                  <a:pt x="945" y="217"/>
                </a:cubicBezTo>
                <a:cubicBezTo>
                  <a:pt x="945" y="217"/>
                  <a:pt x="945" y="216"/>
                  <a:pt x="945" y="216"/>
                </a:cubicBezTo>
                <a:cubicBezTo>
                  <a:pt x="946" y="217"/>
                  <a:pt x="946" y="217"/>
                  <a:pt x="946" y="217"/>
                </a:cubicBezTo>
                <a:cubicBezTo>
                  <a:pt x="946" y="217"/>
                  <a:pt x="946" y="217"/>
                  <a:pt x="946" y="216"/>
                </a:cubicBezTo>
                <a:cubicBezTo>
                  <a:pt x="946" y="216"/>
                  <a:pt x="946" y="216"/>
                  <a:pt x="946" y="216"/>
                </a:cubicBezTo>
                <a:cubicBezTo>
                  <a:pt x="946" y="216"/>
                  <a:pt x="946" y="216"/>
                  <a:pt x="946" y="215"/>
                </a:cubicBezTo>
                <a:cubicBezTo>
                  <a:pt x="945" y="215"/>
                  <a:pt x="945" y="215"/>
                  <a:pt x="945" y="215"/>
                </a:cubicBezTo>
                <a:cubicBezTo>
                  <a:pt x="945" y="215"/>
                  <a:pt x="945" y="214"/>
                  <a:pt x="945" y="214"/>
                </a:cubicBezTo>
                <a:cubicBezTo>
                  <a:pt x="946" y="214"/>
                  <a:pt x="946" y="214"/>
                  <a:pt x="946" y="214"/>
                </a:cubicBezTo>
                <a:cubicBezTo>
                  <a:pt x="946" y="214"/>
                  <a:pt x="947" y="214"/>
                  <a:pt x="947" y="214"/>
                </a:cubicBezTo>
                <a:cubicBezTo>
                  <a:pt x="948" y="214"/>
                  <a:pt x="948" y="214"/>
                  <a:pt x="949" y="214"/>
                </a:cubicBezTo>
                <a:cubicBezTo>
                  <a:pt x="949" y="214"/>
                  <a:pt x="949" y="214"/>
                  <a:pt x="950" y="215"/>
                </a:cubicBezTo>
                <a:cubicBezTo>
                  <a:pt x="950" y="215"/>
                  <a:pt x="950" y="215"/>
                  <a:pt x="950" y="215"/>
                </a:cubicBezTo>
                <a:cubicBezTo>
                  <a:pt x="950" y="215"/>
                  <a:pt x="949" y="216"/>
                  <a:pt x="949" y="216"/>
                </a:cubicBezTo>
                <a:cubicBezTo>
                  <a:pt x="949" y="216"/>
                  <a:pt x="950" y="216"/>
                  <a:pt x="950" y="216"/>
                </a:cubicBezTo>
                <a:cubicBezTo>
                  <a:pt x="950" y="216"/>
                  <a:pt x="950" y="216"/>
                  <a:pt x="950" y="216"/>
                </a:cubicBezTo>
                <a:cubicBezTo>
                  <a:pt x="951" y="217"/>
                  <a:pt x="951" y="217"/>
                  <a:pt x="951" y="217"/>
                </a:cubicBezTo>
                <a:cubicBezTo>
                  <a:pt x="951" y="217"/>
                  <a:pt x="952" y="217"/>
                  <a:pt x="952" y="217"/>
                </a:cubicBezTo>
                <a:cubicBezTo>
                  <a:pt x="952" y="217"/>
                  <a:pt x="953" y="217"/>
                  <a:pt x="953" y="217"/>
                </a:cubicBezTo>
                <a:cubicBezTo>
                  <a:pt x="953" y="217"/>
                  <a:pt x="953" y="217"/>
                  <a:pt x="954" y="217"/>
                </a:cubicBezTo>
                <a:cubicBezTo>
                  <a:pt x="954" y="218"/>
                  <a:pt x="954" y="218"/>
                  <a:pt x="953" y="218"/>
                </a:cubicBezTo>
                <a:cubicBezTo>
                  <a:pt x="953" y="218"/>
                  <a:pt x="953" y="218"/>
                  <a:pt x="953" y="218"/>
                </a:cubicBezTo>
                <a:cubicBezTo>
                  <a:pt x="953" y="218"/>
                  <a:pt x="953" y="218"/>
                  <a:pt x="953" y="218"/>
                </a:cubicBezTo>
                <a:cubicBezTo>
                  <a:pt x="953" y="218"/>
                  <a:pt x="952" y="218"/>
                  <a:pt x="952" y="218"/>
                </a:cubicBezTo>
                <a:cubicBezTo>
                  <a:pt x="952" y="218"/>
                  <a:pt x="952" y="218"/>
                  <a:pt x="952" y="218"/>
                </a:cubicBezTo>
                <a:cubicBezTo>
                  <a:pt x="951" y="218"/>
                  <a:pt x="951" y="218"/>
                  <a:pt x="951" y="218"/>
                </a:cubicBezTo>
                <a:cubicBezTo>
                  <a:pt x="950" y="218"/>
                  <a:pt x="950" y="218"/>
                  <a:pt x="950" y="218"/>
                </a:cubicBezTo>
                <a:cubicBezTo>
                  <a:pt x="950" y="219"/>
                  <a:pt x="950" y="219"/>
                  <a:pt x="950" y="219"/>
                </a:cubicBezTo>
                <a:cubicBezTo>
                  <a:pt x="950" y="219"/>
                  <a:pt x="950" y="220"/>
                  <a:pt x="950" y="220"/>
                </a:cubicBezTo>
                <a:cubicBezTo>
                  <a:pt x="950" y="220"/>
                  <a:pt x="950" y="220"/>
                  <a:pt x="949" y="220"/>
                </a:cubicBezTo>
                <a:cubicBezTo>
                  <a:pt x="949" y="220"/>
                  <a:pt x="949" y="220"/>
                  <a:pt x="949" y="220"/>
                </a:cubicBezTo>
                <a:cubicBezTo>
                  <a:pt x="949" y="220"/>
                  <a:pt x="948" y="221"/>
                  <a:pt x="948" y="221"/>
                </a:cubicBezTo>
                <a:cubicBezTo>
                  <a:pt x="948" y="221"/>
                  <a:pt x="948" y="221"/>
                  <a:pt x="949" y="221"/>
                </a:cubicBezTo>
                <a:cubicBezTo>
                  <a:pt x="948" y="221"/>
                  <a:pt x="947" y="221"/>
                  <a:pt x="946" y="222"/>
                </a:cubicBezTo>
                <a:cubicBezTo>
                  <a:pt x="946" y="222"/>
                  <a:pt x="946" y="222"/>
                  <a:pt x="946" y="222"/>
                </a:cubicBezTo>
                <a:cubicBezTo>
                  <a:pt x="947" y="222"/>
                  <a:pt x="947" y="222"/>
                  <a:pt x="947" y="222"/>
                </a:cubicBezTo>
                <a:cubicBezTo>
                  <a:pt x="947" y="223"/>
                  <a:pt x="947" y="223"/>
                  <a:pt x="947" y="223"/>
                </a:cubicBezTo>
                <a:cubicBezTo>
                  <a:pt x="947" y="223"/>
                  <a:pt x="946" y="223"/>
                  <a:pt x="946" y="223"/>
                </a:cubicBezTo>
                <a:cubicBezTo>
                  <a:pt x="946" y="223"/>
                  <a:pt x="946" y="224"/>
                  <a:pt x="946" y="224"/>
                </a:cubicBezTo>
                <a:cubicBezTo>
                  <a:pt x="946" y="224"/>
                  <a:pt x="946" y="224"/>
                  <a:pt x="947" y="224"/>
                </a:cubicBezTo>
                <a:cubicBezTo>
                  <a:pt x="947" y="224"/>
                  <a:pt x="947" y="224"/>
                  <a:pt x="947" y="224"/>
                </a:cubicBezTo>
                <a:cubicBezTo>
                  <a:pt x="947" y="224"/>
                  <a:pt x="947" y="225"/>
                  <a:pt x="947" y="225"/>
                </a:cubicBezTo>
                <a:cubicBezTo>
                  <a:pt x="947" y="225"/>
                  <a:pt x="947" y="225"/>
                  <a:pt x="947" y="225"/>
                </a:cubicBezTo>
                <a:cubicBezTo>
                  <a:pt x="947" y="225"/>
                  <a:pt x="948" y="225"/>
                  <a:pt x="948" y="226"/>
                </a:cubicBezTo>
                <a:cubicBezTo>
                  <a:pt x="949" y="226"/>
                  <a:pt x="949" y="226"/>
                  <a:pt x="949" y="226"/>
                </a:cubicBezTo>
                <a:cubicBezTo>
                  <a:pt x="949" y="226"/>
                  <a:pt x="949" y="226"/>
                  <a:pt x="949" y="227"/>
                </a:cubicBezTo>
                <a:cubicBezTo>
                  <a:pt x="948" y="227"/>
                  <a:pt x="948" y="227"/>
                  <a:pt x="948" y="227"/>
                </a:cubicBezTo>
                <a:cubicBezTo>
                  <a:pt x="948" y="227"/>
                  <a:pt x="948" y="227"/>
                  <a:pt x="948" y="227"/>
                </a:cubicBezTo>
                <a:cubicBezTo>
                  <a:pt x="949" y="227"/>
                  <a:pt x="949" y="227"/>
                  <a:pt x="949" y="227"/>
                </a:cubicBezTo>
                <a:cubicBezTo>
                  <a:pt x="949" y="228"/>
                  <a:pt x="950" y="228"/>
                  <a:pt x="950" y="228"/>
                </a:cubicBezTo>
                <a:cubicBezTo>
                  <a:pt x="950" y="228"/>
                  <a:pt x="950" y="228"/>
                  <a:pt x="950" y="228"/>
                </a:cubicBezTo>
                <a:cubicBezTo>
                  <a:pt x="951" y="228"/>
                  <a:pt x="951" y="227"/>
                  <a:pt x="951" y="227"/>
                </a:cubicBezTo>
                <a:cubicBezTo>
                  <a:pt x="951" y="227"/>
                  <a:pt x="951" y="227"/>
                  <a:pt x="951" y="227"/>
                </a:cubicBezTo>
                <a:cubicBezTo>
                  <a:pt x="951" y="227"/>
                  <a:pt x="952" y="227"/>
                  <a:pt x="952" y="227"/>
                </a:cubicBezTo>
                <a:cubicBezTo>
                  <a:pt x="952" y="228"/>
                  <a:pt x="953" y="228"/>
                  <a:pt x="953" y="228"/>
                </a:cubicBezTo>
                <a:cubicBezTo>
                  <a:pt x="953" y="228"/>
                  <a:pt x="953" y="228"/>
                  <a:pt x="953" y="228"/>
                </a:cubicBezTo>
                <a:cubicBezTo>
                  <a:pt x="954" y="228"/>
                  <a:pt x="954" y="228"/>
                  <a:pt x="954" y="227"/>
                </a:cubicBezTo>
                <a:cubicBezTo>
                  <a:pt x="954" y="227"/>
                  <a:pt x="955" y="228"/>
                  <a:pt x="955" y="228"/>
                </a:cubicBezTo>
                <a:cubicBezTo>
                  <a:pt x="955" y="228"/>
                  <a:pt x="955" y="228"/>
                  <a:pt x="955" y="228"/>
                </a:cubicBezTo>
                <a:cubicBezTo>
                  <a:pt x="955" y="228"/>
                  <a:pt x="954" y="229"/>
                  <a:pt x="954" y="229"/>
                </a:cubicBezTo>
                <a:cubicBezTo>
                  <a:pt x="954" y="229"/>
                  <a:pt x="954" y="229"/>
                  <a:pt x="953" y="229"/>
                </a:cubicBezTo>
                <a:cubicBezTo>
                  <a:pt x="953" y="229"/>
                  <a:pt x="953" y="229"/>
                  <a:pt x="952" y="229"/>
                </a:cubicBezTo>
                <a:cubicBezTo>
                  <a:pt x="953" y="229"/>
                  <a:pt x="953" y="229"/>
                  <a:pt x="954" y="229"/>
                </a:cubicBezTo>
                <a:cubicBezTo>
                  <a:pt x="954" y="229"/>
                  <a:pt x="954" y="229"/>
                  <a:pt x="954" y="229"/>
                </a:cubicBezTo>
                <a:cubicBezTo>
                  <a:pt x="955" y="229"/>
                  <a:pt x="955" y="229"/>
                  <a:pt x="955" y="229"/>
                </a:cubicBezTo>
                <a:cubicBezTo>
                  <a:pt x="955" y="230"/>
                  <a:pt x="956" y="230"/>
                  <a:pt x="956" y="230"/>
                </a:cubicBezTo>
                <a:cubicBezTo>
                  <a:pt x="956" y="230"/>
                  <a:pt x="956" y="230"/>
                  <a:pt x="957" y="230"/>
                </a:cubicBezTo>
                <a:cubicBezTo>
                  <a:pt x="957" y="230"/>
                  <a:pt x="957" y="229"/>
                  <a:pt x="957" y="229"/>
                </a:cubicBezTo>
                <a:cubicBezTo>
                  <a:pt x="957" y="229"/>
                  <a:pt x="957" y="229"/>
                  <a:pt x="958" y="228"/>
                </a:cubicBezTo>
                <a:cubicBezTo>
                  <a:pt x="958" y="228"/>
                  <a:pt x="959" y="228"/>
                  <a:pt x="960" y="228"/>
                </a:cubicBezTo>
                <a:cubicBezTo>
                  <a:pt x="960" y="228"/>
                  <a:pt x="960" y="228"/>
                  <a:pt x="960" y="228"/>
                </a:cubicBezTo>
                <a:cubicBezTo>
                  <a:pt x="960" y="228"/>
                  <a:pt x="961" y="228"/>
                  <a:pt x="961" y="228"/>
                </a:cubicBezTo>
                <a:cubicBezTo>
                  <a:pt x="961" y="227"/>
                  <a:pt x="961" y="227"/>
                  <a:pt x="961" y="227"/>
                </a:cubicBezTo>
                <a:cubicBezTo>
                  <a:pt x="961" y="227"/>
                  <a:pt x="961" y="227"/>
                  <a:pt x="962" y="227"/>
                </a:cubicBezTo>
                <a:cubicBezTo>
                  <a:pt x="962" y="227"/>
                  <a:pt x="963" y="227"/>
                  <a:pt x="963" y="227"/>
                </a:cubicBezTo>
                <a:cubicBezTo>
                  <a:pt x="963" y="227"/>
                  <a:pt x="962" y="227"/>
                  <a:pt x="962" y="227"/>
                </a:cubicBezTo>
                <a:cubicBezTo>
                  <a:pt x="962" y="228"/>
                  <a:pt x="962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2" y="228"/>
                  <a:pt x="962" y="228"/>
                </a:cubicBezTo>
                <a:cubicBezTo>
                  <a:pt x="963" y="228"/>
                  <a:pt x="963" y="228"/>
                  <a:pt x="963" y="228"/>
                </a:cubicBezTo>
                <a:cubicBezTo>
                  <a:pt x="964" y="228"/>
                  <a:pt x="964" y="228"/>
                  <a:pt x="964" y="228"/>
                </a:cubicBezTo>
                <a:cubicBezTo>
                  <a:pt x="964" y="228"/>
                  <a:pt x="964" y="228"/>
                  <a:pt x="964" y="228"/>
                </a:cubicBezTo>
                <a:cubicBezTo>
                  <a:pt x="965" y="228"/>
                  <a:pt x="965" y="228"/>
                  <a:pt x="965" y="228"/>
                </a:cubicBezTo>
                <a:cubicBezTo>
                  <a:pt x="966" y="228"/>
                  <a:pt x="966" y="229"/>
                  <a:pt x="967" y="229"/>
                </a:cubicBezTo>
                <a:cubicBezTo>
                  <a:pt x="967" y="229"/>
                  <a:pt x="967" y="229"/>
                  <a:pt x="968" y="229"/>
                </a:cubicBezTo>
                <a:cubicBezTo>
                  <a:pt x="968" y="229"/>
                  <a:pt x="968" y="229"/>
                  <a:pt x="968" y="230"/>
                </a:cubicBezTo>
                <a:cubicBezTo>
                  <a:pt x="968" y="230"/>
                  <a:pt x="968" y="230"/>
                  <a:pt x="968" y="230"/>
                </a:cubicBezTo>
                <a:cubicBezTo>
                  <a:pt x="969" y="230"/>
                  <a:pt x="969" y="231"/>
                  <a:pt x="969" y="231"/>
                </a:cubicBezTo>
                <a:cubicBezTo>
                  <a:pt x="970" y="231"/>
                  <a:pt x="970" y="231"/>
                  <a:pt x="970" y="231"/>
                </a:cubicBezTo>
                <a:cubicBezTo>
                  <a:pt x="970" y="231"/>
                  <a:pt x="971" y="231"/>
                  <a:pt x="971" y="231"/>
                </a:cubicBezTo>
                <a:cubicBezTo>
                  <a:pt x="971" y="231"/>
                  <a:pt x="971" y="231"/>
                  <a:pt x="972" y="231"/>
                </a:cubicBezTo>
                <a:cubicBezTo>
                  <a:pt x="972" y="231"/>
                  <a:pt x="972" y="231"/>
                  <a:pt x="972" y="231"/>
                </a:cubicBezTo>
                <a:cubicBezTo>
                  <a:pt x="972" y="231"/>
                  <a:pt x="972" y="231"/>
                  <a:pt x="972" y="231"/>
                </a:cubicBezTo>
                <a:cubicBezTo>
                  <a:pt x="972" y="231"/>
                  <a:pt x="973" y="231"/>
                  <a:pt x="973" y="231"/>
                </a:cubicBezTo>
                <a:cubicBezTo>
                  <a:pt x="973" y="230"/>
                  <a:pt x="973" y="230"/>
                  <a:pt x="973" y="230"/>
                </a:cubicBezTo>
                <a:cubicBezTo>
                  <a:pt x="973" y="229"/>
                  <a:pt x="974" y="229"/>
                  <a:pt x="974" y="229"/>
                </a:cubicBezTo>
                <a:cubicBezTo>
                  <a:pt x="974" y="229"/>
                  <a:pt x="975" y="229"/>
                  <a:pt x="975" y="229"/>
                </a:cubicBezTo>
                <a:cubicBezTo>
                  <a:pt x="976" y="228"/>
                  <a:pt x="977" y="228"/>
                  <a:pt x="978" y="228"/>
                </a:cubicBezTo>
                <a:cubicBezTo>
                  <a:pt x="979" y="228"/>
                  <a:pt x="979" y="228"/>
                  <a:pt x="980" y="228"/>
                </a:cubicBezTo>
                <a:cubicBezTo>
                  <a:pt x="980" y="228"/>
                  <a:pt x="980" y="227"/>
                  <a:pt x="980" y="227"/>
                </a:cubicBezTo>
                <a:cubicBezTo>
                  <a:pt x="980" y="227"/>
                  <a:pt x="981" y="227"/>
                  <a:pt x="981" y="227"/>
                </a:cubicBezTo>
                <a:cubicBezTo>
                  <a:pt x="981" y="227"/>
                  <a:pt x="982" y="227"/>
                  <a:pt x="982" y="227"/>
                </a:cubicBezTo>
                <a:cubicBezTo>
                  <a:pt x="983" y="226"/>
                  <a:pt x="983" y="226"/>
                  <a:pt x="983" y="226"/>
                </a:cubicBezTo>
                <a:cubicBezTo>
                  <a:pt x="984" y="225"/>
                  <a:pt x="985" y="225"/>
                  <a:pt x="985" y="225"/>
                </a:cubicBezTo>
                <a:cubicBezTo>
                  <a:pt x="986" y="225"/>
                  <a:pt x="986" y="225"/>
                  <a:pt x="987" y="225"/>
                </a:cubicBezTo>
                <a:cubicBezTo>
                  <a:pt x="987" y="225"/>
                  <a:pt x="988" y="225"/>
                  <a:pt x="989" y="225"/>
                </a:cubicBezTo>
                <a:cubicBezTo>
                  <a:pt x="990" y="225"/>
                  <a:pt x="991" y="225"/>
                  <a:pt x="992" y="225"/>
                </a:cubicBezTo>
                <a:cubicBezTo>
                  <a:pt x="992" y="225"/>
                  <a:pt x="993" y="226"/>
                  <a:pt x="993" y="226"/>
                </a:cubicBezTo>
                <a:cubicBezTo>
                  <a:pt x="993" y="226"/>
                  <a:pt x="993" y="226"/>
                  <a:pt x="993" y="226"/>
                </a:cubicBezTo>
                <a:cubicBezTo>
                  <a:pt x="993" y="226"/>
                  <a:pt x="993" y="226"/>
                  <a:pt x="993" y="226"/>
                </a:cubicBezTo>
                <a:cubicBezTo>
                  <a:pt x="992" y="226"/>
                  <a:pt x="992" y="226"/>
                  <a:pt x="991" y="226"/>
                </a:cubicBezTo>
                <a:cubicBezTo>
                  <a:pt x="991" y="226"/>
                  <a:pt x="991" y="226"/>
                  <a:pt x="991" y="226"/>
                </a:cubicBezTo>
                <a:cubicBezTo>
                  <a:pt x="991" y="226"/>
                  <a:pt x="991" y="227"/>
                  <a:pt x="991" y="227"/>
                </a:cubicBezTo>
                <a:cubicBezTo>
                  <a:pt x="992" y="227"/>
                  <a:pt x="993" y="227"/>
                  <a:pt x="994" y="228"/>
                </a:cubicBezTo>
                <a:cubicBezTo>
                  <a:pt x="995" y="227"/>
                  <a:pt x="995" y="227"/>
                  <a:pt x="996" y="227"/>
                </a:cubicBezTo>
                <a:cubicBezTo>
                  <a:pt x="996" y="227"/>
                  <a:pt x="997" y="226"/>
                  <a:pt x="997" y="226"/>
                </a:cubicBezTo>
                <a:cubicBezTo>
                  <a:pt x="997" y="226"/>
                  <a:pt x="997" y="226"/>
                  <a:pt x="998" y="226"/>
                </a:cubicBezTo>
                <a:cubicBezTo>
                  <a:pt x="997" y="227"/>
                  <a:pt x="997" y="227"/>
                  <a:pt x="996" y="227"/>
                </a:cubicBezTo>
                <a:cubicBezTo>
                  <a:pt x="996" y="227"/>
                  <a:pt x="995" y="228"/>
                  <a:pt x="995" y="228"/>
                </a:cubicBezTo>
                <a:cubicBezTo>
                  <a:pt x="995" y="228"/>
                  <a:pt x="995" y="228"/>
                  <a:pt x="995" y="228"/>
                </a:cubicBezTo>
                <a:cubicBezTo>
                  <a:pt x="995" y="228"/>
                  <a:pt x="996" y="228"/>
                  <a:pt x="997" y="228"/>
                </a:cubicBezTo>
                <a:cubicBezTo>
                  <a:pt x="997" y="227"/>
                  <a:pt x="998" y="227"/>
                  <a:pt x="998" y="227"/>
                </a:cubicBezTo>
                <a:cubicBezTo>
                  <a:pt x="999" y="227"/>
                  <a:pt x="999" y="227"/>
                  <a:pt x="999" y="227"/>
                </a:cubicBezTo>
                <a:cubicBezTo>
                  <a:pt x="1001" y="227"/>
                  <a:pt x="1004" y="227"/>
                  <a:pt x="1006" y="227"/>
                </a:cubicBezTo>
                <a:cubicBezTo>
                  <a:pt x="1008" y="227"/>
                  <a:pt x="1010" y="227"/>
                  <a:pt x="1012" y="227"/>
                </a:cubicBezTo>
                <a:cubicBezTo>
                  <a:pt x="1012" y="226"/>
                  <a:pt x="1012" y="226"/>
                  <a:pt x="1012" y="226"/>
                </a:cubicBezTo>
                <a:cubicBezTo>
                  <a:pt x="1013" y="225"/>
                  <a:pt x="1013" y="225"/>
                  <a:pt x="1013" y="225"/>
                </a:cubicBezTo>
                <a:cubicBezTo>
                  <a:pt x="1013" y="225"/>
                  <a:pt x="1013" y="225"/>
                  <a:pt x="1012" y="225"/>
                </a:cubicBezTo>
                <a:cubicBezTo>
                  <a:pt x="1012" y="225"/>
                  <a:pt x="1012" y="224"/>
                  <a:pt x="1012" y="224"/>
                </a:cubicBezTo>
                <a:cubicBezTo>
                  <a:pt x="1012" y="224"/>
                  <a:pt x="1012" y="224"/>
                  <a:pt x="1012" y="224"/>
                </a:cubicBezTo>
                <a:cubicBezTo>
                  <a:pt x="1011" y="224"/>
                  <a:pt x="1011" y="224"/>
                  <a:pt x="1011" y="223"/>
                </a:cubicBezTo>
                <a:cubicBezTo>
                  <a:pt x="1010" y="224"/>
                  <a:pt x="1009" y="224"/>
                  <a:pt x="1009" y="224"/>
                </a:cubicBezTo>
                <a:cubicBezTo>
                  <a:pt x="1008" y="223"/>
                  <a:pt x="1008" y="223"/>
                  <a:pt x="1007" y="223"/>
                </a:cubicBezTo>
                <a:cubicBezTo>
                  <a:pt x="1007" y="223"/>
                  <a:pt x="1006" y="222"/>
                  <a:pt x="1006" y="222"/>
                </a:cubicBezTo>
                <a:cubicBezTo>
                  <a:pt x="1005" y="222"/>
                  <a:pt x="1005" y="222"/>
                  <a:pt x="1004" y="222"/>
                </a:cubicBezTo>
                <a:cubicBezTo>
                  <a:pt x="1004" y="222"/>
                  <a:pt x="1004" y="222"/>
                  <a:pt x="1004" y="222"/>
                </a:cubicBezTo>
                <a:cubicBezTo>
                  <a:pt x="1004" y="222"/>
                  <a:pt x="1004" y="221"/>
                  <a:pt x="1004" y="221"/>
                </a:cubicBezTo>
                <a:cubicBezTo>
                  <a:pt x="1004" y="221"/>
                  <a:pt x="1004" y="221"/>
                  <a:pt x="1004" y="220"/>
                </a:cubicBezTo>
                <a:cubicBezTo>
                  <a:pt x="1004" y="220"/>
                  <a:pt x="1004" y="220"/>
                  <a:pt x="1004" y="219"/>
                </a:cubicBezTo>
                <a:cubicBezTo>
                  <a:pt x="1004" y="219"/>
                  <a:pt x="1004" y="219"/>
                  <a:pt x="1004" y="219"/>
                </a:cubicBezTo>
                <a:cubicBezTo>
                  <a:pt x="1004" y="219"/>
                  <a:pt x="1003" y="219"/>
                  <a:pt x="1003" y="219"/>
                </a:cubicBezTo>
                <a:cubicBezTo>
                  <a:pt x="1003" y="218"/>
                  <a:pt x="1003" y="217"/>
                  <a:pt x="1003" y="217"/>
                </a:cubicBezTo>
                <a:cubicBezTo>
                  <a:pt x="1003" y="217"/>
                  <a:pt x="1003" y="217"/>
                  <a:pt x="1003" y="216"/>
                </a:cubicBezTo>
                <a:cubicBezTo>
                  <a:pt x="1003" y="216"/>
                  <a:pt x="1003" y="216"/>
                  <a:pt x="1003" y="216"/>
                </a:cubicBezTo>
                <a:cubicBezTo>
                  <a:pt x="1003" y="215"/>
                  <a:pt x="1003" y="215"/>
                  <a:pt x="1003" y="215"/>
                </a:cubicBezTo>
                <a:cubicBezTo>
                  <a:pt x="1004" y="215"/>
                  <a:pt x="1004" y="214"/>
                  <a:pt x="1005" y="214"/>
                </a:cubicBezTo>
                <a:cubicBezTo>
                  <a:pt x="1005" y="213"/>
                  <a:pt x="1005" y="213"/>
                  <a:pt x="1005" y="213"/>
                </a:cubicBezTo>
                <a:cubicBezTo>
                  <a:pt x="1005" y="213"/>
                  <a:pt x="1005" y="213"/>
                  <a:pt x="1005" y="213"/>
                </a:cubicBezTo>
                <a:cubicBezTo>
                  <a:pt x="1005" y="212"/>
                  <a:pt x="1005" y="212"/>
                  <a:pt x="1005" y="212"/>
                </a:cubicBezTo>
                <a:cubicBezTo>
                  <a:pt x="1006" y="212"/>
                  <a:pt x="1006" y="211"/>
                  <a:pt x="1006" y="211"/>
                </a:cubicBezTo>
                <a:cubicBezTo>
                  <a:pt x="1007" y="211"/>
                  <a:pt x="1007" y="211"/>
                  <a:pt x="1007" y="211"/>
                </a:cubicBezTo>
                <a:cubicBezTo>
                  <a:pt x="1008" y="211"/>
                  <a:pt x="1008" y="211"/>
                  <a:pt x="1008" y="211"/>
                </a:cubicBezTo>
                <a:cubicBezTo>
                  <a:pt x="1008" y="211"/>
                  <a:pt x="1009" y="211"/>
                  <a:pt x="1009" y="211"/>
                </a:cubicBezTo>
                <a:cubicBezTo>
                  <a:pt x="1010" y="210"/>
                  <a:pt x="1010" y="210"/>
                  <a:pt x="1010" y="210"/>
                </a:cubicBezTo>
                <a:cubicBezTo>
                  <a:pt x="1011" y="210"/>
                  <a:pt x="1011" y="210"/>
                  <a:pt x="1011" y="210"/>
                </a:cubicBezTo>
                <a:cubicBezTo>
                  <a:pt x="1011" y="210"/>
                  <a:pt x="1011" y="211"/>
                  <a:pt x="1011" y="211"/>
                </a:cubicBezTo>
                <a:cubicBezTo>
                  <a:pt x="1012" y="212"/>
                  <a:pt x="1013" y="212"/>
                  <a:pt x="1014" y="213"/>
                </a:cubicBezTo>
                <a:cubicBezTo>
                  <a:pt x="1014" y="213"/>
                  <a:pt x="1014" y="213"/>
                  <a:pt x="1014" y="214"/>
                </a:cubicBezTo>
                <a:cubicBezTo>
                  <a:pt x="1014" y="214"/>
                  <a:pt x="1015" y="214"/>
                  <a:pt x="1015" y="215"/>
                </a:cubicBezTo>
                <a:cubicBezTo>
                  <a:pt x="1015" y="215"/>
                  <a:pt x="1016" y="215"/>
                  <a:pt x="1016" y="215"/>
                </a:cubicBezTo>
                <a:cubicBezTo>
                  <a:pt x="1017" y="214"/>
                  <a:pt x="1017" y="214"/>
                  <a:pt x="1018" y="213"/>
                </a:cubicBezTo>
                <a:cubicBezTo>
                  <a:pt x="1018" y="213"/>
                  <a:pt x="1019" y="213"/>
                  <a:pt x="1019" y="212"/>
                </a:cubicBezTo>
                <a:cubicBezTo>
                  <a:pt x="1019" y="212"/>
                  <a:pt x="1018" y="211"/>
                  <a:pt x="1018" y="211"/>
                </a:cubicBezTo>
                <a:cubicBezTo>
                  <a:pt x="1018" y="210"/>
                  <a:pt x="1018" y="210"/>
                  <a:pt x="1018" y="210"/>
                </a:cubicBezTo>
                <a:cubicBezTo>
                  <a:pt x="1018" y="209"/>
                  <a:pt x="1018" y="209"/>
                  <a:pt x="1018" y="209"/>
                </a:cubicBezTo>
                <a:cubicBezTo>
                  <a:pt x="1019" y="209"/>
                  <a:pt x="1019" y="208"/>
                  <a:pt x="1019" y="207"/>
                </a:cubicBezTo>
                <a:cubicBezTo>
                  <a:pt x="1019" y="207"/>
                  <a:pt x="1019" y="207"/>
                  <a:pt x="1019" y="207"/>
                </a:cubicBezTo>
                <a:cubicBezTo>
                  <a:pt x="1018" y="207"/>
                  <a:pt x="1018" y="207"/>
                  <a:pt x="1018" y="207"/>
                </a:cubicBezTo>
                <a:cubicBezTo>
                  <a:pt x="1018" y="207"/>
                  <a:pt x="1017" y="208"/>
                  <a:pt x="1017" y="208"/>
                </a:cubicBezTo>
                <a:cubicBezTo>
                  <a:pt x="1017" y="208"/>
                  <a:pt x="1017" y="208"/>
                  <a:pt x="1017" y="208"/>
                </a:cubicBezTo>
                <a:cubicBezTo>
                  <a:pt x="1016" y="208"/>
                  <a:pt x="1016" y="207"/>
                  <a:pt x="1015" y="207"/>
                </a:cubicBezTo>
                <a:cubicBezTo>
                  <a:pt x="1015" y="207"/>
                  <a:pt x="1015" y="206"/>
                  <a:pt x="1014" y="206"/>
                </a:cubicBezTo>
                <a:cubicBezTo>
                  <a:pt x="1014" y="206"/>
                  <a:pt x="1014" y="205"/>
                  <a:pt x="1014" y="205"/>
                </a:cubicBezTo>
                <a:cubicBezTo>
                  <a:pt x="1015" y="205"/>
                  <a:pt x="1015" y="205"/>
                  <a:pt x="1015" y="205"/>
                </a:cubicBezTo>
                <a:cubicBezTo>
                  <a:pt x="1015" y="205"/>
                  <a:pt x="1016" y="205"/>
                  <a:pt x="1016" y="204"/>
                </a:cubicBezTo>
                <a:cubicBezTo>
                  <a:pt x="1015" y="204"/>
                  <a:pt x="1015" y="204"/>
                  <a:pt x="1015" y="204"/>
                </a:cubicBezTo>
                <a:cubicBezTo>
                  <a:pt x="1015" y="204"/>
                  <a:pt x="1014" y="204"/>
                  <a:pt x="1014" y="205"/>
                </a:cubicBezTo>
                <a:cubicBezTo>
                  <a:pt x="1014" y="205"/>
                  <a:pt x="1014" y="204"/>
                  <a:pt x="1014" y="204"/>
                </a:cubicBezTo>
                <a:cubicBezTo>
                  <a:pt x="1014" y="204"/>
                  <a:pt x="1014" y="203"/>
                  <a:pt x="1014" y="202"/>
                </a:cubicBezTo>
                <a:cubicBezTo>
                  <a:pt x="1014" y="202"/>
                  <a:pt x="1014" y="202"/>
                  <a:pt x="1014" y="201"/>
                </a:cubicBezTo>
                <a:cubicBezTo>
                  <a:pt x="1015" y="201"/>
                  <a:pt x="1016" y="201"/>
                  <a:pt x="1016" y="201"/>
                </a:cubicBezTo>
                <a:cubicBezTo>
                  <a:pt x="1016" y="201"/>
                  <a:pt x="1017" y="201"/>
                  <a:pt x="1017" y="201"/>
                </a:cubicBezTo>
                <a:cubicBezTo>
                  <a:pt x="1017" y="201"/>
                  <a:pt x="1017" y="201"/>
                  <a:pt x="1017" y="201"/>
                </a:cubicBezTo>
                <a:cubicBezTo>
                  <a:pt x="1017" y="200"/>
                  <a:pt x="1018" y="200"/>
                  <a:pt x="1018" y="200"/>
                </a:cubicBezTo>
                <a:cubicBezTo>
                  <a:pt x="1019" y="200"/>
                  <a:pt x="1019" y="200"/>
                  <a:pt x="1019" y="200"/>
                </a:cubicBezTo>
                <a:cubicBezTo>
                  <a:pt x="1019" y="200"/>
                  <a:pt x="1019" y="200"/>
                  <a:pt x="1020" y="200"/>
                </a:cubicBezTo>
                <a:cubicBezTo>
                  <a:pt x="1020" y="200"/>
                  <a:pt x="1020" y="200"/>
                  <a:pt x="1020" y="200"/>
                </a:cubicBezTo>
                <a:cubicBezTo>
                  <a:pt x="1021" y="200"/>
                  <a:pt x="1021" y="200"/>
                  <a:pt x="1022" y="200"/>
                </a:cubicBezTo>
                <a:cubicBezTo>
                  <a:pt x="1022" y="200"/>
                  <a:pt x="1022" y="200"/>
                  <a:pt x="1022" y="200"/>
                </a:cubicBezTo>
                <a:cubicBezTo>
                  <a:pt x="1023" y="200"/>
                  <a:pt x="1023" y="200"/>
                  <a:pt x="1023" y="200"/>
                </a:cubicBezTo>
                <a:cubicBezTo>
                  <a:pt x="1023" y="200"/>
                  <a:pt x="1023" y="200"/>
                  <a:pt x="1023" y="200"/>
                </a:cubicBezTo>
                <a:cubicBezTo>
                  <a:pt x="1023" y="200"/>
                  <a:pt x="1023" y="199"/>
                  <a:pt x="1023" y="199"/>
                </a:cubicBezTo>
                <a:cubicBezTo>
                  <a:pt x="1023" y="199"/>
                  <a:pt x="1023" y="199"/>
                  <a:pt x="1024" y="199"/>
                </a:cubicBezTo>
                <a:cubicBezTo>
                  <a:pt x="1024" y="199"/>
                  <a:pt x="1024" y="199"/>
                  <a:pt x="1024" y="199"/>
                </a:cubicBezTo>
                <a:cubicBezTo>
                  <a:pt x="1024" y="199"/>
                  <a:pt x="1024" y="199"/>
                  <a:pt x="1025" y="200"/>
                </a:cubicBezTo>
                <a:cubicBezTo>
                  <a:pt x="1025" y="200"/>
                  <a:pt x="1025" y="200"/>
                  <a:pt x="1026" y="200"/>
                </a:cubicBezTo>
                <a:cubicBezTo>
                  <a:pt x="1026" y="200"/>
                  <a:pt x="1026" y="200"/>
                  <a:pt x="1027" y="200"/>
                </a:cubicBezTo>
                <a:cubicBezTo>
                  <a:pt x="1028" y="200"/>
                  <a:pt x="1028" y="200"/>
                  <a:pt x="1029" y="200"/>
                </a:cubicBezTo>
                <a:cubicBezTo>
                  <a:pt x="1030" y="200"/>
                  <a:pt x="1030" y="201"/>
                  <a:pt x="1031" y="201"/>
                </a:cubicBezTo>
                <a:cubicBezTo>
                  <a:pt x="1032" y="201"/>
                  <a:pt x="1034" y="201"/>
                  <a:pt x="1035" y="201"/>
                </a:cubicBezTo>
                <a:cubicBezTo>
                  <a:pt x="1035" y="201"/>
                  <a:pt x="1036" y="201"/>
                  <a:pt x="1036" y="201"/>
                </a:cubicBezTo>
                <a:cubicBezTo>
                  <a:pt x="1036" y="201"/>
                  <a:pt x="1036" y="201"/>
                  <a:pt x="1036" y="202"/>
                </a:cubicBezTo>
                <a:cubicBezTo>
                  <a:pt x="1036" y="201"/>
                  <a:pt x="1036" y="201"/>
                  <a:pt x="1036" y="201"/>
                </a:cubicBezTo>
                <a:cubicBezTo>
                  <a:pt x="1036" y="201"/>
                  <a:pt x="1036" y="201"/>
                  <a:pt x="1036" y="201"/>
                </a:cubicBezTo>
                <a:cubicBezTo>
                  <a:pt x="1036" y="201"/>
                  <a:pt x="1036" y="200"/>
                  <a:pt x="1036" y="200"/>
                </a:cubicBezTo>
                <a:cubicBezTo>
                  <a:pt x="1036" y="200"/>
                  <a:pt x="1036" y="200"/>
                  <a:pt x="1035" y="200"/>
                </a:cubicBezTo>
                <a:cubicBezTo>
                  <a:pt x="1035" y="199"/>
                  <a:pt x="1035" y="199"/>
                  <a:pt x="1036" y="199"/>
                </a:cubicBezTo>
                <a:cubicBezTo>
                  <a:pt x="1036" y="199"/>
                  <a:pt x="1036" y="199"/>
                  <a:pt x="1036" y="199"/>
                </a:cubicBezTo>
                <a:cubicBezTo>
                  <a:pt x="1036" y="199"/>
                  <a:pt x="1036" y="199"/>
                  <a:pt x="1036" y="200"/>
                </a:cubicBezTo>
                <a:cubicBezTo>
                  <a:pt x="1037" y="200"/>
                  <a:pt x="1037" y="200"/>
                  <a:pt x="1037" y="199"/>
                </a:cubicBezTo>
                <a:cubicBezTo>
                  <a:pt x="1037" y="199"/>
                  <a:pt x="1037" y="199"/>
                  <a:pt x="1037" y="199"/>
                </a:cubicBezTo>
                <a:cubicBezTo>
                  <a:pt x="1038" y="199"/>
                  <a:pt x="1038" y="199"/>
                  <a:pt x="1038" y="198"/>
                </a:cubicBezTo>
                <a:cubicBezTo>
                  <a:pt x="1038" y="199"/>
                  <a:pt x="1039" y="199"/>
                  <a:pt x="1039" y="199"/>
                </a:cubicBezTo>
                <a:cubicBezTo>
                  <a:pt x="1040" y="199"/>
                  <a:pt x="1040" y="199"/>
                  <a:pt x="1041" y="198"/>
                </a:cubicBezTo>
                <a:cubicBezTo>
                  <a:pt x="1041" y="198"/>
                  <a:pt x="1041" y="198"/>
                  <a:pt x="1041" y="198"/>
                </a:cubicBezTo>
                <a:cubicBezTo>
                  <a:pt x="1041" y="198"/>
                  <a:pt x="1041" y="198"/>
                  <a:pt x="1042" y="198"/>
                </a:cubicBezTo>
                <a:cubicBezTo>
                  <a:pt x="1042" y="198"/>
                  <a:pt x="1043" y="198"/>
                  <a:pt x="1043" y="198"/>
                </a:cubicBezTo>
                <a:cubicBezTo>
                  <a:pt x="1044" y="198"/>
                  <a:pt x="1044" y="198"/>
                  <a:pt x="1044" y="198"/>
                </a:cubicBezTo>
                <a:cubicBezTo>
                  <a:pt x="1044" y="197"/>
                  <a:pt x="1043" y="197"/>
                  <a:pt x="1043" y="197"/>
                </a:cubicBezTo>
                <a:cubicBezTo>
                  <a:pt x="1043" y="197"/>
                  <a:pt x="1042" y="196"/>
                  <a:pt x="1042" y="196"/>
                </a:cubicBezTo>
                <a:cubicBezTo>
                  <a:pt x="1042" y="197"/>
                  <a:pt x="1042" y="197"/>
                  <a:pt x="1042" y="197"/>
                </a:cubicBezTo>
                <a:cubicBezTo>
                  <a:pt x="1041" y="197"/>
                  <a:pt x="1041" y="197"/>
                  <a:pt x="1040" y="197"/>
                </a:cubicBezTo>
                <a:cubicBezTo>
                  <a:pt x="1040" y="196"/>
                  <a:pt x="1040" y="196"/>
                  <a:pt x="1040" y="196"/>
                </a:cubicBezTo>
                <a:cubicBezTo>
                  <a:pt x="1039" y="196"/>
                  <a:pt x="1039" y="196"/>
                  <a:pt x="1038" y="196"/>
                </a:cubicBezTo>
                <a:cubicBezTo>
                  <a:pt x="1038" y="195"/>
                  <a:pt x="1037" y="195"/>
                  <a:pt x="1037" y="195"/>
                </a:cubicBezTo>
                <a:cubicBezTo>
                  <a:pt x="1037" y="195"/>
                  <a:pt x="1037" y="194"/>
                  <a:pt x="1037" y="194"/>
                </a:cubicBezTo>
                <a:cubicBezTo>
                  <a:pt x="1038" y="194"/>
                  <a:pt x="1038" y="195"/>
                  <a:pt x="1039" y="195"/>
                </a:cubicBezTo>
                <a:cubicBezTo>
                  <a:pt x="1039" y="195"/>
                  <a:pt x="1039" y="194"/>
                  <a:pt x="1039" y="194"/>
                </a:cubicBezTo>
                <a:cubicBezTo>
                  <a:pt x="1038" y="194"/>
                  <a:pt x="1038" y="194"/>
                  <a:pt x="1038" y="194"/>
                </a:cubicBezTo>
                <a:cubicBezTo>
                  <a:pt x="1038" y="194"/>
                  <a:pt x="1039" y="194"/>
                  <a:pt x="1039" y="193"/>
                </a:cubicBezTo>
                <a:cubicBezTo>
                  <a:pt x="1039" y="193"/>
                  <a:pt x="1038" y="193"/>
                  <a:pt x="1038" y="193"/>
                </a:cubicBezTo>
                <a:cubicBezTo>
                  <a:pt x="1038" y="193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5" y="195"/>
                  <a:pt x="1035" y="195"/>
                </a:cubicBezTo>
                <a:cubicBezTo>
                  <a:pt x="1035" y="195"/>
                  <a:pt x="1035" y="195"/>
                  <a:pt x="1034" y="195"/>
                </a:cubicBezTo>
                <a:cubicBezTo>
                  <a:pt x="1034" y="194"/>
                  <a:pt x="1034" y="194"/>
                  <a:pt x="1034" y="194"/>
                </a:cubicBezTo>
                <a:cubicBezTo>
                  <a:pt x="1034" y="194"/>
                  <a:pt x="1034" y="194"/>
                  <a:pt x="1033" y="194"/>
                </a:cubicBezTo>
                <a:cubicBezTo>
                  <a:pt x="1033" y="194"/>
                  <a:pt x="1033" y="194"/>
                  <a:pt x="1033" y="194"/>
                </a:cubicBezTo>
                <a:cubicBezTo>
                  <a:pt x="1033" y="194"/>
                  <a:pt x="1033" y="194"/>
                  <a:pt x="1033" y="194"/>
                </a:cubicBezTo>
                <a:cubicBezTo>
                  <a:pt x="1033" y="194"/>
                  <a:pt x="1033" y="195"/>
                  <a:pt x="1033" y="195"/>
                </a:cubicBezTo>
                <a:cubicBezTo>
                  <a:pt x="1033" y="195"/>
                  <a:pt x="1032" y="195"/>
                  <a:pt x="1031" y="195"/>
                </a:cubicBezTo>
                <a:cubicBezTo>
                  <a:pt x="1031" y="195"/>
                  <a:pt x="1031" y="194"/>
                  <a:pt x="1031" y="194"/>
                </a:cubicBezTo>
                <a:cubicBezTo>
                  <a:pt x="1030" y="194"/>
                  <a:pt x="1030" y="194"/>
                  <a:pt x="1029" y="194"/>
                </a:cubicBezTo>
                <a:cubicBezTo>
                  <a:pt x="1029" y="195"/>
                  <a:pt x="1029" y="195"/>
                  <a:pt x="1028" y="195"/>
                </a:cubicBezTo>
                <a:cubicBezTo>
                  <a:pt x="1028" y="195"/>
                  <a:pt x="1028" y="195"/>
                  <a:pt x="1028" y="194"/>
                </a:cubicBezTo>
                <a:cubicBezTo>
                  <a:pt x="1028" y="194"/>
                  <a:pt x="1028" y="194"/>
                  <a:pt x="1028" y="194"/>
                </a:cubicBezTo>
                <a:cubicBezTo>
                  <a:pt x="1027" y="194"/>
                  <a:pt x="1027" y="195"/>
                  <a:pt x="1027" y="195"/>
                </a:cubicBezTo>
                <a:cubicBezTo>
                  <a:pt x="1027" y="195"/>
                  <a:pt x="1027" y="195"/>
                  <a:pt x="1027" y="195"/>
                </a:cubicBezTo>
                <a:cubicBezTo>
                  <a:pt x="1027" y="195"/>
                  <a:pt x="1026" y="194"/>
                  <a:pt x="1026" y="194"/>
                </a:cubicBezTo>
                <a:cubicBezTo>
                  <a:pt x="1026" y="194"/>
                  <a:pt x="1026" y="194"/>
                  <a:pt x="1026" y="195"/>
                </a:cubicBezTo>
                <a:cubicBezTo>
                  <a:pt x="1026" y="195"/>
                  <a:pt x="1025" y="195"/>
                  <a:pt x="1025" y="195"/>
                </a:cubicBezTo>
                <a:cubicBezTo>
                  <a:pt x="1025" y="194"/>
                  <a:pt x="1025" y="194"/>
                  <a:pt x="1025" y="194"/>
                </a:cubicBezTo>
                <a:cubicBezTo>
                  <a:pt x="1025" y="194"/>
                  <a:pt x="1024" y="194"/>
                  <a:pt x="1024" y="194"/>
                </a:cubicBezTo>
                <a:cubicBezTo>
                  <a:pt x="1024" y="194"/>
                  <a:pt x="1025" y="195"/>
                  <a:pt x="1025" y="195"/>
                </a:cubicBezTo>
                <a:cubicBezTo>
                  <a:pt x="1024" y="195"/>
                  <a:pt x="1024" y="195"/>
                  <a:pt x="1024" y="195"/>
                </a:cubicBezTo>
                <a:cubicBezTo>
                  <a:pt x="1024" y="195"/>
                  <a:pt x="1024" y="195"/>
                  <a:pt x="1024" y="196"/>
                </a:cubicBezTo>
                <a:cubicBezTo>
                  <a:pt x="1023" y="196"/>
                  <a:pt x="1023" y="195"/>
                  <a:pt x="1023" y="195"/>
                </a:cubicBezTo>
                <a:cubicBezTo>
                  <a:pt x="1023" y="195"/>
                  <a:pt x="1023" y="195"/>
                  <a:pt x="1023" y="195"/>
                </a:cubicBezTo>
                <a:cubicBezTo>
                  <a:pt x="1023" y="195"/>
                  <a:pt x="1023" y="195"/>
                  <a:pt x="1023" y="195"/>
                </a:cubicBezTo>
                <a:cubicBezTo>
                  <a:pt x="1023" y="195"/>
                  <a:pt x="1023" y="195"/>
                  <a:pt x="1022" y="195"/>
                </a:cubicBezTo>
                <a:cubicBezTo>
                  <a:pt x="1022" y="195"/>
                  <a:pt x="1022" y="195"/>
                  <a:pt x="1021" y="195"/>
                </a:cubicBezTo>
                <a:cubicBezTo>
                  <a:pt x="1021" y="195"/>
                  <a:pt x="1020" y="195"/>
                  <a:pt x="1020" y="195"/>
                </a:cubicBezTo>
                <a:cubicBezTo>
                  <a:pt x="1020" y="195"/>
                  <a:pt x="1020" y="195"/>
                  <a:pt x="1020" y="195"/>
                </a:cubicBezTo>
                <a:cubicBezTo>
                  <a:pt x="1019" y="196"/>
                  <a:pt x="1018" y="196"/>
                  <a:pt x="1017" y="196"/>
                </a:cubicBezTo>
                <a:cubicBezTo>
                  <a:pt x="1017" y="196"/>
                  <a:pt x="1017" y="196"/>
                  <a:pt x="1016" y="196"/>
                </a:cubicBezTo>
                <a:cubicBezTo>
                  <a:pt x="1016" y="197"/>
                  <a:pt x="1015" y="197"/>
                  <a:pt x="1015" y="197"/>
                </a:cubicBezTo>
                <a:cubicBezTo>
                  <a:pt x="1014" y="197"/>
                  <a:pt x="1014" y="197"/>
                  <a:pt x="1014" y="197"/>
                </a:cubicBezTo>
                <a:cubicBezTo>
                  <a:pt x="1013" y="197"/>
                  <a:pt x="1013" y="197"/>
                  <a:pt x="1013" y="197"/>
                </a:cubicBezTo>
                <a:cubicBezTo>
                  <a:pt x="1013" y="197"/>
                  <a:pt x="1013" y="197"/>
                  <a:pt x="1013" y="197"/>
                </a:cubicBezTo>
                <a:cubicBezTo>
                  <a:pt x="1012" y="197"/>
                  <a:pt x="1012" y="197"/>
                  <a:pt x="1012" y="197"/>
                </a:cubicBezTo>
                <a:cubicBezTo>
                  <a:pt x="1012" y="197"/>
                  <a:pt x="1012" y="198"/>
                  <a:pt x="1011" y="198"/>
                </a:cubicBezTo>
                <a:cubicBezTo>
                  <a:pt x="1011" y="198"/>
                  <a:pt x="1011" y="198"/>
                  <a:pt x="1011" y="198"/>
                </a:cubicBezTo>
                <a:cubicBezTo>
                  <a:pt x="1011" y="198"/>
                  <a:pt x="1011" y="198"/>
                  <a:pt x="1011" y="197"/>
                </a:cubicBezTo>
                <a:cubicBezTo>
                  <a:pt x="1011" y="197"/>
                  <a:pt x="1011" y="197"/>
                  <a:pt x="1011" y="197"/>
                </a:cubicBezTo>
                <a:cubicBezTo>
                  <a:pt x="1011" y="196"/>
                  <a:pt x="1010" y="196"/>
                  <a:pt x="1010" y="195"/>
                </a:cubicBezTo>
                <a:cubicBezTo>
                  <a:pt x="1010" y="195"/>
                  <a:pt x="1010" y="195"/>
                  <a:pt x="1010" y="195"/>
                </a:cubicBezTo>
                <a:cubicBezTo>
                  <a:pt x="1010" y="195"/>
                  <a:pt x="1010" y="195"/>
                  <a:pt x="1010" y="194"/>
                </a:cubicBezTo>
                <a:cubicBezTo>
                  <a:pt x="1010" y="195"/>
                  <a:pt x="1009" y="195"/>
                  <a:pt x="1009" y="195"/>
                </a:cubicBezTo>
                <a:cubicBezTo>
                  <a:pt x="1009" y="195"/>
                  <a:pt x="1009" y="195"/>
                  <a:pt x="1008" y="195"/>
                </a:cubicBezTo>
                <a:cubicBezTo>
                  <a:pt x="1009" y="195"/>
                  <a:pt x="1009" y="195"/>
                  <a:pt x="1009" y="194"/>
                </a:cubicBezTo>
                <a:cubicBezTo>
                  <a:pt x="1009" y="194"/>
                  <a:pt x="1009" y="194"/>
                  <a:pt x="1008" y="194"/>
                </a:cubicBezTo>
                <a:cubicBezTo>
                  <a:pt x="1008" y="194"/>
                  <a:pt x="1007" y="194"/>
                  <a:pt x="1007" y="194"/>
                </a:cubicBezTo>
                <a:cubicBezTo>
                  <a:pt x="1007" y="194"/>
                  <a:pt x="1006" y="194"/>
                  <a:pt x="1006" y="194"/>
                </a:cubicBezTo>
                <a:cubicBezTo>
                  <a:pt x="1006" y="194"/>
                  <a:pt x="1005" y="194"/>
                  <a:pt x="1005" y="194"/>
                </a:cubicBezTo>
                <a:cubicBezTo>
                  <a:pt x="1005" y="194"/>
                  <a:pt x="1004" y="193"/>
                  <a:pt x="1004" y="193"/>
                </a:cubicBezTo>
                <a:cubicBezTo>
                  <a:pt x="1004" y="193"/>
                  <a:pt x="1004" y="193"/>
                  <a:pt x="1004" y="193"/>
                </a:cubicBezTo>
                <a:cubicBezTo>
                  <a:pt x="1004" y="193"/>
                  <a:pt x="1003" y="193"/>
                  <a:pt x="1003" y="193"/>
                </a:cubicBezTo>
                <a:cubicBezTo>
                  <a:pt x="1003" y="193"/>
                  <a:pt x="1002" y="193"/>
                  <a:pt x="1002" y="193"/>
                </a:cubicBezTo>
                <a:cubicBezTo>
                  <a:pt x="1002" y="193"/>
                  <a:pt x="1001" y="193"/>
                  <a:pt x="1001" y="193"/>
                </a:cubicBezTo>
                <a:cubicBezTo>
                  <a:pt x="1001" y="193"/>
                  <a:pt x="1001" y="193"/>
                  <a:pt x="1001" y="193"/>
                </a:cubicBezTo>
                <a:cubicBezTo>
                  <a:pt x="1001" y="192"/>
                  <a:pt x="1002" y="192"/>
                  <a:pt x="1002" y="192"/>
                </a:cubicBezTo>
                <a:cubicBezTo>
                  <a:pt x="1002" y="192"/>
                  <a:pt x="1001" y="191"/>
                  <a:pt x="1001" y="191"/>
                </a:cubicBezTo>
                <a:cubicBezTo>
                  <a:pt x="1001" y="191"/>
                  <a:pt x="1001" y="190"/>
                  <a:pt x="1001" y="190"/>
                </a:cubicBezTo>
                <a:cubicBezTo>
                  <a:pt x="1001" y="190"/>
                  <a:pt x="1002" y="189"/>
                  <a:pt x="1002" y="189"/>
                </a:cubicBezTo>
                <a:cubicBezTo>
                  <a:pt x="1002" y="189"/>
                  <a:pt x="1002" y="188"/>
                  <a:pt x="1002" y="188"/>
                </a:cubicBezTo>
                <a:cubicBezTo>
                  <a:pt x="1002" y="188"/>
                  <a:pt x="1002" y="188"/>
                  <a:pt x="1002" y="188"/>
                </a:cubicBezTo>
                <a:cubicBezTo>
                  <a:pt x="1002" y="188"/>
                  <a:pt x="1002" y="187"/>
                  <a:pt x="1002" y="187"/>
                </a:cubicBezTo>
                <a:cubicBezTo>
                  <a:pt x="1002" y="187"/>
                  <a:pt x="1002" y="187"/>
                  <a:pt x="1002" y="187"/>
                </a:cubicBezTo>
                <a:cubicBezTo>
                  <a:pt x="1002" y="186"/>
                  <a:pt x="1002" y="186"/>
                  <a:pt x="1001" y="186"/>
                </a:cubicBezTo>
                <a:cubicBezTo>
                  <a:pt x="1001" y="186"/>
                  <a:pt x="1001" y="185"/>
                  <a:pt x="1000" y="185"/>
                </a:cubicBezTo>
                <a:cubicBezTo>
                  <a:pt x="1000" y="185"/>
                  <a:pt x="1001" y="185"/>
                  <a:pt x="1001" y="185"/>
                </a:cubicBezTo>
                <a:cubicBezTo>
                  <a:pt x="1001" y="184"/>
                  <a:pt x="1000" y="184"/>
                  <a:pt x="1000" y="184"/>
                </a:cubicBezTo>
                <a:cubicBezTo>
                  <a:pt x="1000" y="184"/>
                  <a:pt x="1000" y="184"/>
                  <a:pt x="1001" y="184"/>
                </a:cubicBezTo>
                <a:cubicBezTo>
                  <a:pt x="1001" y="183"/>
                  <a:pt x="1001" y="183"/>
                  <a:pt x="1001" y="183"/>
                </a:cubicBezTo>
                <a:cubicBezTo>
                  <a:pt x="1001" y="183"/>
                  <a:pt x="1000" y="183"/>
                  <a:pt x="1000" y="182"/>
                </a:cubicBezTo>
                <a:cubicBezTo>
                  <a:pt x="1000" y="182"/>
                  <a:pt x="1000" y="182"/>
                  <a:pt x="999" y="183"/>
                </a:cubicBezTo>
                <a:cubicBezTo>
                  <a:pt x="999" y="182"/>
                  <a:pt x="999" y="182"/>
                  <a:pt x="999" y="182"/>
                </a:cubicBezTo>
                <a:cubicBezTo>
                  <a:pt x="999" y="182"/>
                  <a:pt x="1000" y="182"/>
                  <a:pt x="1000" y="181"/>
                </a:cubicBezTo>
                <a:cubicBezTo>
                  <a:pt x="1000" y="181"/>
                  <a:pt x="999" y="181"/>
                  <a:pt x="999" y="181"/>
                </a:cubicBezTo>
                <a:cubicBezTo>
                  <a:pt x="999" y="181"/>
                  <a:pt x="999" y="181"/>
                  <a:pt x="999" y="180"/>
                </a:cubicBezTo>
                <a:cubicBezTo>
                  <a:pt x="999" y="180"/>
                  <a:pt x="999" y="180"/>
                  <a:pt x="1000" y="180"/>
                </a:cubicBezTo>
                <a:cubicBezTo>
                  <a:pt x="1000" y="180"/>
                  <a:pt x="1000" y="180"/>
                  <a:pt x="1000" y="180"/>
                </a:cubicBezTo>
                <a:cubicBezTo>
                  <a:pt x="1000" y="180"/>
                  <a:pt x="1000" y="179"/>
                  <a:pt x="1001" y="179"/>
                </a:cubicBezTo>
                <a:cubicBezTo>
                  <a:pt x="1000" y="179"/>
                  <a:pt x="1000" y="179"/>
                  <a:pt x="1000" y="178"/>
                </a:cubicBezTo>
                <a:cubicBezTo>
                  <a:pt x="1000" y="178"/>
                  <a:pt x="1001" y="178"/>
                  <a:pt x="1001" y="178"/>
                </a:cubicBezTo>
                <a:cubicBezTo>
                  <a:pt x="1001" y="178"/>
                  <a:pt x="1001" y="178"/>
                  <a:pt x="1000" y="177"/>
                </a:cubicBezTo>
                <a:cubicBezTo>
                  <a:pt x="1001" y="177"/>
                  <a:pt x="1001" y="177"/>
                  <a:pt x="1001" y="177"/>
                </a:cubicBezTo>
                <a:cubicBezTo>
                  <a:pt x="1002" y="177"/>
                  <a:pt x="1002" y="177"/>
                  <a:pt x="1002" y="177"/>
                </a:cubicBezTo>
                <a:cubicBezTo>
                  <a:pt x="1002" y="177"/>
                  <a:pt x="1002" y="178"/>
                  <a:pt x="1002" y="178"/>
                </a:cubicBezTo>
                <a:cubicBezTo>
                  <a:pt x="1002" y="178"/>
                  <a:pt x="1002" y="178"/>
                  <a:pt x="1003" y="178"/>
                </a:cubicBezTo>
                <a:cubicBezTo>
                  <a:pt x="1003" y="178"/>
                  <a:pt x="1003" y="178"/>
                  <a:pt x="1004" y="178"/>
                </a:cubicBezTo>
                <a:cubicBezTo>
                  <a:pt x="1004" y="177"/>
                  <a:pt x="1004" y="177"/>
                  <a:pt x="1004" y="177"/>
                </a:cubicBezTo>
                <a:cubicBezTo>
                  <a:pt x="1004" y="177"/>
                  <a:pt x="1004" y="177"/>
                  <a:pt x="1005" y="177"/>
                </a:cubicBezTo>
                <a:cubicBezTo>
                  <a:pt x="1005" y="177"/>
                  <a:pt x="1005" y="176"/>
                  <a:pt x="1005" y="176"/>
                </a:cubicBezTo>
                <a:cubicBezTo>
                  <a:pt x="1004" y="176"/>
                  <a:pt x="1004" y="176"/>
                  <a:pt x="1004" y="176"/>
                </a:cubicBezTo>
                <a:cubicBezTo>
                  <a:pt x="1004" y="176"/>
                  <a:pt x="1004" y="176"/>
                  <a:pt x="1004" y="176"/>
                </a:cubicBezTo>
                <a:cubicBezTo>
                  <a:pt x="1005" y="176"/>
                  <a:pt x="1005" y="176"/>
                  <a:pt x="1005" y="176"/>
                </a:cubicBezTo>
                <a:cubicBezTo>
                  <a:pt x="1005" y="176"/>
                  <a:pt x="1005" y="176"/>
                  <a:pt x="1005" y="175"/>
                </a:cubicBezTo>
                <a:cubicBezTo>
                  <a:pt x="1005" y="175"/>
                  <a:pt x="1005" y="175"/>
                  <a:pt x="1005" y="175"/>
                </a:cubicBezTo>
                <a:cubicBezTo>
                  <a:pt x="1006" y="175"/>
                  <a:pt x="1006" y="175"/>
                  <a:pt x="1006" y="174"/>
                </a:cubicBezTo>
                <a:cubicBezTo>
                  <a:pt x="1006" y="175"/>
                  <a:pt x="1006" y="175"/>
                  <a:pt x="1007" y="175"/>
                </a:cubicBezTo>
                <a:cubicBezTo>
                  <a:pt x="1007" y="175"/>
                  <a:pt x="1007" y="175"/>
                  <a:pt x="1008" y="175"/>
                </a:cubicBezTo>
                <a:cubicBezTo>
                  <a:pt x="1008" y="175"/>
                  <a:pt x="1007" y="175"/>
                  <a:pt x="1007" y="175"/>
                </a:cubicBezTo>
                <a:cubicBezTo>
                  <a:pt x="1007" y="174"/>
                  <a:pt x="1007" y="174"/>
                  <a:pt x="1007" y="174"/>
                </a:cubicBezTo>
                <a:cubicBezTo>
                  <a:pt x="1007" y="174"/>
                  <a:pt x="1007" y="173"/>
                  <a:pt x="1008" y="173"/>
                </a:cubicBezTo>
                <a:cubicBezTo>
                  <a:pt x="1008" y="173"/>
                  <a:pt x="1008" y="173"/>
                  <a:pt x="1009" y="173"/>
                </a:cubicBezTo>
                <a:cubicBezTo>
                  <a:pt x="1009" y="173"/>
                  <a:pt x="1009" y="173"/>
                  <a:pt x="1009" y="173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10" y="172"/>
                  <a:pt x="1010" y="172"/>
                  <a:pt x="1010" y="172"/>
                </a:cubicBezTo>
                <a:cubicBezTo>
                  <a:pt x="1010" y="172"/>
                  <a:pt x="1010" y="171"/>
                  <a:pt x="1010" y="171"/>
                </a:cubicBezTo>
                <a:cubicBezTo>
                  <a:pt x="1011" y="171"/>
                  <a:pt x="1011" y="170"/>
                  <a:pt x="1012" y="170"/>
                </a:cubicBezTo>
                <a:cubicBezTo>
                  <a:pt x="1012" y="170"/>
                  <a:pt x="1012" y="170"/>
                  <a:pt x="1013" y="170"/>
                </a:cubicBezTo>
                <a:cubicBezTo>
                  <a:pt x="1013" y="169"/>
                  <a:pt x="1013" y="169"/>
                  <a:pt x="1013" y="169"/>
                </a:cubicBezTo>
                <a:cubicBezTo>
                  <a:pt x="1013" y="169"/>
                  <a:pt x="1013" y="169"/>
                  <a:pt x="1014" y="168"/>
                </a:cubicBezTo>
                <a:cubicBezTo>
                  <a:pt x="1014" y="168"/>
                  <a:pt x="1014" y="168"/>
                  <a:pt x="1014" y="168"/>
                </a:cubicBezTo>
                <a:cubicBezTo>
                  <a:pt x="1014" y="168"/>
                  <a:pt x="1015" y="167"/>
                  <a:pt x="1015" y="167"/>
                </a:cubicBezTo>
                <a:cubicBezTo>
                  <a:pt x="1016" y="167"/>
                  <a:pt x="1016" y="167"/>
                  <a:pt x="1017" y="167"/>
                </a:cubicBezTo>
                <a:cubicBezTo>
                  <a:pt x="1017" y="168"/>
                  <a:pt x="1018" y="168"/>
                  <a:pt x="1018" y="168"/>
                </a:cubicBezTo>
                <a:cubicBezTo>
                  <a:pt x="1018" y="168"/>
                  <a:pt x="1018" y="168"/>
                  <a:pt x="1018" y="168"/>
                </a:cubicBezTo>
                <a:cubicBezTo>
                  <a:pt x="1018" y="167"/>
                  <a:pt x="1017" y="167"/>
                  <a:pt x="1017" y="167"/>
                </a:cubicBezTo>
                <a:cubicBezTo>
                  <a:pt x="1017" y="167"/>
                  <a:pt x="1017" y="167"/>
                  <a:pt x="1017" y="167"/>
                </a:cubicBezTo>
                <a:cubicBezTo>
                  <a:pt x="1018" y="167"/>
                  <a:pt x="1018" y="167"/>
                  <a:pt x="1019" y="167"/>
                </a:cubicBezTo>
                <a:cubicBezTo>
                  <a:pt x="1018" y="166"/>
                  <a:pt x="1017" y="166"/>
                  <a:pt x="1017" y="166"/>
                </a:cubicBezTo>
                <a:cubicBezTo>
                  <a:pt x="1017" y="166"/>
                  <a:pt x="1017" y="166"/>
                  <a:pt x="1017" y="165"/>
                </a:cubicBezTo>
                <a:cubicBezTo>
                  <a:pt x="1017" y="165"/>
                  <a:pt x="1017" y="165"/>
                  <a:pt x="1017" y="164"/>
                </a:cubicBezTo>
                <a:cubicBezTo>
                  <a:pt x="1017" y="164"/>
                  <a:pt x="1017" y="164"/>
                  <a:pt x="1017" y="164"/>
                </a:cubicBezTo>
                <a:cubicBezTo>
                  <a:pt x="1017" y="164"/>
                  <a:pt x="1017" y="164"/>
                  <a:pt x="1017" y="164"/>
                </a:cubicBezTo>
                <a:cubicBezTo>
                  <a:pt x="1017" y="163"/>
                  <a:pt x="1017" y="163"/>
                  <a:pt x="1016" y="163"/>
                </a:cubicBezTo>
                <a:cubicBezTo>
                  <a:pt x="1015" y="163"/>
                  <a:pt x="1015" y="163"/>
                  <a:pt x="1014" y="163"/>
                </a:cubicBezTo>
                <a:cubicBezTo>
                  <a:pt x="1014" y="162"/>
                  <a:pt x="1013" y="162"/>
                  <a:pt x="1013" y="162"/>
                </a:cubicBezTo>
                <a:cubicBezTo>
                  <a:pt x="1012" y="162"/>
                  <a:pt x="1012" y="162"/>
                  <a:pt x="1012" y="162"/>
                </a:cubicBezTo>
                <a:cubicBezTo>
                  <a:pt x="1012" y="162"/>
                  <a:pt x="1011" y="162"/>
                  <a:pt x="1011" y="161"/>
                </a:cubicBezTo>
                <a:cubicBezTo>
                  <a:pt x="1011" y="161"/>
                  <a:pt x="1011" y="161"/>
                  <a:pt x="1011" y="161"/>
                </a:cubicBezTo>
                <a:cubicBezTo>
                  <a:pt x="1011" y="162"/>
                  <a:pt x="1011" y="162"/>
                  <a:pt x="1011" y="162"/>
                </a:cubicBezTo>
                <a:cubicBezTo>
                  <a:pt x="1010" y="162"/>
                  <a:pt x="1010" y="162"/>
                  <a:pt x="1009" y="162"/>
                </a:cubicBezTo>
                <a:cubicBezTo>
                  <a:pt x="1009" y="161"/>
                  <a:pt x="1009" y="161"/>
                  <a:pt x="1009" y="161"/>
                </a:cubicBezTo>
                <a:cubicBezTo>
                  <a:pt x="1008" y="161"/>
                  <a:pt x="1008" y="161"/>
                  <a:pt x="1007" y="162"/>
                </a:cubicBezTo>
                <a:cubicBezTo>
                  <a:pt x="1007" y="162"/>
                  <a:pt x="1007" y="161"/>
                  <a:pt x="1007" y="161"/>
                </a:cubicBezTo>
                <a:cubicBezTo>
                  <a:pt x="1006" y="161"/>
                  <a:pt x="1006" y="162"/>
                  <a:pt x="1006" y="162"/>
                </a:cubicBezTo>
                <a:cubicBezTo>
                  <a:pt x="1006" y="162"/>
                  <a:pt x="1005" y="162"/>
                  <a:pt x="1005" y="162"/>
                </a:cubicBezTo>
                <a:cubicBezTo>
                  <a:pt x="1005" y="161"/>
                  <a:pt x="1005" y="161"/>
                  <a:pt x="1005" y="161"/>
                </a:cubicBezTo>
                <a:cubicBezTo>
                  <a:pt x="1004" y="161"/>
                  <a:pt x="1004" y="161"/>
                  <a:pt x="1004" y="162"/>
                </a:cubicBezTo>
                <a:cubicBezTo>
                  <a:pt x="1004" y="161"/>
                  <a:pt x="1003" y="161"/>
                  <a:pt x="1003" y="161"/>
                </a:cubicBezTo>
                <a:cubicBezTo>
                  <a:pt x="1003" y="161"/>
                  <a:pt x="1003" y="161"/>
                  <a:pt x="1002" y="161"/>
                </a:cubicBezTo>
                <a:cubicBezTo>
                  <a:pt x="1002" y="161"/>
                  <a:pt x="1002" y="162"/>
                  <a:pt x="1002" y="162"/>
                </a:cubicBezTo>
                <a:cubicBezTo>
                  <a:pt x="1002" y="162"/>
                  <a:pt x="1002" y="162"/>
                  <a:pt x="1002" y="162"/>
                </a:cubicBezTo>
                <a:cubicBezTo>
                  <a:pt x="1002" y="162"/>
                  <a:pt x="1001" y="162"/>
                  <a:pt x="1001" y="163"/>
                </a:cubicBezTo>
                <a:cubicBezTo>
                  <a:pt x="1001" y="162"/>
                  <a:pt x="1001" y="162"/>
                  <a:pt x="1001" y="162"/>
                </a:cubicBezTo>
                <a:cubicBezTo>
                  <a:pt x="1000" y="162"/>
                  <a:pt x="1000" y="162"/>
                  <a:pt x="1000" y="162"/>
                </a:cubicBezTo>
                <a:cubicBezTo>
                  <a:pt x="1000" y="162"/>
                  <a:pt x="1000" y="163"/>
                  <a:pt x="1000" y="163"/>
                </a:cubicBezTo>
                <a:cubicBezTo>
                  <a:pt x="1001" y="163"/>
                  <a:pt x="1001" y="163"/>
                  <a:pt x="1001" y="163"/>
                </a:cubicBezTo>
                <a:cubicBezTo>
                  <a:pt x="1001" y="163"/>
                  <a:pt x="1001" y="164"/>
                  <a:pt x="1000" y="164"/>
                </a:cubicBezTo>
                <a:cubicBezTo>
                  <a:pt x="1000" y="164"/>
                  <a:pt x="1000" y="164"/>
                  <a:pt x="999" y="164"/>
                </a:cubicBezTo>
                <a:cubicBezTo>
                  <a:pt x="999" y="164"/>
                  <a:pt x="999" y="164"/>
                  <a:pt x="998" y="164"/>
                </a:cubicBezTo>
                <a:cubicBezTo>
                  <a:pt x="999" y="164"/>
                  <a:pt x="999" y="164"/>
                  <a:pt x="999" y="164"/>
                </a:cubicBezTo>
                <a:cubicBezTo>
                  <a:pt x="999" y="164"/>
                  <a:pt x="999" y="165"/>
                  <a:pt x="999" y="165"/>
                </a:cubicBezTo>
                <a:cubicBezTo>
                  <a:pt x="999" y="165"/>
                  <a:pt x="999" y="165"/>
                  <a:pt x="999" y="165"/>
                </a:cubicBezTo>
                <a:cubicBezTo>
                  <a:pt x="999" y="165"/>
                  <a:pt x="999" y="165"/>
                  <a:pt x="999" y="164"/>
                </a:cubicBezTo>
                <a:cubicBezTo>
                  <a:pt x="998" y="164"/>
                  <a:pt x="998" y="164"/>
                  <a:pt x="998" y="164"/>
                </a:cubicBezTo>
                <a:cubicBezTo>
                  <a:pt x="998" y="164"/>
                  <a:pt x="998" y="164"/>
                  <a:pt x="998" y="165"/>
                </a:cubicBezTo>
                <a:cubicBezTo>
                  <a:pt x="998" y="165"/>
                  <a:pt x="998" y="165"/>
                  <a:pt x="998" y="165"/>
                </a:cubicBezTo>
                <a:cubicBezTo>
                  <a:pt x="998" y="165"/>
                  <a:pt x="999" y="165"/>
                  <a:pt x="999" y="165"/>
                </a:cubicBezTo>
                <a:cubicBezTo>
                  <a:pt x="999" y="165"/>
                  <a:pt x="999" y="165"/>
                  <a:pt x="999" y="166"/>
                </a:cubicBezTo>
                <a:cubicBezTo>
                  <a:pt x="999" y="166"/>
                  <a:pt x="999" y="166"/>
                  <a:pt x="999" y="166"/>
                </a:cubicBezTo>
                <a:cubicBezTo>
                  <a:pt x="999" y="166"/>
                  <a:pt x="999" y="167"/>
                  <a:pt x="998" y="167"/>
                </a:cubicBezTo>
                <a:cubicBezTo>
                  <a:pt x="998" y="167"/>
                  <a:pt x="998" y="168"/>
                  <a:pt x="999" y="168"/>
                </a:cubicBezTo>
                <a:cubicBezTo>
                  <a:pt x="998" y="168"/>
                  <a:pt x="998" y="168"/>
                  <a:pt x="997" y="168"/>
                </a:cubicBezTo>
                <a:cubicBezTo>
                  <a:pt x="998" y="168"/>
                  <a:pt x="998" y="168"/>
                  <a:pt x="998" y="168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70"/>
                  <a:pt x="999" y="170"/>
                </a:cubicBezTo>
                <a:cubicBezTo>
                  <a:pt x="1000" y="170"/>
                  <a:pt x="1000" y="170"/>
                  <a:pt x="1000" y="170"/>
                </a:cubicBezTo>
                <a:cubicBezTo>
                  <a:pt x="1000" y="170"/>
                  <a:pt x="999" y="170"/>
                  <a:pt x="999" y="171"/>
                </a:cubicBezTo>
                <a:cubicBezTo>
                  <a:pt x="999" y="171"/>
                  <a:pt x="999" y="171"/>
                  <a:pt x="998" y="171"/>
                </a:cubicBezTo>
                <a:cubicBezTo>
                  <a:pt x="998" y="171"/>
                  <a:pt x="998" y="171"/>
                  <a:pt x="997" y="171"/>
                </a:cubicBezTo>
                <a:cubicBezTo>
                  <a:pt x="998" y="172"/>
                  <a:pt x="998" y="172"/>
                  <a:pt x="998" y="173"/>
                </a:cubicBezTo>
                <a:cubicBezTo>
                  <a:pt x="997" y="173"/>
                  <a:pt x="997" y="173"/>
                  <a:pt x="996" y="174"/>
                </a:cubicBezTo>
                <a:cubicBezTo>
                  <a:pt x="996" y="174"/>
                  <a:pt x="996" y="174"/>
                  <a:pt x="996" y="174"/>
                </a:cubicBezTo>
                <a:cubicBezTo>
                  <a:pt x="995" y="174"/>
                  <a:pt x="995" y="174"/>
                  <a:pt x="995" y="174"/>
                </a:cubicBezTo>
                <a:cubicBezTo>
                  <a:pt x="994" y="174"/>
                  <a:pt x="994" y="174"/>
                  <a:pt x="994" y="174"/>
                </a:cubicBezTo>
                <a:cubicBezTo>
                  <a:pt x="994" y="174"/>
                  <a:pt x="994" y="174"/>
                  <a:pt x="994" y="175"/>
                </a:cubicBezTo>
                <a:cubicBezTo>
                  <a:pt x="994" y="175"/>
                  <a:pt x="994" y="175"/>
                  <a:pt x="994" y="175"/>
                </a:cubicBezTo>
                <a:cubicBezTo>
                  <a:pt x="994" y="175"/>
                  <a:pt x="993" y="176"/>
                  <a:pt x="993" y="176"/>
                </a:cubicBezTo>
                <a:cubicBezTo>
                  <a:pt x="993" y="176"/>
                  <a:pt x="992" y="176"/>
                  <a:pt x="992" y="176"/>
                </a:cubicBezTo>
                <a:cubicBezTo>
                  <a:pt x="992" y="176"/>
                  <a:pt x="992" y="176"/>
                  <a:pt x="992" y="176"/>
                </a:cubicBezTo>
                <a:cubicBezTo>
                  <a:pt x="991" y="176"/>
                  <a:pt x="991" y="176"/>
                  <a:pt x="991" y="176"/>
                </a:cubicBezTo>
                <a:cubicBezTo>
                  <a:pt x="991" y="176"/>
                  <a:pt x="991" y="176"/>
                  <a:pt x="991" y="176"/>
                </a:cubicBezTo>
                <a:cubicBezTo>
                  <a:pt x="990" y="176"/>
                  <a:pt x="990" y="176"/>
                  <a:pt x="990" y="177"/>
                </a:cubicBezTo>
                <a:cubicBezTo>
                  <a:pt x="990" y="177"/>
                  <a:pt x="990" y="177"/>
                  <a:pt x="990" y="177"/>
                </a:cubicBezTo>
                <a:cubicBezTo>
                  <a:pt x="990" y="178"/>
                  <a:pt x="989" y="178"/>
                  <a:pt x="989" y="178"/>
                </a:cubicBezTo>
                <a:cubicBezTo>
                  <a:pt x="989" y="178"/>
                  <a:pt x="989" y="178"/>
                  <a:pt x="989" y="177"/>
                </a:cubicBezTo>
                <a:cubicBezTo>
                  <a:pt x="989" y="177"/>
                  <a:pt x="988" y="177"/>
                  <a:pt x="988" y="177"/>
                </a:cubicBezTo>
                <a:cubicBezTo>
                  <a:pt x="988" y="178"/>
                  <a:pt x="988" y="178"/>
                  <a:pt x="988" y="178"/>
                </a:cubicBezTo>
                <a:cubicBezTo>
                  <a:pt x="988" y="178"/>
                  <a:pt x="988" y="178"/>
                  <a:pt x="987" y="178"/>
                </a:cubicBezTo>
                <a:cubicBezTo>
                  <a:pt x="987" y="178"/>
                  <a:pt x="987" y="178"/>
                  <a:pt x="987" y="178"/>
                </a:cubicBezTo>
                <a:cubicBezTo>
                  <a:pt x="987" y="178"/>
                  <a:pt x="986" y="178"/>
                  <a:pt x="986" y="178"/>
                </a:cubicBezTo>
                <a:cubicBezTo>
                  <a:pt x="986" y="179"/>
                  <a:pt x="986" y="179"/>
                  <a:pt x="986" y="179"/>
                </a:cubicBezTo>
                <a:cubicBezTo>
                  <a:pt x="986" y="179"/>
                  <a:pt x="986" y="179"/>
                  <a:pt x="987" y="179"/>
                </a:cubicBezTo>
                <a:cubicBezTo>
                  <a:pt x="987" y="179"/>
                  <a:pt x="986" y="179"/>
                  <a:pt x="986" y="179"/>
                </a:cubicBezTo>
                <a:cubicBezTo>
                  <a:pt x="986" y="180"/>
                  <a:pt x="985" y="180"/>
                  <a:pt x="985" y="180"/>
                </a:cubicBezTo>
                <a:cubicBezTo>
                  <a:pt x="985" y="180"/>
                  <a:pt x="984" y="180"/>
                  <a:pt x="984" y="180"/>
                </a:cubicBezTo>
                <a:cubicBezTo>
                  <a:pt x="984" y="180"/>
                  <a:pt x="984" y="180"/>
                  <a:pt x="984" y="181"/>
                </a:cubicBezTo>
                <a:cubicBezTo>
                  <a:pt x="984" y="181"/>
                  <a:pt x="984" y="181"/>
                  <a:pt x="984" y="181"/>
                </a:cubicBezTo>
                <a:cubicBezTo>
                  <a:pt x="984" y="181"/>
                  <a:pt x="983" y="182"/>
                  <a:pt x="983" y="182"/>
                </a:cubicBezTo>
                <a:cubicBezTo>
                  <a:pt x="983" y="182"/>
                  <a:pt x="982" y="182"/>
                  <a:pt x="981" y="182"/>
                </a:cubicBezTo>
                <a:cubicBezTo>
                  <a:pt x="981" y="182"/>
                  <a:pt x="981" y="182"/>
                  <a:pt x="981" y="182"/>
                </a:cubicBezTo>
                <a:cubicBezTo>
                  <a:pt x="981" y="182"/>
                  <a:pt x="981" y="183"/>
                  <a:pt x="982" y="183"/>
                </a:cubicBezTo>
                <a:cubicBezTo>
                  <a:pt x="982" y="183"/>
                  <a:pt x="982" y="184"/>
                  <a:pt x="982" y="184"/>
                </a:cubicBezTo>
                <a:cubicBezTo>
                  <a:pt x="982" y="184"/>
                  <a:pt x="982" y="184"/>
                  <a:pt x="982" y="184"/>
                </a:cubicBezTo>
                <a:cubicBezTo>
                  <a:pt x="982" y="185"/>
                  <a:pt x="982" y="185"/>
                  <a:pt x="982" y="185"/>
                </a:cubicBezTo>
                <a:cubicBezTo>
                  <a:pt x="982" y="185"/>
                  <a:pt x="982" y="186"/>
                  <a:pt x="982" y="186"/>
                </a:cubicBezTo>
                <a:cubicBezTo>
                  <a:pt x="982" y="186"/>
                  <a:pt x="982" y="187"/>
                  <a:pt x="982" y="187"/>
                </a:cubicBezTo>
                <a:cubicBezTo>
                  <a:pt x="982" y="187"/>
                  <a:pt x="982" y="187"/>
                  <a:pt x="982" y="188"/>
                </a:cubicBezTo>
                <a:cubicBezTo>
                  <a:pt x="982" y="187"/>
                  <a:pt x="982" y="187"/>
                  <a:pt x="982" y="187"/>
                </a:cubicBezTo>
                <a:cubicBezTo>
                  <a:pt x="981" y="187"/>
                  <a:pt x="981" y="187"/>
                  <a:pt x="981" y="187"/>
                </a:cubicBezTo>
                <a:cubicBezTo>
                  <a:pt x="981" y="188"/>
                  <a:pt x="981" y="188"/>
                  <a:pt x="982" y="188"/>
                </a:cubicBezTo>
                <a:cubicBezTo>
                  <a:pt x="981" y="189"/>
                  <a:pt x="981" y="189"/>
                  <a:pt x="981" y="189"/>
                </a:cubicBezTo>
                <a:cubicBezTo>
                  <a:pt x="981" y="189"/>
                  <a:pt x="981" y="189"/>
                  <a:pt x="982" y="189"/>
                </a:cubicBezTo>
                <a:cubicBezTo>
                  <a:pt x="982" y="189"/>
                  <a:pt x="982" y="190"/>
                  <a:pt x="982" y="190"/>
                </a:cubicBezTo>
                <a:cubicBezTo>
                  <a:pt x="981" y="190"/>
                  <a:pt x="981" y="190"/>
                  <a:pt x="981" y="190"/>
                </a:cubicBezTo>
                <a:cubicBezTo>
                  <a:pt x="981" y="190"/>
                  <a:pt x="981" y="190"/>
                  <a:pt x="982" y="191"/>
                </a:cubicBezTo>
                <a:cubicBezTo>
                  <a:pt x="981" y="191"/>
                  <a:pt x="981" y="191"/>
                  <a:pt x="981" y="191"/>
                </a:cubicBezTo>
                <a:cubicBezTo>
                  <a:pt x="981" y="192"/>
                  <a:pt x="981" y="192"/>
                  <a:pt x="981" y="192"/>
                </a:cubicBezTo>
                <a:cubicBezTo>
                  <a:pt x="982" y="192"/>
                  <a:pt x="982" y="192"/>
                  <a:pt x="982" y="192"/>
                </a:cubicBezTo>
                <a:cubicBezTo>
                  <a:pt x="982" y="192"/>
                  <a:pt x="983" y="193"/>
                  <a:pt x="983" y="193"/>
                </a:cubicBezTo>
                <a:cubicBezTo>
                  <a:pt x="983" y="193"/>
                  <a:pt x="983" y="193"/>
                  <a:pt x="983" y="193"/>
                </a:cubicBezTo>
                <a:cubicBezTo>
                  <a:pt x="983" y="193"/>
                  <a:pt x="983" y="193"/>
                  <a:pt x="983" y="193"/>
                </a:cubicBezTo>
                <a:cubicBezTo>
                  <a:pt x="984" y="193"/>
                  <a:pt x="984" y="193"/>
                  <a:pt x="984" y="194"/>
                </a:cubicBezTo>
                <a:cubicBezTo>
                  <a:pt x="984" y="193"/>
                  <a:pt x="985" y="193"/>
                  <a:pt x="985" y="193"/>
                </a:cubicBezTo>
                <a:cubicBezTo>
                  <a:pt x="985" y="193"/>
                  <a:pt x="985" y="193"/>
                  <a:pt x="986" y="193"/>
                </a:cubicBezTo>
                <a:cubicBezTo>
                  <a:pt x="986" y="194"/>
                  <a:pt x="986" y="194"/>
                  <a:pt x="986" y="194"/>
                </a:cubicBezTo>
                <a:cubicBezTo>
                  <a:pt x="987" y="194"/>
                  <a:pt x="987" y="195"/>
                  <a:pt x="988" y="195"/>
                </a:cubicBezTo>
                <a:cubicBezTo>
                  <a:pt x="988" y="195"/>
                  <a:pt x="988" y="195"/>
                  <a:pt x="988" y="196"/>
                </a:cubicBezTo>
                <a:cubicBezTo>
                  <a:pt x="988" y="196"/>
                  <a:pt x="989" y="196"/>
                  <a:pt x="989" y="196"/>
                </a:cubicBezTo>
                <a:cubicBezTo>
                  <a:pt x="989" y="196"/>
                  <a:pt x="989" y="197"/>
                  <a:pt x="989" y="197"/>
                </a:cubicBezTo>
                <a:cubicBezTo>
                  <a:pt x="990" y="197"/>
                  <a:pt x="990" y="197"/>
                  <a:pt x="990" y="197"/>
                </a:cubicBezTo>
                <a:cubicBezTo>
                  <a:pt x="990" y="198"/>
                  <a:pt x="990" y="198"/>
                  <a:pt x="990" y="199"/>
                </a:cubicBezTo>
                <a:cubicBezTo>
                  <a:pt x="989" y="199"/>
                  <a:pt x="989" y="199"/>
                  <a:pt x="988" y="200"/>
                </a:cubicBezTo>
                <a:cubicBezTo>
                  <a:pt x="988" y="200"/>
                  <a:pt x="988" y="200"/>
                  <a:pt x="988" y="200"/>
                </a:cubicBezTo>
                <a:cubicBezTo>
                  <a:pt x="987" y="200"/>
                  <a:pt x="987" y="200"/>
                  <a:pt x="986" y="201"/>
                </a:cubicBezTo>
                <a:cubicBezTo>
                  <a:pt x="986" y="200"/>
                  <a:pt x="986" y="200"/>
                  <a:pt x="985" y="200"/>
                </a:cubicBezTo>
                <a:cubicBezTo>
                  <a:pt x="985" y="200"/>
                  <a:pt x="985" y="200"/>
                  <a:pt x="985" y="200"/>
                </a:cubicBezTo>
                <a:cubicBezTo>
                  <a:pt x="985" y="200"/>
                  <a:pt x="985" y="199"/>
                  <a:pt x="984" y="199"/>
                </a:cubicBezTo>
                <a:cubicBezTo>
                  <a:pt x="984" y="199"/>
                  <a:pt x="984" y="199"/>
                  <a:pt x="984" y="199"/>
                </a:cubicBezTo>
                <a:cubicBezTo>
                  <a:pt x="984" y="199"/>
                  <a:pt x="984" y="199"/>
                  <a:pt x="984" y="199"/>
                </a:cubicBezTo>
                <a:cubicBezTo>
                  <a:pt x="983" y="199"/>
                  <a:pt x="983" y="199"/>
                  <a:pt x="983" y="199"/>
                </a:cubicBezTo>
                <a:cubicBezTo>
                  <a:pt x="983" y="199"/>
                  <a:pt x="983" y="199"/>
                  <a:pt x="982" y="199"/>
                </a:cubicBezTo>
                <a:cubicBezTo>
                  <a:pt x="982" y="199"/>
                  <a:pt x="982" y="199"/>
                  <a:pt x="981" y="199"/>
                </a:cubicBezTo>
                <a:cubicBezTo>
                  <a:pt x="981" y="199"/>
                  <a:pt x="981" y="199"/>
                  <a:pt x="981" y="199"/>
                </a:cubicBezTo>
                <a:cubicBezTo>
                  <a:pt x="981" y="199"/>
                  <a:pt x="980" y="200"/>
                  <a:pt x="980" y="200"/>
                </a:cubicBezTo>
                <a:cubicBezTo>
                  <a:pt x="980" y="199"/>
                  <a:pt x="980" y="199"/>
                  <a:pt x="980" y="199"/>
                </a:cubicBezTo>
                <a:cubicBezTo>
                  <a:pt x="979" y="199"/>
                  <a:pt x="979" y="200"/>
                  <a:pt x="979" y="200"/>
                </a:cubicBezTo>
                <a:cubicBezTo>
                  <a:pt x="979" y="200"/>
                  <a:pt x="978" y="200"/>
                  <a:pt x="978" y="200"/>
                </a:cubicBezTo>
                <a:cubicBezTo>
                  <a:pt x="978" y="200"/>
                  <a:pt x="977" y="200"/>
                  <a:pt x="977" y="200"/>
                </a:cubicBezTo>
                <a:cubicBezTo>
                  <a:pt x="977" y="200"/>
                  <a:pt x="977" y="200"/>
                  <a:pt x="977" y="200"/>
                </a:cubicBezTo>
                <a:cubicBezTo>
                  <a:pt x="978" y="200"/>
                  <a:pt x="978" y="200"/>
                  <a:pt x="979" y="200"/>
                </a:cubicBezTo>
                <a:cubicBezTo>
                  <a:pt x="979" y="200"/>
                  <a:pt x="979" y="200"/>
                  <a:pt x="979" y="200"/>
                </a:cubicBezTo>
                <a:cubicBezTo>
                  <a:pt x="979" y="200"/>
                  <a:pt x="979" y="200"/>
                  <a:pt x="979" y="200"/>
                </a:cubicBezTo>
                <a:cubicBezTo>
                  <a:pt x="980" y="200"/>
                  <a:pt x="980" y="200"/>
                  <a:pt x="981" y="200"/>
                </a:cubicBezTo>
                <a:cubicBezTo>
                  <a:pt x="981" y="200"/>
                  <a:pt x="981" y="200"/>
                  <a:pt x="982" y="200"/>
                </a:cubicBezTo>
                <a:cubicBezTo>
                  <a:pt x="982" y="200"/>
                  <a:pt x="982" y="201"/>
                  <a:pt x="983" y="201"/>
                </a:cubicBezTo>
                <a:cubicBezTo>
                  <a:pt x="983" y="201"/>
                  <a:pt x="983" y="201"/>
                  <a:pt x="984" y="201"/>
                </a:cubicBezTo>
                <a:cubicBezTo>
                  <a:pt x="984" y="201"/>
                  <a:pt x="984" y="201"/>
                  <a:pt x="984" y="201"/>
                </a:cubicBezTo>
                <a:cubicBezTo>
                  <a:pt x="985" y="201"/>
                  <a:pt x="985" y="201"/>
                  <a:pt x="985" y="201"/>
                </a:cubicBezTo>
                <a:cubicBezTo>
                  <a:pt x="985" y="201"/>
                  <a:pt x="986" y="201"/>
                  <a:pt x="986" y="201"/>
                </a:cubicBezTo>
                <a:cubicBezTo>
                  <a:pt x="986" y="201"/>
                  <a:pt x="987" y="201"/>
                  <a:pt x="987" y="201"/>
                </a:cubicBezTo>
                <a:cubicBezTo>
                  <a:pt x="988" y="201"/>
                  <a:pt x="988" y="201"/>
                  <a:pt x="988" y="201"/>
                </a:cubicBezTo>
                <a:cubicBezTo>
                  <a:pt x="988" y="202"/>
                  <a:pt x="988" y="202"/>
                  <a:pt x="988" y="202"/>
                </a:cubicBezTo>
                <a:cubicBezTo>
                  <a:pt x="988" y="202"/>
                  <a:pt x="988" y="202"/>
                  <a:pt x="987" y="203"/>
                </a:cubicBezTo>
                <a:cubicBezTo>
                  <a:pt x="987" y="203"/>
                  <a:pt x="987" y="203"/>
                  <a:pt x="987" y="203"/>
                </a:cubicBezTo>
                <a:cubicBezTo>
                  <a:pt x="986" y="203"/>
                  <a:pt x="986" y="203"/>
                  <a:pt x="986" y="203"/>
                </a:cubicBezTo>
                <a:cubicBezTo>
                  <a:pt x="985" y="203"/>
                  <a:pt x="985" y="203"/>
                  <a:pt x="985" y="203"/>
                </a:cubicBezTo>
                <a:cubicBezTo>
                  <a:pt x="985" y="203"/>
                  <a:pt x="985" y="203"/>
                  <a:pt x="985" y="203"/>
                </a:cubicBezTo>
                <a:cubicBezTo>
                  <a:pt x="985" y="203"/>
                  <a:pt x="985" y="203"/>
                  <a:pt x="985" y="202"/>
                </a:cubicBezTo>
                <a:cubicBezTo>
                  <a:pt x="985" y="203"/>
                  <a:pt x="984" y="203"/>
                  <a:pt x="984" y="203"/>
                </a:cubicBezTo>
                <a:cubicBezTo>
                  <a:pt x="984" y="203"/>
                  <a:pt x="984" y="203"/>
                  <a:pt x="985" y="203"/>
                </a:cubicBezTo>
                <a:cubicBezTo>
                  <a:pt x="984" y="203"/>
                  <a:pt x="984" y="203"/>
                  <a:pt x="984" y="203"/>
                </a:cubicBezTo>
                <a:cubicBezTo>
                  <a:pt x="983" y="204"/>
                  <a:pt x="983" y="204"/>
                  <a:pt x="983" y="204"/>
                </a:cubicBezTo>
                <a:cubicBezTo>
                  <a:pt x="983" y="204"/>
                  <a:pt x="983" y="204"/>
                  <a:pt x="983" y="205"/>
                </a:cubicBezTo>
                <a:cubicBezTo>
                  <a:pt x="983" y="204"/>
                  <a:pt x="982" y="204"/>
                  <a:pt x="982" y="204"/>
                </a:cubicBezTo>
                <a:cubicBezTo>
                  <a:pt x="982" y="204"/>
                  <a:pt x="982" y="204"/>
                  <a:pt x="982" y="205"/>
                </a:cubicBezTo>
                <a:cubicBezTo>
                  <a:pt x="982" y="205"/>
                  <a:pt x="981" y="205"/>
                  <a:pt x="981" y="205"/>
                </a:cubicBezTo>
                <a:cubicBezTo>
                  <a:pt x="981" y="205"/>
                  <a:pt x="981" y="205"/>
                  <a:pt x="981" y="205"/>
                </a:cubicBezTo>
                <a:cubicBezTo>
                  <a:pt x="981" y="205"/>
                  <a:pt x="981" y="205"/>
                  <a:pt x="981" y="205"/>
                </a:cubicBezTo>
                <a:cubicBezTo>
                  <a:pt x="980" y="205"/>
                  <a:pt x="980" y="205"/>
                  <a:pt x="980" y="205"/>
                </a:cubicBezTo>
                <a:cubicBezTo>
                  <a:pt x="980" y="205"/>
                  <a:pt x="980" y="205"/>
                  <a:pt x="981" y="205"/>
                </a:cubicBezTo>
                <a:cubicBezTo>
                  <a:pt x="981" y="206"/>
                  <a:pt x="982" y="206"/>
                  <a:pt x="982" y="206"/>
                </a:cubicBezTo>
                <a:cubicBezTo>
                  <a:pt x="981" y="206"/>
                  <a:pt x="981" y="206"/>
                  <a:pt x="980" y="206"/>
                </a:cubicBezTo>
                <a:cubicBezTo>
                  <a:pt x="980" y="206"/>
                  <a:pt x="981" y="206"/>
                  <a:pt x="981" y="207"/>
                </a:cubicBezTo>
                <a:cubicBezTo>
                  <a:pt x="981" y="207"/>
                  <a:pt x="982" y="207"/>
                  <a:pt x="982" y="207"/>
                </a:cubicBezTo>
                <a:cubicBezTo>
                  <a:pt x="981" y="207"/>
                  <a:pt x="981" y="208"/>
                  <a:pt x="981" y="208"/>
                </a:cubicBezTo>
                <a:cubicBezTo>
                  <a:pt x="981" y="208"/>
                  <a:pt x="982" y="208"/>
                  <a:pt x="982" y="209"/>
                </a:cubicBezTo>
                <a:cubicBezTo>
                  <a:pt x="982" y="209"/>
                  <a:pt x="981" y="209"/>
                  <a:pt x="981" y="209"/>
                </a:cubicBezTo>
                <a:cubicBezTo>
                  <a:pt x="980" y="209"/>
                  <a:pt x="980" y="209"/>
                  <a:pt x="980" y="208"/>
                </a:cubicBezTo>
                <a:cubicBezTo>
                  <a:pt x="980" y="209"/>
                  <a:pt x="980" y="209"/>
                  <a:pt x="980" y="209"/>
                </a:cubicBezTo>
                <a:cubicBezTo>
                  <a:pt x="980" y="209"/>
                  <a:pt x="980" y="210"/>
                  <a:pt x="980" y="210"/>
                </a:cubicBezTo>
                <a:cubicBezTo>
                  <a:pt x="980" y="210"/>
                  <a:pt x="980" y="210"/>
                  <a:pt x="981" y="210"/>
                </a:cubicBezTo>
                <a:cubicBezTo>
                  <a:pt x="981" y="211"/>
                  <a:pt x="980" y="211"/>
                  <a:pt x="980" y="211"/>
                </a:cubicBezTo>
                <a:cubicBezTo>
                  <a:pt x="980" y="211"/>
                  <a:pt x="980" y="211"/>
                  <a:pt x="981" y="212"/>
                </a:cubicBezTo>
                <a:cubicBezTo>
                  <a:pt x="980" y="212"/>
                  <a:pt x="980" y="212"/>
                  <a:pt x="980" y="212"/>
                </a:cubicBezTo>
                <a:cubicBezTo>
                  <a:pt x="980" y="213"/>
                  <a:pt x="980" y="213"/>
                  <a:pt x="980" y="213"/>
                </a:cubicBezTo>
                <a:cubicBezTo>
                  <a:pt x="980" y="213"/>
                  <a:pt x="980" y="214"/>
                  <a:pt x="981" y="214"/>
                </a:cubicBezTo>
                <a:cubicBezTo>
                  <a:pt x="980" y="214"/>
                  <a:pt x="980" y="214"/>
                  <a:pt x="980" y="214"/>
                </a:cubicBezTo>
                <a:cubicBezTo>
                  <a:pt x="980" y="215"/>
                  <a:pt x="980" y="215"/>
                  <a:pt x="980" y="216"/>
                </a:cubicBezTo>
                <a:cubicBezTo>
                  <a:pt x="980" y="216"/>
                  <a:pt x="979" y="216"/>
                  <a:pt x="979" y="217"/>
                </a:cubicBezTo>
                <a:cubicBezTo>
                  <a:pt x="979" y="217"/>
                  <a:pt x="979" y="218"/>
                  <a:pt x="979" y="218"/>
                </a:cubicBezTo>
                <a:cubicBezTo>
                  <a:pt x="978" y="218"/>
                  <a:pt x="978" y="219"/>
                  <a:pt x="977" y="219"/>
                </a:cubicBezTo>
                <a:cubicBezTo>
                  <a:pt x="977" y="219"/>
                  <a:pt x="977" y="219"/>
                  <a:pt x="977" y="219"/>
                </a:cubicBezTo>
                <a:cubicBezTo>
                  <a:pt x="976" y="218"/>
                  <a:pt x="976" y="218"/>
                  <a:pt x="976" y="218"/>
                </a:cubicBezTo>
                <a:cubicBezTo>
                  <a:pt x="975" y="218"/>
                  <a:pt x="975" y="219"/>
                  <a:pt x="974" y="219"/>
                </a:cubicBezTo>
                <a:cubicBezTo>
                  <a:pt x="974" y="219"/>
                  <a:pt x="973" y="219"/>
                  <a:pt x="972" y="218"/>
                </a:cubicBezTo>
                <a:cubicBezTo>
                  <a:pt x="972" y="218"/>
                  <a:pt x="972" y="218"/>
                  <a:pt x="972" y="218"/>
                </a:cubicBezTo>
                <a:cubicBezTo>
                  <a:pt x="972" y="218"/>
                  <a:pt x="972" y="219"/>
                  <a:pt x="972" y="219"/>
                </a:cubicBezTo>
                <a:cubicBezTo>
                  <a:pt x="971" y="219"/>
                  <a:pt x="971" y="219"/>
                  <a:pt x="970" y="219"/>
                </a:cubicBezTo>
                <a:cubicBezTo>
                  <a:pt x="970" y="220"/>
                  <a:pt x="970" y="220"/>
                  <a:pt x="969" y="220"/>
                </a:cubicBezTo>
                <a:cubicBezTo>
                  <a:pt x="969" y="220"/>
                  <a:pt x="970" y="221"/>
                  <a:pt x="970" y="221"/>
                </a:cubicBezTo>
                <a:cubicBezTo>
                  <a:pt x="970" y="221"/>
                  <a:pt x="970" y="221"/>
                  <a:pt x="970" y="221"/>
                </a:cubicBezTo>
                <a:cubicBezTo>
                  <a:pt x="970" y="222"/>
                  <a:pt x="969" y="222"/>
                  <a:pt x="969" y="222"/>
                </a:cubicBezTo>
                <a:cubicBezTo>
                  <a:pt x="968" y="222"/>
                  <a:pt x="968" y="222"/>
                  <a:pt x="967" y="222"/>
                </a:cubicBezTo>
                <a:cubicBezTo>
                  <a:pt x="967" y="222"/>
                  <a:pt x="966" y="222"/>
                  <a:pt x="965" y="222"/>
                </a:cubicBezTo>
                <a:cubicBezTo>
                  <a:pt x="964" y="222"/>
                  <a:pt x="964" y="222"/>
                  <a:pt x="964" y="222"/>
                </a:cubicBezTo>
                <a:cubicBezTo>
                  <a:pt x="963" y="222"/>
                  <a:pt x="963" y="222"/>
                  <a:pt x="963" y="222"/>
                </a:cubicBezTo>
                <a:cubicBezTo>
                  <a:pt x="963" y="222"/>
                  <a:pt x="963" y="221"/>
                  <a:pt x="964" y="221"/>
                </a:cubicBezTo>
                <a:cubicBezTo>
                  <a:pt x="963" y="220"/>
                  <a:pt x="963" y="220"/>
                  <a:pt x="963" y="219"/>
                </a:cubicBezTo>
                <a:cubicBezTo>
                  <a:pt x="963" y="219"/>
                  <a:pt x="962" y="219"/>
                  <a:pt x="962" y="219"/>
                </a:cubicBezTo>
                <a:cubicBezTo>
                  <a:pt x="962" y="219"/>
                  <a:pt x="962" y="219"/>
                  <a:pt x="962" y="218"/>
                </a:cubicBezTo>
                <a:cubicBezTo>
                  <a:pt x="962" y="218"/>
                  <a:pt x="961" y="218"/>
                  <a:pt x="961" y="218"/>
                </a:cubicBezTo>
                <a:cubicBezTo>
                  <a:pt x="961" y="218"/>
                  <a:pt x="961" y="218"/>
                  <a:pt x="961" y="218"/>
                </a:cubicBezTo>
                <a:cubicBezTo>
                  <a:pt x="962" y="218"/>
                  <a:pt x="962" y="218"/>
                  <a:pt x="963" y="218"/>
                </a:cubicBezTo>
                <a:cubicBezTo>
                  <a:pt x="963" y="217"/>
                  <a:pt x="963" y="217"/>
                  <a:pt x="963" y="217"/>
                </a:cubicBezTo>
                <a:cubicBezTo>
                  <a:pt x="963" y="216"/>
                  <a:pt x="963" y="216"/>
                  <a:pt x="963" y="216"/>
                </a:cubicBezTo>
                <a:cubicBezTo>
                  <a:pt x="963" y="216"/>
                  <a:pt x="962" y="216"/>
                  <a:pt x="962" y="216"/>
                </a:cubicBezTo>
                <a:cubicBezTo>
                  <a:pt x="962" y="216"/>
                  <a:pt x="961" y="216"/>
                  <a:pt x="961" y="215"/>
                </a:cubicBezTo>
                <a:cubicBezTo>
                  <a:pt x="961" y="215"/>
                  <a:pt x="961" y="215"/>
                  <a:pt x="961" y="215"/>
                </a:cubicBezTo>
                <a:cubicBezTo>
                  <a:pt x="960" y="215"/>
                  <a:pt x="960" y="215"/>
                  <a:pt x="959" y="214"/>
                </a:cubicBezTo>
                <a:cubicBezTo>
                  <a:pt x="959" y="214"/>
                  <a:pt x="959" y="214"/>
                  <a:pt x="959" y="213"/>
                </a:cubicBezTo>
                <a:cubicBezTo>
                  <a:pt x="959" y="213"/>
                  <a:pt x="959" y="212"/>
                  <a:pt x="958" y="212"/>
                </a:cubicBezTo>
                <a:cubicBezTo>
                  <a:pt x="958" y="212"/>
                  <a:pt x="958" y="212"/>
                  <a:pt x="958" y="212"/>
                </a:cubicBezTo>
                <a:cubicBezTo>
                  <a:pt x="958" y="211"/>
                  <a:pt x="957" y="211"/>
                  <a:pt x="957" y="211"/>
                </a:cubicBezTo>
                <a:cubicBezTo>
                  <a:pt x="957" y="211"/>
                  <a:pt x="957" y="211"/>
                  <a:pt x="956" y="211"/>
                </a:cubicBezTo>
                <a:cubicBezTo>
                  <a:pt x="956" y="210"/>
                  <a:pt x="956" y="210"/>
                  <a:pt x="956" y="210"/>
                </a:cubicBezTo>
                <a:cubicBezTo>
                  <a:pt x="956" y="210"/>
                  <a:pt x="956" y="210"/>
                  <a:pt x="956" y="210"/>
                </a:cubicBezTo>
                <a:cubicBezTo>
                  <a:pt x="956" y="209"/>
                  <a:pt x="956" y="209"/>
                  <a:pt x="956" y="209"/>
                </a:cubicBezTo>
                <a:cubicBezTo>
                  <a:pt x="956" y="209"/>
                  <a:pt x="956" y="208"/>
                  <a:pt x="956" y="208"/>
                </a:cubicBezTo>
                <a:cubicBezTo>
                  <a:pt x="956" y="208"/>
                  <a:pt x="956" y="208"/>
                  <a:pt x="956" y="208"/>
                </a:cubicBezTo>
                <a:cubicBezTo>
                  <a:pt x="957" y="207"/>
                  <a:pt x="957" y="207"/>
                  <a:pt x="957" y="207"/>
                </a:cubicBezTo>
                <a:cubicBezTo>
                  <a:pt x="957" y="207"/>
                  <a:pt x="957" y="207"/>
                  <a:pt x="957" y="207"/>
                </a:cubicBezTo>
                <a:cubicBezTo>
                  <a:pt x="957" y="207"/>
                  <a:pt x="956" y="206"/>
                  <a:pt x="956" y="206"/>
                </a:cubicBezTo>
                <a:cubicBezTo>
                  <a:pt x="956" y="206"/>
                  <a:pt x="956" y="206"/>
                  <a:pt x="956" y="206"/>
                </a:cubicBezTo>
                <a:cubicBezTo>
                  <a:pt x="956" y="206"/>
                  <a:pt x="956" y="206"/>
                  <a:pt x="956" y="206"/>
                </a:cubicBezTo>
                <a:cubicBezTo>
                  <a:pt x="956" y="206"/>
                  <a:pt x="956" y="206"/>
                  <a:pt x="956" y="207"/>
                </a:cubicBezTo>
                <a:cubicBezTo>
                  <a:pt x="956" y="207"/>
                  <a:pt x="956" y="207"/>
                  <a:pt x="957" y="207"/>
                </a:cubicBezTo>
                <a:cubicBezTo>
                  <a:pt x="956" y="207"/>
                  <a:pt x="956" y="207"/>
                  <a:pt x="955" y="207"/>
                </a:cubicBezTo>
                <a:cubicBezTo>
                  <a:pt x="955" y="207"/>
                  <a:pt x="955" y="207"/>
                  <a:pt x="955" y="207"/>
                </a:cubicBezTo>
                <a:cubicBezTo>
                  <a:pt x="955" y="207"/>
                  <a:pt x="955" y="206"/>
                  <a:pt x="955" y="206"/>
                </a:cubicBezTo>
                <a:cubicBezTo>
                  <a:pt x="955" y="206"/>
                  <a:pt x="955" y="206"/>
                  <a:pt x="954" y="206"/>
                </a:cubicBezTo>
                <a:cubicBezTo>
                  <a:pt x="954" y="206"/>
                  <a:pt x="954" y="205"/>
                  <a:pt x="954" y="205"/>
                </a:cubicBezTo>
                <a:cubicBezTo>
                  <a:pt x="954" y="205"/>
                  <a:pt x="954" y="205"/>
                  <a:pt x="954" y="204"/>
                </a:cubicBezTo>
                <a:cubicBezTo>
                  <a:pt x="954" y="204"/>
                  <a:pt x="954" y="203"/>
                  <a:pt x="954" y="203"/>
                </a:cubicBezTo>
                <a:cubicBezTo>
                  <a:pt x="954" y="203"/>
                  <a:pt x="954" y="203"/>
                  <a:pt x="954" y="202"/>
                </a:cubicBezTo>
                <a:cubicBezTo>
                  <a:pt x="955" y="202"/>
                  <a:pt x="955" y="202"/>
                  <a:pt x="955" y="202"/>
                </a:cubicBezTo>
                <a:cubicBezTo>
                  <a:pt x="955" y="202"/>
                  <a:pt x="955" y="202"/>
                  <a:pt x="955" y="202"/>
                </a:cubicBezTo>
                <a:cubicBezTo>
                  <a:pt x="955" y="202"/>
                  <a:pt x="955" y="202"/>
                  <a:pt x="954" y="202"/>
                </a:cubicBezTo>
                <a:cubicBezTo>
                  <a:pt x="954" y="202"/>
                  <a:pt x="953" y="202"/>
                  <a:pt x="953" y="202"/>
                </a:cubicBezTo>
                <a:cubicBezTo>
                  <a:pt x="953" y="202"/>
                  <a:pt x="952" y="201"/>
                  <a:pt x="952" y="201"/>
                </a:cubicBezTo>
                <a:cubicBezTo>
                  <a:pt x="952" y="201"/>
                  <a:pt x="952" y="201"/>
                  <a:pt x="952" y="201"/>
                </a:cubicBezTo>
                <a:cubicBezTo>
                  <a:pt x="951" y="200"/>
                  <a:pt x="951" y="200"/>
                  <a:pt x="951" y="200"/>
                </a:cubicBezTo>
                <a:cubicBezTo>
                  <a:pt x="951" y="200"/>
                  <a:pt x="951" y="200"/>
                  <a:pt x="951" y="199"/>
                </a:cubicBezTo>
                <a:cubicBezTo>
                  <a:pt x="951" y="199"/>
                  <a:pt x="951" y="199"/>
                  <a:pt x="951" y="198"/>
                </a:cubicBezTo>
                <a:cubicBezTo>
                  <a:pt x="951" y="198"/>
                  <a:pt x="952" y="198"/>
                  <a:pt x="952" y="198"/>
                </a:cubicBezTo>
                <a:cubicBezTo>
                  <a:pt x="951" y="198"/>
                  <a:pt x="951" y="197"/>
                  <a:pt x="951" y="197"/>
                </a:cubicBezTo>
                <a:cubicBezTo>
                  <a:pt x="951" y="197"/>
                  <a:pt x="950" y="198"/>
                  <a:pt x="950" y="198"/>
                </a:cubicBezTo>
                <a:cubicBezTo>
                  <a:pt x="950" y="198"/>
                  <a:pt x="950" y="198"/>
                  <a:pt x="950" y="198"/>
                </a:cubicBezTo>
                <a:cubicBezTo>
                  <a:pt x="950" y="199"/>
                  <a:pt x="950" y="199"/>
                  <a:pt x="951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49" y="200"/>
                  <a:pt x="949" y="200"/>
                  <a:pt x="949" y="200"/>
                </a:cubicBezTo>
                <a:cubicBezTo>
                  <a:pt x="949" y="200"/>
                  <a:pt x="949" y="200"/>
                  <a:pt x="949" y="200"/>
                </a:cubicBezTo>
                <a:cubicBezTo>
                  <a:pt x="950" y="200"/>
                  <a:pt x="950" y="200"/>
                  <a:pt x="950" y="200"/>
                </a:cubicBezTo>
                <a:cubicBezTo>
                  <a:pt x="950" y="201"/>
                  <a:pt x="950" y="201"/>
                  <a:pt x="950" y="201"/>
                </a:cubicBezTo>
                <a:cubicBezTo>
                  <a:pt x="950" y="201"/>
                  <a:pt x="950" y="202"/>
                  <a:pt x="950" y="202"/>
                </a:cubicBezTo>
                <a:cubicBezTo>
                  <a:pt x="950" y="202"/>
                  <a:pt x="949" y="202"/>
                  <a:pt x="949" y="203"/>
                </a:cubicBezTo>
                <a:cubicBezTo>
                  <a:pt x="949" y="203"/>
                  <a:pt x="949" y="203"/>
                  <a:pt x="949" y="202"/>
                </a:cubicBezTo>
                <a:cubicBezTo>
                  <a:pt x="948" y="202"/>
                  <a:pt x="948" y="202"/>
                  <a:pt x="948" y="202"/>
                </a:cubicBezTo>
                <a:cubicBezTo>
                  <a:pt x="948" y="202"/>
                  <a:pt x="948" y="202"/>
                  <a:pt x="947" y="202"/>
                </a:cubicBezTo>
                <a:cubicBezTo>
                  <a:pt x="948" y="202"/>
                  <a:pt x="948" y="203"/>
                  <a:pt x="948" y="203"/>
                </a:cubicBezTo>
                <a:cubicBezTo>
                  <a:pt x="948" y="203"/>
                  <a:pt x="948" y="203"/>
                  <a:pt x="948" y="203"/>
                </a:cubicBezTo>
                <a:cubicBezTo>
                  <a:pt x="948" y="203"/>
                  <a:pt x="947" y="203"/>
                  <a:pt x="947" y="203"/>
                </a:cubicBezTo>
                <a:cubicBezTo>
                  <a:pt x="947" y="203"/>
                  <a:pt x="947" y="203"/>
                  <a:pt x="947" y="203"/>
                </a:cubicBezTo>
                <a:cubicBezTo>
                  <a:pt x="947" y="203"/>
                  <a:pt x="947" y="203"/>
                  <a:pt x="947" y="202"/>
                </a:cubicBezTo>
                <a:cubicBezTo>
                  <a:pt x="946" y="202"/>
                  <a:pt x="946" y="202"/>
                  <a:pt x="946" y="202"/>
                </a:cubicBezTo>
                <a:cubicBezTo>
                  <a:pt x="946" y="202"/>
                  <a:pt x="946" y="202"/>
                  <a:pt x="946" y="202"/>
                </a:cubicBezTo>
                <a:cubicBezTo>
                  <a:pt x="946" y="202"/>
                  <a:pt x="945" y="201"/>
                  <a:pt x="945" y="201"/>
                </a:cubicBezTo>
                <a:cubicBezTo>
                  <a:pt x="945" y="201"/>
                  <a:pt x="945" y="201"/>
                  <a:pt x="944" y="200"/>
                </a:cubicBezTo>
                <a:cubicBezTo>
                  <a:pt x="944" y="200"/>
                  <a:pt x="944" y="200"/>
                  <a:pt x="944" y="200"/>
                </a:cubicBezTo>
                <a:cubicBezTo>
                  <a:pt x="944" y="200"/>
                  <a:pt x="944" y="201"/>
                  <a:pt x="944" y="201"/>
                </a:cubicBezTo>
                <a:cubicBezTo>
                  <a:pt x="944" y="201"/>
                  <a:pt x="944" y="201"/>
                  <a:pt x="945" y="201"/>
                </a:cubicBezTo>
                <a:cubicBezTo>
                  <a:pt x="945" y="201"/>
                  <a:pt x="945" y="202"/>
                  <a:pt x="945" y="202"/>
                </a:cubicBezTo>
                <a:cubicBezTo>
                  <a:pt x="945" y="202"/>
                  <a:pt x="945" y="202"/>
                  <a:pt x="945" y="202"/>
                </a:cubicBezTo>
                <a:cubicBezTo>
                  <a:pt x="945" y="203"/>
                  <a:pt x="946" y="203"/>
                  <a:pt x="946" y="203"/>
                </a:cubicBezTo>
                <a:cubicBezTo>
                  <a:pt x="946" y="203"/>
                  <a:pt x="946" y="203"/>
                  <a:pt x="946" y="204"/>
                </a:cubicBezTo>
                <a:cubicBezTo>
                  <a:pt x="945" y="204"/>
                  <a:pt x="945" y="204"/>
                  <a:pt x="945" y="204"/>
                </a:cubicBezTo>
                <a:cubicBezTo>
                  <a:pt x="944" y="204"/>
                  <a:pt x="944" y="204"/>
                  <a:pt x="944" y="204"/>
                </a:cubicBezTo>
                <a:cubicBezTo>
                  <a:pt x="944" y="204"/>
                  <a:pt x="944" y="204"/>
                  <a:pt x="944" y="205"/>
                </a:cubicBezTo>
                <a:cubicBezTo>
                  <a:pt x="944" y="205"/>
                  <a:pt x="943" y="205"/>
                  <a:pt x="943" y="205"/>
                </a:cubicBezTo>
                <a:cubicBezTo>
                  <a:pt x="943" y="205"/>
                  <a:pt x="943" y="205"/>
                  <a:pt x="944" y="205"/>
                </a:cubicBezTo>
                <a:cubicBezTo>
                  <a:pt x="943" y="205"/>
                  <a:pt x="943" y="206"/>
                  <a:pt x="942" y="206"/>
                </a:cubicBezTo>
                <a:cubicBezTo>
                  <a:pt x="942" y="206"/>
                  <a:pt x="941" y="206"/>
                  <a:pt x="941" y="205"/>
                </a:cubicBezTo>
                <a:cubicBezTo>
                  <a:pt x="941" y="206"/>
                  <a:pt x="941" y="206"/>
                  <a:pt x="942" y="206"/>
                </a:cubicBezTo>
                <a:cubicBezTo>
                  <a:pt x="942" y="206"/>
                  <a:pt x="942" y="206"/>
                  <a:pt x="942" y="206"/>
                </a:cubicBezTo>
                <a:cubicBezTo>
                  <a:pt x="941" y="207"/>
                  <a:pt x="941" y="207"/>
                  <a:pt x="940" y="208"/>
                </a:cubicBezTo>
                <a:cubicBezTo>
                  <a:pt x="940" y="208"/>
                  <a:pt x="939" y="208"/>
                  <a:pt x="939" y="208"/>
                </a:cubicBezTo>
                <a:cubicBezTo>
                  <a:pt x="939" y="208"/>
                  <a:pt x="939" y="207"/>
                  <a:pt x="939" y="207"/>
                </a:cubicBezTo>
                <a:cubicBezTo>
                  <a:pt x="939" y="207"/>
                  <a:pt x="939" y="207"/>
                  <a:pt x="939" y="207"/>
                </a:cubicBezTo>
                <a:cubicBezTo>
                  <a:pt x="939" y="207"/>
                  <a:pt x="938" y="207"/>
                  <a:pt x="938" y="207"/>
                </a:cubicBezTo>
                <a:cubicBezTo>
                  <a:pt x="938" y="207"/>
                  <a:pt x="938" y="208"/>
                  <a:pt x="938" y="208"/>
                </a:cubicBezTo>
                <a:cubicBezTo>
                  <a:pt x="937" y="208"/>
                  <a:pt x="937" y="208"/>
                  <a:pt x="937" y="208"/>
                </a:cubicBezTo>
                <a:cubicBezTo>
                  <a:pt x="936" y="208"/>
                  <a:pt x="936" y="208"/>
                  <a:pt x="936" y="209"/>
                </a:cubicBezTo>
                <a:cubicBezTo>
                  <a:pt x="935" y="209"/>
                  <a:pt x="935" y="208"/>
                  <a:pt x="935" y="208"/>
                </a:cubicBezTo>
                <a:cubicBezTo>
                  <a:pt x="935" y="209"/>
                  <a:pt x="935" y="209"/>
                  <a:pt x="935" y="209"/>
                </a:cubicBezTo>
                <a:cubicBezTo>
                  <a:pt x="934" y="209"/>
                  <a:pt x="934" y="208"/>
                  <a:pt x="934" y="208"/>
                </a:cubicBezTo>
                <a:cubicBezTo>
                  <a:pt x="934" y="208"/>
                  <a:pt x="934" y="208"/>
                  <a:pt x="934" y="208"/>
                </a:cubicBezTo>
                <a:cubicBezTo>
                  <a:pt x="933" y="208"/>
                  <a:pt x="933" y="207"/>
                  <a:pt x="933" y="207"/>
                </a:cubicBezTo>
                <a:cubicBezTo>
                  <a:pt x="933" y="207"/>
                  <a:pt x="933" y="207"/>
                  <a:pt x="932" y="207"/>
                </a:cubicBezTo>
                <a:cubicBezTo>
                  <a:pt x="932" y="208"/>
                  <a:pt x="933" y="208"/>
                  <a:pt x="933" y="208"/>
                </a:cubicBezTo>
                <a:cubicBezTo>
                  <a:pt x="932" y="208"/>
                  <a:pt x="932" y="208"/>
                  <a:pt x="932" y="208"/>
                </a:cubicBezTo>
                <a:cubicBezTo>
                  <a:pt x="932" y="208"/>
                  <a:pt x="931" y="208"/>
                  <a:pt x="931" y="208"/>
                </a:cubicBezTo>
                <a:cubicBezTo>
                  <a:pt x="931" y="208"/>
                  <a:pt x="931" y="208"/>
                  <a:pt x="932" y="208"/>
                </a:cubicBezTo>
                <a:cubicBezTo>
                  <a:pt x="932" y="208"/>
                  <a:pt x="931" y="207"/>
                  <a:pt x="931" y="207"/>
                </a:cubicBezTo>
                <a:cubicBezTo>
                  <a:pt x="931" y="207"/>
                  <a:pt x="930" y="207"/>
                  <a:pt x="929" y="207"/>
                </a:cubicBezTo>
                <a:cubicBezTo>
                  <a:pt x="929" y="206"/>
                  <a:pt x="928" y="206"/>
                  <a:pt x="928" y="206"/>
                </a:cubicBezTo>
                <a:cubicBezTo>
                  <a:pt x="927" y="206"/>
                  <a:pt x="927" y="206"/>
                  <a:pt x="927" y="206"/>
                </a:cubicBezTo>
                <a:cubicBezTo>
                  <a:pt x="926" y="205"/>
                  <a:pt x="926" y="205"/>
                  <a:pt x="925" y="204"/>
                </a:cubicBezTo>
                <a:cubicBezTo>
                  <a:pt x="925" y="204"/>
                  <a:pt x="925" y="204"/>
                  <a:pt x="926" y="204"/>
                </a:cubicBezTo>
                <a:cubicBezTo>
                  <a:pt x="926" y="204"/>
                  <a:pt x="926" y="203"/>
                  <a:pt x="926" y="203"/>
                </a:cubicBezTo>
                <a:cubicBezTo>
                  <a:pt x="926" y="203"/>
                  <a:pt x="926" y="203"/>
                  <a:pt x="927" y="203"/>
                </a:cubicBezTo>
                <a:cubicBezTo>
                  <a:pt x="927" y="203"/>
                  <a:pt x="927" y="203"/>
                  <a:pt x="927" y="203"/>
                </a:cubicBezTo>
                <a:cubicBezTo>
                  <a:pt x="927" y="203"/>
                  <a:pt x="928" y="203"/>
                  <a:pt x="928" y="203"/>
                </a:cubicBezTo>
                <a:cubicBezTo>
                  <a:pt x="929" y="204"/>
                  <a:pt x="929" y="204"/>
                  <a:pt x="930" y="204"/>
                </a:cubicBezTo>
                <a:cubicBezTo>
                  <a:pt x="930" y="204"/>
                  <a:pt x="930" y="204"/>
                  <a:pt x="930" y="204"/>
                </a:cubicBezTo>
                <a:cubicBezTo>
                  <a:pt x="930" y="204"/>
                  <a:pt x="930" y="204"/>
                  <a:pt x="929" y="203"/>
                </a:cubicBezTo>
                <a:cubicBezTo>
                  <a:pt x="930" y="203"/>
                  <a:pt x="930" y="203"/>
                  <a:pt x="930" y="203"/>
                </a:cubicBezTo>
                <a:cubicBezTo>
                  <a:pt x="930" y="203"/>
                  <a:pt x="931" y="203"/>
                  <a:pt x="931" y="203"/>
                </a:cubicBezTo>
                <a:cubicBezTo>
                  <a:pt x="931" y="203"/>
                  <a:pt x="931" y="203"/>
                  <a:pt x="931" y="203"/>
                </a:cubicBezTo>
                <a:cubicBezTo>
                  <a:pt x="930" y="203"/>
                  <a:pt x="930" y="203"/>
                  <a:pt x="929" y="203"/>
                </a:cubicBezTo>
                <a:cubicBezTo>
                  <a:pt x="929" y="203"/>
                  <a:pt x="929" y="203"/>
                  <a:pt x="929" y="203"/>
                </a:cubicBezTo>
                <a:cubicBezTo>
                  <a:pt x="928" y="203"/>
                  <a:pt x="928" y="202"/>
                  <a:pt x="928" y="202"/>
                </a:cubicBezTo>
                <a:cubicBezTo>
                  <a:pt x="928" y="202"/>
                  <a:pt x="928" y="202"/>
                  <a:pt x="929" y="202"/>
                </a:cubicBezTo>
                <a:cubicBezTo>
                  <a:pt x="929" y="202"/>
                  <a:pt x="929" y="201"/>
                  <a:pt x="929" y="201"/>
                </a:cubicBezTo>
                <a:cubicBezTo>
                  <a:pt x="929" y="201"/>
                  <a:pt x="929" y="201"/>
                  <a:pt x="928" y="201"/>
                </a:cubicBezTo>
                <a:cubicBezTo>
                  <a:pt x="928" y="201"/>
                  <a:pt x="929" y="201"/>
                  <a:pt x="929" y="200"/>
                </a:cubicBezTo>
                <a:cubicBezTo>
                  <a:pt x="928" y="200"/>
                  <a:pt x="928" y="200"/>
                  <a:pt x="928" y="200"/>
                </a:cubicBezTo>
                <a:cubicBezTo>
                  <a:pt x="928" y="200"/>
                  <a:pt x="927" y="200"/>
                  <a:pt x="927" y="201"/>
                </a:cubicBezTo>
                <a:cubicBezTo>
                  <a:pt x="927" y="201"/>
                  <a:pt x="927" y="201"/>
                  <a:pt x="927" y="201"/>
                </a:cubicBezTo>
                <a:cubicBezTo>
                  <a:pt x="927" y="201"/>
                  <a:pt x="927" y="201"/>
                  <a:pt x="927" y="201"/>
                </a:cubicBezTo>
                <a:cubicBezTo>
                  <a:pt x="926" y="201"/>
                  <a:pt x="926" y="201"/>
                  <a:pt x="926" y="201"/>
                </a:cubicBezTo>
                <a:cubicBezTo>
                  <a:pt x="926" y="201"/>
                  <a:pt x="926" y="201"/>
                  <a:pt x="926" y="202"/>
                </a:cubicBezTo>
                <a:cubicBezTo>
                  <a:pt x="925" y="201"/>
                  <a:pt x="925" y="201"/>
                  <a:pt x="924" y="201"/>
                </a:cubicBezTo>
                <a:cubicBezTo>
                  <a:pt x="924" y="200"/>
                  <a:pt x="924" y="200"/>
                  <a:pt x="924" y="200"/>
                </a:cubicBezTo>
                <a:cubicBezTo>
                  <a:pt x="924" y="200"/>
                  <a:pt x="925" y="199"/>
                  <a:pt x="925" y="199"/>
                </a:cubicBezTo>
                <a:cubicBezTo>
                  <a:pt x="925" y="199"/>
                  <a:pt x="925" y="199"/>
                  <a:pt x="926" y="199"/>
                </a:cubicBezTo>
                <a:cubicBezTo>
                  <a:pt x="926" y="199"/>
                  <a:pt x="926" y="199"/>
                  <a:pt x="926" y="199"/>
                </a:cubicBezTo>
                <a:cubicBezTo>
                  <a:pt x="926" y="199"/>
                  <a:pt x="926" y="199"/>
                  <a:pt x="926" y="199"/>
                </a:cubicBezTo>
                <a:cubicBezTo>
                  <a:pt x="926" y="199"/>
                  <a:pt x="927" y="199"/>
                  <a:pt x="927" y="199"/>
                </a:cubicBezTo>
                <a:cubicBezTo>
                  <a:pt x="927" y="199"/>
                  <a:pt x="928" y="199"/>
                  <a:pt x="928" y="199"/>
                </a:cubicBezTo>
                <a:cubicBezTo>
                  <a:pt x="928" y="199"/>
                  <a:pt x="928" y="199"/>
                  <a:pt x="928" y="199"/>
                </a:cubicBezTo>
                <a:cubicBezTo>
                  <a:pt x="928" y="198"/>
                  <a:pt x="928" y="198"/>
                  <a:pt x="928" y="198"/>
                </a:cubicBezTo>
                <a:cubicBezTo>
                  <a:pt x="929" y="198"/>
                  <a:pt x="929" y="198"/>
                  <a:pt x="930" y="198"/>
                </a:cubicBezTo>
                <a:cubicBezTo>
                  <a:pt x="929" y="198"/>
                  <a:pt x="929" y="198"/>
                  <a:pt x="929" y="198"/>
                </a:cubicBezTo>
                <a:cubicBezTo>
                  <a:pt x="929" y="198"/>
                  <a:pt x="928" y="198"/>
                  <a:pt x="928" y="198"/>
                </a:cubicBezTo>
                <a:cubicBezTo>
                  <a:pt x="927" y="198"/>
                  <a:pt x="927" y="198"/>
                  <a:pt x="927" y="198"/>
                </a:cubicBezTo>
                <a:cubicBezTo>
                  <a:pt x="927" y="197"/>
                  <a:pt x="927" y="197"/>
                  <a:pt x="927" y="197"/>
                </a:cubicBezTo>
                <a:cubicBezTo>
                  <a:pt x="928" y="197"/>
                  <a:pt x="928" y="197"/>
                  <a:pt x="928" y="197"/>
                </a:cubicBezTo>
                <a:cubicBezTo>
                  <a:pt x="928" y="197"/>
                  <a:pt x="929" y="197"/>
                  <a:pt x="929" y="196"/>
                </a:cubicBezTo>
                <a:cubicBezTo>
                  <a:pt x="929" y="196"/>
                  <a:pt x="928" y="196"/>
                  <a:pt x="928" y="196"/>
                </a:cubicBezTo>
                <a:cubicBezTo>
                  <a:pt x="928" y="196"/>
                  <a:pt x="928" y="196"/>
                  <a:pt x="929" y="196"/>
                </a:cubicBezTo>
                <a:cubicBezTo>
                  <a:pt x="929" y="196"/>
                  <a:pt x="929" y="195"/>
                  <a:pt x="929" y="195"/>
                </a:cubicBezTo>
                <a:cubicBezTo>
                  <a:pt x="929" y="195"/>
                  <a:pt x="930" y="195"/>
                  <a:pt x="930" y="195"/>
                </a:cubicBezTo>
                <a:cubicBezTo>
                  <a:pt x="930" y="195"/>
                  <a:pt x="930" y="196"/>
                  <a:pt x="930" y="196"/>
                </a:cubicBezTo>
                <a:cubicBezTo>
                  <a:pt x="930" y="196"/>
                  <a:pt x="931" y="196"/>
                  <a:pt x="931" y="196"/>
                </a:cubicBezTo>
                <a:cubicBezTo>
                  <a:pt x="931" y="196"/>
                  <a:pt x="931" y="196"/>
                  <a:pt x="931" y="196"/>
                </a:cubicBezTo>
                <a:cubicBezTo>
                  <a:pt x="931" y="195"/>
                  <a:pt x="931" y="195"/>
                  <a:pt x="931" y="195"/>
                </a:cubicBezTo>
                <a:cubicBezTo>
                  <a:pt x="931" y="195"/>
                  <a:pt x="931" y="194"/>
                  <a:pt x="932" y="194"/>
                </a:cubicBezTo>
                <a:cubicBezTo>
                  <a:pt x="932" y="194"/>
                  <a:pt x="932" y="194"/>
                  <a:pt x="932" y="194"/>
                </a:cubicBezTo>
                <a:cubicBezTo>
                  <a:pt x="932" y="194"/>
                  <a:pt x="932" y="194"/>
                  <a:pt x="931" y="194"/>
                </a:cubicBezTo>
                <a:cubicBezTo>
                  <a:pt x="931" y="194"/>
                  <a:pt x="931" y="194"/>
                  <a:pt x="930" y="194"/>
                </a:cubicBezTo>
                <a:cubicBezTo>
                  <a:pt x="930" y="194"/>
                  <a:pt x="929" y="195"/>
                  <a:pt x="928" y="195"/>
                </a:cubicBezTo>
                <a:cubicBezTo>
                  <a:pt x="928" y="195"/>
                  <a:pt x="928" y="195"/>
                  <a:pt x="928" y="195"/>
                </a:cubicBezTo>
                <a:cubicBezTo>
                  <a:pt x="928" y="196"/>
                  <a:pt x="928" y="196"/>
                  <a:pt x="927" y="196"/>
                </a:cubicBezTo>
                <a:cubicBezTo>
                  <a:pt x="927" y="196"/>
                  <a:pt x="927" y="196"/>
                  <a:pt x="926" y="197"/>
                </a:cubicBezTo>
                <a:cubicBezTo>
                  <a:pt x="926" y="197"/>
                  <a:pt x="926" y="197"/>
                  <a:pt x="926" y="197"/>
                </a:cubicBezTo>
                <a:cubicBezTo>
                  <a:pt x="926" y="196"/>
                  <a:pt x="926" y="196"/>
                  <a:pt x="927" y="196"/>
                </a:cubicBezTo>
                <a:cubicBezTo>
                  <a:pt x="926" y="196"/>
                  <a:pt x="926" y="196"/>
                  <a:pt x="926" y="195"/>
                </a:cubicBezTo>
                <a:cubicBezTo>
                  <a:pt x="926" y="195"/>
                  <a:pt x="926" y="195"/>
                  <a:pt x="926" y="195"/>
                </a:cubicBezTo>
                <a:cubicBezTo>
                  <a:pt x="926" y="195"/>
                  <a:pt x="926" y="195"/>
                  <a:pt x="926" y="195"/>
                </a:cubicBezTo>
                <a:cubicBezTo>
                  <a:pt x="925" y="195"/>
                  <a:pt x="925" y="195"/>
                  <a:pt x="925" y="195"/>
                </a:cubicBezTo>
                <a:cubicBezTo>
                  <a:pt x="926" y="194"/>
                  <a:pt x="926" y="194"/>
                  <a:pt x="927" y="194"/>
                </a:cubicBezTo>
                <a:cubicBezTo>
                  <a:pt x="927" y="194"/>
                  <a:pt x="927" y="194"/>
                  <a:pt x="926" y="193"/>
                </a:cubicBezTo>
                <a:cubicBezTo>
                  <a:pt x="927" y="193"/>
                  <a:pt x="927" y="193"/>
                  <a:pt x="927" y="193"/>
                </a:cubicBezTo>
                <a:cubicBezTo>
                  <a:pt x="927" y="193"/>
                  <a:pt x="926" y="193"/>
                  <a:pt x="926" y="193"/>
                </a:cubicBezTo>
                <a:cubicBezTo>
                  <a:pt x="925" y="193"/>
                  <a:pt x="925" y="194"/>
                  <a:pt x="924" y="194"/>
                </a:cubicBezTo>
                <a:cubicBezTo>
                  <a:pt x="924" y="194"/>
                  <a:pt x="924" y="194"/>
                  <a:pt x="924" y="194"/>
                </a:cubicBezTo>
                <a:cubicBezTo>
                  <a:pt x="923" y="193"/>
                  <a:pt x="923" y="193"/>
                  <a:pt x="923" y="193"/>
                </a:cubicBezTo>
                <a:cubicBezTo>
                  <a:pt x="924" y="193"/>
                  <a:pt x="924" y="193"/>
                  <a:pt x="924" y="193"/>
                </a:cubicBezTo>
                <a:cubicBezTo>
                  <a:pt x="924" y="193"/>
                  <a:pt x="924" y="193"/>
                  <a:pt x="924" y="193"/>
                </a:cubicBezTo>
                <a:cubicBezTo>
                  <a:pt x="924" y="193"/>
                  <a:pt x="924" y="193"/>
                  <a:pt x="924" y="192"/>
                </a:cubicBezTo>
                <a:cubicBezTo>
                  <a:pt x="925" y="192"/>
                  <a:pt x="925" y="192"/>
                  <a:pt x="925" y="192"/>
                </a:cubicBezTo>
                <a:cubicBezTo>
                  <a:pt x="925" y="192"/>
                  <a:pt x="925" y="192"/>
                  <a:pt x="924" y="192"/>
                </a:cubicBezTo>
                <a:cubicBezTo>
                  <a:pt x="924" y="192"/>
                  <a:pt x="924" y="192"/>
                  <a:pt x="924" y="192"/>
                </a:cubicBezTo>
                <a:cubicBezTo>
                  <a:pt x="924" y="192"/>
                  <a:pt x="923" y="192"/>
                  <a:pt x="923" y="192"/>
                </a:cubicBezTo>
                <a:cubicBezTo>
                  <a:pt x="923" y="192"/>
                  <a:pt x="923" y="192"/>
                  <a:pt x="923" y="192"/>
                </a:cubicBezTo>
                <a:cubicBezTo>
                  <a:pt x="923" y="192"/>
                  <a:pt x="923" y="192"/>
                  <a:pt x="923" y="192"/>
                </a:cubicBezTo>
                <a:cubicBezTo>
                  <a:pt x="923" y="191"/>
                  <a:pt x="923" y="191"/>
                  <a:pt x="923" y="191"/>
                </a:cubicBezTo>
                <a:cubicBezTo>
                  <a:pt x="923" y="191"/>
                  <a:pt x="923" y="191"/>
                  <a:pt x="923" y="191"/>
                </a:cubicBezTo>
                <a:cubicBezTo>
                  <a:pt x="923" y="191"/>
                  <a:pt x="923" y="191"/>
                  <a:pt x="924" y="191"/>
                </a:cubicBezTo>
                <a:cubicBezTo>
                  <a:pt x="924" y="191"/>
                  <a:pt x="924" y="191"/>
                  <a:pt x="924" y="191"/>
                </a:cubicBezTo>
                <a:cubicBezTo>
                  <a:pt x="925" y="191"/>
                  <a:pt x="925" y="191"/>
                  <a:pt x="926" y="191"/>
                </a:cubicBezTo>
                <a:cubicBezTo>
                  <a:pt x="926" y="191"/>
                  <a:pt x="926" y="191"/>
                  <a:pt x="926" y="191"/>
                </a:cubicBezTo>
                <a:cubicBezTo>
                  <a:pt x="927" y="191"/>
                  <a:pt x="927" y="191"/>
                  <a:pt x="928" y="191"/>
                </a:cubicBezTo>
                <a:cubicBezTo>
                  <a:pt x="928" y="191"/>
                  <a:pt x="928" y="191"/>
                  <a:pt x="929" y="191"/>
                </a:cubicBezTo>
                <a:cubicBezTo>
                  <a:pt x="929" y="191"/>
                  <a:pt x="929" y="191"/>
                  <a:pt x="929" y="192"/>
                </a:cubicBezTo>
                <a:cubicBezTo>
                  <a:pt x="929" y="191"/>
                  <a:pt x="929" y="191"/>
                  <a:pt x="930" y="191"/>
                </a:cubicBezTo>
                <a:cubicBezTo>
                  <a:pt x="930" y="191"/>
                  <a:pt x="930" y="191"/>
                  <a:pt x="931" y="190"/>
                </a:cubicBezTo>
                <a:cubicBezTo>
                  <a:pt x="931" y="190"/>
                  <a:pt x="931" y="190"/>
                  <a:pt x="932" y="190"/>
                </a:cubicBezTo>
                <a:cubicBezTo>
                  <a:pt x="932" y="191"/>
                  <a:pt x="932" y="191"/>
                  <a:pt x="932" y="191"/>
                </a:cubicBezTo>
                <a:cubicBezTo>
                  <a:pt x="932" y="191"/>
                  <a:pt x="931" y="191"/>
                  <a:pt x="931" y="191"/>
                </a:cubicBezTo>
                <a:cubicBezTo>
                  <a:pt x="931" y="192"/>
                  <a:pt x="931" y="192"/>
                  <a:pt x="931" y="192"/>
                </a:cubicBezTo>
                <a:cubicBezTo>
                  <a:pt x="932" y="192"/>
                  <a:pt x="932" y="192"/>
                  <a:pt x="933" y="192"/>
                </a:cubicBezTo>
                <a:cubicBezTo>
                  <a:pt x="933" y="192"/>
                  <a:pt x="933" y="191"/>
                  <a:pt x="933" y="191"/>
                </a:cubicBezTo>
                <a:cubicBezTo>
                  <a:pt x="933" y="191"/>
                  <a:pt x="933" y="191"/>
                  <a:pt x="933" y="191"/>
                </a:cubicBezTo>
                <a:cubicBezTo>
                  <a:pt x="933" y="191"/>
                  <a:pt x="933" y="191"/>
                  <a:pt x="933" y="191"/>
                </a:cubicBezTo>
                <a:cubicBezTo>
                  <a:pt x="934" y="191"/>
                  <a:pt x="934" y="190"/>
                  <a:pt x="935" y="190"/>
                </a:cubicBezTo>
                <a:cubicBezTo>
                  <a:pt x="935" y="190"/>
                  <a:pt x="935" y="190"/>
                  <a:pt x="936" y="190"/>
                </a:cubicBezTo>
                <a:cubicBezTo>
                  <a:pt x="935" y="190"/>
                  <a:pt x="935" y="189"/>
                  <a:pt x="935" y="189"/>
                </a:cubicBezTo>
                <a:cubicBezTo>
                  <a:pt x="935" y="189"/>
                  <a:pt x="935" y="189"/>
                  <a:pt x="935" y="189"/>
                </a:cubicBezTo>
                <a:cubicBezTo>
                  <a:pt x="935" y="189"/>
                  <a:pt x="934" y="189"/>
                  <a:pt x="934" y="189"/>
                </a:cubicBezTo>
                <a:cubicBezTo>
                  <a:pt x="934" y="189"/>
                  <a:pt x="934" y="190"/>
                  <a:pt x="934" y="190"/>
                </a:cubicBezTo>
                <a:cubicBezTo>
                  <a:pt x="934" y="190"/>
                  <a:pt x="934" y="190"/>
                  <a:pt x="934" y="190"/>
                </a:cubicBezTo>
                <a:cubicBezTo>
                  <a:pt x="933" y="190"/>
                  <a:pt x="933" y="190"/>
                  <a:pt x="933" y="190"/>
                </a:cubicBezTo>
                <a:cubicBezTo>
                  <a:pt x="933" y="190"/>
                  <a:pt x="933" y="190"/>
                  <a:pt x="933" y="190"/>
                </a:cubicBezTo>
                <a:cubicBezTo>
                  <a:pt x="933" y="189"/>
                  <a:pt x="933" y="189"/>
                  <a:pt x="934" y="189"/>
                </a:cubicBezTo>
                <a:cubicBezTo>
                  <a:pt x="933" y="189"/>
                  <a:pt x="933" y="189"/>
                  <a:pt x="933" y="189"/>
                </a:cubicBezTo>
                <a:cubicBezTo>
                  <a:pt x="933" y="189"/>
                  <a:pt x="932" y="190"/>
                  <a:pt x="932" y="190"/>
                </a:cubicBezTo>
                <a:cubicBezTo>
                  <a:pt x="931" y="190"/>
                  <a:pt x="931" y="190"/>
                  <a:pt x="931" y="190"/>
                </a:cubicBezTo>
                <a:cubicBezTo>
                  <a:pt x="931" y="190"/>
                  <a:pt x="931" y="190"/>
                  <a:pt x="931" y="189"/>
                </a:cubicBezTo>
                <a:cubicBezTo>
                  <a:pt x="930" y="189"/>
                  <a:pt x="930" y="189"/>
                  <a:pt x="930" y="190"/>
                </a:cubicBezTo>
                <a:cubicBezTo>
                  <a:pt x="930" y="190"/>
                  <a:pt x="930" y="190"/>
                  <a:pt x="930" y="190"/>
                </a:cubicBezTo>
                <a:cubicBezTo>
                  <a:pt x="930" y="190"/>
                  <a:pt x="929" y="190"/>
                  <a:pt x="929" y="190"/>
                </a:cubicBezTo>
                <a:cubicBezTo>
                  <a:pt x="929" y="190"/>
                  <a:pt x="929" y="190"/>
                  <a:pt x="929" y="190"/>
                </a:cubicBezTo>
                <a:cubicBezTo>
                  <a:pt x="928" y="190"/>
                  <a:pt x="928" y="190"/>
                  <a:pt x="928" y="190"/>
                </a:cubicBezTo>
                <a:cubicBezTo>
                  <a:pt x="927" y="190"/>
                  <a:pt x="926" y="190"/>
                  <a:pt x="926" y="190"/>
                </a:cubicBezTo>
                <a:cubicBezTo>
                  <a:pt x="926" y="190"/>
                  <a:pt x="925" y="190"/>
                  <a:pt x="925" y="190"/>
                </a:cubicBezTo>
                <a:cubicBezTo>
                  <a:pt x="925" y="190"/>
                  <a:pt x="924" y="191"/>
                  <a:pt x="924" y="191"/>
                </a:cubicBezTo>
                <a:cubicBezTo>
                  <a:pt x="924" y="190"/>
                  <a:pt x="924" y="190"/>
                  <a:pt x="923" y="190"/>
                </a:cubicBezTo>
                <a:cubicBezTo>
                  <a:pt x="923" y="190"/>
                  <a:pt x="923" y="190"/>
                  <a:pt x="923" y="190"/>
                </a:cubicBezTo>
                <a:cubicBezTo>
                  <a:pt x="923" y="190"/>
                  <a:pt x="923" y="190"/>
                  <a:pt x="923" y="190"/>
                </a:cubicBezTo>
                <a:cubicBezTo>
                  <a:pt x="923" y="190"/>
                  <a:pt x="923" y="189"/>
                  <a:pt x="923" y="189"/>
                </a:cubicBezTo>
                <a:cubicBezTo>
                  <a:pt x="924" y="189"/>
                  <a:pt x="924" y="189"/>
                  <a:pt x="924" y="189"/>
                </a:cubicBezTo>
                <a:cubicBezTo>
                  <a:pt x="924" y="189"/>
                  <a:pt x="924" y="189"/>
                  <a:pt x="924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4" y="189"/>
                  <a:pt x="924" y="189"/>
                </a:cubicBezTo>
                <a:cubicBezTo>
                  <a:pt x="924" y="189"/>
                  <a:pt x="925" y="189"/>
                  <a:pt x="925" y="189"/>
                </a:cubicBezTo>
                <a:cubicBezTo>
                  <a:pt x="926" y="188"/>
                  <a:pt x="926" y="188"/>
                  <a:pt x="926" y="188"/>
                </a:cubicBezTo>
                <a:cubicBezTo>
                  <a:pt x="926" y="188"/>
                  <a:pt x="925" y="188"/>
                  <a:pt x="925" y="188"/>
                </a:cubicBezTo>
                <a:cubicBezTo>
                  <a:pt x="925" y="188"/>
                  <a:pt x="925" y="188"/>
                  <a:pt x="924" y="188"/>
                </a:cubicBezTo>
                <a:cubicBezTo>
                  <a:pt x="924" y="188"/>
                  <a:pt x="924" y="188"/>
                  <a:pt x="923" y="188"/>
                </a:cubicBezTo>
                <a:cubicBezTo>
                  <a:pt x="924" y="188"/>
                  <a:pt x="924" y="188"/>
                  <a:pt x="924" y="188"/>
                </a:cubicBezTo>
                <a:cubicBezTo>
                  <a:pt x="923" y="188"/>
                  <a:pt x="923" y="187"/>
                  <a:pt x="922" y="187"/>
                </a:cubicBezTo>
                <a:cubicBezTo>
                  <a:pt x="922" y="187"/>
                  <a:pt x="922" y="187"/>
                  <a:pt x="922" y="187"/>
                </a:cubicBezTo>
                <a:cubicBezTo>
                  <a:pt x="923" y="187"/>
                  <a:pt x="923" y="187"/>
                  <a:pt x="924" y="187"/>
                </a:cubicBezTo>
                <a:cubicBezTo>
                  <a:pt x="924" y="187"/>
                  <a:pt x="924" y="186"/>
                  <a:pt x="924" y="186"/>
                </a:cubicBezTo>
                <a:cubicBezTo>
                  <a:pt x="925" y="186"/>
                  <a:pt x="925" y="186"/>
                  <a:pt x="925" y="186"/>
                </a:cubicBezTo>
                <a:cubicBezTo>
                  <a:pt x="925" y="186"/>
                  <a:pt x="926" y="186"/>
                  <a:pt x="926" y="186"/>
                </a:cubicBezTo>
                <a:cubicBezTo>
                  <a:pt x="927" y="186"/>
                  <a:pt x="927" y="187"/>
                  <a:pt x="928" y="187"/>
                </a:cubicBezTo>
                <a:cubicBezTo>
                  <a:pt x="928" y="187"/>
                  <a:pt x="928" y="187"/>
                  <a:pt x="928" y="187"/>
                </a:cubicBezTo>
                <a:cubicBezTo>
                  <a:pt x="929" y="187"/>
                  <a:pt x="929" y="187"/>
                  <a:pt x="930" y="187"/>
                </a:cubicBezTo>
                <a:cubicBezTo>
                  <a:pt x="930" y="186"/>
                  <a:pt x="931" y="186"/>
                  <a:pt x="931" y="186"/>
                </a:cubicBezTo>
                <a:cubicBezTo>
                  <a:pt x="931" y="186"/>
                  <a:pt x="930" y="186"/>
                  <a:pt x="930" y="186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6"/>
                  <a:pt x="928" y="186"/>
                  <a:pt x="928" y="186"/>
                </a:cubicBezTo>
                <a:cubicBezTo>
                  <a:pt x="928" y="186"/>
                  <a:pt x="927" y="186"/>
                  <a:pt x="927" y="186"/>
                </a:cubicBezTo>
                <a:cubicBezTo>
                  <a:pt x="926" y="186"/>
                  <a:pt x="926" y="186"/>
                  <a:pt x="925" y="186"/>
                </a:cubicBezTo>
                <a:cubicBezTo>
                  <a:pt x="925" y="186"/>
                  <a:pt x="924" y="186"/>
                  <a:pt x="924" y="186"/>
                </a:cubicBezTo>
                <a:cubicBezTo>
                  <a:pt x="924" y="186"/>
                  <a:pt x="924" y="186"/>
                  <a:pt x="923" y="186"/>
                </a:cubicBezTo>
                <a:cubicBezTo>
                  <a:pt x="924" y="185"/>
                  <a:pt x="924" y="185"/>
                  <a:pt x="924" y="185"/>
                </a:cubicBezTo>
                <a:cubicBezTo>
                  <a:pt x="924" y="185"/>
                  <a:pt x="923" y="185"/>
                  <a:pt x="923" y="185"/>
                </a:cubicBezTo>
                <a:cubicBezTo>
                  <a:pt x="923" y="184"/>
                  <a:pt x="923" y="184"/>
                  <a:pt x="923" y="184"/>
                </a:cubicBezTo>
                <a:cubicBezTo>
                  <a:pt x="923" y="184"/>
                  <a:pt x="923" y="184"/>
                  <a:pt x="923" y="184"/>
                </a:cubicBezTo>
                <a:cubicBezTo>
                  <a:pt x="924" y="184"/>
                  <a:pt x="924" y="184"/>
                  <a:pt x="924" y="185"/>
                </a:cubicBezTo>
                <a:cubicBezTo>
                  <a:pt x="924" y="185"/>
                  <a:pt x="924" y="185"/>
                  <a:pt x="924" y="185"/>
                </a:cubicBezTo>
                <a:cubicBezTo>
                  <a:pt x="925" y="185"/>
                  <a:pt x="925" y="185"/>
                  <a:pt x="925" y="185"/>
                </a:cubicBezTo>
                <a:cubicBezTo>
                  <a:pt x="925" y="185"/>
                  <a:pt x="925" y="184"/>
                  <a:pt x="925" y="184"/>
                </a:cubicBezTo>
                <a:cubicBezTo>
                  <a:pt x="925" y="184"/>
                  <a:pt x="926" y="184"/>
                  <a:pt x="926" y="184"/>
                </a:cubicBezTo>
                <a:cubicBezTo>
                  <a:pt x="926" y="184"/>
                  <a:pt x="926" y="185"/>
                  <a:pt x="927" y="185"/>
                </a:cubicBezTo>
                <a:cubicBezTo>
                  <a:pt x="927" y="185"/>
                  <a:pt x="927" y="185"/>
                  <a:pt x="927" y="185"/>
                </a:cubicBezTo>
                <a:cubicBezTo>
                  <a:pt x="927" y="185"/>
                  <a:pt x="928" y="185"/>
                  <a:pt x="928" y="185"/>
                </a:cubicBezTo>
                <a:cubicBezTo>
                  <a:pt x="928" y="185"/>
                  <a:pt x="927" y="184"/>
                  <a:pt x="927" y="184"/>
                </a:cubicBezTo>
                <a:cubicBezTo>
                  <a:pt x="927" y="184"/>
                  <a:pt x="928" y="184"/>
                  <a:pt x="928" y="184"/>
                </a:cubicBezTo>
                <a:cubicBezTo>
                  <a:pt x="928" y="184"/>
                  <a:pt x="929" y="184"/>
                  <a:pt x="929" y="184"/>
                </a:cubicBezTo>
                <a:cubicBezTo>
                  <a:pt x="929" y="184"/>
                  <a:pt x="929" y="184"/>
                  <a:pt x="929" y="184"/>
                </a:cubicBezTo>
                <a:cubicBezTo>
                  <a:pt x="929" y="183"/>
                  <a:pt x="929" y="183"/>
                  <a:pt x="929" y="183"/>
                </a:cubicBezTo>
                <a:cubicBezTo>
                  <a:pt x="929" y="183"/>
                  <a:pt x="930" y="183"/>
                  <a:pt x="930" y="183"/>
                </a:cubicBezTo>
                <a:cubicBezTo>
                  <a:pt x="930" y="183"/>
                  <a:pt x="931" y="183"/>
                  <a:pt x="931" y="183"/>
                </a:cubicBezTo>
                <a:cubicBezTo>
                  <a:pt x="931" y="184"/>
                  <a:pt x="931" y="184"/>
                  <a:pt x="931" y="184"/>
                </a:cubicBezTo>
                <a:cubicBezTo>
                  <a:pt x="931" y="184"/>
                  <a:pt x="931" y="184"/>
                  <a:pt x="931" y="184"/>
                </a:cubicBezTo>
                <a:cubicBezTo>
                  <a:pt x="932" y="184"/>
                  <a:pt x="932" y="184"/>
                  <a:pt x="932" y="184"/>
                </a:cubicBezTo>
                <a:cubicBezTo>
                  <a:pt x="932" y="184"/>
                  <a:pt x="932" y="184"/>
                  <a:pt x="932" y="184"/>
                </a:cubicBezTo>
                <a:cubicBezTo>
                  <a:pt x="932" y="184"/>
                  <a:pt x="932" y="183"/>
                  <a:pt x="932" y="183"/>
                </a:cubicBezTo>
                <a:cubicBezTo>
                  <a:pt x="932" y="183"/>
                  <a:pt x="931" y="183"/>
                  <a:pt x="931" y="183"/>
                </a:cubicBezTo>
                <a:cubicBezTo>
                  <a:pt x="930" y="183"/>
                  <a:pt x="930" y="182"/>
                  <a:pt x="930" y="182"/>
                </a:cubicBezTo>
                <a:cubicBezTo>
                  <a:pt x="929" y="182"/>
                  <a:pt x="928" y="182"/>
                  <a:pt x="928" y="182"/>
                </a:cubicBezTo>
                <a:cubicBezTo>
                  <a:pt x="928" y="182"/>
                  <a:pt x="928" y="182"/>
                  <a:pt x="928" y="182"/>
                </a:cubicBezTo>
                <a:cubicBezTo>
                  <a:pt x="928" y="182"/>
                  <a:pt x="928" y="182"/>
                  <a:pt x="928" y="181"/>
                </a:cubicBezTo>
                <a:cubicBezTo>
                  <a:pt x="929" y="182"/>
                  <a:pt x="929" y="182"/>
                  <a:pt x="929" y="182"/>
                </a:cubicBezTo>
                <a:cubicBezTo>
                  <a:pt x="929" y="182"/>
                  <a:pt x="929" y="181"/>
                  <a:pt x="930" y="181"/>
                </a:cubicBezTo>
                <a:cubicBezTo>
                  <a:pt x="930" y="182"/>
                  <a:pt x="930" y="182"/>
                  <a:pt x="930" y="182"/>
                </a:cubicBezTo>
                <a:cubicBezTo>
                  <a:pt x="931" y="182"/>
                  <a:pt x="931" y="182"/>
                  <a:pt x="931" y="182"/>
                </a:cubicBezTo>
                <a:cubicBezTo>
                  <a:pt x="931" y="182"/>
                  <a:pt x="931" y="181"/>
                  <a:pt x="931" y="181"/>
                </a:cubicBezTo>
                <a:cubicBezTo>
                  <a:pt x="932" y="182"/>
                  <a:pt x="932" y="182"/>
                  <a:pt x="932" y="182"/>
                </a:cubicBezTo>
                <a:cubicBezTo>
                  <a:pt x="933" y="182"/>
                  <a:pt x="933" y="182"/>
                  <a:pt x="934" y="182"/>
                </a:cubicBezTo>
                <a:cubicBezTo>
                  <a:pt x="934" y="182"/>
                  <a:pt x="934" y="182"/>
                  <a:pt x="934" y="182"/>
                </a:cubicBezTo>
                <a:cubicBezTo>
                  <a:pt x="935" y="182"/>
                  <a:pt x="935" y="182"/>
                  <a:pt x="936" y="181"/>
                </a:cubicBezTo>
                <a:cubicBezTo>
                  <a:pt x="936" y="181"/>
                  <a:pt x="936" y="181"/>
                  <a:pt x="936" y="181"/>
                </a:cubicBezTo>
                <a:cubicBezTo>
                  <a:pt x="936" y="181"/>
                  <a:pt x="936" y="181"/>
                  <a:pt x="936" y="181"/>
                </a:cubicBezTo>
                <a:cubicBezTo>
                  <a:pt x="935" y="181"/>
                  <a:pt x="935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3" y="181"/>
                  <a:pt x="932" y="181"/>
                </a:cubicBezTo>
                <a:cubicBezTo>
                  <a:pt x="932" y="181"/>
                  <a:pt x="932" y="181"/>
                  <a:pt x="931" y="180"/>
                </a:cubicBezTo>
                <a:cubicBezTo>
                  <a:pt x="932" y="180"/>
                  <a:pt x="932" y="180"/>
                  <a:pt x="932" y="180"/>
                </a:cubicBezTo>
                <a:cubicBezTo>
                  <a:pt x="932" y="180"/>
                  <a:pt x="932" y="180"/>
                  <a:pt x="932" y="180"/>
                </a:cubicBezTo>
                <a:cubicBezTo>
                  <a:pt x="932" y="179"/>
                  <a:pt x="932" y="179"/>
                  <a:pt x="932" y="179"/>
                </a:cubicBezTo>
                <a:cubicBezTo>
                  <a:pt x="933" y="179"/>
                  <a:pt x="933" y="179"/>
                  <a:pt x="933" y="180"/>
                </a:cubicBezTo>
                <a:cubicBezTo>
                  <a:pt x="933" y="180"/>
                  <a:pt x="934" y="180"/>
                  <a:pt x="934" y="180"/>
                </a:cubicBezTo>
                <a:cubicBezTo>
                  <a:pt x="934" y="180"/>
                  <a:pt x="935" y="180"/>
                  <a:pt x="935" y="180"/>
                </a:cubicBezTo>
                <a:cubicBezTo>
                  <a:pt x="935" y="180"/>
                  <a:pt x="935" y="180"/>
                  <a:pt x="936" y="180"/>
                </a:cubicBezTo>
                <a:cubicBezTo>
                  <a:pt x="936" y="180"/>
                  <a:pt x="937" y="180"/>
                  <a:pt x="937" y="181"/>
                </a:cubicBezTo>
                <a:cubicBezTo>
                  <a:pt x="938" y="181"/>
                  <a:pt x="938" y="181"/>
                  <a:pt x="939" y="181"/>
                </a:cubicBezTo>
                <a:cubicBezTo>
                  <a:pt x="939" y="181"/>
                  <a:pt x="939" y="181"/>
                  <a:pt x="940" y="181"/>
                </a:cubicBezTo>
                <a:cubicBezTo>
                  <a:pt x="939" y="181"/>
                  <a:pt x="939" y="181"/>
                  <a:pt x="939" y="181"/>
                </a:cubicBezTo>
                <a:cubicBezTo>
                  <a:pt x="939" y="181"/>
                  <a:pt x="939" y="181"/>
                  <a:pt x="938" y="181"/>
                </a:cubicBezTo>
                <a:cubicBezTo>
                  <a:pt x="938" y="181"/>
                  <a:pt x="938" y="180"/>
                  <a:pt x="937" y="180"/>
                </a:cubicBezTo>
                <a:cubicBezTo>
                  <a:pt x="937" y="180"/>
                  <a:pt x="937" y="180"/>
                  <a:pt x="936" y="179"/>
                </a:cubicBezTo>
                <a:cubicBezTo>
                  <a:pt x="936" y="179"/>
                  <a:pt x="936" y="179"/>
                  <a:pt x="936" y="179"/>
                </a:cubicBezTo>
                <a:cubicBezTo>
                  <a:pt x="936" y="179"/>
                  <a:pt x="937" y="179"/>
                  <a:pt x="937" y="179"/>
                </a:cubicBezTo>
                <a:cubicBezTo>
                  <a:pt x="937" y="179"/>
                  <a:pt x="937" y="179"/>
                  <a:pt x="937" y="179"/>
                </a:cubicBezTo>
                <a:cubicBezTo>
                  <a:pt x="937" y="179"/>
                  <a:pt x="938" y="180"/>
                  <a:pt x="938" y="180"/>
                </a:cubicBezTo>
                <a:cubicBezTo>
                  <a:pt x="938" y="180"/>
                  <a:pt x="939" y="180"/>
                  <a:pt x="939" y="180"/>
                </a:cubicBezTo>
                <a:cubicBezTo>
                  <a:pt x="939" y="180"/>
                  <a:pt x="939" y="180"/>
                  <a:pt x="939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79"/>
                </a:cubicBezTo>
                <a:cubicBezTo>
                  <a:pt x="940" y="179"/>
                  <a:pt x="939" y="179"/>
                  <a:pt x="939" y="179"/>
                </a:cubicBezTo>
                <a:cubicBezTo>
                  <a:pt x="938" y="179"/>
                  <a:pt x="938" y="179"/>
                  <a:pt x="937" y="179"/>
                </a:cubicBezTo>
                <a:cubicBezTo>
                  <a:pt x="937" y="179"/>
                  <a:pt x="938" y="179"/>
                  <a:pt x="938" y="179"/>
                </a:cubicBezTo>
                <a:cubicBezTo>
                  <a:pt x="938" y="179"/>
                  <a:pt x="938" y="179"/>
                  <a:pt x="938" y="179"/>
                </a:cubicBezTo>
                <a:cubicBezTo>
                  <a:pt x="939" y="179"/>
                  <a:pt x="939" y="179"/>
                  <a:pt x="939" y="179"/>
                </a:cubicBezTo>
                <a:cubicBezTo>
                  <a:pt x="939" y="179"/>
                  <a:pt x="939" y="179"/>
                  <a:pt x="939" y="178"/>
                </a:cubicBezTo>
                <a:cubicBezTo>
                  <a:pt x="940" y="178"/>
                  <a:pt x="940" y="178"/>
                  <a:pt x="941" y="178"/>
                </a:cubicBezTo>
                <a:cubicBezTo>
                  <a:pt x="940" y="178"/>
                  <a:pt x="940" y="178"/>
                  <a:pt x="940" y="178"/>
                </a:cubicBezTo>
                <a:cubicBezTo>
                  <a:pt x="940" y="178"/>
                  <a:pt x="940" y="178"/>
                  <a:pt x="940" y="178"/>
                </a:cubicBezTo>
                <a:cubicBezTo>
                  <a:pt x="939" y="178"/>
                  <a:pt x="939" y="178"/>
                  <a:pt x="939" y="178"/>
                </a:cubicBezTo>
                <a:cubicBezTo>
                  <a:pt x="939" y="178"/>
                  <a:pt x="940" y="177"/>
                  <a:pt x="940" y="177"/>
                </a:cubicBezTo>
                <a:cubicBezTo>
                  <a:pt x="940" y="177"/>
                  <a:pt x="941" y="177"/>
                  <a:pt x="941" y="177"/>
                </a:cubicBezTo>
                <a:cubicBezTo>
                  <a:pt x="941" y="177"/>
                  <a:pt x="942" y="177"/>
                  <a:pt x="942" y="177"/>
                </a:cubicBezTo>
                <a:cubicBezTo>
                  <a:pt x="942" y="177"/>
                  <a:pt x="943" y="177"/>
                  <a:pt x="943" y="177"/>
                </a:cubicBezTo>
                <a:cubicBezTo>
                  <a:pt x="943" y="177"/>
                  <a:pt x="942" y="177"/>
                  <a:pt x="942" y="177"/>
                </a:cubicBezTo>
                <a:cubicBezTo>
                  <a:pt x="942" y="176"/>
                  <a:pt x="942" y="176"/>
                  <a:pt x="942" y="176"/>
                </a:cubicBezTo>
                <a:cubicBezTo>
                  <a:pt x="942" y="176"/>
                  <a:pt x="943" y="176"/>
                  <a:pt x="943" y="176"/>
                </a:cubicBezTo>
                <a:cubicBezTo>
                  <a:pt x="943" y="176"/>
                  <a:pt x="943" y="176"/>
                  <a:pt x="943" y="176"/>
                </a:cubicBezTo>
                <a:cubicBezTo>
                  <a:pt x="944" y="176"/>
                  <a:pt x="944" y="176"/>
                  <a:pt x="944" y="176"/>
                </a:cubicBezTo>
                <a:cubicBezTo>
                  <a:pt x="945" y="176"/>
                  <a:pt x="945" y="176"/>
                  <a:pt x="945" y="176"/>
                </a:cubicBezTo>
                <a:cubicBezTo>
                  <a:pt x="945" y="177"/>
                  <a:pt x="945" y="177"/>
                  <a:pt x="945" y="177"/>
                </a:cubicBezTo>
                <a:cubicBezTo>
                  <a:pt x="945" y="177"/>
                  <a:pt x="945" y="177"/>
                  <a:pt x="946" y="178"/>
                </a:cubicBezTo>
                <a:cubicBezTo>
                  <a:pt x="946" y="178"/>
                  <a:pt x="945" y="178"/>
                  <a:pt x="945" y="178"/>
                </a:cubicBezTo>
                <a:cubicBezTo>
                  <a:pt x="945" y="178"/>
                  <a:pt x="945" y="178"/>
                  <a:pt x="945" y="178"/>
                </a:cubicBezTo>
                <a:cubicBezTo>
                  <a:pt x="945" y="178"/>
                  <a:pt x="945" y="178"/>
                  <a:pt x="945" y="178"/>
                </a:cubicBezTo>
                <a:cubicBezTo>
                  <a:pt x="946" y="178"/>
                  <a:pt x="946" y="178"/>
                  <a:pt x="946" y="178"/>
                </a:cubicBezTo>
                <a:cubicBezTo>
                  <a:pt x="946" y="178"/>
                  <a:pt x="946" y="177"/>
                  <a:pt x="946" y="177"/>
                </a:cubicBezTo>
                <a:cubicBezTo>
                  <a:pt x="947" y="177"/>
                  <a:pt x="947" y="177"/>
                  <a:pt x="947" y="177"/>
                </a:cubicBezTo>
                <a:cubicBezTo>
                  <a:pt x="947" y="177"/>
                  <a:pt x="948" y="177"/>
                  <a:pt x="948" y="177"/>
                </a:cubicBezTo>
                <a:cubicBezTo>
                  <a:pt x="949" y="177"/>
                  <a:pt x="949" y="177"/>
                  <a:pt x="949" y="177"/>
                </a:cubicBezTo>
                <a:cubicBezTo>
                  <a:pt x="949" y="177"/>
                  <a:pt x="950" y="177"/>
                  <a:pt x="950" y="177"/>
                </a:cubicBezTo>
                <a:cubicBezTo>
                  <a:pt x="950" y="177"/>
                  <a:pt x="950" y="177"/>
                  <a:pt x="950" y="177"/>
                </a:cubicBezTo>
                <a:cubicBezTo>
                  <a:pt x="950" y="176"/>
                  <a:pt x="950" y="176"/>
                  <a:pt x="951" y="176"/>
                </a:cubicBezTo>
                <a:cubicBezTo>
                  <a:pt x="950" y="176"/>
                  <a:pt x="950" y="176"/>
                  <a:pt x="950" y="176"/>
                </a:cubicBezTo>
                <a:cubicBezTo>
                  <a:pt x="950" y="175"/>
                  <a:pt x="951" y="175"/>
                  <a:pt x="951" y="175"/>
                </a:cubicBezTo>
                <a:cubicBezTo>
                  <a:pt x="951" y="175"/>
                  <a:pt x="952" y="175"/>
                  <a:pt x="952" y="175"/>
                </a:cubicBezTo>
                <a:cubicBezTo>
                  <a:pt x="952" y="175"/>
                  <a:pt x="952" y="174"/>
                  <a:pt x="953" y="174"/>
                </a:cubicBezTo>
                <a:cubicBezTo>
                  <a:pt x="952" y="174"/>
                  <a:pt x="952" y="174"/>
                  <a:pt x="951" y="174"/>
                </a:cubicBezTo>
                <a:cubicBezTo>
                  <a:pt x="951" y="174"/>
                  <a:pt x="951" y="174"/>
                  <a:pt x="951" y="173"/>
                </a:cubicBezTo>
                <a:cubicBezTo>
                  <a:pt x="952" y="173"/>
                  <a:pt x="952" y="173"/>
                  <a:pt x="953" y="173"/>
                </a:cubicBezTo>
                <a:cubicBezTo>
                  <a:pt x="952" y="173"/>
                  <a:pt x="952" y="173"/>
                  <a:pt x="952" y="173"/>
                </a:cubicBezTo>
                <a:cubicBezTo>
                  <a:pt x="952" y="173"/>
                  <a:pt x="951" y="173"/>
                  <a:pt x="951" y="173"/>
                </a:cubicBezTo>
                <a:cubicBezTo>
                  <a:pt x="951" y="173"/>
                  <a:pt x="951" y="173"/>
                  <a:pt x="951" y="173"/>
                </a:cubicBezTo>
                <a:cubicBezTo>
                  <a:pt x="950" y="173"/>
                  <a:pt x="950" y="173"/>
                  <a:pt x="950" y="173"/>
                </a:cubicBezTo>
                <a:cubicBezTo>
                  <a:pt x="950" y="173"/>
                  <a:pt x="950" y="174"/>
                  <a:pt x="950" y="174"/>
                </a:cubicBezTo>
                <a:cubicBezTo>
                  <a:pt x="950" y="174"/>
                  <a:pt x="949" y="174"/>
                  <a:pt x="949" y="174"/>
                </a:cubicBezTo>
                <a:cubicBezTo>
                  <a:pt x="949" y="174"/>
                  <a:pt x="950" y="174"/>
                  <a:pt x="950" y="174"/>
                </a:cubicBezTo>
                <a:cubicBezTo>
                  <a:pt x="950" y="174"/>
                  <a:pt x="950" y="175"/>
                  <a:pt x="950" y="175"/>
                </a:cubicBezTo>
                <a:cubicBezTo>
                  <a:pt x="949" y="175"/>
                  <a:pt x="949" y="176"/>
                  <a:pt x="948" y="176"/>
                </a:cubicBezTo>
                <a:cubicBezTo>
                  <a:pt x="948" y="176"/>
                  <a:pt x="947" y="176"/>
                  <a:pt x="947" y="176"/>
                </a:cubicBezTo>
                <a:cubicBezTo>
                  <a:pt x="947" y="176"/>
                  <a:pt x="946" y="176"/>
                  <a:pt x="946" y="176"/>
                </a:cubicBezTo>
                <a:cubicBezTo>
                  <a:pt x="946" y="176"/>
                  <a:pt x="945" y="176"/>
                  <a:pt x="945" y="176"/>
                </a:cubicBezTo>
                <a:cubicBezTo>
                  <a:pt x="945" y="176"/>
                  <a:pt x="945" y="175"/>
                  <a:pt x="945" y="175"/>
                </a:cubicBezTo>
                <a:cubicBezTo>
                  <a:pt x="945" y="175"/>
                  <a:pt x="946" y="175"/>
                  <a:pt x="946" y="175"/>
                </a:cubicBezTo>
                <a:cubicBezTo>
                  <a:pt x="946" y="175"/>
                  <a:pt x="946" y="175"/>
                  <a:pt x="946" y="175"/>
                </a:cubicBezTo>
                <a:cubicBezTo>
                  <a:pt x="946" y="175"/>
                  <a:pt x="946" y="175"/>
                  <a:pt x="945" y="175"/>
                </a:cubicBezTo>
                <a:cubicBezTo>
                  <a:pt x="945" y="175"/>
                  <a:pt x="945" y="175"/>
                  <a:pt x="944" y="175"/>
                </a:cubicBezTo>
                <a:cubicBezTo>
                  <a:pt x="944" y="175"/>
                  <a:pt x="944" y="175"/>
                  <a:pt x="944" y="175"/>
                </a:cubicBezTo>
                <a:cubicBezTo>
                  <a:pt x="944" y="175"/>
                  <a:pt x="945" y="174"/>
                  <a:pt x="945" y="174"/>
                </a:cubicBezTo>
                <a:cubicBezTo>
                  <a:pt x="945" y="174"/>
                  <a:pt x="946" y="174"/>
                  <a:pt x="946" y="174"/>
                </a:cubicBezTo>
                <a:cubicBezTo>
                  <a:pt x="946" y="173"/>
                  <a:pt x="946" y="173"/>
                  <a:pt x="946" y="173"/>
                </a:cubicBezTo>
                <a:cubicBezTo>
                  <a:pt x="946" y="173"/>
                  <a:pt x="946" y="173"/>
                  <a:pt x="946" y="173"/>
                </a:cubicBezTo>
                <a:cubicBezTo>
                  <a:pt x="946" y="173"/>
                  <a:pt x="946" y="172"/>
                  <a:pt x="947" y="172"/>
                </a:cubicBezTo>
                <a:cubicBezTo>
                  <a:pt x="947" y="172"/>
                  <a:pt x="947" y="172"/>
                  <a:pt x="947" y="172"/>
                </a:cubicBezTo>
                <a:cubicBezTo>
                  <a:pt x="947" y="171"/>
                  <a:pt x="947" y="171"/>
                  <a:pt x="947" y="171"/>
                </a:cubicBezTo>
                <a:cubicBezTo>
                  <a:pt x="948" y="171"/>
                  <a:pt x="948" y="171"/>
                  <a:pt x="949" y="171"/>
                </a:cubicBezTo>
                <a:cubicBezTo>
                  <a:pt x="948" y="171"/>
                  <a:pt x="948" y="171"/>
                  <a:pt x="948" y="171"/>
                </a:cubicBezTo>
                <a:cubicBezTo>
                  <a:pt x="948" y="171"/>
                  <a:pt x="948" y="171"/>
                  <a:pt x="948" y="171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1" y="170"/>
                  <a:pt x="951" y="170"/>
                  <a:pt x="951" y="170"/>
                </a:cubicBezTo>
                <a:cubicBezTo>
                  <a:pt x="952" y="170"/>
                  <a:pt x="952" y="170"/>
                  <a:pt x="952" y="170"/>
                </a:cubicBezTo>
                <a:cubicBezTo>
                  <a:pt x="952" y="170"/>
                  <a:pt x="952" y="169"/>
                  <a:pt x="953" y="169"/>
                </a:cubicBezTo>
                <a:cubicBezTo>
                  <a:pt x="952" y="169"/>
                  <a:pt x="952" y="169"/>
                  <a:pt x="952" y="169"/>
                </a:cubicBezTo>
                <a:cubicBezTo>
                  <a:pt x="952" y="169"/>
                  <a:pt x="951" y="169"/>
                  <a:pt x="951" y="169"/>
                </a:cubicBezTo>
                <a:cubicBezTo>
                  <a:pt x="952" y="169"/>
                  <a:pt x="952" y="168"/>
                  <a:pt x="952" y="168"/>
                </a:cubicBezTo>
                <a:cubicBezTo>
                  <a:pt x="953" y="168"/>
                  <a:pt x="953" y="168"/>
                  <a:pt x="954" y="168"/>
                </a:cubicBezTo>
                <a:cubicBezTo>
                  <a:pt x="954" y="168"/>
                  <a:pt x="954" y="168"/>
                  <a:pt x="954" y="168"/>
                </a:cubicBezTo>
                <a:cubicBezTo>
                  <a:pt x="954" y="168"/>
                  <a:pt x="953" y="168"/>
                  <a:pt x="953" y="168"/>
                </a:cubicBezTo>
                <a:cubicBezTo>
                  <a:pt x="953" y="168"/>
                  <a:pt x="954" y="167"/>
                  <a:pt x="954" y="167"/>
                </a:cubicBezTo>
                <a:cubicBezTo>
                  <a:pt x="954" y="167"/>
                  <a:pt x="954" y="167"/>
                  <a:pt x="955" y="167"/>
                </a:cubicBezTo>
                <a:cubicBezTo>
                  <a:pt x="955" y="167"/>
                  <a:pt x="955" y="167"/>
                  <a:pt x="955" y="167"/>
                </a:cubicBezTo>
                <a:cubicBezTo>
                  <a:pt x="955" y="167"/>
                  <a:pt x="955" y="167"/>
                  <a:pt x="955" y="166"/>
                </a:cubicBezTo>
                <a:cubicBezTo>
                  <a:pt x="956" y="166"/>
                  <a:pt x="956" y="166"/>
                  <a:pt x="956" y="166"/>
                </a:cubicBezTo>
                <a:cubicBezTo>
                  <a:pt x="957" y="166"/>
                  <a:pt x="957" y="166"/>
                  <a:pt x="957" y="166"/>
                </a:cubicBezTo>
                <a:cubicBezTo>
                  <a:pt x="957" y="166"/>
                  <a:pt x="958" y="166"/>
                  <a:pt x="958" y="166"/>
                </a:cubicBezTo>
                <a:cubicBezTo>
                  <a:pt x="958" y="165"/>
                  <a:pt x="958" y="165"/>
                  <a:pt x="958" y="165"/>
                </a:cubicBezTo>
                <a:cubicBezTo>
                  <a:pt x="958" y="165"/>
                  <a:pt x="958" y="165"/>
                  <a:pt x="958" y="165"/>
                </a:cubicBezTo>
                <a:cubicBezTo>
                  <a:pt x="958" y="165"/>
                  <a:pt x="958" y="165"/>
                  <a:pt x="957" y="165"/>
                </a:cubicBezTo>
                <a:cubicBezTo>
                  <a:pt x="957" y="165"/>
                  <a:pt x="957" y="165"/>
                  <a:pt x="957" y="165"/>
                </a:cubicBezTo>
                <a:cubicBezTo>
                  <a:pt x="957" y="165"/>
                  <a:pt x="956" y="165"/>
                  <a:pt x="956" y="165"/>
                </a:cubicBezTo>
                <a:cubicBezTo>
                  <a:pt x="956" y="165"/>
                  <a:pt x="956" y="164"/>
                  <a:pt x="956" y="164"/>
                </a:cubicBezTo>
                <a:cubicBezTo>
                  <a:pt x="956" y="164"/>
                  <a:pt x="956" y="164"/>
                  <a:pt x="956" y="164"/>
                </a:cubicBezTo>
                <a:cubicBezTo>
                  <a:pt x="956" y="164"/>
                  <a:pt x="956" y="164"/>
                  <a:pt x="956" y="164"/>
                </a:cubicBezTo>
                <a:cubicBezTo>
                  <a:pt x="956" y="163"/>
                  <a:pt x="956" y="163"/>
                  <a:pt x="957" y="163"/>
                </a:cubicBezTo>
                <a:cubicBezTo>
                  <a:pt x="957" y="164"/>
                  <a:pt x="957" y="164"/>
                  <a:pt x="958" y="164"/>
                </a:cubicBezTo>
                <a:cubicBezTo>
                  <a:pt x="958" y="164"/>
                  <a:pt x="958" y="164"/>
                  <a:pt x="958" y="164"/>
                </a:cubicBezTo>
                <a:cubicBezTo>
                  <a:pt x="958" y="163"/>
                  <a:pt x="958" y="163"/>
                  <a:pt x="958" y="163"/>
                </a:cubicBezTo>
                <a:cubicBezTo>
                  <a:pt x="957" y="163"/>
                  <a:pt x="957" y="163"/>
                  <a:pt x="957" y="163"/>
                </a:cubicBezTo>
                <a:cubicBezTo>
                  <a:pt x="957" y="163"/>
                  <a:pt x="957" y="163"/>
                  <a:pt x="957" y="162"/>
                </a:cubicBezTo>
                <a:cubicBezTo>
                  <a:pt x="957" y="162"/>
                  <a:pt x="957" y="162"/>
                  <a:pt x="957" y="162"/>
                </a:cubicBezTo>
                <a:cubicBezTo>
                  <a:pt x="957" y="162"/>
                  <a:pt x="958" y="162"/>
                  <a:pt x="958" y="163"/>
                </a:cubicBezTo>
                <a:cubicBezTo>
                  <a:pt x="958" y="163"/>
                  <a:pt x="958" y="163"/>
                  <a:pt x="958" y="163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1"/>
                  <a:pt x="958" y="161"/>
                  <a:pt x="958" y="161"/>
                </a:cubicBezTo>
                <a:cubicBezTo>
                  <a:pt x="958" y="161"/>
                  <a:pt x="958" y="161"/>
                  <a:pt x="958" y="161"/>
                </a:cubicBezTo>
                <a:cubicBezTo>
                  <a:pt x="959" y="161"/>
                  <a:pt x="959" y="161"/>
                  <a:pt x="959" y="161"/>
                </a:cubicBezTo>
                <a:cubicBezTo>
                  <a:pt x="959" y="161"/>
                  <a:pt x="959" y="161"/>
                  <a:pt x="960" y="161"/>
                </a:cubicBezTo>
                <a:cubicBezTo>
                  <a:pt x="960" y="161"/>
                  <a:pt x="960" y="161"/>
                  <a:pt x="960" y="161"/>
                </a:cubicBezTo>
                <a:cubicBezTo>
                  <a:pt x="959" y="161"/>
                  <a:pt x="959" y="160"/>
                  <a:pt x="959" y="160"/>
                </a:cubicBezTo>
                <a:cubicBezTo>
                  <a:pt x="959" y="160"/>
                  <a:pt x="959" y="160"/>
                  <a:pt x="959" y="160"/>
                </a:cubicBezTo>
                <a:cubicBezTo>
                  <a:pt x="959" y="160"/>
                  <a:pt x="958" y="160"/>
                  <a:pt x="958" y="160"/>
                </a:cubicBezTo>
                <a:cubicBezTo>
                  <a:pt x="958" y="160"/>
                  <a:pt x="958" y="160"/>
                  <a:pt x="957" y="160"/>
                </a:cubicBezTo>
                <a:cubicBezTo>
                  <a:pt x="958" y="159"/>
                  <a:pt x="958" y="159"/>
                  <a:pt x="959" y="159"/>
                </a:cubicBezTo>
                <a:cubicBezTo>
                  <a:pt x="959" y="159"/>
                  <a:pt x="960" y="159"/>
                  <a:pt x="960" y="159"/>
                </a:cubicBezTo>
                <a:cubicBezTo>
                  <a:pt x="960" y="159"/>
                  <a:pt x="960" y="159"/>
                  <a:pt x="961" y="159"/>
                </a:cubicBezTo>
                <a:cubicBezTo>
                  <a:pt x="961" y="159"/>
                  <a:pt x="961" y="159"/>
                  <a:pt x="962" y="159"/>
                </a:cubicBezTo>
                <a:cubicBezTo>
                  <a:pt x="962" y="159"/>
                  <a:pt x="962" y="159"/>
                  <a:pt x="962" y="159"/>
                </a:cubicBezTo>
                <a:cubicBezTo>
                  <a:pt x="962" y="159"/>
                  <a:pt x="962" y="159"/>
                  <a:pt x="962" y="158"/>
                </a:cubicBezTo>
                <a:cubicBezTo>
                  <a:pt x="962" y="159"/>
                  <a:pt x="962" y="159"/>
                  <a:pt x="961" y="159"/>
                </a:cubicBezTo>
                <a:cubicBezTo>
                  <a:pt x="961" y="159"/>
                  <a:pt x="961" y="159"/>
                  <a:pt x="961" y="159"/>
                </a:cubicBezTo>
                <a:cubicBezTo>
                  <a:pt x="961" y="158"/>
                  <a:pt x="961" y="158"/>
                  <a:pt x="961" y="158"/>
                </a:cubicBezTo>
                <a:cubicBezTo>
                  <a:pt x="960" y="158"/>
                  <a:pt x="960" y="158"/>
                  <a:pt x="959" y="158"/>
                </a:cubicBezTo>
                <a:cubicBezTo>
                  <a:pt x="959" y="158"/>
                  <a:pt x="959" y="158"/>
                  <a:pt x="958" y="158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60" y="157"/>
                  <a:pt x="960" y="157"/>
                </a:cubicBezTo>
                <a:cubicBezTo>
                  <a:pt x="960" y="157"/>
                  <a:pt x="960" y="157"/>
                  <a:pt x="960" y="157"/>
                </a:cubicBezTo>
                <a:cubicBezTo>
                  <a:pt x="960" y="157"/>
                  <a:pt x="960" y="157"/>
                  <a:pt x="960" y="157"/>
                </a:cubicBezTo>
                <a:cubicBezTo>
                  <a:pt x="960" y="157"/>
                  <a:pt x="960" y="156"/>
                  <a:pt x="960" y="156"/>
                </a:cubicBezTo>
                <a:cubicBezTo>
                  <a:pt x="960" y="156"/>
                  <a:pt x="960" y="156"/>
                  <a:pt x="960" y="156"/>
                </a:cubicBezTo>
                <a:cubicBezTo>
                  <a:pt x="960" y="156"/>
                  <a:pt x="960" y="156"/>
                  <a:pt x="959" y="156"/>
                </a:cubicBezTo>
                <a:cubicBezTo>
                  <a:pt x="960" y="156"/>
                  <a:pt x="960" y="156"/>
                  <a:pt x="960" y="155"/>
                </a:cubicBezTo>
                <a:cubicBezTo>
                  <a:pt x="960" y="156"/>
                  <a:pt x="960" y="156"/>
                  <a:pt x="960" y="156"/>
                </a:cubicBezTo>
                <a:cubicBezTo>
                  <a:pt x="960" y="156"/>
                  <a:pt x="961" y="156"/>
                  <a:pt x="961" y="156"/>
                </a:cubicBezTo>
                <a:cubicBezTo>
                  <a:pt x="961" y="156"/>
                  <a:pt x="961" y="156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2" y="155"/>
                  <a:pt x="962" y="155"/>
                  <a:pt x="962" y="155"/>
                </a:cubicBezTo>
                <a:cubicBezTo>
                  <a:pt x="962" y="155"/>
                  <a:pt x="962" y="155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2" y="154"/>
                  <a:pt x="962" y="153"/>
                  <a:pt x="963" y="153"/>
                </a:cubicBezTo>
                <a:cubicBezTo>
                  <a:pt x="963" y="153"/>
                  <a:pt x="963" y="153"/>
                  <a:pt x="963" y="153"/>
                </a:cubicBezTo>
                <a:cubicBezTo>
                  <a:pt x="964" y="153"/>
                  <a:pt x="964" y="153"/>
                  <a:pt x="964" y="153"/>
                </a:cubicBezTo>
                <a:cubicBezTo>
                  <a:pt x="964" y="153"/>
                  <a:pt x="964" y="153"/>
                  <a:pt x="964" y="153"/>
                </a:cubicBezTo>
                <a:cubicBezTo>
                  <a:pt x="965" y="153"/>
                  <a:pt x="965" y="153"/>
                  <a:pt x="966" y="152"/>
                </a:cubicBezTo>
                <a:cubicBezTo>
                  <a:pt x="966" y="152"/>
                  <a:pt x="966" y="152"/>
                  <a:pt x="966" y="152"/>
                </a:cubicBezTo>
                <a:cubicBezTo>
                  <a:pt x="967" y="152"/>
                  <a:pt x="967" y="152"/>
                  <a:pt x="968" y="152"/>
                </a:cubicBezTo>
                <a:cubicBezTo>
                  <a:pt x="968" y="152"/>
                  <a:pt x="969" y="153"/>
                  <a:pt x="969" y="153"/>
                </a:cubicBezTo>
                <a:cubicBezTo>
                  <a:pt x="969" y="153"/>
                  <a:pt x="969" y="153"/>
                  <a:pt x="969" y="152"/>
                </a:cubicBezTo>
                <a:cubicBezTo>
                  <a:pt x="969" y="152"/>
                  <a:pt x="969" y="152"/>
                  <a:pt x="968" y="152"/>
                </a:cubicBezTo>
                <a:cubicBezTo>
                  <a:pt x="968" y="152"/>
                  <a:pt x="968" y="152"/>
                  <a:pt x="968" y="152"/>
                </a:cubicBezTo>
                <a:cubicBezTo>
                  <a:pt x="968" y="152"/>
                  <a:pt x="967" y="152"/>
                  <a:pt x="967" y="152"/>
                </a:cubicBezTo>
                <a:cubicBezTo>
                  <a:pt x="967" y="152"/>
                  <a:pt x="967" y="152"/>
                  <a:pt x="967" y="151"/>
                </a:cubicBezTo>
                <a:cubicBezTo>
                  <a:pt x="966" y="152"/>
                  <a:pt x="966" y="152"/>
                  <a:pt x="966" y="152"/>
                </a:cubicBezTo>
                <a:cubicBezTo>
                  <a:pt x="965" y="152"/>
                  <a:pt x="965" y="152"/>
                  <a:pt x="964" y="151"/>
                </a:cubicBezTo>
                <a:cubicBezTo>
                  <a:pt x="964" y="151"/>
                  <a:pt x="965" y="151"/>
                  <a:pt x="965" y="151"/>
                </a:cubicBezTo>
                <a:cubicBezTo>
                  <a:pt x="965" y="151"/>
                  <a:pt x="965" y="151"/>
                  <a:pt x="966" y="151"/>
                </a:cubicBezTo>
                <a:cubicBezTo>
                  <a:pt x="966" y="151"/>
                  <a:pt x="966" y="151"/>
                  <a:pt x="967" y="151"/>
                </a:cubicBezTo>
                <a:cubicBezTo>
                  <a:pt x="966" y="150"/>
                  <a:pt x="966" y="150"/>
                  <a:pt x="966" y="150"/>
                </a:cubicBezTo>
                <a:cubicBezTo>
                  <a:pt x="966" y="150"/>
                  <a:pt x="966" y="150"/>
                  <a:pt x="966" y="150"/>
                </a:cubicBezTo>
                <a:cubicBezTo>
                  <a:pt x="967" y="150"/>
                  <a:pt x="967" y="150"/>
                  <a:pt x="967" y="150"/>
                </a:cubicBezTo>
                <a:cubicBezTo>
                  <a:pt x="967" y="150"/>
                  <a:pt x="968" y="150"/>
                  <a:pt x="968" y="150"/>
                </a:cubicBezTo>
                <a:cubicBezTo>
                  <a:pt x="968" y="150"/>
                  <a:pt x="968" y="150"/>
                  <a:pt x="969" y="150"/>
                </a:cubicBezTo>
                <a:cubicBezTo>
                  <a:pt x="969" y="150"/>
                  <a:pt x="969" y="151"/>
                  <a:pt x="969" y="151"/>
                </a:cubicBezTo>
                <a:cubicBezTo>
                  <a:pt x="969" y="151"/>
                  <a:pt x="969" y="150"/>
                  <a:pt x="969" y="150"/>
                </a:cubicBezTo>
                <a:cubicBezTo>
                  <a:pt x="969" y="150"/>
                  <a:pt x="969" y="150"/>
                  <a:pt x="968" y="150"/>
                </a:cubicBezTo>
                <a:cubicBezTo>
                  <a:pt x="968" y="149"/>
                  <a:pt x="968" y="149"/>
                  <a:pt x="968" y="149"/>
                </a:cubicBezTo>
                <a:cubicBezTo>
                  <a:pt x="968" y="149"/>
                  <a:pt x="968" y="149"/>
                  <a:pt x="968" y="148"/>
                </a:cubicBezTo>
                <a:cubicBezTo>
                  <a:pt x="968" y="148"/>
                  <a:pt x="969" y="148"/>
                  <a:pt x="969" y="148"/>
                </a:cubicBezTo>
                <a:cubicBezTo>
                  <a:pt x="969" y="148"/>
                  <a:pt x="969" y="148"/>
                  <a:pt x="969" y="148"/>
                </a:cubicBezTo>
                <a:cubicBezTo>
                  <a:pt x="969" y="148"/>
                  <a:pt x="968" y="148"/>
                  <a:pt x="968" y="148"/>
                </a:cubicBezTo>
                <a:cubicBezTo>
                  <a:pt x="968" y="148"/>
                  <a:pt x="967" y="148"/>
                  <a:pt x="967" y="149"/>
                </a:cubicBezTo>
                <a:cubicBezTo>
                  <a:pt x="967" y="149"/>
                  <a:pt x="966" y="149"/>
                  <a:pt x="966" y="149"/>
                </a:cubicBezTo>
                <a:cubicBezTo>
                  <a:pt x="966" y="148"/>
                  <a:pt x="967" y="148"/>
                  <a:pt x="967" y="148"/>
                </a:cubicBezTo>
                <a:cubicBezTo>
                  <a:pt x="967" y="148"/>
                  <a:pt x="966" y="148"/>
                  <a:pt x="966" y="148"/>
                </a:cubicBezTo>
                <a:cubicBezTo>
                  <a:pt x="966" y="147"/>
                  <a:pt x="966" y="147"/>
                  <a:pt x="967" y="147"/>
                </a:cubicBezTo>
                <a:cubicBezTo>
                  <a:pt x="967" y="147"/>
                  <a:pt x="967" y="147"/>
                  <a:pt x="967" y="147"/>
                </a:cubicBezTo>
                <a:cubicBezTo>
                  <a:pt x="968" y="147"/>
                  <a:pt x="968" y="147"/>
                  <a:pt x="968" y="147"/>
                </a:cubicBezTo>
                <a:cubicBezTo>
                  <a:pt x="969" y="147"/>
                  <a:pt x="969" y="147"/>
                  <a:pt x="970" y="147"/>
                </a:cubicBezTo>
                <a:cubicBezTo>
                  <a:pt x="970" y="147"/>
                  <a:pt x="970" y="147"/>
                  <a:pt x="971" y="146"/>
                </a:cubicBezTo>
                <a:cubicBezTo>
                  <a:pt x="970" y="146"/>
                  <a:pt x="970" y="146"/>
                  <a:pt x="970" y="146"/>
                </a:cubicBezTo>
                <a:cubicBezTo>
                  <a:pt x="969" y="146"/>
                  <a:pt x="969" y="146"/>
                  <a:pt x="968" y="146"/>
                </a:cubicBezTo>
                <a:cubicBezTo>
                  <a:pt x="968" y="146"/>
                  <a:pt x="968" y="146"/>
                  <a:pt x="968" y="146"/>
                </a:cubicBezTo>
                <a:cubicBezTo>
                  <a:pt x="968" y="145"/>
                  <a:pt x="968" y="145"/>
                  <a:pt x="968" y="145"/>
                </a:cubicBezTo>
                <a:cubicBezTo>
                  <a:pt x="969" y="145"/>
                  <a:pt x="969" y="145"/>
                  <a:pt x="969" y="145"/>
                </a:cubicBezTo>
                <a:cubicBezTo>
                  <a:pt x="969" y="145"/>
                  <a:pt x="969" y="145"/>
                  <a:pt x="969" y="145"/>
                </a:cubicBezTo>
                <a:cubicBezTo>
                  <a:pt x="969" y="145"/>
                  <a:pt x="969" y="146"/>
                  <a:pt x="969" y="146"/>
                </a:cubicBezTo>
                <a:cubicBezTo>
                  <a:pt x="969" y="146"/>
                  <a:pt x="970" y="146"/>
                  <a:pt x="970" y="146"/>
                </a:cubicBezTo>
                <a:cubicBezTo>
                  <a:pt x="970" y="145"/>
                  <a:pt x="971" y="145"/>
                  <a:pt x="971" y="145"/>
                </a:cubicBezTo>
                <a:cubicBezTo>
                  <a:pt x="971" y="145"/>
                  <a:pt x="971" y="146"/>
                  <a:pt x="972" y="146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2" y="147"/>
                  <a:pt x="972" y="147"/>
                  <a:pt x="972" y="147"/>
                </a:cubicBezTo>
                <a:cubicBezTo>
                  <a:pt x="972" y="147"/>
                  <a:pt x="972" y="147"/>
                  <a:pt x="972" y="147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3" y="146"/>
                  <a:pt x="973" y="146"/>
                  <a:pt x="973" y="146"/>
                </a:cubicBezTo>
                <a:cubicBezTo>
                  <a:pt x="973" y="145"/>
                  <a:pt x="973" y="145"/>
                  <a:pt x="973" y="145"/>
                </a:cubicBezTo>
                <a:cubicBezTo>
                  <a:pt x="972" y="145"/>
                  <a:pt x="972" y="145"/>
                  <a:pt x="972" y="145"/>
                </a:cubicBezTo>
                <a:cubicBezTo>
                  <a:pt x="972" y="145"/>
                  <a:pt x="972" y="145"/>
                  <a:pt x="972" y="145"/>
                </a:cubicBezTo>
                <a:cubicBezTo>
                  <a:pt x="973" y="145"/>
                  <a:pt x="973" y="145"/>
                  <a:pt x="973" y="145"/>
                </a:cubicBezTo>
                <a:cubicBezTo>
                  <a:pt x="973" y="145"/>
                  <a:pt x="973" y="145"/>
                  <a:pt x="974" y="144"/>
                </a:cubicBezTo>
                <a:cubicBezTo>
                  <a:pt x="973" y="144"/>
                  <a:pt x="973" y="144"/>
                  <a:pt x="973" y="144"/>
                </a:cubicBezTo>
                <a:cubicBezTo>
                  <a:pt x="974" y="144"/>
                  <a:pt x="974" y="144"/>
                  <a:pt x="974" y="144"/>
                </a:cubicBezTo>
                <a:cubicBezTo>
                  <a:pt x="975" y="144"/>
                  <a:pt x="975" y="144"/>
                  <a:pt x="975" y="145"/>
                </a:cubicBezTo>
                <a:cubicBezTo>
                  <a:pt x="975" y="145"/>
                  <a:pt x="975" y="144"/>
                  <a:pt x="976" y="144"/>
                </a:cubicBezTo>
                <a:cubicBezTo>
                  <a:pt x="976" y="145"/>
                  <a:pt x="976" y="145"/>
                  <a:pt x="976" y="145"/>
                </a:cubicBezTo>
                <a:cubicBezTo>
                  <a:pt x="976" y="145"/>
                  <a:pt x="976" y="145"/>
                  <a:pt x="976" y="145"/>
                </a:cubicBezTo>
                <a:cubicBezTo>
                  <a:pt x="976" y="145"/>
                  <a:pt x="977" y="145"/>
                  <a:pt x="977" y="145"/>
                </a:cubicBezTo>
                <a:cubicBezTo>
                  <a:pt x="977" y="145"/>
                  <a:pt x="977" y="144"/>
                  <a:pt x="977" y="144"/>
                </a:cubicBezTo>
                <a:cubicBezTo>
                  <a:pt x="977" y="144"/>
                  <a:pt x="977" y="144"/>
                  <a:pt x="978" y="144"/>
                </a:cubicBezTo>
                <a:cubicBezTo>
                  <a:pt x="978" y="143"/>
                  <a:pt x="978" y="143"/>
                  <a:pt x="978" y="143"/>
                </a:cubicBezTo>
                <a:cubicBezTo>
                  <a:pt x="977" y="143"/>
                  <a:pt x="977" y="143"/>
                  <a:pt x="977" y="143"/>
                </a:cubicBezTo>
                <a:cubicBezTo>
                  <a:pt x="977" y="143"/>
                  <a:pt x="976" y="143"/>
                  <a:pt x="976" y="143"/>
                </a:cubicBezTo>
                <a:cubicBezTo>
                  <a:pt x="976" y="143"/>
                  <a:pt x="975" y="143"/>
                  <a:pt x="975" y="143"/>
                </a:cubicBezTo>
                <a:cubicBezTo>
                  <a:pt x="974" y="143"/>
                  <a:pt x="974" y="143"/>
                  <a:pt x="973" y="144"/>
                </a:cubicBezTo>
                <a:cubicBezTo>
                  <a:pt x="972" y="144"/>
                  <a:pt x="972" y="143"/>
                  <a:pt x="972" y="143"/>
                </a:cubicBezTo>
                <a:cubicBezTo>
                  <a:pt x="972" y="143"/>
                  <a:pt x="972" y="143"/>
                  <a:pt x="972" y="143"/>
                </a:cubicBezTo>
                <a:cubicBezTo>
                  <a:pt x="973" y="143"/>
                  <a:pt x="973" y="143"/>
                  <a:pt x="974" y="143"/>
                </a:cubicBezTo>
                <a:cubicBezTo>
                  <a:pt x="974" y="143"/>
                  <a:pt x="974" y="143"/>
                  <a:pt x="974" y="142"/>
                </a:cubicBezTo>
                <a:cubicBezTo>
                  <a:pt x="974" y="142"/>
                  <a:pt x="974" y="142"/>
                  <a:pt x="974" y="142"/>
                </a:cubicBezTo>
                <a:cubicBezTo>
                  <a:pt x="974" y="142"/>
                  <a:pt x="974" y="142"/>
                  <a:pt x="974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75" y="141"/>
                  <a:pt x="976" y="142"/>
                  <a:pt x="976" y="142"/>
                </a:cubicBezTo>
                <a:cubicBezTo>
                  <a:pt x="976" y="142"/>
                  <a:pt x="976" y="142"/>
                  <a:pt x="976" y="142"/>
                </a:cubicBezTo>
                <a:cubicBezTo>
                  <a:pt x="976" y="142"/>
                  <a:pt x="976" y="142"/>
                  <a:pt x="976" y="141"/>
                </a:cubicBezTo>
                <a:cubicBezTo>
                  <a:pt x="976" y="141"/>
                  <a:pt x="976" y="141"/>
                  <a:pt x="976" y="141"/>
                </a:cubicBezTo>
                <a:cubicBezTo>
                  <a:pt x="976" y="141"/>
                  <a:pt x="977" y="141"/>
                  <a:pt x="977" y="141"/>
                </a:cubicBezTo>
                <a:cubicBezTo>
                  <a:pt x="977" y="141"/>
                  <a:pt x="977" y="141"/>
                  <a:pt x="977" y="141"/>
                </a:cubicBezTo>
                <a:cubicBezTo>
                  <a:pt x="977" y="141"/>
                  <a:pt x="977" y="141"/>
                  <a:pt x="977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8" y="140"/>
                  <a:pt x="978" y="140"/>
                  <a:pt x="978" y="140"/>
                </a:cubicBezTo>
                <a:cubicBezTo>
                  <a:pt x="978" y="140"/>
                  <a:pt x="978" y="140"/>
                  <a:pt x="978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7" y="139"/>
                  <a:pt x="977" y="139"/>
                  <a:pt x="978" y="139"/>
                </a:cubicBezTo>
                <a:cubicBezTo>
                  <a:pt x="978" y="139"/>
                  <a:pt x="978" y="139"/>
                  <a:pt x="979" y="139"/>
                </a:cubicBezTo>
                <a:cubicBezTo>
                  <a:pt x="979" y="139"/>
                  <a:pt x="979" y="139"/>
                  <a:pt x="979" y="139"/>
                </a:cubicBezTo>
                <a:cubicBezTo>
                  <a:pt x="980" y="139"/>
                  <a:pt x="980" y="138"/>
                  <a:pt x="980" y="138"/>
                </a:cubicBezTo>
                <a:cubicBezTo>
                  <a:pt x="980" y="138"/>
                  <a:pt x="979" y="138"/>
                  <a:pt x="979" y="138"/>
                </a:cubicBezTo>
                <a:cubicBezTo>
                  <a:pt x="979" y="137"/>
                  <a:pt x="979" y="137"/>
                  <a:pt x="979" y="137"/>
                </a:cubicBezTo>
                <a:cubicBezTo>
                  <a:pt x="980" y="137"/>
                  <a:pt x="980" y="137"/>
                  <a:pt x="980" y="136"/>
                </a:cubicBezTo>
                <a:cubicBezTo>
                  <a:pt x="980" y="137"/>
                  <a:pt x="980" y="137"/>
                  <a:pt x="980" y="137"/>
                </a:cubicBezTo>
                <a:cubicBezTo>
                  <a:pt x="980" y="137"/>
                  <a:pt x="981" y="137"/>
                  <a:pt x="981" y="137"/>
                </a:cubicBezTo>
                <a:cubicBezTo>
                  <a:pt x="981" y="137"/>
                  <a:pt x="981" y="138"/>
                  <a:pt x="981" y="138"/>
                </a:cubicBezTo>
                <a:cubicBezTo>
                  <a:pt x="981" y="138"/>
                  <a:pt x="982" y="138"/>
                  <a:pt x="982" y="139"/>
                </a:cubicBezTo>
                <a:cubicBezTo>
                  <a:pt x="982" y="138"/>
                  <a:pt x="982" y="138"/>
                  <a:pt x="981" y="138"/>
                </a:cubicBezTo>
                <a:cubicBezTo>
                  <a:pt x="982" y="138"/>
                  <a:pt x="982" y="138"/>
                  <a:pt x="982" y="138"/>
                </a:cubicBezTo>
                <a:cubicBezTo>
                  <a:pt x="983" y="138"/>
                  <a:pt x="983" y="138"/>
                  <a:pt x="983" y="138"/>
                </a:cubicBezTo>
                <a:cubicBezTo>
                  <a:pt x="983" y="138"/>
                  <a:pt x="983" y="138"/>
                  <a:pt x="983" y="137"/>
                </a:cubicBezTo>
                <a:cubicBezTo>
                  <a:pt x="983" y="137"/>
                  <a:pt x="983" y="137"/>
                  <a:pt x="982" y="137"/>
                </a:cubicBezTo>
                <a:cubicBezTo>
                  <a:pt x="982" y="137"/>
                  <a:pt x="981" y="137"/>
                  <a:pt x="981" y="137"/>
                </a:cubicBezTo>
                <a:cubicBezTo>
                  <a:pt x="981" y="137"/>
                  <a:pt x="981" y="136"/>
                  <a:pt x="981" y="136"/>
                </a:cubicBezTo>
                <a:cubicBezTo>
                  <a:pt x="981" y="136"/>
                  <a:pt x="982" y="136"/>
                  <a:pt x="983" y="136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36"/>
                  <a:pt x="983" y="137"/>
                  <a:pt x="984" y="137"/>
                </a:cubicBezTo>
                <a:cubicBezTo>
                  <a:pt x="984" y="137"/>
                  <a:pt x="984" y="138"/>
                  <a:pt x="985" y="138"/>
                </a:cubicBezTo>
                <a:cubicBezTo>
                  <a:pt x="985" y="138"/>
                  <a:pt x="985" y="138"/>
                  <a:pt x="985" y="139"/>
                </a:cubicBezTo>
                <a:cubicBezTo>
                  <a:pt x="985" y="138"/>
                  <a:pt x="986" y="138"/>
                  <a:pt x="986" y="138"/>
                </a:cubicBezTo>
                <a:cubicBezTo>
                  <a:pt x="986" y="138"/>
                  <a:pt x="986" y="138"/>
                  <a:pt x="985" y="137"/>
                </a:cubicBezTo>
                <a:cubicBezTo>
                  <a:pt x="985" y="137"/>
                  <a:pt x="984" y="137"/>
                  <a:pt x="984" y="137"/>
                </a:cubicBezTo>
                <a:cubicBezTo>
                  <a:pt x="984" y="136"/>
                  <a:pt x="984" y="136"/>
                  <a:pt x="984" y="136"/>
                </a:cubicBezTo>
                <a:cubicBezTo>
                  <a:pt x="984" y="136"/>
                  <a:pt x="984" y="136"/>
                  <a:pt x="983" y="135"/>
                </a:cubicBezTo>
                <a:cubicBezTo>
                  <a:pt x="984" y="135"/>
                  <a:pt x="984" y="135"/>
                  <a:pt x="984" y="134"/>
                </a:cubicBezTo>
                <a:cubicBezTo>
                  <a:pt x="985" y="134"/>
                  <a:pt x="985" y="134"/>
                  <a:pt x="985" y="134"/>
                </a:cubicBezTo>
                <a:cubicBezTo>
                  <a:pt x="986" y="134"/>
                  <a:pt x="986" y="134"/>
                  <a:pt x="986" y="134"/>
                </a:cubicBezTo>
                <a:cubicBezTo>
                  <a:pt x="986" y="134"/>
                  <a:pt x="986" y="135"/>
                  <a:pt x="986" y="135"/>
                </a:cubicBezTo>
                <a:cubicBezTo>
                  <a:pt x="986" y="135"/>
                  <a:pt x="986" y="136"/>
                  <a:pt x="986" y="136"/>
                </a:cubicBezTo>
                <a:cubicBezTo>
                  <a:pt x="986" y="136"/>
                  <a:pt x="986" y="136"/>
                  <a:pt x="986" y="137"/>
                </a:cubicBezTo>
                <a:cubicBezTo>
                  <a:pt x="986" y="136"/>
                  <a:pt x="987" y="136"/>
                  <a:pt x="987" y="136"/>
                </a:cubicBezTo>
                <a:cubicBezTo>
                  <a:pt x="987" y="136"/>
                  <a:pt x="987" y="136"/>
                  <a:pt x="987" y="135"/>
                </a:cubicBezTo>
                <a:cubicBezTo>
                  <a:pt x="987" y="135"/>
                  <a:pt x="987" y="135"/>
                  <a:pt x="987" y="135"/>
                </a:cubicBezTo>
                <a:cubicBezTo>
                  <a:pt x="987" y="134"/>
                  <a:pt x="988" y="134"/>
                  <a:pt x="988" y="133"/>
                </a:cubicBezTo>
                <a:cubicBezTo>
                  <a:pt x="988" y="133"/>
                  <a:pt x="989" y="133"/>
                  <a:pt x="989" y="133"/>
                </a:cubicBezTo>
                <a:cubicBezTo>
                  <a:pt x="989" y="134"/>
                  <a:pt x="989" y="134"/>
                  <a:pt x="989" y="135"/>
                </a:cubicBezTo>
                <a:cubicBezTo>
                  <a:pt x="989" y="135"/>
                  <a:pt x="989" y="136"/>
                  <a:pt x="989" y="136"/>
                </a:cubicBezTo>
                <a:cubicBezTo>
                  <a:pt x="989" y="136"/>
                  <a:pt x="989" y="136"/>
                  <a:pt x="989" y="137"/>
                </a:cubicBezTo>
                <a:cubicBezTo>
                  <a:pt x="989" y="137"/>
                  <a:pt x="988" y="137"/>
                  <a:pt x="988" y="137"/>
                </a:cubicBezTo>
                <a:cubicBezTo>
                  <a:pt x="988" y="137"/>
                  <a:pt x="988" y="137"/>
                  <a:pt x="988" y="137"/>
                </a:cubicBezTo>
                <a:cubicBezTo>
                  <a:pt x="989" y="137"/>
                  <a:pt x="989" y="137"/>
                  <a:pt x="989" y="137"/>
                </a:cubicBezTo>
                <a:cubicBezTo>
                  <a:pt x="989" y="137"/>
                  <a:pt x="990" y="136"/>
                  <a:pt x="990" y="136"/>
                </a:cubicBezTo>
                <a:cubicBezTo>
                  <a:pt x="990" y="136"/>
                  <a:pt x="990" y="136"/>
                  <a:pt x="990" y="135"/>
                </a:cubicBezTo>
                <a:cubicBezTo>
                  <a:pt x="991" y="136"/>
                  <a:pt x="991" y="136"/>
                  <a:pt x="991" y="136"/>
                </a:cubicBezTo>
                <a:cubicBezTo>
                  <a:pt x="991" y="136"/>
                  <a:pt x="992" y="136"/>
                  <a:pt x="992" y="136"/>
                </a:cubicBezTo>
                <a:cubicBezTo>
                  <a:pt x="992" y="136"/>
                  <a:pt x="992" y="135"/>
                  <a:pt x="991" y="135"/>
                </a:cubicBezTo>
                <a:cubicBezTo>
                  <a:pt x="991" y="135"/>
                  <a:pt x="991" y="135"/>
                  <a:pt x="990" y="135"/>
                </a:cubicBezTo>
                <a:cubicBezTo>
                  <a:pt x="990" y="135"/>
                  <a:pt x="990" y="134"/>
                  <a:pt x="990" y="134"/>
                </a:cubicBezTo>
                <a:cubicBezTo>
                  <a:pt x="990" y="134"/>
                  <a:pt x="991" y="134"/>
                  <a:pt x="991" y="134"/>
                </a:cubicBezTo>
                <a:cubicBezTo>
                  <a:pt x="991" y="134"/>
                  <a:pt x="991" y="133"/>
                  <a:pt x="991" y="133"/>
                </a:cubicBezTo>
                <a:cubicBezTo>
                  <a:pt x="991" y="133"/>
                  <a:pt x="992" y="133"/>
                  <a:pt x="992" y="133"/>
                </a:cubicBezTo>
                <a:cubicBezTo>
                  <a:pt x="992" y="133"/>
                  <a:pt x="992" y="133"/>
                  <a:pt x="992" y="134"/>
                </a:cubicBezTo>
                <a:cubicBezTo>
                  <a:pt x="993" y="134"/>
                  <a:pt x="993" y="133"/>
                  <a:pt x="993" y="133"/>
                </a:cubicBezTo>
                <a:cubicBezTo>
                  <a:pt x="993" y="133"/>
                  <a:pt x="993" y="133"/>
                  <a:pt x="993" y="133"/>
                </a:cubicBezTo>
                <a:cubicBezTo>
                  <a:pt x="994" y="133"/>
                  <a:pt x="994" y="133"/>
                  <a:pt x="994" y="133"/>
                </a:cubicBezTo>
                <a:cubicBezTo>
                  <a:pt x="994" y="133"/>
                  <a:pt x="995" y="133"/>
                  <a:pt x="995" y="133"/>
                </a:cubicBezTo>
                <a:cubicBezTo>
                  <a:pt x="995" y="134"/>
                  <a:pt x="996" y="134"/>
                  <a:pt x="996" y="134"/>
                </a:cubicBezTo>
                <a:cubicBezTo>
                  <a:pt x="996" y="134"/>
                  <a:pt x="996" y="135"/>
                  <a:pt x="997" y="135"/>
                </a:cubicBezTo>
                <a:cubicBezTo>
                  <a:pt x="997" y="135"/>
                  <a:pt x="997" y="134"/>
                  <a:pt x="997" y="134"/>
                </a:cubicBezTo>
                <a:cubicBezTo>
                  <a:pt x="996" y="134"/>
                  <a:pt x="996" y="134"/>
                  <a:pt x="996" y="133"/>
                </a:cubicBezTo>
                <a:cubicBezTo>
                  <a:pt x="996" y="133"/>
                  <a:pt x="996" y="133"/>
                  <a:pt x="996" y="133"/>
                </a:cubicBezTo>
                <a:cubicBezTo>
                  <a:pt x="996" y="133"/>
                  <a:pt x="996" y="132"/>
                  <a:pt x="996" y="132"/>
                </a:cubicBezTo>
                <a:cubicBezTo>
                  <a:pt x="996" y="132"/>
                  <a:pt x="995" y="132"/>
                  <a:pt x="995" y="132"/>
                </a:cubicBezTo>
                <a:cubicBezTo>
                  <a:pt x="995" y="132"/>
                  <a:pt x="995" y="132"/>
                  <a:pt x="995" y="132"/>
                </a:cubicBezTo>
                <a:cubicBezTo>
                  <a:pt x="994" y="132"/>
                  <a:pt x="994" y="132"/>
                  <a:pt x="994" y="132"/>
                </a:cubicBezTo>
                <a:cubicBezTo>
                  <a:pt x="993" y="131"/>
                  <a:pt x="993" y="131"/>
                  <a:pt x="992" y="131"/>
                </a:cubicBezTo>
                <a:cubicBezTo>
                  <a:pt x="992" y="131"/>
                  <a:pt x="992" y="130"/>
                  <a:pt x="992" y="130"/>
                </a:cubicBezTo>
                <a:cubicBezTo>
                  <a:pt x="993" y="130"/>
                  <a:pt x="993" y="130"/>
                  <a:pt x="994" y="130"/>
                </a:cubicBezTo>
                <a:cubicBezTo>
                  <a:pt x="994" y="130"/>
                  <a:pt x="994" y="130"/>
                  <a:pt x="994" y="130"/>
                </a:cubicBezTo>
                <a:cubicBezTo>
                  <a:pt x="995" y="130"/>
                  <a:pt x="995" y="130"/>
                  <a:pt x="995" y="130"/>
                </a:cubicBezTo>
                <a:cubicBezTo>
                  <a:pt x="995" y="130"/>
                  <a:pt x="995" y="130"/>
                  <a:pt x="995" y="130"/>
                </a:cubicBezTo>
                <a:cubicBezTo>
                  <a:pt x="996" y="130"/>
                  <a:pt x="996" y="130"/>
                  <a:pt x="996" y="130"/>
                </a:cubicBezTo>
                <a:cubicBezTo>
                  <a:pt x="997" y="130"/>
                  <a:pt x="997" y="130"/>
                  <a:pt x="998" y="131"/>
                </a:cubicBezTo>
                <a:cubicBezTo>
                  <a:pt x="998" y="131"/>
                  <a:pt x="999" y="131"/>
                  <a:pt x="999" y="131"/>
                </a:cubicBezTo>
                <a:cubicBezTo>
                  <a:pt x="999" y="131"/>
                  <a:pt x="1000" y="131"/>
                  <a:pt x="1000" y="131"/>
                </a:cubicBezTo>
                <a:cubicBezTo>
                  <a:pt x="1000" y="131"/>
                  <a:pt x="1001" y="131"/>
                  <a:pt x="1001" y="131"/>
                </a:cubicBezTo>
                <a:cubicBezTo>
                  <a:pt x="1001" y="131"/>
                  <a:pt x="1000" y="131"/>
                  <a:pt x="1000" y="132"/>
                </a:cubicBezTo>
                <a:cubicBezTo>
                  <a:pt x="1000" y="132"/>
                  <a:pt x="1001" y="132"/>
                  <a:pt x="1001" y="132"/>
                </a:cubicBezTo>
                <a:cubicBezTo>
                  <a:pt x="1001" y="132"/>
                  <a:pt x="1001" y="132"/>
                  <a:pt x="1001" y="133"/>
                </a:cubicBezTo>
                <a:cubicBezTo>
                  <a:pt x="1002" y="133"/>
                  <a:pt x="1002" y="133"/>
                  <a:pt x="1003" y="133"/>
                </a:cubicBezTo>
                <a:cubicBezTo>
                  <a:pt x="1003" y="133"/>
                  <a:pt x="1003" y="133"/>
                  <a:pt x="1003" y="132"/>
                </a:cubicBezTo>
                <a:cubicBezTo>
                  <a:pt x="1003" y="132"/>
                  <a:pt x="1003" y="132"/>
                  <a:pt x="1003" y="132"/>
                </a:cubicBezTo>
                <a:cubicBezTo>
                  <a:pt x="1003" y="132"/>
                  <a:pt x="1002" y="132"/>
                  <a:pt x="1002" y="132"/>
                </a:cubicBezTo>
                <a:cubicBezTo>
                  <a:pt x="1002" y="132"/>
                  <a:pt x="1002" y="132"/>
                  <a:pt x="1003" y="132"/>
                </a:cubicBezTo>
                <a:cubicBezTo>
                  <a:pt x="1002" y="131"/>
                  <a:pt x="1002" y="131"/>
                  <a:pt x="1002" y="131"/>
                </a:cubicBezTo>
                <a:cubicBezTo>
                  <a:pt x="1002" y="131"/>
                  <a:pt x="1002" y="131"/>
                  <a:pt x="1002" y="130"/>
                </a:cubicBezTo>
                <a:cubicBezTo>
                  <a:pt x="1002" y="130"/>
                  <a:pt x="1003" y="130"/>
                  <a:pt x="1003" y="130"/>
                </a:cubicBezTo>
                <a:cubicBezTo>
                  <a:pt x="1003" y="130"/>
                  <a:pt x="1003" y="130"/>
                  <a:pt x="1003" y="130"/>
                </a:cubicBezTo>
                <a:cubicBezTo>
                  <a:pt x="1003" y="130"/>
                  <a:pt x="1003" y="130"/>
                  <a:pt x="1003" y="129"/>
                </a:cubicBezTo>
                <a:cubicBezTo>
                  <a:pt x="1003" y="129"/>
                  <a:pt x="1003" y="129"/>
                  <a:pt x="1003" y="129"/>
                </a:cubicBezTo>
                <a:cubicBezTo>
                  <a:pt x="1004" y="129"/>
                  <a:pt x="1004" y="129"/>
                  <a:pt x="1004" y="129"/>
                </a:cubicBezTo>
                <a:cubicBezTo>
                  <a:pt x="1004" y="129"/>
                  <a:pt x="1004" y="128"/>
                  <a:pt x="1005" y="128"/>
                </a:cubicBezTo>
                <a:cubicBezTo>
                  <a:pt x="1005" y="129"/>
                  <a:pt x="1005" y="129"/>
                  <a:pt x="1006" y="129"/>
                </a:cubicBezTo>
                <a:cubicBezTo>
                  <a:pt x="1006" y="129"/>
                  <a:pt x="1006" y="129"/>
                  <a:pt x="1006" y="129"/>
                </a:cubicBezTo>
                <a:cubicBezTo>
                  <a:pt x="1006" y="129"/>
                  <a:pt x="1006" y="129"/>
                  <a:pt x="1006" y="128"/>
                </a:cubicBezTo>
                <a:cubicBezTo>
                  <a:pt x="1006" y="128"/>
                  <a:pt x="1006" y="128"/>
                  <a:pt x="1006" y="128"/>
                </a:cubicBezTo>
                <a:cubicBezTo>
                  <a:pt x="1006" y="128"/>
                  <a:pt x="1006" y="128"/>
                  <a:pt x="1006" y="128"/>
                </a:cubicBezTo>
                <a:cubicBezTo>
                  <a:pt x="1007" y="128"/>
                  <a:pt x="1007" y="128"/>
                  <a:pt x="1007" y="128"/>
                </a:cubicBezTo>
                <a:cubicBezTo>
                  <a:pt x="1007" y="128"/>
                  <a:pt x="1007" y="128"/>
                  <a:pt x="1007" y="128"/>
                </a:cubicBezTo>
                <a:cubicBezTo>
                  <a:pt x="1007" y="128"/>
                  <a:pt x="1007" y="127"/>
                  <a:pt x="1007" y="127"/>
                </a:cubicBezTo>
                <a:cubicBezTo>
                  <a:pt x="1007" y="127"/>
                  <a:pt x="1006" y="127"/>
                  <a:pt x="1006" y="127"/>
                </a:cubicBezTo>
                <a:cubicBezTo>
                  <a:pt x="1006" y="127"/>
                  <a:pt x="1006" y="126"/>
                  <a:pt x="1006" y="126"/>
                </a:cubicBezTo>
                <a:cubicBezTo>
                  <a:pt x="1006" y="126"/>
                  <a:pt x="1006" y="126"/>
                  <a:pt x="1006" y="126"/>
                </a:cubicBezTo>
                <a:cubicBezTo>
                  <a:pt x="1006" y="126"/>
                  <a:pt x="1007" y="126"/>
                  <a:pt x="1007" y="126"/>
                </a:cubicBezTo>
                <a:cubicBezTo>
                  <a:pt x="1007" y="126"/>
                  <a:pt x="1007" y="127"/>
                  <a:pt x="1007" y="127"/>
                </a:cubicBezTo>
                <a:cubicBezTo>
                  <a:pt x="1007" y="127"/>
                  <a:pt x="1007" y="126"/>
                  <a:pt x="1008" y="126"/>
                </a:cubicBezTo>
                <a:cubicBezTo>
                  <a:pt x="1008" y="126"/>
                  <a:pt x="1008" y="126"/>
                  <a:pt x="1007" y="125"/>
                </a:cubicBezTo>
                <a:cubicBezTo>
                  <a:pt x="1008" y="125"/>
                  <a:pt x="1008" y="125"/>
                  <a:pt x="1008" y="125"/>
                </a:cubicBezTo>
                <a:cubicBezTo>
                  <a:pt x="1009" y="125"/>
                  <a:pt x="1009" y="125"/>
                  <a:pt x="1009" y="125"/>
                </a:cubicBezTo>
                <a:cubicBezTo>
                  <a:pt x="1009" y="125"/>
                  <a:pt x="1010" y="126"/>
                  <a:pt x="1010" y="126"/>
                </a:cubicBezTo>
                <a:cubicBezTo>
                  <a:pt x="1010" y="126"/>
                  <a:pt x="1010" y="126"/>
                  <a:pt x="1010" y="126"/>
                </a:cubicBezTo>
                <a:cubicBezTo>
                  <a:pt x="1010" y="126"/>
                  <a:pt x="1010" y="126"/>
                  <a:pt x="1011" y="126"/>
                </a:cubicBezTo>
                <a:cubicBezTo>
                  <a:pt x="1011" y="126"/>
                  <a:pt x="1011" y="126"/>
                  <a:pt x="1010" y="125"/>
                </a:cubicBezTo>
                <a:cubicBezTo>
                  <a:pt x="1011" y="125"/>
                  <a:pt x="1011" y="125"/>
                  <a:pt x="1011" y="125"/>
                </a:cubicBezTo>
                <a:cubicBezTo>
                  <a:pt x="1011" y="125"/>
                  <a:pt x="1012" y="126"/>
                  <a:pt x="1012" y="126"/>
                </a:cubicBezTo>
                <a:cubicBezTo>
                  <a:pt x="1012" y="126"/>
                  <a:pt x="1012" y="126"/>
                  <a:pt x="1013" y="126"/>
                </a:cubicBezTo>
                <a:cubicBezTo>
                  <a:pt x="1013" y="126"/>
                  <a:pt x="1013" y="126"/>
                  <a:pt x="1013" y="126"/>
                </a:cubicBezTo>
                <a:cubicBezTo>
                  <a:pt x="1013" y="126"/>
                  <a:pt x="1013" y="126"/>
                  <a:pt x="1013" y="127"/>
                </a:cubicBezTo>
                <a:cubicBezTo>
                  <a:pt x="1012" y="127"/>
                  <a:pt x="1012" y="127"/>
                  <a:pt x="1012" y="127"/>
                </a:cubicBezTo>
                <a:cubicBezTo>
                  <a:pt x="1012" y="128"/>
                  <a:pt x="1011" y="128"/>
                  <a:pt x="1011" y="128"/>
                </a:cubicBezTo>
                <a:cubicBezTo>
                  <a:pt x="1011" y="129"/>
                  <a:pt x="1011" y="129"/>
                  <a:pt x="1011" y="129"/>
                </a:cubicBezTo>
                <a:cubicBezTo>
                  <a:pt x="1011" y="129"/>
                  <a:pt x="1011" y="129"/>
                  <a:pt x="1011" y="129"/>
                </a:cubicBezTo>
                <a:cubicBezTo>
                  <a:pt x="1011" y="130"/>
                  <a:pt x="1011" y="130"/>
                  <a:pt x="1011" y="130"/>
                </a:cubicBezTo>
                <a:cubicBezTo>
                  <a:pt x="1010" y="130"/>
                  <a:pt x="1010" y="131"/>
                  <a:pt x="1010" y="131"/>
                </a:cubicBezTo>
                <a:cubicBezTo>
                  <a:pt x="1010" y="131"/>
                  <a:pt x="1010" y="131"/>
                  <a:pt x="1010" y="132"/>
                </a:cubicBezTo>
                <a:cubicBezTo>
                  <a:pt x="1010" y="132"/>
                  <a:pt x="1010" y="132"/>
                  <a:pt x="1010" y="132"/>
                </a:cubicBezTo>
                <a:cubicBezTo>
                  <a:pt x="1010" y="132"/>
                  <a:pt x="1011" y="132"/>
                  <a:pt x="1011" y="132"/>
                </a:cubicBezTo>
                <a:cubicBezTo>
                  <a:pt x="1011" y="132"/>
                  <a:pt x="1012" y="131"/>
                  <a:pt x="1012" y="131"/>
                </a:cubicBezTo>
                <a:cubicBezTo>
                  <a:pt x="1012" y="131"/>
                  <a:pt x="1012" y="130"/>
                  <a:pt x="1013" y="130"/>
                </a:cubicBezTo>
                <a:cubicBezTo>
                  <a:pt x="1012" y="130"/>
                  <a:pt x="1012" y="130"/>
                  <a:pt x="1012" y="130"/>
                </a:cubicBezTo>
                <a:cubicBezTo>
                  <a:pt x="1012" y="130"/>
                  <a:pt x="1013" y="129"/>
                  <a:pt x="1013" y="129"/>
                </a:cubicBezTo>
                <a:cubicBezTo>
                  <a:pt x="1013" y="129"/>
                  <a:pt x="1014" y="128"/>
                  <a:pt x="1014" y="128"/>
                </a:cubicBezTo>
                <a:cubicBezTo>
                  <a:pt x="1014" y="127"/>
                  <a:pt x="1014" y="127"/>
                  <a:pt x="1014" y="127"/>
                </a:cubicBezTo>
                <a:cubicBezTo>
                  <a:pt x="1015" y="126"/>
                  <a:pt x="1015" y="126"/>
                  <a:pt x="1016" y="125"/>
                </a:cubicBezTo>
                <a:cubicBezTo>
                  <a:pt x="1016" y="125"/>
                  <a:pt x="1016" y="125"/>
                  <a:pt x="1016" y="125"/>
                </a:cubicBezTo>
                <a:cubicBezTo>
                  <a:pt x="1016" y="126"/>
                  <a:pt x="1017" y="126"/>
                  <a:pt x="1017" y="126"/>
                </a:cubicBezTo>
                <a:cubicBezTo>
                  <a:pt x="1017" y="126"/>
                  <a:pt x="1017" y="127"/>
                  <a:pt x="1017" y="127"/>
                </a:cubicBezTo>
                <a:cubicBezTo>
                  <a:pt x="1016" y="127"/>
                  <a:pt x="1016" y="127"/>
                  <a:pt x="1016" y="127"/>
                </a:cubicBezTo>
                <a:cubicBezTo>
                  <a:pt x="1016" y="127"/>
                  <a:pt x="1016" y="128"/>
                  <a:pt x="1016" y="128"/>
                </a:cubicBezTo>
                <a:cubicBezTo>
                  <a:pt x="1016" y="128"/>
                  <a:pt x="1016" y="128"/>
                  <a:pt x="1017" y="128"/>
                </a:cubicBezTo>
                <a:cubicBezTo>
                  <a:pt x="1016" y="128"/>
                  <a:pt x="1016" y="129"/>
                  <a:pt x="1016" y="129"/>
                </a:cubicBezTo>
                <a:cubicBezTo>
                  <a:pt x="1016" y="129"/>
                  <a:pt x="1016" y="130"/>
                  <a:pt x="1016" y="130"/>
                </a:cubicBezTo>
                <a:cubicBezTo>
                  <a:pt x="1016" y="130"/>
                  <a:pt x="1016" y="130"/>
                  <a:pt x="1017" y="130"/>
                </a:cubicBezTo>
                <a:cubicBezTo>
                  <a:pt x="1017" y="129"/>
                  <a:pt x="1017" y="129"/>
                  <a:pt x="1017" y="129"/>
                </a:cubicBezTo>
                <a:cubicBezTo>
                  <a:pt x="1017" y="129"/>
                  <a:pt x="1017" y="129"/>
                  <a:pt x="1017" y="129"/>
                </a:cubicBezTo>
                <a:cubicBezTo>
                  <a:pt x="1018" y="129"/>
                  <a:pt x="1018" y="129"/>
                  <a:pt x="1018" y="129"/>
                </a:cubicBezTo>
                <a:cubicBezTo>
                  <a:pt x="1018" y="129"/>
                  <a:pt x="1018" y="129"/>
                  <a:pt x="1018" y="129"/>
                </a:cubicBezTo>
                <a:cubicBezTo>
                  <a:pt x="1018" y="129"/>
                  <a:pt x="1018" y="129"/>
                  <a:pt x="1018" y="128"/>
                </a:cubicBezTo>
                <a:cubicBezTo>
                  <a:pt x="1018" y="128"/>
                  <a:pt x="1019" y="128"/>
                  <a:pt x="1019" y="128"/>
                </a:cubicBezTo>
                <a:cubicBezTo>
                  <a:pt x="1019" y="128"/>
                  <a:pt x="1019" y="128"/>
                  <a:pt x="1019" y="128"/>
                </a:cubicBezTo>
                <a:cubicBezTo>
                  <a:pt x="1019" y="128"/>
                  <a:pt x="1019" y="128"/>
                  <a:pt x="1019" y="127"/>
                </a:cubicBezTo>
                <a:cubicBezTo>
                  <a:pt x="1019" y="127"/>
                  <a:pt x="1019" y="127"/>
                  <a:pt x="1019" y="127"/>
                </a:cubicBezTo>
                <a:cubicBezTo>
                  <a:pt x="1019" y="127"/>
                  <a:pt x="1019" y="127"/>
                  <a:pt x="1019" y="127"/>
                </a:cubicBezTo>
                <a:cubicBezTo>
                  <a:pt x="1020" y="127"/>
                  <a:pt x="1020" y="127"/>
                  <a:pt x="1020" y="126"/>
                </a:cubicBezTo>
                <a:cubicBezTo>
                  <a:pt x="1020" y="126"/>
                  <a:pt x="1020" y="126"/>
                  <a:pt x="1020" y="126"/>
                </a:cubicBezTo>
                <a:cubicBezTo>
                  <a:pt x="1020" y="126"/>
                  <a:pt x="1020" y="126"/>
                  <a:pt x="1020" y="126"/>
                </a:cubicBezTo>
                <a:cubicBezTo>
                  <a:pt x="1019" y="126"/>
                  <a:pt x="1019" y="126"/>
                  <a:pt x="1019" y="126"/>
                </a:cubicBezTo>
                <a:cubicBezTo>
                  <a:pt x="1019" y="126"/>
                  <a:pt x="1019" y="126"/>
                  <a:pt x="1019" y="126"/>
                </a:cubicBezTo>
                <a:cubicBezTo>
                  <a:pt x="1019" y="125"/>
                  <a:pt x="1019" y="125"/>
                  <a:pt x="1019" y="125"/>
                </a:cubicBezTo>
                <a:cubicBezTo>
                  <a:pt x="1019" y="125"/>
                  <a:pt x="1019" y="125"/>
                  <a:pt x="1020" y="125"/>
                </a:cubicBezTo>
                <a:cubicBezTo>
                  <a:pt x="1020" y="125"/>
                  <a:pt x="1020" y="125"/>
                  <a:pt x="1020" y="125"/>
                </a:cubicBezTo>
                <a:cubicBezTo>
                  <a:pt x="1021" y="125"/>
                  <a:pt x="1021" y="125"/>
                  <a:pt x="1021" y="125"/>
                </a:cubicBezTo>
                <a:cubicBezTo>
                  <a:pt x="1021" y="125"/>
                  <a:pt x="1021" y="125"/>
                  <a:pt x="1021" y="125"/>
                </a:cubicBezTo>
                <a:cubicBezTo>
                  <a:pt x="1021" y="125"/>
                  <a:pt x="1021" y="125"/>
                  <a:pt x="1021" y="124"/>
                </a:cubicBezTo>
                <a:cubicBezTo>
                  <a:pt x="1021" y="124"/>
                  <a:pt x="1021" y="124"/>
                  <a:pt x="1021" y="124"/>
                </a:cubicBezTo>
                <a:cubicBezTo>
                  <a:pt x="1021" y="124"/>
                  <a:pt x="1021" y="124"/>
                  <a:pt x="1021" y="124"/>
                </a:cubicBezTo>
                <a:cubicBezTo>
                  <a:pt x="1022" y="124"/>
                  <a:pt x="1022" y="124"/>
                  <a:pt x="1022" y="124"/>
                </a:cubicBezTo>
                <a:cubicBezTo>
                  <a:pt x="1022" y="124"/>
                  <a:pt x="1023" y="124"/>
                  <a:pt x="1023" y="124"/>
                </a:cubicBezTo>
                <a:cubicBezTo>
                  <a:pt x="1023" y="124"/>
                  <a:pt x="1023" y="124"/>
                  <a:pt x="1024" y="124"/>
                </a:cubicBezTo>
                <a:cubicBezTo>
                  <a:pt x="1024" y="124"/>
                  <a:pt x="1024" y="124"/>
                  <a:pt x="1024" y="124"/>
                </a:cubicBezTo>
                <a:cubicBezTo>
                  <a:pt x="1024" y="124"/>
                  <a:pt x="1024" y="125"/>
                  <a:pt x="1024" y="125"/>
                </a:cubicBezTo>
                <a:cubicBezTo>
                  <a:pt x="1024" y="125"/>
                  <a:pt x="1024" y="125"/>
                  <a:pt x="1024" y="125"/>
                </a:cubicBezTo>
                <a:cubicBezTo>
                  <a:pt x="1024" y="125"/>
                  <a:pt x="1025" y="125"/>
                  <a:pt x="1025" y="125"/>
                </a:cubicBezTo>
                <a:cubicBezTo>
                  <a:pt x="1025" y="125"/>
                  <a:pt x="1025" y="125"/>
                  <a:pt x="1025" y="125"/>
                </a:cubicBezTo>
                <a:cubicBezTo>
                  <a:pt x="1025" y="126"/>
                  <a:pt x="1025" y="126"/>
                  <a:pt x="1025" y="126"/>
                </a:cubicBezTo>
                <a:cubicBezTo>
                  <a:pt x="1024" y="126"/>
                  <a:pt x="1024" y="126"/>
                  <a:pt x="1023" y="126"/>
                </a:cubicBezTo>
                <a:cubicBezTo>
                  <a:pt x="1023" y="126"/>
                  <a:pt x="1023" y="126"/>
                  <a:pt x="1023" y="126"/>
                </a:cubicBezTo>
                <a:cubicBezTo>
                  <a:pt x="1023" y="126"/>
                  <a:pt x="1023" y="126"/>
                  <a:pt x="1022" y="126"/>
                </a:cubicBezTo>
                <a:cubicBezTo>
                  <a:pt x="1022" y="126"/>
                  <a:pt x="1022" y="127"/>
                  <a:pt x="1022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8"/>
                  <a:pt x="1022" y="128"/>
                  <a:pt x="1022" y="128"/>
                </a:cubicBezTo>
                <a:cubicBezTo>
                  <a:pt x="1023" y="128"/>
                  <a:pt x="1023" y="128"/>
                  <a:pt x="1023" y="128"/>
                </a:cubicBezTo>
                <a:cubicBezTo>
                  <a:pt x="1023" y="128"/>
                  <a:pt x="1024" y="128"/>
                  <a:pt x="1024" y="127"/>
                </a:cubicBezTo>
                <a:cubicBezTo>
                  <a:pt x="1024" y="127"/>
                  <a:pt x="1025" y="127"/>
                  <a:pt x="1025" y="127"/>
                </a:cubicBezTo>
                <a:cubicBezTo>
                  <a:pt x="1025" y="128"/>
                  <a:pt x="1025" y="128"/>
                  <a:pt x="1025" y="128"/>
                </a:cubicBezTo>
                <a:cubicBezTo>
                  <a:pt x="1025" y="128"/>
                  <a:pt x="1024" y="128"/>
                  <a:pt x="1024" y="128"/>
                </a:cubicBezTo>
                <a:cubicBezTo>
                  <a:pt x="1024" y="128"/>
                  <a:pt x="1024" y="129"/>
                  <a:pt x="1023" y="129"/>
                </a:cubicBezTo>
                <a:cubicBezTo>
                  <a:pt x="1023" y="129"/>
                  <a:pt x="1023" y="129"/>
                  <a:pt x="1022" y="129"/>
                </a:cubicBezTo>
                <a:cubicBezTo>
                  <a:pt x="1023" y="129"/>
                  <a:pt x="1023" y="129"/>
                  <a:pt x="1024" y="129"/>
                </a:cubicBezTo>
                <a:cubicBezTo>
                  <a:pt x="1024" y="129"/>
                  <a:pt x="1024" y="129"/>
                  <a:pt x="1025" y="129"/>
                </a:cubicBezTo>
                <a:cubicBezTo>
                  <a:pt x="1025" y="129"/>
                  <a:pt x="1025" y="129"/>
                  <a:pt x="1025" y="129"/>
                </a:cubicBezTo>
                <a:cubicBezTo>
                  <a:pt x="1025" y="129"/>
                  <a:pt x="1025" y="129"/>
                  <a:pt x="1026" y="129"/>
                </a:cubicBezTo>
                <a:cubicBezTo>
                  <a:pt x="1026" y="129"/>
                  <a:pt x="1026" y="130"/>
                  <a:pt x="1026" y="130"/>
                </a:cubicBezTo>
                <a:cubicBezTo>
                  <a:pt x="1026" y="130"/>
                  <a:pt x="1026" y="130"/>
                  <a:pt x="1027" y="129"/>
                </a:cubicBezTo>
                <a:cubicBezTo>
                  <a:pt x="1027" y="129"/>
                  <a:pt x="1027" y="129"/>
                  <a:pt x="1027" y="129"/>
                </a:cubicBezTo>
                <a:cubicBezTo>
                  <a:pt x="1026" y="129"/>
                  <a:pt x="1026" y="128"/>
                  <a:pt x="1026" y="128"/>
                </a:cubicBezTo>
                <a:cubicBezTo>
                  <a:pt x="1026" y="128"/>
                  <a:pt x="1026" y="128"/>
                  <a:pt x="1026" y="128"/>
                </a:cubicBezTo>
                <a:cubicBezTo>
                  <a:pt x="1026" y="128"/>
                  <a:pt x="1027" y="127"/>
                  <a:pt x="1027" y="127"/>
                </a:cubicBezTo>
                <a:cubicBezTo>
                  <a:pt x="1027" y="127"/>
                  <a:pt x="1027" y="127"/>
                  <a:pt x="1027" y="126"/>
                </a:cubicBezTo>
                <a:cubicBezTo>
                  <a:pt x="1027" y="126"/>
                  <a:pt x="1028" y="126"/>
                  <a:pt x="1028" y="126"/>
                </a:cubicBezTo>
                <a:cubicBezTo>
                  <a:pt x="1028" y="126"/>
                  <a:pt x="1029" y="126"/>
                  <a:pt x="1029" y="126"/>
                </a:cubicBezTo>
                <a:cubicBezTo>
                  <a:pt x="1029" y="126"/>
                  <a:pt x="1030" y="127"/>
                  <a:pt x="1030" y="127"/>
                </a:cubicBezTo>
                <a:cubicBezTo>
                  <a:pt x="1030" y="127"/>
                  <a:pt x="1030" y="127"/>
                  <a:pt x="1030" y="127"/>
                </a:cubicBezTo>
                <a:cubicBezTo>
                  <a:pt x="1030" y="127"/>
                  <a:pt x="1030" y="127"/>
                  <a:pt x="1029" y="127"/>
                </a:cubicBezTo>
                <a:cubicBezTo>
                  <a:pt x="1029" y="128"/>
                  <a:pt x="1029" y="128"/>
                  <a:pt x="1029" y="128"/>
                </a:cubicBezTo>
                <a:cubicBezTo>
                  <a:pt x="1030" y="128"/>
                  <a:pt x="1030" y="128"/>
                  <a:pt x="1030" y="128"/>
                </a:cubicBezTo>
                <a:cubicBezTo>
                  <a:pt x="1030" y="128"/>
                  <a:pt x="1030" y="128"/>
                  <a:pt x="1030" y="127"/>
                </a:cubicBezTo>
                <a:cubicBezTo>
                  <a:pt x="1031" y="127"/>
                  <a:pt x="1031" y="127"/>
                  <a:pt x="1031" y="127"/>
                </a:cubicBezTo>
                <a:cubicBezTo>
                  <a:pt x="1031" y="128"/>
                  <a:pt x="1031" y="128"/>
                  <a:pt x="1031" y="128"/>
                </a:cubicBezTo>
                <a:cubicBezTo>
                  <a:pt x="1031" y="128"/>
                  <a:pt x="1031" y="128"/>
                  <a:pt x="1031" y="128"/>
                </a:cubicBezTo>
                <a:cubicBezTo>
                  <a:pt x="1032" y="128"/>
                  <a:pt x="1032" y="127"/>
                  <a:pt x="1032" y="127"/>
                </a:cubicBezTo>
                <a:cubicBezTo>
                  <a:pt x="1032" y="127"/>
                  <a:pt x="1033" y="127"/>
                  <a:pt x="1033" y="127"/>
                </a:cubicBezTo>
                <a:cubicBezTo>
                  <a:pt x="1033" y="127"/>
                  <a:pt x="1033" y="127"/>
                  <a:pt x="1033" y="127"/>
                </a:cubicBezTo>
                <a:cubicBezTo>
                  <a:pt x="1033" y="128"/>
                  <a:pt x="1034" y="128"/>
                  <a:pt x="1034" y="128"/>
                </a:cubicBezTo>
                <a:cubicBezTo>
                  <a:pt x="1034" y="128"/>
                  <a:pt x="1034" y="128"/>
                  <a:pt x="1034" y="128"/>
                </a:cubicBezTo>
                <a:cubicBezTo>
                  <a:pt x="1034" y="128"/>
                  <a:pt x="1033" y="128"/>
                  <a:pt x="1033" y="129"/>
                </a:cubicBezTo>
                <a:cubicBezTo>
                  <a:pt x="1033" y="129"/>
                  <a:pt x="1033" y="129"/>
                  <a:pt x="1033" y="129"/>
                </a:cubicBezTo>
                <a:cubicBezTo>
                  <a:pt x="1033" y="129"/>
                  <a:pt x="1034" y="129"/>
                  <a:pt x="1034" y="129"/>
                </a:cubicBezTo>
                <a:cubicBezTo>
                  <a:pt x="1034" y="129"/>
                  <a:pt x="1034" y="128"/>
                  <a:pt x="1035" y="128"/>
                </a:cubicBezTo>
                <a:cubicBezTo>
                  <a:pt x="1035" y="128"/>
                  <a:pt x="1035" y="128"/>
                  <a:pt x="1036" y="128"/>
                </a:cubicBezTo>
                <a:cubicBezTo>
                  <a:pt x="1036" y="129"/>
                  <a:pt x="1037" y="129"/>
                  <a:pt x="1037" y="129"/>
                </a:cubicBezTo>
                <a:cubicBezTo>
                  <a:pt x="1037" y="129"/>
                  <a:pt x="1038" y="129"/>
                  <a:pt x="1038" y="129"/>
                </a:cubicBezTo>
                <a:cubicBezTo>
                  <a:pt x="1038" y="129"/>
                  <a:pt x="1039" y="129"/>
                  <a:pt x="1039" y="129"/>
                </a:cubicBezTo>
                <a:cubicBezTo>
                  <a:pt x="1039" y="129"/>
                  <a:pt x="1039" y="129"/>
                  <a:pt x="1039" y="130"/>
                </a:cubicBezTo>
                <a:cubicBezTo>
                  <a:pt x="1039" y="130"/>
                  <a:pt x="1039" y="130"/>
                  <a:pt x="1040" y="130"/>
                </a:cubicBezTo>
                <a:cubicBezTo>
                  <a:pt x="1040" y="130"/>
                  <a:pt x="1040" y="130"/>
                  <a:pt x="1040" y="130"/>
                </a:cubicBezTo>
                <a:cubicBezTo>
                  <a:pt x="1039" y="130"/>
                  <a:pt x="1039" y="130"/>
                  <a:pt x="1039" y="130"/>
                </a:cubicBezTo>
                <a:cubicBezTo>
                  <a:pt x="1038" y="131"/>
                  <a:pt x="1037" y="131"/>
                  <a:pt x="1037" y="131"/>
                </a:cubicBezTo>
                <a:cubicBezTo>
                  <a:pt x="1036" y="131"/>
                  <a:pt x="1036" y="132"/>
                  <a:pt x="1035" y="132"/>
                </a:cubicBezTo>
                <a:cubicBezTo>
                  <a:pt x="1035" y="132"/>
                  <a:pt x="1034" y="132"/>
                  <a:pt x="1034" y="132"/>
                </a:cubicBezTo>
                <a:cubicBezTo>
                  <a:pt x="1033" y="132"/>
                  <a:pt x="1032" y="132"/>
                  <a:pt x="1032" y="132"/>
                </a:cubicBezTo>
                <a:cubicBezTo>
                  <a:pt x="1031" y="132"/>
                  <a:pt x="1031" y="132"/>
                  <a:pt x="1030" y="132"/>
                </a:cubicBezTo>
                <a:cubicBezTo>
                  <a:pt x="1030" y="132"/>
                  <a:pt x="1029" y="132"/>
                  <a:pt x="1029" y="132"/>
                </a:cubicBezTo>
                <a:cubicBezTo>
                  <a:pt x="1028" y="132"/>
                  <a:pt x="1028" y="132"/>
                  <a:pt x="1027" y="131"/>
                </a:cubicBezTo>
                <a:cubicBezTo>
                  <a:pt x="1027" y="131"/>
                  <a:pt x="1027" y="132"/>
                  <a:pt x="1027" y="132"/>
                </a:cubicBezTo>
                <a:cubicBezTo>
                  <a:pt x="1027" y="132"/>
                  <a:pt x="1027" y="132"/>
                  <a:pt x="1028" y="132"/>
                </a:cubicBezTo>
                <a:cubicBezTo>
                  <a:pt x="1028" y="132"/>
                  <a:pt x="1028" y="132"/>
                  <a:pt x="1029" y="132"/>
                </a:cubicBezTo>
                <a:cubicBezTo>
                  <a:pt x="1029" y="132"/>
                  <a:pt x="1029" y="132"/>
                  <a:pt x="1030" y="133"/>
                </a:cubicBezTo>
                <a:cubicBezTo>
                  <a:pt x="1030" y="133"/>
                  <a:pt x="1030" y="133"/>
                  <a:pt x="1031" y="133"/>
                </a:cubicBezTo>
                <a:cubicBezTo>
                  <a:pt x="1031" y="133"/>
                  <a:pt x="1031" y="133"/>
                  <a:pt x="1031" y="133"/>
                </a:cubicBezTo>
                <a:cubicBezTo>
                  <a:pt x="1031" y="133"/>
                  <a:pt x="1031" y="133"/>
                  <a:pt x="1032" y="134"/>
                </a:cubicBezTo>
                <a:cubicBezTo>
                  <a:pt x="1032" y="134"/>
                  <a:pt x="1032" y="134"/>
                  <a:pt x="1032" y="134"/>
                </a:cubicBezTo>
                <a:cubicBezTo>
                  <a:pt x="1032" y="134"/>
                  <a:pt x="1032" y="134"/>
                  <a:pt x="1032" y="134"/>
                </a:cubicBezTo>
                <a:cubicBezTo>
                  <a:pt x="1032" y="135"/>
                  <a:pt x="1032" y="135"/>
                  <a:pt x="1033" y="135"/>
                </a:cubicBezTo>
                <a:cubicBezTo>
                  <a:pt x="1033" y="135"/>
                  <a:pt x="1033" y="135"/>
                  <a:pt x="1033" y="135"/>
                </a:cubicBezTo>
                <a:cubicBezTo>
                  <a:pt x="1033" y="135"/>
                  <a:pt x="1033" y="134"/>
                  <a:pt x="1034" y="134"/>
                </a:cubicBezTo>
                <a:cubicBezTo>
                  <a:pt x="1034" y="134"/>
                  <a:pt x="1034" y="135"/>
                  <a:pt x="1034" y="135"/>
                </a:cubicBezTo>
                <a:cubicBezTo>
                  <a:pt x="1034" y="135"/>
                  <a:pt x="1035" y="135"/>
                  <a:pt x="1035" y="135"/>
                </a:cubicBezTo>
                <a:cubicBezTo>
                  <a:pt x="1035" y="135"/>
                  <a:pt x="1035" y="135"/>
                  <a:pt x="1035" y="134"/>
                </a:cubicBezTo>
                <a:cubicBezTo>
                  <a:pt x="1035" y="134"/>
                  <a:pt x="1035" y="134"/>
                  <a:pt x="1035" y="134"/>
                </a:cubicBezTo>
                <a:cubicBezTo>
                  <a:pt x="1035" y="134"/>
                  <a:pt x="1035" y="134"/>
                  <a:pt x="1035" y="134"/>
                </a:cubicBezTo>
                <a:cubicBezTo>
                  <a:pt x="1035" y="134"/>
                  <a:pt x="1036" y="134"/>
                  <a:pt x="1036" y="134"/>
                </a:cubicBezTo>
                <a:cubicBezTo>
                  <a:pt x="1036" y="134"/>
                  <a:pt x="1036" y="135"/>
                  <a:pt x="1036" y="135"/>
                </a:cubicBezTo>
                <a:cubicBezTo>
                  <a:pt x="1036" y="134"/>
                  <a:pt x="1036" y="134"/>
                  <a:pt x="1036" y="134"/>
                </a:cubicBezTo>
                <a:cubicBezTo>
                  <a:pt x="1036" y="134"/>
                  <a:pt x="1036" y="134"/>
                  <a:pt x="1037" y="134"/>
                </a:cubicBezTo>
                <a:cubicBezTo>
                  <a:pt x="1037" y="134"/>
                  <a:pt x="1037" y="134"/>
                  <a:pt x="1037" y="134"/>
                </a:cubicBezTo>
                <a:cubicBezTo>
                  <a:pt x="1037" y="134"/>
                  <a:pt x="1038" y="134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9" y="135"/>
                  <a:pt x="1039" y="135"/>
                  <a:pt x="1039" y="135"/>
                </a:cubicBezTo>
                <a:cubicBezTo>
                  <a:pt x="1040" y="135"/>
                  <a:pt x="1040" y="135"/>
                  <a:pt x="1040" y="135"/>
                </a:cubicBezTo>
                <a:cubicBezTo>
                  <a:pt x="1040" y="135"/>
                  <a:pt x="1040" y="136"/>
                  <a:pt x="1040" y="136"/>
                </a:cubicBezTo>
                <a:cubicBezTo>
                  <a:pt x="1040" y="136"/>
                  <a:pt x="1040" y="136"/>
                  <a:pt x="1040" y="136"/>
                </a:cubicBezTo>
                <a:cubicBezTo>
                  <a:pt x="1040" y="136"/>
                  <a:pt x="1040" y="136"/>
                  <a:pt x="1041" y="135"/>
                </a:cubicBezTo>
                <a:cubicBezTo>
                  <a:pt x="1041" y="135"/>
                  <a:pt x="1041" y="135"/>
                  <a:pt x="1041" y="135"/>
                </a:cubicBezTo>
                <a:cubicBezTo>
                  <a:pt x="1041" y="135"/>
                  <a:pt x="1042" y="135"/>
                  <a:pt x="1042" y="135"/>
                </a:cubicBezTo>
                <a:cubicBezTo>
                  <a:pt x="1042" y="135"/>
                  <a:pt x="1042" y="135"/>
                  <a:pt x="1042" y="135"/>
                </a:cubicBezTo>
                <a:cubicBezTo>
                  <a:pt x="1042" y="135"/>
                  <a:pt x="1042" y="134"/>
                  <a:pt x="1041" y="134"/>
                </a:cubicBezTo>
                <a:cubicBezTo>
                  <a:pt x="1041" y="134"/>
                  <a:pt x="1041" y="134"/>
                  <a:pt x="1041" y="134"/>
                </a:cubicBezTo>
                <a:cubicBezTo>
                  <a:pt x="1042" y="134"/>
                  <a:pt x="1042" y="134"/>
                  <a:pt x="1042" y="134"/>
                </a:cubicBezTo>
                <a:cubicBezTo>
                  <a:pt x="1042" y="134"/>
                  <a:pt x="1043" y="134"/>
                  <a:pt x="1043" y="134"/>
                </a:cubicBezTo>
                <a:cubicBezTo>
                  <a:pt x="1043" y="134"/>
                  <a:pt x="1043" y="134"/>
                  <a:pt x="1043" y="134"/>
                </a:cubicBezTo>
                <a:cubicBezTo>
                  <a:pt x="1043" y="134"/>
                  <a:pt x="1043" y="134"/>
                  <a:pt x="1042" y="134"/>
                </a:cubicBezTo>
                <a:cubicBezTo>
                  <a:pt x="1042" y="134"/>
                  <a:pt x="1042" y="133"/>
                  <a:pt x="1042" y="133"/>
                </a:cubicBezTo>
                <a:cubicBezTo>
                  <a:pt x="1042" y="133"/>
                  <a:pt x="1042" y="133"/>
                  <a:pt x="1042" y="133"/>
                </a:cubicBezTo>
                <a:cubicBezTo>
                  <a:pt x="1043" y="133"/>
                  <a:pt x="1043" y="133"/>
                  <a:pt x="1043" y="133"/>
                </a:cubicBezTo>
                <a:cubicBezTo>
                  <a:pt x="1044" y="133"/>
                  <a:pt x="1044" y="133"/>
                  <a:pt x="1045" y="134"/>
                </a:cubicBezTo>
                <a:cubicBezTo>
                  <a:pt x="1045" y="134"/>
                  <a:pt x="1045" y="134"/>
                  <a:pt x="1045" y="134"/>
                </a:cubicBezTo>
                <a:cubicBezTo>
                  <a:pt x="1045" y="134"/>
                  <a:pt x="1046" y="134"/>
                  <a:pt x="1046" y="135"/>
                </a:cubicBezTo>
                <a:cubicBezTo>
                  <a:pt x="1046" y="134"/>
                  <a:pt x="1046" y="134"/>
                  <a:pt x="1046" y="134"/>
                </a:cubicBezTo>
                <a:cubicBezTo>
                  <a:pt x="1047" y="134"/>
                  <a:pt x="1047" y="134"/>
                  <a:pt x="1047" y="135"/>
                </a:cubicBezTo>
                <a:cubicBezTo>
                  <a:pt x="1047" y="135"/>
                  <a:pt x="1047" y="135"/>
                  <a:pt x="1047" y="135"/>
                </a:cubicBezTo>
                <a:cubicBezTo>
                  <a:pt x="1048" y="135"/>
                  <a:pt x="1048" y="135"/>
                  <a:pt x="1048" y="135"/>
                </a:cubicBezTo>
                <a:cubicBezTo>
                  <a:pt x="1048" y="135"/>
                  <a:pt x="1048" y="135"/>
                  <a:pt x="1048" y="136"/>
                </a:cubicBezTo>
                <a:cubicBezTo>
                  <a:pt x="1048" y="136"/>
                  <a:pt x="1047" y="136"/>
                  <a:pt x="1047" y="136"/>
                </a:cubicBezTo>
                <a:cubicBezTo>
                  <a:pt x="1047" y="136"/>
                  <a:pt x="1047" y="136"/>
                  <a:pt x="1046" y="136"/>
                </a:cubicBezTo>
                <a:cubicBezTo>
                  <a:pt x="1046" y="136"/>
                  <a:pt x="1045" y="136"/>
                  <a:pt x="1045" y="136"/>
                </a:cubicBezTo>
                <a:cubicBezTo>
                  <a:pt x="1045" y="136"/>
                  <a:pt x="1044" y="135"/>
                  <a:pt x="1044" y="135"/>
                </a:cubicBezTo>
                <a:cubicBezTo>
                  <a:pt x="1044" y="135"/>
                  <a:pt x="1044" y="135"/>
                  <a:pt x="1044" y="135"/>
                </a:cubicBezTo>
                <a:cubicBezTo>
                  <a:pt x="1044" y="135"/>
                  <a:pt x="1044" y="135"/>
                  <a:pt x="1043" y="135"/>
                </a:cubicBezTo>
                <a:cubicBezTo>
                  <a:pt x="1043" y="135"/>
                  <a:pt x="1043" y="136"/>
                  <a:pt x="1043" y="136"/>
                </a:cubicBezTo>
                <a:cubicBezTo>
                  <a:pt x="1043" y="136"/>
                  <a:pt x="1043" y="136"/>
                  <a:pt x="1044" y="137"/>
                </a:cubicBezTo>
                <a:cubicBezTo>
                  <a:pt x="1044" y="136"/>
                  <a:pt x="1044" y="136"/>
                  <a:pt x="1044" y="136"/>
                </a:cubicBezTo>
                <a:cubicBezTo>
                  <a:pt x="1045" y="136"/>
                  <a:pt x="1045" y="136"/>
                  <a:pt x="1045" y="136"/>
                </a:cubicBezTo>
                <a:cubicBezTo>
                  <a:pt x="1045" y="137"/>
                  <a:pt x="1045" y="137"/>
                  <a:pt x="1045" y="137"/>
                </a:cubicBezTo>
                <a:cubicBezTo>
                  <a:pt x="1045" y="137"/>
                  <a:pt x="1046" y="137"/>
                  <a:pt x="1046" y="137"/>
                </a:cubicBezTo>
                <a:cubicBezTo>
                  <a:pt x="1046" y="137"/>
                  <a:pt x="1047" y="137"/>
                  <a:pt x="1047" y="137"/>
                </a:cubicBezTo>
                <a:cubicBezTo>
                  <a:pt x="1047" y="137"/>
                  <a:pt x="1047" y="137"/>
                  <a:pt x="1047" y="137"/>
                </a:cubicBezTo>
                <a:cubicBezTo>
                  <a:pt x="1047" y="137"/>
                  <a:pt x="1047" y="137"/>
                  <a:pt x="1047" y="137"/>
                </a:cubicBezTo>
                <a:cubicBezTo>
                  <a:pt x="1048" y="137"/>
                  <a:pt x="1048" y="137"/>
                  <a:pt x="1048" y="137"/>
                </a:cubicBezTo>
                <a:cubicBezTo>
                  <a:pt x="1048" y="137"/>
                  <a:pt x="1048" y="137"/>
                  <a:pt x="1048" y="137"/>
                </a:cubicBezTo>
                <a:cubicBezTo>
                  <a:pt x="1048" y="137"/>
                  <a:pt x="1048" y="137"/>
                  <a:pt x="1048" y="138"/>
                </a:cubicBezTo>
                <a:cubicBezTo>
                  <a:pt x="1048" y="138"/>
                  <a:pt x="1048" y="138"/>
                  <a:pt x="1048" y="138"/>
                </a:cubicBezTo>
                <a:cubicBezTo>
                  <a:pt x="1048" y="138"/>
                  <a:pt x="1049" y="137"/>
                  <a:pt x="1049" y="137"/>
                </a:cubicBezTo>
                <a:cubicBezTo>
                  <a:pt x="1049" y="137"/>
                  <a:pt x="1049" y="137"/>
                  <a:pt x="1050" y="137"/>
                </a:cubicBezTo>
                <a:cubicBezTo>
                  <a:pt x="1050" y="137"/>
                  <a:pt x="1050" y="137"/>
                  <a:pt x="1050" y="137"/>
                </a:cubicBezTo>
                <a:cubicBezTo>
                  <a:pt x="1050" y="137"/>
                  <a:pt x="1050" y="137"/>
                  <a:pt x="1050" y="137"/>
                </a:cubicBezTo>
                <a:cubicBezTo>
                  <a:pt x="1050" y="138"/>
                  <a:pt x="1050" y="138"/>
                  <a:pt x="1049" y="138"/>
                </a:cubicBezTo>
                <a:cubicBezTo>
                  <a:pt x="1050" y="138"/>
                  <a:pt x="1050" y="138"/>
                  <a:pt x="1050" y="138"/>
                </a:cubicBezTo>
                <a:cubicBezTo>
                  <a:pt x="1051" y="138"/>
                  <a:pt x="1051" y="138"/>
                  <a:pt x="1051" y="138"/>
                </a:cubicBezTo>
                <a:cubicBezTo>
                  <a:pt x="1051" y="138"/>
                  <a:pt x="1050" y="138"/>
                  <a:pt x="1050" y="138"/>
                </a:cubicBezTo>
                <a:cubicBezTo>
                  <a:pt x="1050" y="139"/>
                  <a:pt x="1050" y="139"/>
                  <a:pt x="1049" y="139"/>
                </a:cubicBezTo>
                <a:cubicBezTo>
                  <a:pt x="1050" y="139"/>
                  <a:pt x="1050" y="139"/>
                  <a:pt x="1051" y="139"/>
                </a:cubicBezTo>
                <a:cubicBezTo>
                  <a:pt x="1051" y="139"/>
                  <a:pt x="1051" y="138"/>
                  <a:pt x="1051" y="138"/>
                </a:cubicBezTo>
                <a:cubicBezTo>
                  <a:pt x="1051" y="138"/>
                  <a:pt x="1051" y="138"/>
                  <a:pt x="1051" y="138"/>
                </a:cubicBezTo>
                <a:cubicBezTo>
                  <a:pt x="1051" y="138"/>
                  <a:pt x="1051" y="138"/>
                  <a:pt x="1052" y="137"/>
                </a:cubicBezTo>
                <a:cubicBezTo>
                  <a:pt x="1052" y="137"/>
                  <a:pt x="1052" y="137"/>
                  <a:pt x="1053" y="137"/>
                </a:cubicBezTo>
                <a:cubicBezTo>
                  <a:pt x="1053" y="138"/>
                  <a:pt x="1053" y="138"/>
                  <a:pt x="1054" y="138"/>
                </a:cubicBezTo>
                <a:cubicBezTo>
                  <a:pt x="1054" y="138"/>
                  <a:pt x="1054" y="138"/>
                  <a:pt x="1054" y="138"/>
                </a:cubicBezTo>
                <a:cubicBezTo>
                  <a:pt x="1054" y="137"/>
                  <a:pt x="1053" y="137"/>
                  <a:pt x="1053" y="137"/>
                </a:cubicBezTo>
                <a:cubicBezTo>
                  <a:pt x="1053" y="137"/>
                  <a:pt x="1053" y="137"/>
                  <a:pt x="1053" y="137"/>
                </a:cubicBezTo>
                <a:cubicBezTo>
                  <a:pt x="1054" y="137"/>
                  <a:pt x="1054" y="137"/>
                  <a:pt x="1054" y="137"/>
                </a:cubicBezTo>
                <a:cubicBezTo>
                  <a:pt x="1055" y="137"/>
                  <a:pt x="1055" y="138"/>
                  <a:pt x="1055" y="138"/>
                </a:cubicBezTo>
                <a:cubicBezTo>
                  <a:pt x="1056" y="138"/>
                  <a:pt x="1056" y="138"/>
                  <a:pt x="1057" y="138"/>
                </a:cubicBezTo>
                <a:cubicBezTo>
                  <a:pt x="1057" y="138"/>
                  <a:pt x="1057" y="138"/>
                  <a:pt x="1058" y="138"/>
                </a:cubicBezTo>
                <a:cubicBezTo>
                  <a:pt x="1058" y="138"/>
                  <a:pt x="1058" y="138"/>
                  <a:pt x="1059" y="138"/>
                </a:cubicBezTo>
                <a:cubicBezTo>
                  <a:pt x="1059" y="138"/>
                  <a:pt x="1059" y="138"/>
                  <a:pt x="1059" y="138"/>
                </a:cubicBezTo>
                <a:cubicBezTo>
                  <a:pt x="1059" y="138"/>
                  <a:pt x="1060" y="138"/>
                  <a:pt x="1060" y="138"/>
                </a:cubicBezTo>
                <a:cubicBezTo>
                  <a:pt x="1060" y="138"/>
                  <a:pt x="1061" y="138"/>
                  <a:pt x="1061" y="139"/>
                </a:cubicBezTo>
                <a:cubicBezTo>
                  <a:pt x="1061" y="138"/>
                  <a:pt x="1061" y="138"/>
                  <a:pt x="1061" y="138"/>
                </a:cubicBezTo>
                <a:cubicBezTo>
                  <a:pt x="1062" y="138"/>
                  <a:pt x="1062" y="139"/>
                  <a:pt x="1063" y="139"/>
                </a:cubicBezTo>
                <a:cubicBezTo>
                  <a:pt x="1065" y="139"/>
                  <a:pt x="1067" y="140"/>
                  <a:pt x="1069" y="141"/>
                </a:cubicBezTo>
                <a:cubicBezTo>
                  <a:pt x="1070" y="142"/>
                  <a:pt x="1071" y="142"/>
                  <a:pt x="1073" y="143"/>
                </a:cubicBezTo>
                <a:cubicBezTo>
                  <a:pt x="1073" y="143"/>
                  <a:pt x="1073" y="143"/>
                  <a:pt x="1073" y="144"/>
                </a:cubicBezTo>
                <a:cubicBezTo>
                  <a:pt x="1074" y="144"/>
                  <a:pt x="1074" y="144"/>
                  <a:pt x="1074" y="144"/>
                </a:cubicBezTo>
                <a:cubicBezTo>
                  <a:pt x="1075" y="144"/>
                  <a:pt x="1075" y="145"/>
                  <a:pt x="1076" y="145"/>
                </a:cubicBezTo>
                <a:cubicBezTo>
                  <a:pt x="1076" y="145"/>
                  <a:pt x="1076" y="145"/>
                  <a:pt x="1077" y="146"/>
                </a:cubicBezTo>
                <a:cubicBezTo>
                  <a:pt x="1076" y="145"/>
                  <a:pt x="1076" y="145"/>
                  <a:pt x="1076" y="145"/>
                </a:cubicBezTo>
                <a:cubicBezTo>
                  <a:pt x="1076" y="145"/>
                  <a:pt x="1076" y="145"/>
                  <a:pt x="1076" y="145"/>
                </a:cubicBezTo>
                <a:cubicBezTo>
                  <a:pt x="1077" y="145"/>
                  <a:pt x="1077" y="145"/>
                  <a:pt x="1077" y="145"/>
                </a:cubicBezTo>
                <a:cubicBezTo>
                  <a:pt x="1077" y="145"/>
                  <a:pt x="1078" y="146"/>
                  <a:pt x="1079" y="146"/>
                </a:cubicBezTo>
                <a:cubicBezTo>
                  <a:pt x="1079" y="146"/>
                  <a:pt x="1079" y="146"/>
                  <a:pt x="1079" y="146"/>
                </a:cubicBezTo>
                <a:cubicBezTo>
                  <a:pt x="1080" y="146"/>
                  <a:pt x="1080" y="147"/>
                  <a:pt x="1081" y="147"/>
                </a:cubicBezTo>
                <a:cubicBezTo>
                  <a:pt x="1081" y="147"/>
                  <a:pt x="1081" y="147"/>
                  <a:pt x="1082" y="147"/>
                </a:cubicBezTo>
                <a:cubicBezTo>
                  <a:pt x="1081" y="146"/>
                  <a:pt x="1081" y="146"/>
                  <a:pt x="1081" y="146"/>
                </a:cubicBezTo>
                <a:cubicBezTo>
                  <a:pt x="1081" y="146"/>
                  <a:pt x="1081" y="146"/>
                  <a:pt x="1081" y="145"/>
                </a:cubicBezTo>
                <a:cubicBezTo>
                  <a:pt x="1081" y="145"/>
                  <a:pt x="1081" y="146"/>
                  <a:pt x="1081" y="146"/>
                </a:cubicBezTo>
                <a:cubicBezTo>
                  <a:pt x="1082" y="146"/>
                  <a:pt x="1082" y="146"/>
                  <a:pt x="1082" y="146"/>
                </a:cubicBezTo>
                <a:cubicBezTo>
                  <a:pt x="1082" y="147"/>
                  <a:pt x="1082" y="147"/>
                  <a:pt x="1082" y="147"/>
                </a:cubicBezTo>
                <a:cubicBezTo>
                  <a:pt x="1083" y="147"/>
                  <a:pt x="1084" y="148"/>
                  <a:pt x="1084" y="148"/>
                </a:cubicBezTo>
                <a:cubicBezTo>
                  <a:pt x="1084" y="148"/>
                  <a:pt x="1084" y="149"/>
                  <a:pt x="1084" y="149"/>
                </a:cubicBezTo>
                <a:cubicBezTo>
                  <a:pt x="1085" y="149"/>
                  <a:pt x="1085" y="149"/>
                  <a:pt x="1086" y="149"/>
                </a:cubicBezTo>
                <a:cubicBezTo>
                  <a:pt x="1086" y="149"/>
                  <a:pt x="1086" y="149"/>
                  <a:pt x="1086" y="149"/>
                </a:cubicBezTo>
                <a:cubicBezTo>
                  <a:pt x="1086" y="149"/>
                  <a:pt x="1087" y="149"/>
                  <a:pt x="1087" y="149"/>
                </a:cubicBezTo>
                <a:cubicBezTo>
                  <a:pt x="1087" y="149"/>
                  <a:pt x="1088" y="150"/>
                  <a:pt x="1088" y="150"/>
                </a:cubicBezTo>
                <a:cubicBezTo>
                  <a:pt x="1088" y="150"/>
                  <a:pt x="1088" y="151"/>
                  <a:pt x="1088" y="151"/>
                </a:cubicBezTo>
                <a:cubicBezTo>
                  <a:pt x="1089" y="151"/>
                  <a:pt x="1089" y="151"/>
                  <a:pt x="1089" y="151"/>
                </a:cubicBezTo>
                <a:cubicBezTo>
                  <a:pt x="1089" y="152"/>
                  <a:pt x="1090" y="152"/>
                  <a:pt x="1090" y="152"/>
                </a:cubicBezTo>
                <a:cubicBezTo>
                  <a:pt x="1090" y="152"/>
                  <a:pt x="1090" y="152"/>
                  <a:pt x="1090" y="152"/>
                </a:cubicBezTo>
                <a:cubicBezTo>
                  <a:pt x="1091" y="152"/>
                  <a:pt x="1091" y="152"/>
                  <a:pt x="1091" y="153"/>
                </a:cubicBezTo>
                <a:cubicBezTo>
                  <a:pt x="1091" y="153"/>
                  <a:pt x="1091" y="153"/>
                  <a:pt x="1091" y="153"/>
                </a:cubicBezTo>
                <a:cubicBezTo>
                  <a:pt x="1091" y="154"/>
                  <a:pt x="1091" y="154"/>
                  <a:pt x="1091" y="154"/>
                </a:cubicBezTo>
                <a:cubicBezTo>
                  <a:pt x="1091" y="155"/>
                  <a:pt x="1090" y="155"/>
                  <a:pt x="1090" y="155"/>
                </a:cubicBezTo>
                <a:cubicBezTo>
                  <a:pt x="1090" y="156"/>
                  <a:pt x="1090" y="156"/>
                  <a:pt x="1090" y="156"/>
                </a:cubicBezTo>
                <a:cubicBezTo>
                  <a:pt x="1090" y="156"/>
                  <a:pt x="1090" y="156"/>
                  <a:pt x="1090" y="156"/>
                </a:cubicBezTo>
                <a:cubicBezTo>
                  <a:pt x="1089" y="157"/>
                  <a:pt x="1089" y="157"/>
                  <a:pt x="1089" y="157"/>
                </a:cubicBezTo>
                <a:cubicBezTo>
                  <a:pt x="1088" y="158"/>
                  <a:pt x="1088" y="158"/>
                  <a:pt x="1088" y="158"/>
                </a:cubicBezTo>
                <a:cubicBezTo>
                  <a:pt x="1088" y="158"/>
                  <a:pt x="1087" y="159"/>
                  <a:pt x="1086" y="160"/>
                </a:cubicBezTo>
                <a:cubicBezTo>
                  <a:pt x="1085" y="160"/>
                  <a:pt x="1085" y="160"/>
                  <a:pt x="1084" y="160"/>
                </a:cubicBezTo>
                <a:cubicBezTo>
                  <a:pt x="1084" y="160"/>
                  <a:pt x="1083" y="160"/>
                  <a:pt x="1082" y="160"/>
                </a:cubicBezTo>
                <a:cubicBezTo>
                  <a:pt x="1082" y="160"/>
                  <a:pt x="1082" y="160"/>
                  <a:pt x="1082" y="160"/>
                </a:cubicBezTo>
                <a:cubicBezTo>
                  <a:pt x="1081" y="160"/>
                  <a:pt x="1080" y="160"/>
                  <a:pt x="1080" y="160"/>
                </a:cubicBezTo>
                <a:cubicBezTo>
                  <a:pt x="1080" y="160"/>
                  <a:pt x="1080" y="161"/>
                  <a:pt x="1080" y="161"/>
                </a:cubicBezTo>
                <a:cubicBezTo>
                  <a:pt x="1079" y="161"/>
                  <a:pt x="1078" y="161"/>
                  <a:pt x="1077" y="161"/>
                </a:cubicBezTo>
                <a:cubicBezTo>
                  <a:pt x="1076" y="161"/>
                  <a:pt x="1075" y="160"/>
                  <a:pt x="1074" y="160"/>
                </a:cubicBezTo>
                <a:cubicBezTo>
                  <a:pt x="1073" y="160"/>
                  <a:pt x="1072" y="160"/>
                  <a:pt x="1072" y="160"/>
                </a:cubicBezTo>
                <a:cubicBezTo>
                  <a:pt x="1071" y="160"/>
                  <a:pt x="1071" y="159"/>
                  <a:pt x="1070" y="159"/>
                </a:cubicBezTo>
                <a:cubicBezTo>
                  <a:pt x="1070" y="159"/>
                  <a:pt x="1070" y="159"/>
                  <a:pt x="1069" y="159"/>
                </a:cubicBezTo>
                <a:cubicBezTo>
                  <a:pt x="1069" y="159"/>
                  <a:pt x="1069" y="159"/>
                  <a:pt x="1069" y="159"/>
                </a:cubicBezTo>
                <a:cubicBezTo>
                  <a:pt x="1068" y="159"/>
                  <a:pt x="1067" y="159"/>
                  <a:pt x="1067" y="159"/>
                </a:cubicBezTo>
                <a:cubicBezTo>
                  <a:pt x="1067" y="159"/>
                  <a:pt x="1067" y="159"/>
                  <a:pt x="1067" y="159"/>
                </a:cubicBezTo>
                <a:cubicBezTo>
                  <a:pt x="1066" y="159"/>
                  <a:pt x="1066" y="159"/>
                  <a:pt x="1066" y="158"/>
                </a:cubicBezTo>
                <a:cubicBezTo>
                  <a:pt x="1066" y="159"/>
                  <a:pt x="1065" y="159"/>
                  <a:pt x="1065" y="159"/>
                </a:cubicBezTo>
                <a:cubicBezTo>
                  <a:pt x="1064" y="158"/>
                  <a:pt x="1064" y="158"/>
                  <a:pt x="1064" y="158"/>
                </a:cubicBezTo>
                <a:cubicBezTo>
                  <a:pt x="1064" y="158"/>
                  <a:pt x="1064" y="158"/>
                  <a:pt x="1064" y="157"/>
                </a:cubicBezTo>
                <a:cubicBezTo>
                  <a:pt x="1063" y="157"/>
                  <a:pt x="1063" y="157"/>
                  <a:pt x="1062" y="157"/>
                </a:cubicBezTo>
                <a:cubicBezTo>
                  <a:pt x="1062" y="157"/>
                  <a:pt x="1062" y="157"/>
                  <a:pt x="1061" y="157"/>
                </a:cubicBezTo>
                <a:cubicBezTo>
                  <a:pt x="1062" y="157"/>
                  <a:pt x="1062" y="157"/>
                  <a:pt x="1062" y="157"/>
                </a:cubicBezTo>
                <a:cubicBezTo>
                  <a:pt x="1061" y="157"/>
                  <a:pt x="1061" y="157"/>
                  <a:pt x="1060" y="157"/>
                </a:cubicBezTo>
                <a:cubicBezTo>
                  <a:pt x="1060" y="157"/>
                  <a:pt x="1060" y="157"/>
                  <a:pt x="1060" y="157"/>
                </a:cubicBezTo>
                <a:cubicBezTo>
                  <a:pt x="1059" y="157"/>
                  <a:pt x="1059" y="157"/>
                  <a:pt x="1058" y="157"/>
                </a:cubicBezTo>
                <a:cubicBezTo>
                  <a:pt x="1058" y="157"/>
                  <a:pt x="1058" y="157"/>
                  <a:pt x="1058" y="157"/>
                </a:cubicBezTo>
                <a:cubicBezTo>
                  <a:pt x="1058" y="157"/>
                  <a:pt x="1058" y="157"/>
                  <a:pt x="1058" y="157"/>
                </a:cubicBezTo>
                <a:cubicBezTo>
                  <a:pt x="1058" y="156"/>
                  <a:pt x="1059" y="156"/>
                  <a:pt x="1059" y="156"/>
                </a:cubicBezTo>
                <a:cubicBezTo>
                  <a:pt x="1059" y="156"/>
                  <a:pt x="1058" y="156"/>
                  <a:pt x="1058" y="156"/>
                </a:cubicBezTo>
                <a:cubicBezTo>
                  <a:pt x="1058" y="156"/>
                  <a:pt x="1058" y="156"/>
                  <a:pt x="1058" y="156"/>
                </a:cubicBezTo>
                <a:cubicBezTo>
                  <a:pt x="1057" y="156"/>
                  <a:pt x="1057" y="156"/>
                  <a:pt x="1056" y="156"/>
                </a:cubicBezTo>
                <a:cubicBezTo>
                  <a:pt x="1056" y="156"/>
                  <a:pt x="1055" y="156"/>
                  <a:pt x="1055" y="155"/>
                </a:cubicBezTo>
                <a:cubicBezTo>
                  <a:pt x="1055" y="155"/>
                  <a:pt x="1055" y="155"/>
                  <a:pt x="1055" y="156"/>
                </a:cubicBezTo>
                <a:cubicBezTo>
                  <a:pt x="1054" y="156"/>
                  <a:pt x="1054" y="155"/>
                  <a:pt x="1054" y="155"/>
                </a:cubicBezTo>
                <a:cubicBezTo>
                  <a:pt x="1053" y="155"/>
                  <a:pt x="1052" y="154"/>
                  <a:pt x="1051" y="154"/>
                </a:cubicBezTo>
                <a:cubicBezTo>
                  <a:pt x="1051" y="154"/>
                  <a:pt x="1051" y="154"/>
                  <a:pt x="1051" y="153"/>
                </a:cubicBezTo>
                <a:cubicBezTo>
                  <a:pt x="1051" y="153"/>
                  <a:pt x="1050" y="153"/>
                  <a:pt x="1050" y="153"/>
                </a:cubicBezTo>
                <a:cubicBezTo>
                  <a:pt x="1050" y="153"/>
                  <a:pt x="1049" y="153"/>
                  <a:pt x="1049" y="153"/>
                </a:cubicBezTo>
                <a:cubicBezTo>
                  <a:pt x="1049" y="153"/>
                  <a:pt x="1049" y="153"/>
                  <a:pt x="1048" y="153"/>
                </a:cubicBezTo>
                <a:cubicBezTo>
                  <a:pt x="1048" y="153"/>
                  <a:pt x="1048" y="153"/>
                  <a:pt x="1048" y="153"/>
                </a:cubicBezTo>
                <a:cubicBezTo>
                  <a:pt x="1048" y="153"/>
                  <a:pt x="1049" y="153"/>
                  <a:pt x="1049" y="154"/>
                </a:cubicBezTo>
                <a:cubicBezTo>
                  <a:pt x="1049" y="154"/>
                  <a:pt x="1049" y="154"/>
                  <a:pt x="1049" y="155"/>
                </a:cubicBezTo>
                <a:cubicBezTo>
                  <a:pt x="1050" y="155"/>
                  <a:pt x="1050" y="155"/>
                  <a:pt x="1051" y="155"/>
                </a:cubicBezTo>
                <a:cubicBezTo>
                  <a:pt x="1051" y="156"/>
                  <a:pt x="1051" y="156"/>
                  <a:pt x="1051" y="156"/>
                </a:cubicBezTo>
                <a:cubicBezTo>
                  <a:pt x="1052" y="156"/>
                  <a:pt x="1052" y="156"/>
                  <a:pt x="1053" y="156"/>
                </a:cubicBezTo>
                <a:cubicBezTo>
                  <a:pt x="1053" y="156"/>
                  <a:pt x="1053" y="156"/>
                  <a:pt x="1053" y="157"/>
                </a:cubicBezTo>
                <a:cubicBezTo>
                  <a:pt x="1053" y="157"/>
                  <a:pt x="1052" y="157"/>
                  <a:pt x="1052" y="157"/>
                </a:cubicBezTo>
                <a:cubicBezTo>
                  <a:pt x="1052" y="157"/>
                  <a:pt x="1052" y="157"/>
                  <a:pt x="1051" y="157"/>
                </a:cubicBezTo>
                <a:cubicBezTo>
                  <a:pt x="1051" y="157"/>
                  <a:pt x="1052" y="157"/>
                  <a:pt x="1052" y="158"/>
                </a:cubicBezTo>
                <a:cubicBezTo>
                  <a:pt x="1052" y="157"/>
                  <a:pt x="1053" y="157"/>
                  <a:pt x="1054" y="157"/>
                </a:cubicBezTo>
                <a:cubicBezTo>
                  <a:pt x="1054" y="157"/>
                  <a:pt x="1054" y="157"/>
                  <a:pt x="1054" y="157"/>
                </a:cubicBezTo>
                <a:cubicBezTo>
                  <a:pt x="1055" y="157"/>
                  <a:pt x="1055" y="157"/>
                  <a:pt x="1055" y="157"/>
                </a:cubicBezTo>
                <a:cubicBezTo>
                  <a:pt x="1055" y="157"/>
                  <a:pt x="1055" y="158"/>
                  <a:pt x="1054" y="158"/>
                </a:cubicBezTo>
                <a:cubicBezTo>
                  <a:pt x="1054" y="158"/>
                  <a:pt x="1054" y="158"/>
                  <a:pt x="1054" y="158"/>
                </a:cubicBezTo>
                <a:cubicBezTo>
                  <a:pt x="1055" y="158"/>
                  <a:pt x="1055" y="158"/>
                  <a:pt x="1055" y="158"/>
                </a:cubicBezTo>
                <a:cubicBezTo>
                  <a:pt x="1055" y="158"/>
                  <a:pt x="1055" y="158"/>
                  <a:pt x="1055" y="159"/>
                </a:cubicBezTo>
                <a:cubicBezTo>
                  <a:pt x="1055" y="159"/>
                  <a:pt x="1054" y="159"/>
                  <a:pt x="1054" y="159"/>
                </a:cubicBezTo>
                <a:cubicBezTo>
                  <a:pt x="1054" y="159"/>
                  <a:pt x="1054" y="159"/>
                  <a:pt x="1054" y="159"/>
                </a:cubicBezTo>
                <a:cubicBezTo>
                  <a:pt x="1054" y="159"/>
                  <a:pt x="1054" y="159"/>
                  <a:pt x="1055" y="159"/>
                </a:cubicBezTo>
                <a:cubicBezTo>
                  <a:pt x="1055" y="159"/>
                  <a:pt x="1055" y="159"/>
                  <a:pt x="1055" y="159"/>
                </a:cubicBezTo>
                <a:cubicBezTo>
                  <a:pt x="1056" y="159"/>
                  <a:pt x="1056" y="159"/>
                  <a:pt x="1056" y="159"/>
                </a:cubicBezTo>
                <a:cubicBezTo>
                  <a:pt x="1056" y="159"/>
                  <a:pt x="1057" y="159"/>
                  <a:pt x="1057" y="159"/>
                </a:cubicBezTo>
                <a:cubicBezTo>
                  <a:pt x="1057" y="159"/>
                  <a:pt x="1057" y="159"/>
                  <a:pt x="1058" y="159"/>
                </a:cubicBezTo>
                <a:cubicBezTo>
                  <a:pt x="1058" y="159"/>
                  <a:pt x="1059" y="160"/>
                  <a:pt x="1060" y="160"/>
                </a:cubicBezTo>
                <a:cubicBezTo>
                  <a:pt x="1060" y="160"/>
                  <a:pt x="1061" y="161"/>
                  <a:pt x="1061" y="161"/>
                </a:cubicBezTo>
                <a:cubicBezTo>
                  <a:pt x="1061" y="161"/>
                  <a:pt x="1062" y="161"/>
                  <a:pt x="1062" y="161"/>
                </a:cubicBezTo>
                <a:cubicBezTo>
                  <a:pt x="1062" y="161"/>
                  <a:pt x="1062" y="162"/>
                  <a:pt x="1061" y="162"/>
                </a:cubicBezTo>
                <a:cubicBezTo>
                  <a:pt x="1061" y="162"/>
                  <a:pt x="1061" y="162"/>
                  <a:pt x="1061" y="162"/>
                </a:cubicBezTo>
                <a:cubicBezTo>
                  <a:pt x="1061" y="162"/>
                  <a:pt x="1062" y="162"/>
                  <a:pt x="1062" y="162"/>
                </a:cubicBezTo>
                <a:cubicBezTo>
                  <a:pt x="1062" y="163"/>
                  <a:pt x="1062" y="163"/>
                  <a:pt x="1062" y="163"/>
                </a:cubicBezTo>
                <a:cubicBezTo>
                  <a:pt x="1062" y="163"/>
                  <a:pt x="1062" y="164"/>
                  <a:pt x="1062" y="164"/>
                </a:cubicBezTo>
                <a:cubicBezTo>
                  <a:pt x="1061" y="164"/>
                  <a:pt x="1061" y="164"/>
                  <a:pt x="1061" y="164"/>
                </a:cubicBezTo>
                <a:cubicBezTo>
                  <a:pt x="1061" y="165"/>
                  <a:pt x="1060" y="165"/>
                  <a:pt x="1060" y="165"/>
                </a:cubicBezTo>
                <a:cubicBezTo>
                  <a:pt x="1061" y="165"/>
                  <a:pt x="1061" y="165"/>
                  <a:pt x="1061" y="165"/>
                </a:cubicBezTo>
                <a:cubicBezTo>
                  <a:pt x="1061" y="166"/>
                  <a:pt x="1061" y="166"/>
                  <a:pt x="1061" y="166"/>
                </a:cubicBezTo>
                <a:cubicBezTo>
                  <a:pt x="1062" y="166"/>
                  <a:pt x="1062" y="167"/>
                  <a:pt x="1063" y="167"/>
                </a:cubicBezTo>
                <a:cubicBezTo>
                  <a:pt x="1063" y="167"/>
                  <a:pt x="1063" y="168"/>
                  <a:pt x="1063" y="168"/>
                </a:cubicBezTo>
                <a:cubicBezTo>
                  <a:pt x="1063" y="168"/>
                  <a:pt x="1063" y="168"/>
                  <a:pt x="1064" y="168"/>
                </a:cubicBezTo>
                <a:cubicBezTo>
                  <a:pt x="1064" y="169"/>
                  <a:pt x="1064" y="169"/>
                  <a:pt x="1064" y="169"/>
                </a:cubicBezTo>
                <a:cubicBezTo>
                  <a:pt x="1064" y="169"/>
                  <a:pt x="1064" y="170"/>
                  <a:pt x="1064" y="170"/>
                </a:cubicBezTo>
                <a:cubicBezTo>
                  <a:pt x="1064" y="170"/>
                  <a:pt x="1064" y="170"/>
                  <a:pt x="1063" y="170"/>
                </a:cubicBezTo>
                <a:cubicBezTo>
                  <a:pt x="1064" y="171"/>
                  <a:pt x="1064" y="171"/>
                  <a:pt x="1064" y="171"/>
                </a:cubicBezTo>
                <a:cubicBezTo>
                  <a:pt x="1064" y="171"/>
                  <a:pt x="1064" y="171"/>
                  <a:pt x="1064" y="172"/>
                </a:cubicBezTo>
                <a:cubicBezTo>
                  <a:pt x="1065" y="172"/>
                  <a:pt x="1066" y="172"/>
                  <a:pt x="1067" y="172"/>
                </a:cubicBezTo>
                <a:cubicBezTo>
                  <a:pt x="1067" y="172"/>
                  <a:pt x="1067" y="172"/>
                  <a:pt x="1068" y="172"/>
                </a:cubicBezTo>
                <a:cubicBezTo>
                  <a:pt x="1068" y="172"/>
                  <a:pt x="1068" y="172"/>
                  <a:pt x="1068" y="172"/>
                </a:cubicBezTo>
                <a:cubicBezTo>
                  <a:pt x="1068" y="172"/>
                  <a:pt x="1069" y="172"/>
                  <a:pt x="1069" y="173"/>
                </a:cubicBezTo>
                <a:cubicBezTo>
                  <a:pt x="1069" y="173"/>
                  <a:pt x="1070" y="173"/>
                  <a:pt x="1070" y="173"/>
                </a:cubicBezTo>
                <a:cubicBezTo>
                  <a:pt x="1070" y="173"/>
                  <a:pt x="1070" y="174"/>
                  <a:pt x="1070" y="174"/>
                </a:cubicBezTo>
                <a:cubicBezTo>
                  <a:pt x="1070" y="174"/>
                  <a:pt x="1070" y="174"/>
                  <a:pt x="1071" y="174"/>
                </a:cubicBezTo>
                <a:cubicBezTo>
                  <a:pt x="1071" y="174"/>
                  <a:pt x="1072" y="174"/>
                  <a:pt x="1072" y="174"/>
                </a:cubicBezTo>
                <a:cubicBezTo>
                  <a:pt x="1073" y="174"/>
                  <a:pt x="1073" y="175"/>
                  <a:pt x="1073" y="175"/>
                </a:cubicBezTo>
                <a:cubicBezTo>
                  <a:pt x="1074" y="175"/>
                  <a:pt x="1074" y="175"/>
                  <a:pt x="1075" y="175"/>
                </a:cubicBezTo>
                <a:cubicBezTo>
                  <a:pt x="1075" y="175"/>
                  <a:pt x="1075" y="175"/>
                  <a:pt x="1076" y="176"/>
                </a:cubicBezTo>
                <a:cubicBezTo>
                  <a:pt x="1076" y="176"/>
                  <a:pt x="1076" y="176"/>
                  <a:pt x="1076" y="176"/>
                </a:cubicBezTo>
                <a:cubicBezTo>
                  <a:pt x="1077" y="175"/>
                  <a:pt x="1077" y="175"/>
                  <a:pt x="1078" y="175"/>
                </a:cubicBezTo>
                <a:cubicBezTo>
                  <a:pt x="1078" y="175"/>
                  <a:pt x="1078" y="175"/>
                  <a:pt x="1078" y="175"/>
                </a:cubicBezTo>
                <a:cubicBezTo>
                  <a:pt x="1079" y="175"/>
                  <a:pt x="1079" y="175"/>
                  <a:pt x="1079" y="175"/>
                </a:cubicBezTo>
                <a:cubicBezTo>
                  <a:pt x="1079" y="174"/>
                  <a:pt x="1079" y="174"/>
                  <a:pt x="1079" y="174"/>
                </a:cubicBezTo>
                <a:cubicBezTo>
                  <a:pt x="1079" y="173"/>
                  <a:pt x="1079" y="173"/>
                  <a:pt x="1079" y="173"/>
                </a:cubicBezTo>
                <a:cubicBezTo>
                  <a:pt x="1079" y="173"/>
                  <a:pt x="1079" y="173"/>
                  <a:pt x="1079" y="173"/>
                </a:cubicBezTo>
                <a:cubicBezTo>
                  <a:pt x="1079" y="173"/>
                  <a:pt x="1079" y="173"/>
                  <a:pt x="1079" y="172"/>
                </a:cubicBezTo>
                <a:cubicBezTo>
                  <a:pt x="1078" y="172"/>
                  <a:pt x="1078" y="172"/>
                  <a:pt x="1078" y="172"/>
                </a:cubicBezTo>
                <a:cubicBezTo>
                  <a:pt x="1078" y="172"/>
                  <a:pt x="1078" y="172"/>
                  <a:pt x="1078" y="171"/>
                </a:cubicBezTo>
                <a:cubicBezTo>
                  <a:pt x="1077" y="172"/>
                  <a:pt x="1077" y="172"/>
                  <a:pt x="1077" y="172"/>
                </a:cubicBezTo>
                <a:cubicBezTo>
                  <a:pt x="1076" y="172"/>
                  <a:pt x="1076" y="172"/>
                  <a:pt x="1076" y="172"/>
                </a:cubicBezTo>
                <a:cubicBezTo>
                  <a:pt x="1076" y="172"/>
                  <a:pt x="1075" y="172"/>
                  <a:pt x="1075" y="172"/>
                </a:cubicBezTo>
                <a:cubicBezTo>
                  <a:pt x="1074" y="172"/>
                  <a:pt x="1074" y="172"/>
                  <a:pt x="1074" y="171"/>
                </a:cubicBezTo>
                <a:cubicBezTo>
                  <a:pt x="1073" y="171"/>
                  <a:pt x="1073" y="171"/>
                  <a:pt x="1073" y="170"/>
                </a:cubicBezTo>
                <a:cubicBezTo>
                  <a:pt x="1072" y="170"/>
                  <a:pt x="1072" y="170"/>
                  <a:pt x="1071" y="170"/>
                </a:cubicBezTo>
                <a:cubicBezTo>
                  <a:pt x="1071" y="170"/>
                  <a:pt x="1071" y="169"/>
                  <a:pt x="1071" y="169"/>
                </a:cubicBezTo>
                <a:cubicBezTo>
                  <a:pt x="1071" y="169"/>
                  <a:pt x="1070" y="168"/>
                  <a:pt x="1070" y="168"/>
                </a:cubicBezTo>
                <a:cubicBezTo>
                  <a:pt x="1070" y="168"/>
                  <a:pt x="1071" y="168"/>
                  <a:pt x="1071" y="168"/>
                </a:cubicBezTo>
                <a:cubicBezTo>
                  <a:pt x="1071" y="168"/>
                  <a:pt x="1072" y="168"/>
                  <a:pt x="1072" y="168"/>
                </a:cubicBezTo>
                <a:cubicBezTo>
                  <a:pt x="1072" y="168"/>
                  <a:pt x="1072" y="167"/>
                  <a:pt x="1072" y="167"/>
                </a:cubicBezTo>
                <a:cubicBezTo>
                  <a:pt x="1072" y="167"/>
                  <a:pt x="1072" y="167"/>
                  <a:pt x="1072" y="167"/>
                </a:cubicBezTo>
                <a:cubicBezTo>
                  <a:pt x="1072" y="167"/>
                  <a:pt x="1072" y="167"/>
                  <a:pt x="1072" y="166"/>
                </a:cubicBezTo>
                <a:cubicBezTo>
                  <a:pt x="1072" y="166"/>
                  <a:pt x="1072" y="166"/>
                  <a:pt x="1072" y="166"/>
                </a:cubicBezTo>
                <a:cubicBezTo>
                  <a:pt x="1072" y="166"/>
                  <a:pt x="1073" y="166"/>
                  <a:pt x="1073" y="166"/>
                </a:cubicBezTo>
                <a:cubicBezTo>
                  <a:pt x="1074" y="166"/>
                  <a:pt x="1074" y="166"/>
                  <a:pt x="1074" y="167"/>
                </a:cubicBezTo>
                <a:cubicBezTo>
                  <a:pt x="1075" y="167"/>
                  <a:pt x="1075" y="167"/>
                  <a:pt x="1076" y="167"/>
                </a:cubicBezTo>
                <a:cubicBezTo>
                  <a:pt x="1076" y="167"/>
                  <a:pt x="1077" y="168"/>
                  <a:pt x="1077" y="168"/>
                </a:cubicBezTo>
                <a:cubicBezTo>
                  <a:pt x="1077" y="168"/>
                  <a:pt x="1077" y="168"/>
                  <a:pt x="1078" y="168"/>
                </a:cubicBezTo>
                <a:cubicBezTo>
                  <a:pt x="1078" y="168"/>
                  <a:pt x="1079" y="169"/>
                  <a:pt x="1080" y="169"/>
                </a:cubicBezTo>
                <a:cubicBezTo>
                  <a:pt x="1080" y="169"/>
                  <a:pt x="1080" y="169"/>
                  <a:pt x="1080" y="169"/>
                </a:cubicBezTo>
                <a:cubicBezTo>
                  <a:pt x="1081" y="169"/>
                  <a:pt x="1081" y="169"/>
                  <a:pt x="1081" y="169"/>
                </a:cubicBezTo>
                <a:cubicBezTo>
                  <a:pt x="1083" y="170"/>
                  <a:pt x="1084" y="170"/>
                  <a:pt x="1085" y="171"/>
                </a:cubicBezTo>
                <a:cubicBezTo>
                  <a:pt x="1085" y="171"/>
                  <a:pt x="1086" y="171"/>
                  <a:pt x="1086" y="172"/>
                </a:cubicBezTo>
                <a:cubicBezTo>
                  <a:pt x="1087" y="172"/>
                  <a:pt x="1087" y="171"/>
                  <a:pt x="1087" y="171"/>
                </a:cubicBezTo>
                <a:cubicBezTo>
                  <a:pt x="1087" y="171"/>
                  <a:pt x="1088" y="171"/>
                  <a:pt x="1088" y="171"/>
                </a:cubicBezTo>
                <a:cubicBezTo>
                  <a:pt x="1088" y="170"/>
                  <a:pt x="1088" y="170"/>
                  <a:pt x="1088" y="170"/>
                </a:cubicBezTo>
                <a:cubicBezTo>
                  <a:pt x="1088" y="170"/>
                  <a:pt x="1089" y="170"/>
                  <a:pt x="1089" y="170"/>
                </a:cubicBezTo>
                <a:cubicBezTo>
                  <a:pt x="1089" y="170"/>
                  <a:pt x="1090" y="170"/>
                  <a:pt x="1090" y="169"/>
                </a:cubicBezTo>
                <a:cubicBezTo>
                  <a:pt x="1089" y="169"/>
                  <a:pt x="1089" y="168"/>
                  <a:pt x="1088" y="168"/>
                </a:cubicBezTo>
                <a:cubicBezTo>
                  <a:pt x="1088" y="167"/>
                  <a:pt x="1087" y="167"/>
                  <a:pt x="1086" y="166"/>
                </a:cubicBezTo>
                <a:cubicBezTo>
                  <a:pt x="1086" y="166"/>
                  <a:pt x="1086" y="165"/>
                  <a:pt x="1086" y="165"/>
                </a:cubicBezTo>
                <a:cubicBezTo>
                  <a:pt x="1086" y="165"/>
                  <a:pt x="1086" y="164"/>
                  <a:pt x="1086" y="164"/>
                </a:cubicBezTo>
                <a:cubicBezTo>
                  <a:pt x="1086" y="164"/>
                  <a:pt x="1087" y="164"/>
                  <a:pt x="1087" y="163"/>
                </a:cubicBezTo>
                <a:cubicBezTo>
                  <a:pt x="1088" y="163"/>
                  <a:pt x="1088" y="163"/>
                  <a:pt x="1089" y="162"/>
                </a:cubicBezTo>
                <a:cubicBezTo>
                  <a:pt x="1089" y="162"/>
                  <a:pt x="1089" y="162"/>
                  <a:pt x="1089" y="162"/>
                </a:cubicBezTo>
                <a:cubicBezTo>
                  <a:pt x="1089" y="161"/>
                  <a:pt x="1090" y="161"/>
                  <a:pt x="1090" y="161"/>
                </a:cubicBezTo>
                <a:cubicBezTo>
                  <a:pt x="1091" y="161"/>
                  <a:pt x="1091" y="161"/>
                  <a:pt x="1092" y="161"/>
                </a:cubicBezTo>
                <a:cubicBezTo>
                  <a:pt x="1092" y="161"/>
                  <a:pt x="1093" y="160"/>
                  <a:pt x="1093" y="160"/>
                </a:cubicBezTo>
                <a:cubicBezTo>
                  <a:pt x="1094" y="160"/>
                  <a:pt x="1094" y="159"/>
                  <a:pt x="1095" y="158"/>
                </a:cubicBezTo>
                <a:cubicBezTo>
                  <a:pt x="1095" y="158"/>
                  <a:pt x="1095" y="158"/>
                  <a:pt x="1096" y="158"/>
                </a:cubicBezTo>
                <a:cubicBezTo>
                  <a:pt x="1096" y="158"/>
                  <a:pt x="1097" y="158"/>
                  <a:pt x="1097" y="158"/>
                </a:cubicBezTo>
                <a:cubicBezTo>
                  <a:pt x="1098" y="159"/>
                  <a:pt x="1098" y="159"/>
                  <a:pt x="1098" y="159"/>
                </a:cubicBezTo>
                <a:cubicBezTo>
                  <a:pt x="1099" y="159"/>
                  <a:pt x="1099" y="159"/>
                  <a:pt x="1100" y="159"/>
                </a:cubicBezTo>
                <a:cubicBezTo>
                  <a:pt x="1101" y="159"/>
                  <a:pt x="1101" y="159"/>
                  <a:pt x="1102" y="159"/>
                </a:cubicBezTo>
                <a:cubicBezTo>
                  <a:pt x="1102" y="160"/>
                  <a:pt x="1102" y="160"/>
                  <a:pt x="1102" y="160"/>
                </a:cubicBezTo>
                <a:cubicBezTo>
                  <a:pt x="1102" y="160"/>
                  <a:pt x="1102" y="160"/>
                  <a:pt x="1102" y="161"/>
                </a:cubicBezTo>
                <a:cubicBezTo>
                  <a:pt x="1103" y="160"/>
                  <a:pt x="1103" y="160"/>
                  <a:pt x="1103" y="160"/>
                </a:cubicBezTo>
                <a:cubicBezTo>
                  <a:pt x="1104" y="160"/>
                  <a:pt x="1104" y="160"/>
                  <a:pt x="1105" y="161"/>
                </a:cubicBezTo>
                <a:cubicBezTo>
                  <a:pt x="1105" y="161"/>
                  <a:pt x="1105" y="161"/>
                  <a:pt x="1105" y="162"/>
                </a:cubicBezTo>
                <a:cubicBezTo>
                  <a:pt x="1105" y="162"/>
                  <a:pt x="1106" y="162"/>
                  <a:pt x="1106" y="162"/>
                </a:cubicBezTo>
                <a:cubicBezTo>
                  <a:pt x="1106" y="162"/>
                  <a:pt x="1106" y="161"/>
                  <a:pt x="1106" y="161"/>
                </a:cubicBezTo>
                <a:cubicBezTo>
                  <a:pt x="1106" y="160"/>
                  <a:pt x="1105" y="160"/>
                  <a:pt x="1105" y="160"/>
                </a:cubicBezTo>
                <a:cubicBezTo>
                  <a:pt x="1105" y="160"/>
                  <a:pt x="1106" y="160"/>
                  <a:pt x="1106" y="159"/>
                </a:cubicBezTo>
                <a:cubicBezTo>
                  <a:pt x="1106" y="159"/>
                  <a:pt x="1106" y="158"/>
                  <a:pt x="1106" y="158"/>
                </a:cubicBezTo>
                <a:cubicBezTo>
                  <a:pt x="1106" y="158"/>
                  <a:pt x="1106" y="157"/>
                  <a:pt x="1106" y="157"/>
                </a:cubicBezTo>
                <a:cubicBezTo>
                  <a:pt x="1106" y="157"/>
                  <a:pt x="1106" y="157"/>
                  <a:pt x="1106" y="157"/>
                </a:cubicBezTo>
                <a:cubicBezTo>
                  <a:pt x="1106" y="157"/>
                  <a:pt x="1106" y="157"/>
                  <a:pt x="1106" y="156"/>
                </a:cubicBezTo>
                <a:cubicBezTo>
                  <a:pt x="1106" y="156"/>
                  <a:pt x="1106" y="156"/>
                  <a:pt x="1106" y="156"/>
                </a:cubicBezTo>
                <a:cubicBezTo>
                  <a:pt x="1106" y="156"/>
                  <a:pt x="1106" y="156"/>
                  <a:pt x="1106" y="156"/>
                </a:cubicBezTo>
                <a:cubicBezTo>
                  <a:pt x="1106" y="156"/>
                  <a:pt x="1106" y="155"/>
                  <a:pt x="1106" y="155"/>
                </a:cubicBezTo>
                <a:cubicBezTo>
                  <a:pt x="1106" y="155"/>
                  <a:pt x="1106" y="155"/>
                  <a:pt x="1105" y="155"/>
                </a:cubicBezTo>
                <a:cubicBezTo>
                  <a:pt x="1105" y="154"/>
                  <a:pt x="1104" y="154"/>
                  <a:pt x="1104" y="154"/>
                </a:cubicBezTo>
                <a:cubicBezTo>
                  <a:pt x="1103" y="154"/>
                  <a:pt x="1103" y="154"/>
                  <a:pt x="1102" y="154"/>
                </a:cubicBezTo>
                <a:cubicBezTo>
                  <a:pt x="1102" y="154"/>
                  <a:pt x="1102" y="153"/>
                  <a:pt x="1102" y="153"/>
                </a:cubicBezTo>
                <a:cubicBezTo>
                  <a:pt x="1102" y="153"/>
                  <a:pt x="1102" y="152"/>
                  <a:pt x="1102" y="152"/>
                </a:cubicBezTo>
                <a:cubicBezTo>
                  <a:pt x="1103" y="152"/>
                  <a:pt x="1103" y="151"/>
                  <a:pt x="1103" y="150"/>
                </a:cubicBezTo>
                <a:cubicBezTo>
                  <a:pt x="1103" y="150"/>
                  <a:pt x="1103" y="150"/>
                  <a:pt x="1103" y="150"/>
                </a:cubicBezTo>
                <a:cubicBezTo>
                  <a:pt x="1103" y="150"/>
                  <a:pt x="1103" y="150"/>
                  <a:pt x="1103" y="150"/>
                </a:cubicBezTo>
                <a:cubicBezTo>
                  <a:pt x="1103" y="149"/>
                  <a:pt x="1103" y="149"/>
                  <a:pt x="1103" y="149"/>
                </a:cubicBezTo>
                <a:cubicBezTo>
                  <a:pt x="1103" y="149"/>
                  <a:pt x="1103" y="149"/>
                  <a:pt x="1103" y="149"/>
                </a:cubicBezTo>
                <a:cubicBezTo>
                  <a:pt x="1103" y="149"/>
                  <a:pt x="1103" y="148"/>
                  <a:pt x="1103" y="148"/>
                </a:cubicBezTo>
                <a:cubicBezTo>
                  <a:pt x="1103" y="148"/>
                  <a:pt x="1103" y="148"/>
                  <a:pt x="1103" y="147"/>
                </a:cubicBezTo>
                <a:cubicBezTo>
                  <a:pt x="1103" y="147"/>
                  <a:pt x="1102" y="146"/>
                  <a:pt x="1102" y="146"/>
                </a:cubicBezTo>
                <a:cubicBezTo>
                  <a:pt x="1102" y="145"/>
                  <a:pt x="1101" y="145"/>
                  <a:pt x="1101" y="145"/>
                </a:cubicBezTo>
                <a:cubicBezTo>
                  <a:pt x="1100" y="144"/>
                  <a:pt x="1099" y="144"/>
                  <a:pt x="1098" y="143"/>
                </a:cubicBezTo>
                <a:cubicBezTo>
                  <a:pt x="1098" y="143"/>
                  <a:pt x="1098" y="143"/>
                  <a:pt x="1098" y="143"/>
                </a:cubicBezTo>
                <a:cubicBezTo>
                  <a:pt x="1098" y="143"/>
                  <a:pt x="1099" y="143"/>
                  <a:pt x="1099" y="143"/>
                </a:cubicBezTo>
                <a:cubicBezTo>
                  <a:pt x="1100" y="143"/>
                  <a:pt x="1101" y="144"/>
                  <a:pt x="1101" y="144"/>
                </a:cubicBezTo>
                <a:cubicBezTo>
                  <a:pt x="1102" y="144"/>
                  <a:pt x="1102" y="144"/>
                  <a:pt x="1103" y="144"/>
                </a:cubicBezTo>
                <a:cubicBezTo>
                  <a:pt x="1103" y="144"/>
                  <a:pt x="1104" y="144"/>
                  <a:pt x="1104" y="144"/>
                </a:cubicBezTo>
                <a:cubicBezTo>
                  <a:pt x="1105" y="144"/>
                  <a:pt x="1105" y="144"/>
                  <a:pt x="1106" y="144"/>
                </a:cubicBezTo>
                <a:cubicBezTo>
                  <a:pt x="1107" y="144"/>
                  <a:pt x="1108" y="144"/>
                  <a:pt x="1109" y="144"/>
                </a:cubicBezTo>
                <a:cubicBezTo>
                  <a:pt x="1110" y="145"/>
                  <a:pt x="1110" y="145"/>
                  <a:pt x="1111" y="145"/>
                </a:cubicBezTo>
                <a:cubicBezTo>
                  <a:pt x="1110" y="145"/>
                  <a:pt x="1110" y="146"/>
                  <a:pt x="1110" y="146"/>
                </a:cubicBezTo>
                <a:cubicBezTo>
                  <a:pt x="1111" y="146"/>
                  <a:pt x="1111" y="147"/>
                  <a:pt x="1112" y="147"/>
                </a:cubicBezTo>
                <a:cubicBezTo>
                  <a:pt x="1112" y="147"/>
                  <a:pt x="1112" y="147"/>
                  <a:pt x="1113" y="147"/>
                </a:cubicBezTo>
                <a:cubicBezTo>
                  <a:pt x="1113" y="147"/>
                  <a:pt x="1113" y="147"/>
                  <a:pt x="1113" y="148"/>
                </a:cubicBezTo>
                <a:cubicBezTo>
                  <a:pt x="1114" y="148"/>
                  <a:pt x="1114" y="149"/>
                  <a:pt x="1115" y="149"/>
                </a:cubicBezTo>
                <a:cubicBezTo>
                  <a:pt x="1114" y="149"/>
                  <a:pt x="1114" y="149"/>
                  <a:pt x="1114" y="150"/>
                </a:cubicBezTo>
                <a:cubicBezTo>
                  <a:pt x="1114" y="150"/>
                  <a:pt x="1113" y="150"/>
                  <a:pt x="1112" y="149"/>
                </a:cubicBezTo>
                <a:cubicBezTo>
                  <a:pt x="1112" y="150"/>
                  <a:pt x="1112" y="150"/>
                  <a:pt x="1112" y="150"/>
                </a:cubicBezTo>
                <a:cubicBezTo>
                  <a:pt x="1111" y="150"/>
                  <a:pt x="1110" y="150"/>
                  <a:pt x="1110" y="150"/>
                </a:cubicBezTo>
                <a:cubicBezTo>
                  <a:pt x="1110" y="150"/>
                  <a:pt x="1109" y="150"/>
                  <a:pt x="1109" y="150"/>
                </a:cubicBezTo>
                <a:cubicBezTo>
                  <a:pt x="1109" y="150"/>
                  <a:pt x="1109" y="150"/>
                  <a:pt x="1109" y="151"/>
                </a:cubicBezTo>
                <a:cubicBezTo>
                  <a:pt x="1109" y="151"/>
                  <a:pt x="1109" y="151"/>
                  <a:pt x="1109" y="151"/>
                </a:cubicBezTo>
                <a:cubicBezTo>
                  <a:pt x="1109" y="151"/>
                  <a:pt x="1108" y="151"/>
                  <a:pt x="1108" y="151"/>
                </a:cubicBezTo>
                <a:cubicBezTo>
                  <a:pt x="1108" y="151"/>
                  <a:pt x="1108" y="151"/>
                  <a:pt x="1108" y="151"/>
                </a:cubicBezTo>
                <a:cubicBezTo>
                  <a:pt x="1108" y="152"/>
                  <a:pt x="1108" y="152"/>
                  <a:pt x="1108" y="152"/>
                </a:cubicBezTo>
                <a:cubicBezTo>
                  <a:pt x="1108" y="152"/>
                  <a:pt x="1108" y="152"/>
                  <a:pt x="1109" y="153"/>
                </a:cubicBezTo>
                <a:cubicBezTo>
                  <a:pt x="1109" y="153"/>
                  <a:pt x="1110" y="154"/>
                  <a:pt x="1111" y="154"/>
                </a:cubicBezTo>
                <a:cubicBezTo>
                  <a:pt x="1112" y="155"/>
                  <a:pt x="1112" y="155"/>
                  <a:pt x="1113" y="156"/>
                </a:cubicBezTo>
                <a:cubicBezTo>
                  <a:pt x="1113" y="156"/>
                  <a:pt x="1114" y="156"/>
                  <a:pt x="1114" y="156"/>
                </a:cubicBezTo>
                <a:cubicBezTo>
                  <a:pt x="1115" y="156"/>
                  <a:pt x="1115" y="156"/>
                  <a:pt x="1116" y="156"/>
                </a:cubicBezTo>
                <a:cubicBezTo>
                  <a:pt x="1116" y="156"/>
                  <a:pt x="1116" y="156"/>
                  <a:pt x="1116" y="157"/>
                </a:cubicBezTo>
                <a:cubicBezTo>
                  <a:pt x="1116" y="156"/>
                  <a:pt x="1117" y="156"/>
                  <a:pt x="1117" y="156"/>
                </a:cubicBezTo>
                <a:cubicBezTo>
                  <a:pt x="1117" y="156"/>
                  <a:pt x="1118" y="156"/>
                  <a:pt x="1118" y="156"/>
                </a:cubicBezTo>
                <a:cubicBezTo>
                  <a:pt x="1118" y="156"/>
                  <a:pt x="1118" y="156"/>
                  <a:pt x="1118" y="156"/>
                </a:cubicBezTo>
                <a:cubicBezTo>
                  <a:pt x="1119" y="156"/>
                  <a:pt x="1120" y="156"/>
                  <a:pt x="1120" y="156"/>
                </a:cubicBezTo>
                <a:cubicBezTo>
                  <a:pt x="1121" y="155"/>
                  <a:pt x="1121" y="155"/>
                  <a:pt x="1121" y="155"/>
                </a:cubicBezTo>
                <a:cubicBezTo>
                  <a:pt x="1121" y="154"/>
                  <a:pt x="1121" y="154"/>
                  <a:pt x="1121" y="154"/>
                </a:cubicBezTo>
                <a:cubicBezTo>
                  <a:pt x="1121" y="153"/>
                  <a:pt x="1121" y="153"/>
                  <a:pt x="1121" y="153"/>
                </a:cubicBezTo>
                <a:cubicBezTo>
                  <a:pt x="1121" y="153"/>
                  <a:pt x="1121" y="152"/>
                  <a:pt x="1121" y="152"/>
                </a:cubicBezTo>
                <a:cubicBezTo>
                  <a:pt x="1121" y="152"/>
                  <a:pt x="1121" y="152"/>
                  <a:pt x="1121" y="151"/>
                </a:cubicBezTo>
                <a:cubicBezTo>
                  <a:pt x="1121" y="151"/>
                  <a:pt x="1121" y="151"/>
                  <a:pt x="1121" y="151"/>
                </a:cubicBezTo>
                <a:cubicBezTo>
                  <a:pt x="1122" y="151"/>
                  <a:pt x="1123" y="151"/>
                  <a:pt x="1124" y="151"/>
                </a:cubicBezTo>
                <a:cubicBezTo>
                  <a:pt x="1125" y="151"/>
                  <a:pt x="1125" y="151"/>
                  <a:pt x="1125" y="151"/>
                </a:cubicBezTo>
                <a:cubicBezTo>
                  <a:pt x="1125" y="151"/>
                  <a:pt x="1126" y="151"/>
                  <a:pt x="1127" y="151"/>
                </a:cubicBezTo>
                <a:cubicBezTo>
                  <a:pt x="1127" y="151"/>
                  <a:pt x="1127" y="151"/>
                  <a:pt x="1127" y="151"/>
                </a:cubicBezTo>
                <a:cubicBezTo>
                  <a:pt x="1126" y="151"/>
                  <a:pt x="1126" y="150"/>
                  <a:pt x="1125" y="150"/>
                </a:cubicBezTo>
                <a:cubicBezTo>
                  <a:pt x="1125" y="150"/>
                  <a:pt x="1125" y="150"/>
                  <a:pt x="1125" y="149"/>
                </a:cubicBezTo>
                <a:cubicBezTo>
                  <a:pt x="1125" y="149"/>
                  <a:pt x="1125" y="149"/>
                  <a:pt x="1125" y="149"/>
                </a:cubicBezTo>
                <a:cubicBezTo>
                  <a:pt x="1125" y="150"/>
                  <a:pt x="1126" y="150"/>
                  <a:pt x="1126" y="150"/>
                </a:cubicBezTo>
                <a:cubicBezTo>
                  <a:pt x="1126" y="150"/>
                  <a:pt x="1127" y="150"/>
                  <a:pt x="1127" y="150"/>
                </a:cubicBezTo>
                <a:cubicBezTo>
                  <a:pt x="1128" y="149"/>
                  <a:pt x="1129" y="149"/>
                  <a:pt x="1129" y="148"/>
                </a:cubicBezTo>
                <a:cubicBezTo>
                  <a:pt x="1130" y="148"/>
                  <a:pt x="1130" y="148"/>
                  <a:pt x="1130" y="148"/>
                </a:cubicBezTo>
                <a:cubicBezTo>
                  <a:pt x="1131" y="148"/>
                  <a:pt x="1132" y="147"/>
                  <a:pt x="1133" y="147"/>
                </a:cubicBezTo>
                <a:cubicBezTo>
                  <a:pt x="1133" y="146"/>
                  <a:pt x="1133" y="146"/>
                  <a:pt x="1133" y="146"/>
                </a:cubicBezTo>
                <a:cubicBezTo>
                  <a:pt x="1133" y="146"/>
                  <a:pt x="1133" y="146"/>
                  <a:pt x="1133" y="146"/>
                </a:cubicBezTo>
                <a:cubicBezTo>
                  <a:pt x="1134" y="146"/>
                  <a:pt x="1134" y="146"/>
                  <a:pt x="1135" y="146"/>
                </a:cubicBezTo>
                <a:cubicBezTo>
                  <a:pt x="1135" y="146"/>
                  <a:pt x="1136" y="146"/>
                  <a:pt x="1136" y="146"/>
                </a:cubicBezTo>
                <a:cubicBezTo>
                  <a:pt x="1136" y="146"/>
                  <a:pt x="1136" y="146"/>
                  <a:pt x="1137" y="145"/>
                </a:cubicBezTo>
                <a:cubicBezTo>
                  <a:pt x="1137" y="145"/>
                  <a:pt x="1138" y="145"/>
                  <a:pt x="1139" y="145"/>
                </a:cubicBezTo>
                <a:cubicBezTo>
                  <a:pt x="1139" y="145"/>
                  <a:pt x="1139" y="146"/>
                  <a:pt x="1139" y="146"/>
                </a:cubicBezTo>
                <a:cubicBezTo>
                  <a:pt x="1139" y="146"/>
                  <a:pt x="1139" y="146"/>
                  <a:pt x="1139" y="146"/>
                </a:cubicBezTo>
                <a:cubicBezTo>
                  <a:pt x="1139" y="146"/>
                  <a:pt x="1139" y="146"/>
                  <a:pt x="1140" y="146"/>
                </a:cubicBezTo>
                <a:cubicBezTo>
                  <a:pt x="1139" y="147"/>
                  <a:pt x="1139" y="147"/>
                  <a:pt x="1139" y="147"/>
                </a:cubicBezTo>
                <a:cubicBezTo>
                  <a:pt x="1139" y="147"/>
                  <a:pt x="1139" y="147"/>
                  <a:pt x="1140" y="147"/>
                </a:cubicBezTo>
                <a:cubicBezTo>
                  <a:pt x="1140" y="147"/>
                  <a:pt x="1141" y="147"/>
                  <a:pt x="1141" y="147"/>
                </a:cubicBezTo>
                <a:cubicBezTo>
                  <a:pt x="1141" y="146"/>
                  <a:pt x="1141" y="146"/>
                  <a:pt x="1141" y="146"/>
                </a:cubicBezTo>
                <a:cubicBezTo>
                  <a:pt x="1141" y="146"/>
                  <a:pt x="1141" y="146"/>
                  <a:pt x="1141" y="146"/>
                </a:cubicBezTo>
                <a:cubicBezTo>
                  <a:pt x="1140" y="146"/>
                  <a:pt x="1140" y="145"/>
                  <a:pt x="1140" y="145"/>
                </a:cubicBezTo>
                <a:cubicBezTo>
                  <a:pt x="1140" y="145"/>
                  <a:pt x="1140" y="145"/>
                  <a:pt x="1140" y="145"/>
                </a:cubicBezTo>
                <a:cubicBezTo>
                  <a:pt x="1141" y="144"/>
                  <a:pt x="1141" y="144"/>
                  <a:pt x="1142" y="144"/>
                </a:cubicBezTo>
                <a:cubicBezTo>
                  <a:pt x="1142" y="144"/>
                  <a:pt x="1142" y="144"/>
                  <a:pt x="1142" y="144"/>
                </a:cubicBezTo>
                <a:cubicBezTo>
                  <a:pt x="1142" y="144"/>
                  <a:pt x="1143" y="144"/>
                  <a:pt x="1143" y="144"/>
                </a:cubicBezTo>
                <a:cubicBezTo>
                  <a:pt x="1142" y="144"/>
                  <a:pt x="1142" y="144"/>
                  <a:pt x="1142" y="144"/>
                </a:cubicBezTo>
                <a:cubicBezTo>
                  <a:pt x="1142" y="144"/>
                  <a:pt x="1142" y="144"/>
                  <a:pt x="1142" y="145"/>
                </a:cubicBezTo>
                <a:cubicBezTo>
                  <a:pt x="1142" y="145"/>
                  <a:pt x="1142" y="145"/>
                  <a:pt x="1143" y="145"/>
                </a:cubicBezTo>
                <a:cubicBezTo>
                  <a:pt x="1143" y="145"/>
                  <a:pt x="1143" y="145"/>
                  <a:pt x="1143" y="145"/>
                </a:cubicBezTo>
                <a:cubicBezTo>
                  <a:pt x="1144" y="145"/>
                  <a:pt x="1144" y="145"/>
                  <a:pt x="1144" y="145"/>
                </a:cubicBezTo>
                <a:cubicBezTo>
                  <a:pt x="1144" y="145"/>
                  <a:pt x="1144" y="145"/>
                  <a:pt x="1144" y="144"/>
                </a:cubicBezTo>
                <a:cubicBezTo>
                  <a:pt x="1144" y="144"/>
                  <a:pt x="1144" y="144"/>
                  <a:pt x="1143" y="144"/>
                </a:cubicBezTo>
                <a:cubicBezTo>
                  <a:pt x="1143" y="144"/>
                  <a:pt x="1143" y="143"/>
                  <a:pt x="1143" y="143"/>
                </a:cubicBezTo>
                <a:cubicBezTo>
                  <a:pt x="1143" y="143"/>
                  <a:pt x="1144" y="143"/>
                  <a:pt x="1144" y="143"/>
                </a:cubicBezTo>
                <a:cubicBezTo>
                  <a:pt x="1145" y="143"/>
                  <a:pt x="1146" y="143"/>
                  <a:pt x="1147" y="142"/>
                </a:cubicBezTo>
                <a:cubicBezTo>
                  <a:pt x="1148" y="142"/>
                  <a:pt x="1149" y="142"/>
                  <a:pt x="1149" y="142"/>
                </a:cubicBezTo>
                <a:cubicBezTo>
                  <a:pt x="1149" y="143"/>
                  <a:pt x="1149" y="143"/>
                  <a:pt x="1150" y="143"/>
                </a:cubicBezTo>
                <a:cubicBezTo>
                  <a:pt x="1149" y="143"/>
                  <a:pt x="1149" y="143"/>
                  <a:pt x="1148" y="143"/>
                </a:cubicBezTo>
                <a:cubicBezTo>
                  <a:pt x="1148" y="143"/>
                  <a:pt x="1148" y="143"/>
                  <a:pt x="1147" y="143"/>
                </a:cubicBezTo>
                <a:cubicBezTo>
                  <a:pt x="1147" y="143"/>
                  <a:pt x="1146" y="143"/>
                  <a:pt x="1145" y="143"/>
                </a:cubicBezTo>
                <a:cubicBezTo>
                  <a:pt x="1145" y="143"/>
                  <a:pt x="1145" y="144"/>
                  <a:pt x="1146" y="144"/>
                </a:cubicBezTo>
                <a:cubicBezTo>
                  <a:pt x="1146" y="144"/>
                  <a:pt x="1146" y="144"/>
                  <a:pt x="1146" y="144"/>
                </a:cubicBezTo>
                <a:cubicBezTo>
                  <a:pt x="1147" y="144"/>
                  <a:pt x="1147" y="144"/>
                  <a:pt x="1147" y="144"/>
                </a:cubicBezTo>
                <a:cubicBezTo>
                  <a:pt x="1147" y="144"/>
                  <a:pt x="1148" y="144"/>
                  <a:pt x="1148" y="145"/>
                </a:cubicBezTo>
                <a:cubicBezTo>
                  <a:pt x="1148" y="145"/>
                  <a:pt x="1148" y="145"/>
                  <a:pt x="1148" y="145"/>
                </a:cubicBezTo>
                <a:cubicBezTo>
                  <a:pt x="1147" y="145"/>
                  <a:pt x="1147" y="145"/>
                  <a:pt x="1147" y="145"/>
                </a:cubicBezTo>
                <a:cubicBezTo>
                  <a:pt x="1147" y="145"/>
                  <a:pt x="1148" y="146"/>
                  <a:pt x="1148" y="146"/>
                </a:cubicBezTo>
                <a:cubicBezTo>
                  <a:pt x="1148" y="146"/>
                  <a:pt x="1148" y="146"/>
                  <a:pt x="1147" y="146"/>
                </a:cubicBezTo>
                <a:cubicBezTo>
                  <a:pt x="1147" y="146"/>
                  <a:pt x="1147" y="146"/>
                  <a:pt x="1146" y="146"/>
                </a:cubicBezTo>
                <a:cubicBezTo>
                  <a:pt x="1146" y="147"/>
                  <a:pt x="1145" y="147"/>
                  <a:pt x="1145" y="147"/>
                </a:cubicBezTo>
                <a:cubicBezTo>
                  <a:pt x="1145" y="147"/>
                  <a:pt x="1145" y="147"/>
                  <a:pt x="1145" y="148"/>
                </a:cubicBezTo>
                <a:cubicBezTo>
                  <a:pt x="1145" y="148"/>
                  <a:pt x="1146" y="148"/>
                  <a:pt x="1146" y="148"/>
                </a:cubicBezTo>
                <a:cubicBezTo>
                  <a:pt x="1146" y="148"/>
                  <a:pt x="1147" y="148"/>
                  <a:pt x="1147" y="148"/>
                </a:cubicBezTo>
                <a:cubicBezTo>
                  <a:pt x="1147" y="148"/>
                  <a:pt x="1147" y="148"/>
                  <a:pt x="1148" y="148"/>
                </a:cubicBezTo>
                <a:cubicBezTo>
                  <a:pt x="1148" y="148"/>
                  <a:pt x="1148" y="148"/>
                  <a:pt x="1148" y="148"/>
                </a:cubicBezTo>
                <a:cubicBezTo>
                  <a:pt x="1149" y="148"/>
                  <a:pt x="1149" y="148"/>
                  <a:pt x="1150" y="148"/>
                </a:cubicBezTo>
                <a:cubicBezTo>
                  <a:pt x="1150" y="148"/>
                  <a:pt x="1150" y="149"/>
                  <a:pt x="1150" y="149"/>
                </a:cubicBezTo>
                <a:cubicBezTo>
                  <a:pt x="1150" y="149"/>
                  <a:pt x="1150" y="148"/>
                  <a:pt x="1150" y="148"/>
                </a:cubicBezTo>
                <a:cubicBezTo>
                  <a:pt x="1151" y="148"/>
                  <a:pt x="1151" y="148"/>
                  <a:pt x="1152" y="147"/>
                </a:cubicBezTo>
                <a:cubicBezTo>
                  <a:pt x="1152" y="147"/>
                  <a:pt x="1152" y="147"/>
                  <a:pt x="1152" y="147"/>
                </a:cubicBezTo>
                <a:cubicBezTo>
                  <a:pt x="1152" y="148"/>
                  <a:pt x="1152" y="148"/>
                  <a:pt x="1153" y="148"/>
                </a:cubicBezTo>
                <a:cubicBezTo>
                  <a:pt x="1153" y="148"/>
                  <a:pt x="1153" y="148"/>
                  <a:pt x="1153" y="148"/>
                </a:cubicBezTo>
                <a:cubicBezTo>
                  <a:pt x="1154" y="148"/>
                  <a:pt x="1154" y="148"/>
                  <a:pt x="1154" y="148"/>
                </a:cubicBezTo>
                <a:cubicBezTo>
                  <a:pt x="1154" y="148"/>
                  <a:pt x="1154" y="148"/>
                  <a:pt x="1154" y="148"/>
                </a:cubicBezTo>
                <a:cubicBezTo>
                  <a:pt x="1154" y="148"/>
                  <a:pt x="1154" y="147"/>
                  <a:pt x="1154" y="147"/>
                </a:cubicBezTo>
                <a:cubicBezTo>
                  <a:pt x="1154" y="147"/>
                  <a:pt x="1153" y="147"/>
                  <a:pt x="1153" y="147"/>
                </a:cubicBezTo>
                <a:cubicBezTo>
                  <a:pt x="1153" y="147"/>
                  <a:pt x="1153" y="147"/>
                  <a:pt x="1153" y="146"/>
                </a:cubicBezTo>
                <a:cubicBezTo>
                  <a:pt x="1154" y="146"/>
                  <a:pt x="1154" y="146"/>
                  <a:pt x="1154" y="146"/>
                </a:cubicBezTo>
                <a:cubicBezTo>
                  <a:pt x="1155" y="146"/>
                  <a:pt x="1155" y="146"/>
                  <a:pt x="1155" y="146"/>
                </a:cubicBezTo>
                <a:cubicBezTo>
                  <a:pt x="1156" y="146"/>
                  <a:pt x="1156" y="146"/>
                  <a:pt x="1156" y="146"/>
                </a:cubicBezTo>
                <a:cubicBezTo>
                  <a:pt x="1156" y="145"/>
                  <a:pt x="1157" y="145"/>
                  <a:pt x="1157" y="145"/>
                </a:cubicBezTo>
                <a:cubicBezTo>
                  <a:pt x="1158" y="145"/>
                  <a:pt x="1158" y="145"/>
                  <a:pt x="1158" y="145"/>
                </a:cubicBezTo>
                <a:cubicBezTo>
                  <a:pt x="1158" y="146"/>
                  <a:pt x="1159" y="146"/>
                  <a:pt x="1159" y="146"/>
                </a:cubicBezTo>
                <a:cubicBezTo>
                  <a:pt x="1159" y="146"/>
                  <a:pt x="1159" y="146"/>
                  <a:pt x="1159" y="145"/>
                </a:cubicBezTo>
                <a:cubicBezTo>
                  <a:pt x="1160" y="146"/>
                  <a:pt x="1160" y="146"/>
                  <a:pt x="1160" y="146"/>
                </a:cubicBezTo>
                <a:cubicBezTo>
                  <a:pt x="1161" y="146"/>
                  <a:pt x="1162" y="146"/>
                  <a:pt x="1163" y="146"/>
                </a:cubicBezTo>
                <a:cubicBezTo>
                  <a:pt x="1163" y="146"/>
                  <a:pt x="1163" y="146"/>
                  <a:pt x="1164" y="146"/>
                </a:cubicBezTo>
                <a:cubicBezTo>
                  <a:pt x="1164" y="146"/>
                  <a:pt x="1164" y="145"/>
                  <a:pt x="1164" y="145"/>
                </a:cubicBezTo>
                <a:cubicBezTo>
                  <a:pt x="1164" y="145"/>
                  <a:pt x="1164" y="145"/>
                  <a:pt x="1164" y="145"/>
                </a:cubicBezTo>
                <a:cubicBezTo>
                  <a:pt x="1165" y="145"/>
                  <a:pt x="1165" y="145"/>
                  <a:pt x="1166" y="145"/>
                </a:cubicBezTo>
                <a:cubicBezTo>
                  <a:pt x="1166" y="145"/>
                  <a:pt x="1166" y="145"/>
                  <a:pt x="1166" y="145"/>
                </a:cubicBezTo>
                <a:cubicBezTo>
                  <a:pt x="1166" y="144"/>
                  <a:pt x="1167" y="144"/>
                  <a:pt x="1167" y="144"/>
                </a:cubicBezTo>
                <a:cubicBezTo>
                  <a:pt x="1168" y="144"/>
                  <a:pt x="1168" y="144"/>
                  <a:pt x="1168" y="144"/>
                </a:cubicBezTo>
                <a:cubicBezTo>
                  <a:pt x="1169" y="144"/>
                  <a:pt x="1169" y="144"/>
                  <a:pt x="1170" y="143"/>
                </a:cubicBezTo>
                <a:cubicBezTo>
                  <a:pt x="1170" y="143"/>
                  <a:pt x="1170" y="143"/>
                  <a:pt x="1170" y="143"/>
                </a:cubicBezTo>
                <a:cubicBezTo>
                  <a:pt x="1171" y="143"/>
                  <a:pt x="1171" y="143"/>
                  <a:pt x="1171" y="143"/>
                </a:cubicBezTo>
                <a:cubicBezTo>
                  <a:pt x="1171" y="143"/>
                  <a:pt x="1171" y="143"/>
                  <a:pt x="1172" y="143"/>
                </a:cubicBezTo>
                <a:cubicBezTo>
                  <a:pt x="1171" y="144"/>
                  <a:pt x="1171" y="144"/>
                  <a:pt x="1171" y="144"/>
                </a:cubicBezTo>
                <a:cubicBezTo>
                  <a:pt x="1171" y="144"/>
                  <a:pt x="1171" y="144"/>
                  <a:pt x="1171" y="144"/>
                </a:cubicBezTo>
                <a:cubicBezTo>
                  <a:pt x="1172" y="145"/>
                  <a:pt x="1172" y="145"/>
                  <a:pt x="1173" y="145"/>
                </a:cubicBezTo>
                <a:cubicBezTo>
                  <a:pt x="1172" y="145"/>
                  <a:pt x="1172" y="145"/>
                  <a:pt x="1172" y="146"/>
                </a:cubicBezTo>
                <a:cubicBezTo>
                  <a:pt x="1172" y="146"/>
                  <a:pt x="1172" y="146"/>
                  <a:pt x="1171" y="146"/>
                </a:cubicBezTo>
                <a:cubicBezTo>
                  <a:pt x="1172" y="146"/>
                  <a:pt x="1172" y="147"/>
                  <a:pt x="1172" y="147"/>
                </a:cubicBezTo>
                <a:cubicBezTo>
                  <a:pt x="1172" y="147"/>
                  <a:pt x="1172" y="147"/>
                  <a:pt x="1172" y="147"/>
                </a:cubicBezTo>
                <a:cubicBezTo>
                  <a:pt x="1172" y="148"/>
                  <a:pt x="1172" y="148"/>
                  <a:pt x="1172" y="148"/>
                </a:cubicBezTo>
                <a:cubicBezTo>
                  <a:pt x="1173" y="148"/>
                  <a:pt x="1174" y="148"/>
                  <a:pt x="1175" y="148"/>
                </a:cubicBezTo>
                <a:cubicBezTo>
                  <a:pt x="1175" y="148"/>
                  <a:pt x="1176" y="148"/>
                  <a:pt x="1176" y="148"/>
                </a:cubicBezTo>
                <a:cubicBezTo>
                  <a:pt x="1176" y="148"/>
                  <a:pt x="1176" y="148"/>
                  <a:pt x="1176" y="148"/>
                </a:cubicBezTo>
                <a:cubicBezTo>
                  <a:pt x="1176" y="147"/>
                  <a:pt x="1176" y="147"/>
                  <a:pt x="1175" y="147"/>
                </a:cubicBezTo>
                <a:cubicBezTo>
                  <a:pt x="1175" y="147"/>
                  <a:pt x="1175" y="147"/>
                  <a:pt x="1174" y="146"/>
                </a:cubicBezTo>
                <a:cubicBezTo>
                  <a:pt x="1174" y="146"/>
                  <a:pt x="1174" y="146"/>
                  <a:pt x="1175" y="146"/>
                </a:cubicBezTo>
                <a:cubicBezTo>
                  <a:pt x="1175" y="146"/>
                  <a:pt x="1175" y="146"/>
                  <a:pt x="1175" y="145"/>
                </a:cubicBezTo>
                <a:cubicBezTo>
                  <a:pt x="1176" y="146"/>
                  <a:pt x="1176" y="146"/>
                  <a:pt x="1177" y="146"/>
                </a:cubicBezTo>
                <a:cubicBezTo>
                  <a:pt x="1177" y="146"/>
                  <a:pt x="1178" y="146"/>
                  <a:pt x="1178" y="146"/>
                </a:cubicBezTo>
                <a:cubicBezTo>
                  <a:pt x="1178" y="145"/>
                  <a:pt x="1179" y="145"/>
                  <a:pt x="1179" y="145"/>
                </a:cubicBezTo>
                <a:cubicBezTo>
                  <a:pt x="1179" y="145"/>
                  <a:pt x="1179" y="145"/>
                  <a:pt x="1180" y="145"/>
                </a:cubicBezTo>
                <a:cubicBezTo>
                  <a:pt x="1180" y="145"/>
                  <a:pt x="1180" y="145"/>
                  <a:pt x="1180" y="145"/>
                </a:cubicBezTo>
                <a:cubicBezTo>
                  <a:pt x="1181" y="145"/>
                  <a:pt x="1181" y="145"/>
                  <a:pt x="1182" y="145"/>
                </a:cubicBezTo>
                <a:cubicBezTo>
                  <a:pt x="1181" y="145"/>
                  <a:pt x="1181" y="145"/>
                  <a:pt x="1180" y="144"/>
                </a:cubicBezTo>
                <a:cubicBezTo>
                  <a:pt x="1180" y="144"/>
                  <a:pt x="1179" y="144"/>
                  <a:pt x="1179" y="144"/>
                </a:cubicBezTo>
                <a:cubicBezTo>
                  <a:pt x="1179" y="144"/>
                  <a:pt x="1179" y="143"/>
                  <a:pt x="1179" y="143"/>
                </a:cubicBezTo>
                <a:cubicBezTo>
                  <a:pt x="1179" y="143"/>
                  <a:pt x="1178" y="142"/>
                  <a:pt x="1178" y="142"/>
                </a:cubicBezTo>
                <a:cubicBezTo>
                  <a:pt x="1178" y="142"/>
                  <a:pt x="1178" y="142"/>
                  <a:pt x="1177" y="142"/>
                </a:cubicBezTo>
                <a:cubicBezTo>
                  <a:pt x="1177" y="142"/>
                  <a:pt x="1177" y="142"/>
                  <a:pt x="1177" y="142"/>
                </a:cubicBezTo>
                <a:cubicBezTo>
                  <a:pt x="1177" y="142"/>
                  <a:pt x="1177" y="142"/>
                  <a:pt x="1177" y="142"/>
                </a:cubicBezTo>
                <a:cubicBezTo>
                  <a:pt x="1176" y="141"/>
                  <a:pt x="1176" y="141"/>
                  <a:pt x="1176" y="140"/>
                </a:cubicBezTo>
                <a:cubicBezTo>
                  <a:pt x="1176" y="140"/>
                  <a:pt x="1176" y="140"/>
                  <a:pt x="1175" y="140"/>
                </a:cubicBezTo>
                <a:cubicBezTo>
                  <a:pt x="1175" y="139"/>
                  <a:pt x="1175" y="139"/>
                  <a:pt x="1175" y="139"/>
                </a:cubicBezTo>
                <a:cubicBezTo>
                  <a:pt x="1175" y="139"/>
                  <a:pt x="1175" y="139"/>
                  <a:pt x="1175" y="139"/>
                </a:cubicBezTo>
                <a:cubicBezTo>
                  <a:pt x="1175" y="138"/>
                  <a:pt x="1175" y="138"/>
                  <a:pt x="1176" y="138"/>
                </a:cubicBezTo>
                <a:cubicBezTo>
                  <a:pt x="1176" y="138"/>
                  <a:pt x="1176" y="138"/>
                  <a:pt x="1176" y="138"/>
                </a:cubicBezTo>
                <a:cubicBezTo>
                  <a:pt x="1176" y="138"/>
                  <a:pt x="1176" y="137"/>
                  <a:pt x="1175" y="137"/>
                </a:cubicBezTo>
                <a:cubicBezTo>
                  <a:pt x="1176" y="137"/>
                  <a:pt x="1176" y="137"/>
                  <a:pt x="1176" y="137"/>
                </a:cubicBezTo>
                <a:cubicBezTo>
                  <a:pt x="1177" y="137"/>
                  <a:pt x="1177" y="137"/>
                  <a:pt x="1177" y="137"/>
                </a:cubicBezTo>
                <a:cubicBezTo>
                  <a:pt x="1177" y="137"/>
                  <a:pt x="1178" y="137"/>
                  <a:pt x="1178" y="137"/>
                </a:cubicBezTo>
                <a:cubicBezTo>
                  <a:pt x="1178" y="137"/>
                  <a:pt x="1178" y="137"/>
                  <a:pt x="1179" y="137"/>
                </a:cubicBezTo>
                <a:cubicBezTo>
                  <a:pt x="1179" y="137"/>
                  <a:pt x="1179" y="137"/>
                  <a:pt x="1180" y="137"/>
                </a:cubicBezTo>
                <a:cubicBezTo>
                  <a:pt x="1180" y="137"/>
                  <a:pt x="1181" y="138"/>
                  <a:pt x="1181" y="138"/>
                </a:cubicBezTo>
                <a:cubicBezTo>
                  <a:pt x="1182" y="138"/>
                  <a:pt x="1184" y="138"/>
                  <a:pt x="1185" y="138"/>
                </a:cubicBezTo>
                <a:cubicBezTo>
                  <a:pt x="1187" y="138"/>
                  <a:pt x="1189" y="138"/>
                  <a:pt x="1191" y="139"/>
                </a:cubicBezTo>
                <a:cubicBezTo>
                  <a:pt x="1191" y="139"/>
                  <a:pt x="1192" y="139"/>
                  <a:pt x="1193" y="140"/>
                </a:cubicBezTo>
                <a:cubicBezTo>
                  <a:pt x="1194" y="140"/>
                  <a:pt x="1195" y="141"/>
                  <a:pt x="1196" y="141"/>
                </a:cubicBezTo>
                <a:cubicBezTo>
                  <a:pt x="1196" y="141"/>
                  <a:pt x="1196" y="141"/>
                  <a:pt x="1196" y="141"/>
                </a:cubicBezTo>
                <a:cubicBezTo>
                  <a:pt x="1196" y="142"/>
                  <a:pt x="1196" y="142"/>
                  <a:pt x="1196" y="142"/>
                </a:cubicBezTo>
                <a:cubicBezTo>
                  <a:pt x="1196" y="142"/>
                  <a:pt x="1196" y="142"/>
                  <a:pt x="1196" y="143"/>
                </a:cubicBezTo>
                <a:cubicBezTo>
                  <a:pt x="1197" y="143"/>
                  <a:pt x="1197" y="142"/>
                  <a:pt x="1198" y="142"/>
                </a:cubicBezTo>
                <a:cubicBezTo>
                  <a:pt x="1198" y="142"/>
                  <a:pt x="1199" y="142"/>
                  <a:pt x="1199" y="142"/>
                </a:cubicBezTo>
                <a:cubicBezTo>
                  <a:pt x="1200" y="142"/>
                  <a:pt x="1200" y="143"/>
                  <a:pt x="1200" y="143"/>
                </a:cubicBezTo>
                <a:cubicBezTo>
                  <a:pt x="1200" y="143"/>
                  <a:pt x="1201" y="143"/>
                  <a:pt x="1201" y="143"/>
                </a:cubicBezTo>
                <a:cubicBezTo>
                  <a:pt x="1201" y="143"/>
                  <a:pt x="1201" y="143"/>
                  <a:pt x="1201" y="144"/>
                </a:cubicBezTo>
                <a:cubicBezTo>
                  <a:pt x="1202" y="144"/>
                  <a:pt x="1202" y="144"/>
                  <a:pt x="1203" y="144"/>
                </a:cubicBezTo>
                <a:cubicBezTo>
                  <a:pt x="1204" y="145"/>
                  <a:pt x="1205" y="145"/>
                  <a:pt x="1206" y="146"/>
                </a:cubicBezTo>
                <a:cubicBezTo>
                  <a:pt x="1207" y="146"/>
                  <a:pt x="1208" y="146"/>
                  <a:pt x="1209" y="146"/>
                </a:cubicBezTo>
                <a:cubicBezTo>
                  <a:pt x="1210" y="146"/>
                  <a:pt x="1210" y="147"/>
                  <a:pt x="1210" y="147"/>
                </a:cubicBezTo>
                <a:cubicBezTo>
                  <a:pt x="1211" y="147"/>
                  <a:pt x="1211" y="148"/>
                  <a:pt x="1211" y="148"/>
                </a:cubicBezTo>
                <a:cubicBezTo>
                  <a:pt x="1212" y="148"/>
                  <a:pt x="1212" y="148"/>
                  <a:pt x="1213" y="149"/>
                </a:cubicBezTo>
                <a:cubicBezTo>
                  <a:pt x="1213" y="149"/>
                  <a:pt x="1214" y="149"/>
                  <a:pt x="1214" y="150"/>
                </a:cubicBezTo>
                <a:cubicBezTo>
                  <a:pt x="1215" y="150"/>
                  <a:pt x="1215" y="151"/>
                  <a:pt x="1215" y="151"/>
                </a:cubicBezTo>
                <a:cubicBezTo>
                  <a:pt x="1216" y="152"/>
                  <a:pt x="1216" y="152"/>
                  <a:pt x="1217" y="152"/>
                </a:cubicBezTo>
                <a:cubicBezTo>
                  <a:pt x="1217" y="152"/>
                  <a:pt x="1217" y="151"/>
                  <a:pt x="1217" y="151"/>
                </a:cubicBezTo>
                <a:cubicBezTo>
                  <a:pt x="1217" y="151"/>
                  <a:pt x="1217" y="151"/>
                  <a:pt x="1217" y="150"/>
                </a:cubicBezTo>
                <a:cubicBezTo>
                  <a:pt x="1217" y="150"/>
                  <a:pt x="1217" y="150"/>
                  <a:pt x="1217" y="150"/>
                </a:cubicBezTo>
                <a:cubicBezTo>
                  <a:pt x="1217" y="150"/>
                  <a:pt x="1217" y="150"/>
                  <a:pt x="1218" y="150"/>
                </a:cubicBezTo>
                <a:cubicBezTo>
                  <a:pt x="1217" y="150"/>
                  <a:pt x="1217" y="149"/>
                  <a:pt x="1217" y="149"/>
                </a:cubicBezTo>
                <a:cubicBezTo>
                  <a:pt x="1217" y="149"/>
                  <a:pt x="1217" y="149"/>
                  <a:pt x="1217" y="149"/>
                </a:cubicBezTo>
                <a:cubicBezTo>
                  <a:pt x="1217" y="148"/>
                  <a:pt x="1217" y="147"/>
                  <a:pt x="1218" y="147"/>
                </a:cubicBezTo>
                <a:cubicBezTo>
                  <a:pt x="1218" y="146"/>
                  <a:pt x="1218" y="146"/>
                  <a:pt x="1219" y="146"/>
                </a:cubicBezTo>
                <a:cubicBezTo>
                  <a:pt x="1218" y="146"/>
                  <a:pt x="1218" y="146"/>
                  <a:pt x="1218" y="146"/>
                </a:cubicBezTo>
                <a:cubicBezTo>
                  <a:pt x="1218" y="146"/>
                  <a:pt x="1218" y="146"/>
                  <a:pt x="1217" y="146"/>
                </a:cubicBezTo>
                <a:cubicBezTo>
                  <a:pt x="1217" y="146"/>
                  <a:pt x="1217" y="146"/>
                  <a:pt x="1216" y="146"/>
                </a:cubicBezTo>
                <a:cubicBezTo>
                  <a:pt x="1216" y="146"/>
                  <a:pt x="1216" y="146"/>
                  <a:pt x="1215" y="146"/>
                </a:cubicBezTo>
                <a:cubicBezTo>
                  <a:pt x="1215" y="146"/>
                  <a:pt x="1215" y="146"/>
                  <a:pt x="1214" y="146"/>
                </a:cubicBezTo>
                <a:cubicBezTo>
                  <a:pt x="1214" y="145"/>
                  <a:pt x="1213" y="144"/>
                  <a:pt x="1212" y="143"/>
                </a:cubicBezTo>
                <a:cubicBezTo>
                  <a:pt x="1212" y="143"/>
                  <a:pt x="1212" y="143"/>
                  <a:pt x="1212" y="143"/>
                </a:cubicBezTo>
                <a:cubicBezTo>
                  <a:pt x="1211" y="143"/>
                  <a:pt x="1211" y="143"/>
                  <a:pt x="1211" y="142"/>
                </a:cubicBezTo>
                <a:cubicBezTo>
                  <a:pt x="1211" y="142"/>
                  <a:pt x="1211" y="142"/>
                  <a:pt x="1211" y="141"/>
                </a:cubicBezTo>
                <a:cubicBezTo>
                  <a:pt x="1211" y="141"/>
                  <a:pt x="1211" y="141"/>
                  <a:pt x="1210" y="141"/>
                </a:cubicBezTo>
                <a:cubicBezTo>
                  <a:pt x="1210" y="141"/>
                  <a:pt x="1210" y="141"/>
                  <a:pt x="1209" y="142"/>
                </a:cubicBezTo>
                <a:cubicBezTo>
                  <a:pt x="1209" y="141"/>
                  <a:pt x="1208" y="141"/>
                  <a:pt x="1208" y="141"/>
                </a:cubicBezTo>
                <a:cubicBezTo>
                  <a:pt x="1208" y="141"/>
                  <a:pt x="1207" y="141"/>
                  <a:pt x="1207" y="141"/>
                </a:cubicBezTo>
                <a:cubicBezTo>
                  <a:pt x="1206" y="140"/>
                  <a:pt x="1206" y="140"/>
                  <a:pt x="1206" y="140"/>
                </a:cubicBezTo>
                <a:cubicBezTo>
                  <a:pt x="1205" y="140"/>
                  <a:pt x="1205" y="140"/>
                  <a:pt x="1205" y="141"/>
                </a:cubicBezTo>
                <a:cubicBezTo>
                  <a:pt x="1205" y="140"/>
                  <a:pt x="1205" y="140"/>
                  <a:pt x="1205" y="139"/>
                </a:cubicBezTo>
                <a:cubicBezTo>
                  <a:pt x="1204" y="139"/>
                  <a:pt x="1204" y="139"/>
                  <a:pt x="1204" y="139"/>
                </a:cubicBezTo>
                <a:cubicBezTo>
                  <a:pt x="1204" y="138"/>
                  <a:pt x="1203" y="137"/>
                  <a:pt x="1203" y="137"/>
                </a:cubicBezTo>
                <a:cubicBezTo>
                  <a:pt x="1203" y="137"/>
                  <a:pt x="1203" y="137"/>
                  <a:pt x="1203" y="136"/>
                </a:cubicBezTo>
                <a:cubicBezTo>
                  <a:pt x="1203" y="137"/>
                  <a:pt x="1204" y="137"/>
                  <a:pt x="1204" y="137"/>
                </a:cubicBezTo>
                <a:cubicBezTo>
                  <a:pt x="1204" y="137"/>
                  <a:pt x="1205" y="137"/>
                  <a:pt x="1205" y="136"/>
                </a:cubicBezTo>
                <a:cubicBezTo>
                  <a:pt x="1205" y="136"/>
                  <a:pt x="1205" y="136"/>
                  <a:pt x="1205" y="136"/>
                </a:cubicBezTo>
                <a:cubicBezTo>
                  <a:pt x="1205" y="135"/>
                  <a:pt x="1204" y="135"/>
                  <a:pt x="1203" y="135"/>
                </a:cubicBezTo>
                <a:cubicBezTo>
                  <a:pt x="1203" y="134"/>
                  <a:pt x="1203" y="134"/>
                  <a:pt x="1203" y="134"/>
                </a:cubicBezTo>
                <a:cubicBezTo>
                  <a:pt x="1204" y="133"/>
                  <a:pt x="1204" y="133"/>
                  <a:pt x="1204" y="133"/>
                </a:cubicBezTo>
                <a:cubicBezTo>
                  <a:pt x="1205" y="133"/>
                  <a:pt x="1205" y="133"/>
                  <a:pt x="1205" y="133"/>
                </a:cubicBezTo>
                <a:cubicBezTo>
                  <a:pt x="1205" y="133"/>
                  <a:pt x="1205" y="133"/>
                  <a:pt x="1204" y="133"/>
                </a:cubicBezTo>
                <a:cubicBezTo>
                  <a:pt x="1204" y="132"/>
                  <a:pt x="1203" y="132"/>
                  <a:pt x="1203" y="132"/>
                </a:cubicBezTo>
                <a:cubicBezTo>
                  <a:pt x="1203" y="132"/>
                  <a:pt x="1202" y="131"/>
                  <a:pt x="1202" y="131"/>
                </a:cubicBezTo>
                <a:cubicBezTo>
                  <a:pt x="1202" y="131"/>
                  <a:pt x="1202" y="131"/>
                  <a:pt x="1202" y="130"/>
                </a:cubicBezTo>
                <a:cubicBezTo>
                  <a:pt x="1201" y="130"/>
                  <a:pt x="1201" y="130"/>
                  <a:pt x="1201" y="131"/>
                </a:cubicBezTo>
                <a:cubicBezTo>
                  <a:pt x="1200" y="130"/>
                  <a:pt x="1200" y="130"/>
                  <a:pt x="1199" y="130"/>
                </a:cubicBezTo>
                <a:cubicBezTo>
                  <a:pt x="1200" y="129"/>
                  <a:pt x="1200" y="129"/>
                  <a:pt x="1200" y="128"/>
                </a:cubicBezTo>
                <a:cubicBezTo>
                  <a:pt x="1200" y="128"/>
                  <a:pt x="1200" y="128"/>
                  <a:pt x="1200" y="128"/>
                </a:cubicBezTo>
                <a:cubicBezTo>
                  <a:pt x="1200" y="127"/>
                  <a:pt x="1200" y="127"/>
                  <a:pt x="1200" y="127"/>
                </a:cubicBezTo>
                <a:cubicBezTo>
                  <a:pt x="1200" y="127"/>
                  <a:pt x="1200" y="127"/>
                  <a:pt x="1200" y="126"/>
                </a:cubicBezTo>
                <a:cubicBezTo>
                  <a:pt x="1200" y="126"/>
                  <a:pt x="1200" y="126"/>
                  <a:pt x="1201" y="126"/>
                </a:cubicBezTo>
                <a:cubicBezTo>
                  <a:pt x="1201" y="125"/>
                  <a:pt x="1202" y="125"/>
                  <a:pt x="1203" y="124"/>
                </a:cubicBezTo>
                <a:cubicBezTo>
                  <a:pt x="1203" y="124"/>
                  <a:pt x="1204" y="124"/>
                  <a:pt x="1204" y="124"/>
                </a:cubicBezTo>
                <a:cubicBezTo>
                  <a:pt x="1204" y="124"/>
                  <a:pt x="1205" y="124"/>
                  <a:pt x="1205" y="124"/>
                </a:cubicBezTo>
                <a:cubicBezTo>
                  <a:pt x="1205" y="123"/>
                  <a:pt x="1204" y="123"/>
                  <a:pt x="1204" y="123"/>
                </a:cubicBezTo>
                <a:cubicBezTo>
                  <a:pt x="1204" y="122"/>
                  <a:pt x="1204" y="122"/>
                  <a:pt x="1204" y="122"/>
                </a:cubicBezTo>
                <a:cubicBezTo>
                  <a:pt x="1205" y="122"/>
                  <a:pt x="1205" y="121"/>
                  <a:pt x="1205" y="121"/>
                </a:cubicBezTo>
                <a:cubicBezTo>
                  <a:pt x="1205" y="121"/>
                  <a:pt x="1205" y="120"/>
                  <a:pt x="1204" y="120"/>
                </a:cubicBezTo>
                <a:cubicBezTo>
                  <a:pt x="1204" y="120"/>
                  <a:pt x="1204" y="119"/>
                  <a:pt x="1204" y="119"/>
                </a:cubicBezTo>
                <a:cubicBezTo>
                  <a:pt x="1205" y="119"/>
                  <a:pt x="1205" y="119"/>
                  <a:pt x="1205" y="118"/>
                </a:cubicBezTo>
                <a:cubicBezTo>
                  <a:pt x="1205" y="118"/>
                  <a:pt x="1205" y="118"/>
                  <a:pt x="1205" y="118"/>
                </a:cubicBezTo>
                <a:cubicBezTo>
                  <a:pt x="1205" y="118"/>
                  <a:pt x="1205" y="117"/>
                  <a:pt x="1205" y="117"/>
                </a:cubicBezTo>
                <a:cubicBezTo>
                  <a:pt x="1205" y="117"/>
                  <a:pt x="1204" y="117"/>
                  <a:pt x="1204" y="116"/>
                </a:cubicBezTo>
                <a:cubicBezTo>
                  <a:pt x="1204" y="116"/>
                  <a:pt x="1205" y="116"/>
                  <a:pt x="1205" y="115"/>
                </a:cubicBezTo>
                <a:cubicBezTo>
                  <a:pt x="1205" y="115"/>
                  <a:pt x="1205" y="115"/>
                  <a:pt x="1205" y="115"/>
                </a:cubicBezTo>
                <a:cubicBezTo>
                  <a:pt x="1205" y="115"/>
                  <a:pt x="1205" y="114"/>
                  <a:pt x="1204" y="114"/>
                </a:cubicBezTo>
                <a:cubicBezTo>
                  <a:pt x="1205" y="114"/>
                  <a:pt x="1205" y="113"/>
                  <a:pt x="1205" y="113"/>
                </a:cubicBezTo>
                <a:cubicBezTo>
                  <a:pt x="1205" y="112"/>
                  <a:pt x="1205" y="112"/>
                  <a:pt x="1205" y="111"/>
                </a:cubicBezTo>
                <a:cubicBezTo>
                  <a:pt x="1205" y="111"/>
                  <a:pt x="1206" y="111"/>
                  <a:pt x="1206" y="111"/>
                </a:cubicBezTo>
                <a:cubicBezTo>
                  <a:pt x="1206" y="111"/>
                  <a:pt x="1207" y="111"/>
                  <a:pt x="1207" y="112"/>
                </a:cubicBezTo>
                <a:cubicBezTo>
                  <a:pt x="1207" y="112"/>
                  <a:pt x="1207" y="112"/>
                  <a:pt x="1206" y="112"/>
                </a:cubicBezTo>
                <a:cubicBezTo>
                  <a:pt x="1207" y="112"/>
                  <a:pt x="1207" y="112"/>
                  <a:pt x="1207" y="112"/>
                </a:cubicBezTo>
                <a:cubicBezTo>
                  <a:pt x="1207" y="112"/>
                  <a:pt x="1208" y="112"/>
                  <a:pt x="1208" y="112"/>
                </a:cubicBezTo>
                <a:cubicBezTo>
                  <a:pt x="1209" y="112"/>
                  <a:pt x="1209" y="112"/>
                  <a:pt x="1210" y="112"/>
                </a:cubicBezTo>
                <a:cubicBezTo>
                  <a:pt x="1210" y="112"/>
                  <a:pt x="1211" y="112"/>
                  <a:pt x="1211" y="112"/>
                </a:cubicBezTo>
                <a:cubicBezTo>
                  <a:pt x="1212" y="112"/>
                  <a:pt x="1212" y="112"/>
                  <a:pt x="1212" y="112"/>
                </a:cubicBezTo>
                <a:cubicBezTo>
                  <a:pt x="1213" y="112"/>
                  <a:pt x="1213" y="112"/>
                  <a:pt x="1213" y="113"/>
                </a:cubicBezTo>
                <a:cubicBezTo>
                  <a:pt x="1214" y="112"/>
                  <a:pt x="1214" y="112"/>
                  <a:pt x="1214" y="112"/>
                </a:cubicBezTo>
                <a:cubicBezTo>
                  <a:pt x="1215" y="112"/>
                  <a:pt x="1215" y="112"/>
                  <a:pt x="1216" y="113"/>
                </a:cubicBezTo>
                <a:cubicBezTo>
                  <a:pt x="1217" y="113"/>
                  <a:pt x="1218" y="113"/>
                  <a:pt x="1219" y="114"/>
                </a:cubicBezTo>
                <a:cubicBezTo>
                  <a:pt x="1220" y="114"/>
                  <a:pt x="1220" y="114"/>
                  <a:pt x="1221" y="114"/>
                </a:cubicBezTo>
                <a:cubicBezTo>
                  <a:pt x="1221" y="114"/>
                  <a:pt x="1221" y="114"/>
                  <a:pt x="1222" y="114"/>
                </a:cubicBezTo>
                <a:cubicBezTo>
                  <a:pt x="1222" y="115"/>
                  <a:pt x="1222" y="115"/>
                  <a:pt x="1222" y="115"/>
                </a:cubicBezTo>
                <a:cubicBezTo>
                  <a:pt x="1222" y="115"/>
                  <a:pt x="1221" y="115"/>
                  <a:pt x="1221" y="115"/>
                </a:cubicBezTo>
                <a:cubicBezTo>
                  <a:pt x="1221" y="116"/>
                  <a:pt x="1222" y="116"/>
                  <a:pt x="1222" y="116"/>
                </a:cubicBezTo>
                <a:cubicBezTo>
                  <a:pt x="1222" y="117"/>
                  <a:pt x="1222" y="117"/>
                  <a:pt x="1222" y="117"/>
                </a:cubicBezTo>
                <a:cubicBezTo>
                  <a:pt x="1222" y="117"/>
                  <a:pt x="1222" y="117"/>
                  <a:pt x="1222" y="118"/>
                </a:cubicBezTo>
                <a:cubicBezTo>
                  <a:pt x="1222" y="118"/>
                  <a:pt x="1222" y="119"/>
                  <a:pt x="1222" y="119"/>
                </a:cubicBezTo>
                <a:cubicBezTo>
                  <a:pt x="1222" y="119"/>
                  <a:pt x="1222" y="120"/>
                  <a:pt x="1223" y="120"/>
                </a:cubicBezTo>
                <a:cubicBezTo>
                  <a:pt x="1222" y="121"/>
                  <a:pt x="1222" y="121"/>
                  <a:pt x="1222" y="122"/>
                </a:cubicBezTo>
                <a:cubicBezTo>
                  <a:pt x="1222" y="122"/>
                  <a:pt x="1222" y="123"/>
                  <a:pt x="1222" y="123"/>
                </a:cubicBezTo>
                <a:cubicBezTo>
                  <a:pt x="1222" y="123"/>
                  <a:pt x="1222" y="123"/>
                  <a:pt x="1222" y="123"/>
                </a:cubicBezTo>
                <a:cubicBezTo>
                  <a:pt x="1222" y="123"/>
                  <a:pt x="1222" y="124"/>
                  <a:pt x="1222" y="124"/>
                </a:cubicBezTo>
                <a:cubicBezTo>
                  <a:pt x="1222" y="124"/>
                  <a:pt x="1222" y="124"/>
                  <a:pt x="1222" y="125"/>
                </a:cubicBezTo>
                <a:cubicBezTo>
                  <a:pt x="1222" y="125"/>
                  <a:pt x="1222" y="125"/>
                  <a:pt x="1221" y="125"/>
                </a:cubicBezTo>
                <a:cubicBezTo>
                  <a:pt x="1221" y="125"/>
                  <a:pt x="1222" y="125"/>
                  <a:pt x="1222" y="126"/>
                </a:cubicBezTo>
                <a:cubicBezTo>
                  <a:pt x="1222" y="126"/>
                  <a:pt x="1222" y="126"/>
                  <a:pt x="1223" y="127"/>
                </a:cubicBezTo>
                <a:cubicBezTo>
                  <a:pt x="1223" y="127"/>
                  <a:pt x="1223" y="127"/>
                  <a:pt x="1223" y="128"/>
                </a:cubicBezTo>
                <a:cubicBezTo>
                  <a:pt x="1224" y="128"/>
                  <a:pt x="1224" y="128"/>
                  <a:pt x="1225" y="128"/>
                </a:cubicBezTo>
                <a:cubicBezTo>
                  <a:pt x="1225" y="128"/>
                  <a:pt x="1225" y="128"/>
                  <a:pt x="1225" y="128"/>
                </a:cubicBezTo>
                <a:cubicBezTo>
                  <a:pt x="1225" y="128"/>
                  <a:pt x="1225" y="128"/>
                  <a:pt x="1226" y="128"/>
                </a:cubicBezTo>
                <a:cubicBezTo>
                  <a:pt x="1226" y="128"/>
                  <a:pt x="1226" y="128"/>
                  <a:pt x="1226" y="129"/>
                </a:cubicBezTo>
                <a:cubicBezTo>
                  <a:pt x="1226" y="129"/>
                  <a:pt x="1226" y="130"/>
                  <a:pt x="1227" y="130"/>
                </a:cubicBezTo>
                <a:cubicBezTo>
                  <a:pt x="1227" y="130"/>
                  <a:pt x="1227" y="131"/>
                  <a:pt x="1228" y="131"/>
                </a:cubicBezTo>
                <a:cubicBezTo>
                  <a:pt x="1228" y="131"/>
                  <a:pt x="1228" y="131"/>
                  <a:pt x="1228" y="132"/>
                </a:cubicBezTo>
                <a:cubicBezTo>
                  <a:pt x="1229" y="132"/>
                  <a:pt x="1229" y="133"/>
                  <a:pt x="1229" y="134"/>
                </a:cubicBezTo>
                <a:cubicBezTo>
                  <a:pt x="1229" y="134"/>
                  <a:pt x="1229" y="134"/>
                  <a:pt x="1229" y="135"/>
                </a:cubicBezTo>
                <a:cubicBezTo>
                  <a:pt x="1229" y="135"/>
                  <a:pt x="1229" y="135"/>
                  <a:pt x="1229" y="135"/>
                </a:cubicBezTo>
                <a:cubicBezTo>
                  <a:pt x="1229" y="135"/>
                  <a:pt x="1229" y="136"/>
                  <a:pt x="1229" y="136"/>
                </a:cubicBezTo>
                <a:cubicBezTo>
                  <a:pt x="1229" y="136"/>
                  <a:pt x="1230" y="136"/>
                  <a:pt x="1230" y="137"/>
                </a:cubicBezTo>
                <a:cubicBezTo>
                  <a:pt x="1230" y="137"/>
                  <a:pt x="1230" y="137"/>
                  <a:pt x="1230" y="138"/>
                </a:cubicBezTo>
                <a:cubicBezTo>
                  <a:pt x="1230" y="138"/>
                  <a:pt x="1231" y="139"/>
                  <a:pt x="1231" y="140"/>
                </a:cubicBezTo>
                <a:cubicBezTo>
                  <a:pt x="1231" y="140"/>
                  <a:pt x="1231" y="140"/>
                  <a:pt x="1231" y="141"/>
                </a:cubicBezTo>
                <a:cubicBezTo>
                  <a:pt x="1231" y="141"/>
                  <a:pt x="1231" y="141"/>
                  <a:pt x="1231" y="142"/>
                </a:cubicBezTo>
                <a:cubicBezTo>
                  <a:pt x="1232" y="142"/>
                  <a:pt x="1232" y="142"/>
                  <a:pt x="1233" y="142"/>
                </a:cubicBezTo>
                <a:cubicBezTo>
                  <a:pt x="1232" y="142"/>
                  <a:pt x="1232" y="143"/>
                  <a:pt x="1232" y="143"/>
                </a:cubicBezTo>
                <a:cubicBezTo>
                  <a:pt x="1232" y="143"/>
                  <a:pt x="1232" y="143"/>
                  <a:pt x="1232" y="143"/>
                </a:cubicBezTo>
                <a:cubicBezTo>
                  <a:pt x="1233" y="144"/>
                  <a:pt x="1233" y="144"/>
                  <a:pt x="1233" y="145"/>
                </a:cubicBezTo>
                <a:cubicBezTo>
                  <a:pt x="1233" y="146"/>
                  <a:pt x="1234" y="146"/>
                  <a:pt x="1235" y="147"/>
                </a:cubicBezTo>
                <a:cubicBezTo>
                  <a:pt x="1235" y="147"/>
                  <a:pt x="1236" y="148"/>
                  <a:pt x="1237" y="148"/>
                </a:cubicBezTo>
                <a:cubicBezTo>
                  <a:pt x="1237" y="148"/>
                  <a:pt x="1237" y="148"/>
                  <a:pt x="1237" y="148"/>
                </a:cubicBezTo>
                <a:cubicBezTo>
                  <a:pt x="1237" y="149"/>
                  <a:pt x="1238" y="149"/>
                  <a:pt x="1238" y="149"/>
                </a:cubicBezTo>
                <a:cubicBezTo>
                  <a:pt x="1239" y="149"/>
                  <a:pt x="1239" y="150"/>
                  <a:pt x="1240" y="150"/>
                </a:cubicBezTo>
                <a:cubicBezTo>
                  <a:pt x="1240" y="150"/>
                  <a:pt x="1240" y="150"/>
                  <a:pt x="1240" y="151"/>
                </a:cubicBezTo>
                <a:cubicBezTo>
                  <a:pt x="1239" y="151"/>
                  <a:pt x="1239" y="150"/>
                  <a:pt x="1239" y="150"/>
                </a:cubicBezTo>
                <a:cubicBezTo>
                  <a:pt x="1239" y="151"/>
                  <a:pt x="1239" y="151"/>
                  <a:pt x="1239" y="151"/>
                </a:cubicBezTo>
                <a:cubicBezTo>
                  <a:pt x="1239" y="152"/>
                  <a:pt x="1238" y="152"/>
                  <a:pt x="1238" y="152"/>
                </a:cubicBezTo>
                <a:cubicBezTo>
                  <a:pt x="1238" y="153"/>
                  <a:pt x="1239" y="153"/>
                  <a:pt x="1239" y="154"/>
                </a:cubicBezTo>
                <a:cubicBezTo>
                  <a:pt x="1239" y="154"/>
                  <a:pt x="1240" y="154"/>
                  <a:pt x="1240" y="155"/>
                </a:cubicBezTo>
                <a:cubicBezTo>
                  <a:pt x="1240" y="155"/>
                  <a:pt x="1240" y="155"/>
                  <a:pt x="1240" y="156"/>
                </a:cubicBezTo>
                <a:cubicBezTo>
                  <a:pt x="1240" y="156"/>
                  <a:pt x="1239" y="156"/>
                  <a:pt x="1239" y="156"/>
                </a:cubicBezTo>
                <a:cubicBezTo>
                  <a:pt x="1239" y="156"/>
                  <a:pt x="1239" y="157"/>
                  <a:pt x="1239" y="157"/>
                </a:cubicBezTo>
                <a:cubicBezTo>
                  <a:pt x="1239" y="157"/>
                  <a:pt x="1238" y="157"/>
                  <a:pt x="1238" y="157"/>
                </a:cubicBezTo>
                <a:cubicBezTo>
                  <a:pt x="1238" y="157"/>
                  <a:pt x="1238" y="157"/>
                  <a:pt x="1238" y="158"/>
                </a:cubicBezTo>
                <a:cubicBezTo>
                  <a:pt x="1238" y="158"/>
                  <a:pt x="1238" y="159"/>
                  <a:pt x="1238" y="159"/>
                </a:cubicBezTo>
                <a:cubicBezTo>
                  <a:pt x="1238" y="159"/>
                  <a:pt x="1237" y="159"/>
                  <a:pt x="1237" y="159"/>
                </a:cubicBezTo>
                <a:cubicBezTo>
                  <a:pt x="1237" y="160"/>
                  <a:pt x="1237" y="160"/>
                  <a:pt x="1237" y="160"/>
                </a:cubicBezTo>
                <a:cubicBezTo>
                  <a:pt x="1237" y="160"/>
                  <a:pt x="1238" y="160"/>
                  <a:pt x="1238" y="160"/>
                </a:cubicBezTo>
                <a:cubicBezTo>
                  <a:pt x="1238" y="160"/>
                  <a:pt x="1238" y="160"/>
                  <a:pt x="1238" y="160"/>
                </a:cubicBezTo>
                <a:cubicBezTo>
                  <a:pt x="1238" y="160"/>
                  <a:pt x="1237" y="160"/>
                  <a:pt x="1237" y="160"/>
                </a:cubicBezTo>
                <a:cubicBezTo>
                  <a:pt x="1236" y="161"/>
                  <a:pt x="1236" y="161"/>
                  <a:pt x="1236" y="162"/>
                </a:cubicBezTo>
                <a:cubicBezTo>
                  <a:pt x="1236" y="162"/>
                  <a:pt x="1236" y="162"/>
                  <a:pt x="1236" y="162"/>
                </a:cubicBezTo>
                <a:cubicBezTo>
                  <a:pt x="1235" y="162"/>
                  <a:pt x="1235" y="162"/>
                  <a:pt x="1234" y="162"/>
                </a:cubicBezTo>
                <a:cubicBezTo>
                  <a:pt x="1234" y="162"/>
                  <a:pt x="1234" y="162"/>
                  <a:pt x="1234" y="162"/>
                </a:cubicBezTo>
                <a:cubicBezTo>
                  <a:pt x="1235" y="163"/>
                  <a:pt x="1235" y="163"/>
                  <a:pt x="1235" y="163"/>
                </a:cubicBezTo>
                <a:cubicBezTo>
                  <a:pt x="1235" y="163"/>
                  <a:pt x="1235" y="164"/>
                  <a:pt x="1235" y="164"/>
                </a:cubicBezTo>
                <a:cubicBezTo>
                  <a:pt x="1235" y="164"/>
                  <a:pt x="1234" y="164"/>
                  <a:pt x="1234" y="164"/>
                </a:cubicBezTo>
                <a:cubicBezTo>
                  <a:pt x="1234" y="164"/>
                  <a:pt x="1233" y="164"/>
                  <a:pt x="1233" y="165"/>
                </a:cubicBezTo>
                <a:cubicBezTo>
                  <a:pt x="1232" y="164"/>
                  <a:pt x="1232" y="164"/>
                  <a:pt x="1231" y="164"/>
                </a:cubicBezTo>
                <a:cubicBezTo>
                  <a:pt x="1231" y="164"/>
                  <a:pt x="1230" y="164"/>
                  <a:pt x="1230" y="164"/>
                </a:cubicBezTo>
                <a:cubicBezTo>
                  <a:pt x="1230" y="163"/>
                  <a:pt x="1231" y="163"/>
                  <a:pt x="1232" y="163"/>
                </a:cubicBezTo>
                <a:cubicBezTo>
                  <a:pt x="1232" y="163"/>
                  <a:pt x="1232" y="163"/>
                  <a:pt x="1232" y="163"/>
                </a:cubicBezTo>
                <a:cubicBezTo>
                  <a:pt x="1231" y="163"/>
                  <a:pt x="1231" y="163"/>
                  <a:pt x="1231" y="163"/>
                </a:cubicBezTo>
                <a:cubicBezTo>
                  <a:pt x="1230" y="163"/>
                  <a:pt x="1230" y="163"/>
                  <a:pt x="1230" y="163"/>
                </a:cubicBezTo>
                <a:cubicBezTo>
                  <a:pt x="1230" y="163"/>
                  <a:pt x="1230" y="163"/>
                  <a:pt x="1229" y="163"/>
                </a:cubicBezTo>
                <a:cubicBezTo>
                  <a:pt x="1229" y="162"/>
                  <a:pt x="1228" y="162"/>
                  <a:pt x="1227" y="162"/>
                </a:cubicBezTo>
                <a:cubicBezTo>
                  <a:pt x="1227" y="162"/>
                  <a:pt x="1226" y="162"/>
                  <a:pt x="1226" y="162"/>
                </a:cubicBezTo>
                <a:cubicBezTo>
                  <a:pt x="1225" y="162"/>
                  <a:pt x="1224" y="162"/>
                  <a:pt x="1223" y="162"/>
                </a:cubicBezTo>
                <a:cubicBezTo>
                  <a:pt x="1222" y="162"/>
                  <a:pt x="1222" y="162"/>
                  <a:pt x="1221" y="162"/>
                </a:cubicBezTo>
                <a:cubicBezTo>
                  <a:pt x="1221" y="162"/>
                  <a:pt x="1221" y="162"/>
                  <a:pt x="1220" y="162"/>
                </a:cubicBezTo>
                <a:cubicBezTo>
                  <a:pt x="1221" y="163"/>
                  <a:pt x="1221" y="163"/>
                  <a:pt x="1221" y="163"/>
                </a:cubicBezTo>
                <a:cubicBezTo>
                  <a:pt x="1221" y="163"/>
                  <a:pt x="1221" y="163"/>
                  <a:pt x="1221" y="163"/>
                </a:cubicBezTo>
                <a:cubicBezTo>
                  <a:pt x="1222" y="163"/>
                  <a:pt x="1222" y="163"/>
                  <a:pt x="1222" y="162"/>
                </a:cubicBezTo>
                <a:cubicBezTo>
                  <a:pt x="1223" y="162"/>
                  <a:pt x="1223" y="162"/>
                  <a:pt x="1224" y="162"/>
                </a:cubicBezTo>
                <a:cubicBezTo>
                  <a:pt x="1224" y="163"/>
                  <a:pt x="1224" y="163"/>
                  <a:pt x="1224" y="163"/>
                </a:cubicBezTo>
                <a:cubicBezTo>
                  <a:pt x="1225" y="164"/>
                  <a:pt x="1225" y="164"/>
                  <a:pt x="1226" y="164"/>
                </a:cubicBezTo>
                <a:cubicBezTo>
                  <a:pt x="1227" y="165"/>
                  <a:pt x="1229" y="165"/>
                  <a:pt x="1230" y="165"/>
                </a:cubicBezTo>
                <a:cubicBezTo>
                  <a:pt x="1231" y="166"/>
                  <a:pt x="1231" y="166"/>
                  <a:pt x="1232" y="166"/>
                </a:cubicBezTo>
                <a:cubicBezTo>
                  <a:pt x="1232" y="166"/>
                  <a:pt x="1233" y="166"/>
                  <a:pt x="1234" y="166"/>
                </a:cubicBezTo>
                <a:cubicBezTo>
                  <a:pt x="1235" y="166"/>
                  <a:pt x="1235" y="166"/>
                  <a:pt x="1236" y="166"/>
                </a:cubicBezTo>
                <a:cubicBezTo>
                  <a:pt x="1236" y="167"/>
                  <a:pt x="1236" y="167"/>
                  <a:pt x="1236" y="167"/>
                </a:cubicBezTo>
                <a:cubicBezTo>
                  <a:pt x="1237" y="167"/>
                  <a:pt x="1238" y="167"/>
                  <a:pt x="1238" y="167"/>
                </a:cubicBezTo>
                <a:cubicBezTo>
                  <a:pt x="1239" y="167"/>
                  <a:pt x="1240" y="167"/>
                  <a:pt x="1240" y="167"/>
                </a:cubicBezTo>
                <a:cubicBezTo>
                  <a:pt x="1240" y="167"/>
                  <a:pt x="1240" y="167"/>
                  <a:pt x="1240" y="166"/>
                </a:cubicBezTo>
                <a:cubicBezTo>
                  <a:pt x="1240" y="166"/>
                  <a:pt x="1240" y="166"/>
                  <a:pt x="1240" y="166"/>
                </a:cubicBezTo>
                <a:cubicBezTo>
                  <a:pt x="1240" y="165"/>
                  <a:pt x="1240" y="165"/>
                  <a:pt x="1240" y="165"/>
                </a:cubicBezTo>
                <a:cubicBezTo>
                  <a:pt x="1240" y="165"/>
                  <a:pt x="1240" y="164"/>
                  <a:pt x="1241" y="164"/>
                </a:cubicBezTo>
                <a:cubicBezTo>
                  <a:pt x="1241" y="164"/>
                  <a:pt x="1242" y="164"/>
                  <a:pt x="1242" y="164"/>
                </a:cubicBezTo>
                <a:cubicBezTo>
                  <a:pt x="1242" y="164"/>
                  <a:pt x="1242" y="164"/>
                  <a:pt x="1242" y="164"/>
                </a:cubicBezTo>
                <a:cubicBezTo>
                  <a:pt x="1243" y="163"/>
                  <a:pt x="1243" y="163"/>
                  <a:pt x="1244" y="163"/>
                </a:cubicBezTo>
                <a:cubicBezTo>
                  <a:pt x="1244" y="163"/>
                  <a:pt x="1244" y="162"/>
                  <a:pt x="1244" y="162"/>
                </a:cubicBezTo>
                <a:cubicBezTo>
                  <a:pt x="1245" y="162"/>
                  <a:pt x="1245" y="161"/>
                  <a:pt x="1245" y="161"/>
                </a:cubicBezTo>
                <a:cubicBezTo>
                  <a:pt x="1245" y="160"/>
                  <a:pt x="1245" y="160"/>
                  <a:pt x="1245" y="159"/>
                </a:cubicBezTo>
                <a:cubicBezTo>
                  <a:pt x="1245" y="159"/>
                  <a:pt x="1245" y="159"/>
                  <a:pt x="1245" y="158"/>
                </a:cubicBezTo>
                <a:cubicBezTo>
                  <a:pt x="1246" y="158"/>
                  <a:pt x="1246" y="157"/>
                  <a:pt x="1247" y="157"/>
                </a:cubicBezTo>
                <a:cubicBezTo>
                  <a:pt x="1247" y="156"/>
                  <a:pt x="1247" y="156"/>
                  <a:pt x="1247" y="156"/>
                </a:cubicBezTo>
                <a:cubicBezTo>
                  <a:pt x="1247" y="155"/>
                  <a:pt x="1247" y="154"/>
                  <a:pt x="1246" y="153"/>
                </a:cubicBezTo>
                <a:cubicBezTo>
                  <a:pt x="1245" y="153"/>
                  <a:pt x="1245" y="152"/>
                  <a:pt x="1244" y="152"/>
                </a:cubicBezTo>
                <a:cubicBezTo>
                  <a:pt x="1244" y="151"/>
                  <a:pt x="1243" y="151"/>
                  <a:pt x="1243" y="151"/>
                </a:cubicBezTo>
                <a:cubicBezTo>
                  <a:pt x="1243" y="150"/>
                  <a:pt x="1243" y="150"/>
                  <a:pt x="1243" y="149"/>
                </a:cubicBezTo>
                <a:cubicBezTo>
                  <a:pt x="1244" y="149"/>
                  <a:pt x="1245" y="148"/>
                  <a:pt x="1245" y="148"/>
                </a:cubicBezTo>
                <a:cubicBezTo>
                  <a:pt x="1246" y="148"/>
                  <a:pt x="1246" y="148"/>
                  <a:pt x="1246" y="147"/>
                </a:cubicBezTo>
                <a:cubicBezTo>
                  <a:pt x="1247" y="148"/>
                  <a:pt x="1248" y="148"/>
                  <a:pt x="1248" y="148"/>
                </a:cubicBezTo>
                <a:cubicBezTo>
                  <a:pt x="1249" y="147"/>
                  <a:pt x="1250" y="147"/>
                  <a:pt x="1251" y="147"/>
                </a:cubicBezTo>
                <a:cubicBezTo>
                  <a:pt x="1251" y="147"/>
                  <a:pt x="1252" y="147"/>
                  <a:pt x="1252" y="147"/>
                </a:cubicBezTo>
                <a:cubicBezTo>
                  <a:pt x="1253" y="147"/>
                  <a:pt x="1253" y="148"/>
                  <a:pt x="1254" y="148"/>
                </a:cubicBezTo>
                <a:cubicBezTo>
                  <a:pt x="1254" y="148"/>
                  <a:pt x="1254" y="149"/>
                  <a:pt x="1254" y="149"/>
                </a:cubicBezTo>
                <a:cubicBezTo>
                  <a:pt x="1254" y="149"/>
                  <a:pt x="1255" y="150"/>
                  <a:pt x="1256" y="150"/>
                </a:cubicBezTo>
                <a:cubicBezTo>
                  <a:pt x="1256" y="150"/>
                  <a:pt x="1256" y="150"/>
                  <a:pt x="1256" y="151"/>
                </a:cubicBezTo>
                <a:cubicBezTo>
                  <a:pt x="1256" y="151"/>
                  <a:pt x="1256" y="151"/>
                  <a:pt x="1256" y="151"/>
                </a:cubicBezTo>
                <a:cubicBezTo>
                  <a:pt x="1257" y="151"/>
                  <a:pt x="1257" y="152"/>
                  <a:pt x="1258" y="152"/>
                </a:cubicBezTo>
                <a:cubicBezTo>
                  <a:pt x="1258" y="152"/>
                  <a:pt x="1257" y="153"/>
                  <a:pt x="1257" y="153"/>
                </a:cubicBezTo>
                <a:cubicBezTo>
                  <a:pt x="1258" y="153"/>
                  <a:pt x="1258" y="153"/>
                  <a:pt x="1258" y="154"/>
                </a:cubicBezTo>
                <a:cubicBezTo>
                  <a:pt x="1258" y="154"/>
                  <a:pt x="1258" y="154"/>
                  <a:pt x="1258" y="154"/>
                </a:cubicBezTo>
                <a:cubicBezTo>
                  <a:pt x="1259" y="155"/>
                  <a:pt x="1259" y="155"/>
                  <a:pt x="1259" y="155"/>
                </a:cubicBezTo>
                <a:cubicBezTo>
                  <a:pt x="1259" y="156"/>
                  <a:pt x="1259" y="156"/>
                  <a:pt x="1259" y="156"/>
                </a:cubicBezTo>
                <a:cubicBezTo>
                  <a:pt x="1259" y="156"/>
                  <a:pt x="1259" y="157"/>
                  <a:pt x="1259" y="157"/>
                </a:cubicBezTo>
                <a:cubicBezTo>
                  <a:pt x="1259" y="157"/>
                  <a:pt x="1259" y="157"/>
                  <a:pt x="1260" y="158"/>
                </a:cubicBezTo>
                <a:cubicBezTo>
                  <a:pt x="1260" y="158"/>
                  <a:pt x="1260" y="158"/>
                  <a:pt x="1261" y="158"/>
                </a:cubicBezTo>
                <a:cubicBezTo>
                  <a:pt x="1261" y="158"/>
                  <a:pt x="1262" y="158"/>
                  <a:pt x="1262" y="159"/>
                </a:cubicBezTo>
                <a:cubicBezTo>
                  <a:pt x="1263" y="159"/>
                  <a:pt x="1263" y="159"/>
                  <a:pt x="1264" y="159"/>
                </a:cubicBezTo>
                <a:cubicBezTo>
                  <a:pt x="1264" y="159"/>
                  <a:pt x="1265" y="159"/>
                  <a:pt x="1265" y="159"/>
                </a:cubicBezTo>
                <a:cubicBezTo>
                  <a:pt x="1266" y="159"/>
                  <a:pt x="1266" y="159"/>
                  <a:pt x="1267" y="159"/>
                </a:cubicBezTo>
                <a:cubicBezTo>
                  <a:pt x="1267" y="159"/>
                  <a:pt x="1267" y="159"/>
                  <a:pt x="1267" y="159"/>
                </a:cubicBezTo>
                <a:cubicBezTo>
                  <a:pt x="1267" y="159"/>
                  <a:pt x="1268" y="159"/>
                  <a:pt x="1268" y="158"/>
                </a:cubicBezTo>
                <a:cubicBezTo>
                  <a:pt x="1268" y="158"/>
                  <a:pt x="1267" y="158"/>
                  <a:pt x="1267" y="158"/>
                </a:cubicBezTo>
                <a:cubicBezTo>
                  <a:pt x="1267" y="158"/>
                  <a:pt x="1266" y="158"/>
                  <a:pt x="1266" y="158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5" y="158"/>
                  <a:pt x="1265" y="158"/>
                  <a:pt x="1265" y="158"/>
                </a:cubicBezTo>
                <a:cubicBezTo>
                  <a:pt x="1264" y="158"/>
                  <a:pt x="1264" y="158"/>
                  <a:pt x="1263" y="158"/>
                </a:cubicBezTo>
                <a:cubicBezTo>
                  <a:pt x="1263" y="158"/>
                  <a:pt x="1263" y="158"/>
                  <a:pt x="1262" y="157"/>
                </a:cubicBezTo>
                <a:cubicBezTo>
                  <a:pt x="1262" y="157"/>
                  <a:pt x="1261" y="157"/>
                  <a:pt x="1261" y="157"/>
                </a:cubicBezTo>
                <a:cubicBezTo>
                  <a:pt x="1261" y="157"/>
                  <a:pt x="1261" y="157"/>
                  <a:pt x="1260" y="156"/>
                </a:cubicBezTo>
                <a:cubicBezTo>
                  <a:pt x="1261" y="156"/>
                  <a:pt x="1261" y="156"/>
                  <a:pt x="1261" y="156"/>
                </a:cubicBezTo>
                <a:cubicBezTo>
                  <a:pt x="1261" y="156"/>
                  <a:pt x="1261" y="156"/>
                  <a:pt x="1260" y="155"/>
                </a:cubicBezTo>
                <a:cubicBezTo>
                  <a:pt x="1260" y="155"/>
                  <a:pt x="1260" y="155"/>
                  <a:pt x="1260" y="154"/>
                </a:cubicBezTo>
                <a:cubicBezTo>
                  <a:pt x="1260" y="154"/>
                  <a:pt x="1260" y="153"/>
                  <a:pt x="1260" y="153"/>
                </a:cubicBezTo>
                <a:cubicBezTo>
                  <a:pt x="1260" y="153"/>
                  <a:pt x="1261" y="153"/>
                  <a:pt x="1261" y="153"/>
                </a:cubicBezTo>
                <a:cubicBezTo>
                  <a:pt x="1262" y="153"/>
                  <a:pt x="1262" y="153"/>
                  <a:pt x="1262" y="153"/>
                </a:cubicBezTo>
                <a:cubicBezTo>
                  <a:pt x="1262" y="152"/>
                  <a:pt x="1262" y="152"/>
                  <a:pt x="1261" y="152"/>
                </a:cubicBezTo>
                <a:cubicBezTo>
                  <a:pt x="1261" y="152"/>
                  <a:pt x="1261" y="152"/>
                  <a:pt x="1261" y="151"/>
                </a:cubicBezTo>
                <a:cubicBezTo>
                  <a:pt x="1261" y="151"/>
                  <a:pt x="1261" y="151"/>
                  <a:pt x="1261" y="151"/>
                </a:cubicBezTo>
                <a:cubicBezTo>
                  <a:pt x="1261" y="151"/>
                  <a:pt x="1261" y="151"/>
                  <a:pt x="1261" y="151"/>
                </a:cubicBezTo>
                <a:cubicBezTo>
                  <a:pt x="1260" y="150"/>
                  <a:pt x="1260" y="150"/>
                  <a:pt x="1259" y="150"/>
                </a:cubicBezTo>
                <a:cubicBezTo>
                  <a:pt x="1259" y="150"/>
                  <a:pt x="1259" y="149"/>
                  <a:pt x="1259" y="149"/>
                </a:cubicBezTo>
                <a:cubicBezTo>
                  <a:pt x="1259" y="149"/>
                  <a:pt x="1258" y="148"/>
                  <a:pt x="1258" y="148"/>
                </a:cubicBezTo>
                <a:cubicBezTo>
                  <a:pt x="1257" y="148"/>
                  <a:pt x="1257" y="148"/>
                  <a:pt x="1256" y="148"/>
                </a:cubicBezTo>
                <a:cubicBezTo>
                  <a:pt x="1255" y="147"/>
                  <a:pt x="1254" y="147"/>
                  <a:pt x="1253" y="146"/>
                </a:cubicBezTo>
                <a:cubicBezTo>
                  <a:pt x="1253" y="146"/>
                  <a:pt x="1253" y="146"/>
                  <a:pt x="1253" y="145"/>
                </a:cubicBezTo>
                <a:cubicBezTo>
                  <a:pt x="1252" y="145"/>
                  <a:pt x="1252" y="145"/>
                  <a:pt x="1251" y="146"/>
                </a:cubicBezTo>
                <a:cubicBezTo>
                  <a:pt x="1251" y="145"/>
                  <a:pt x="1250" y="145"/>
                  <a:pt x="1249" y="144"/>
                </a:cubicBezTo>
                <a:cubicBezTo>
                  <a:pt x="1249" y="144"/>
                  <a:pt x="1249" y="144"/>
                  <a:pt x="1248" y="144"/>
                </a:cubicBezTo>
                <a:cubicBezTo>
                  <a:pt x="1248" y="144"/>
                  <a:pt x="1247" y="144"/>
                  <a:pt x="1247" y="144"/>
                </a:cubicBezTo>
                <a:cubicBezTo>
                  <a:pt x="1246" y="144"/>
                  <a:pt x="1246" y="144"/>
                  <a:pt x="1245" y="145"/>
                </a:cubicBezTo>
                <a:cubicBezTo>
                  <a:pt x="1245" y="145"/>
                  <a:pt x="1245" y="145"/>
                  <a:pt x="1245" y="146"/>
                </a:cubicBezTo>
                <a:cubicBezTo>
                  <a:pt x="1245" y="146"/>
                  <a:pt x="1244" y="146"/>
                  <a:pt x="1244" y="146"/>
                </a:cubicBezTo>
                <a:cubicBezTo>
                  <a:pt x="1243" y="146"/>
                  <a:pt x="1243" y="145"/>
                  <a:pt x="1242" y="145"/>
                </a:cubicBezTo>
                <a:cubicBezTo>
                  <a:pt x="1241" y="145"/>
                  <a:pt x="1241" y="145"/>
                  <a:pt x="1240" y="146"/>
                </a:cubicBezTo>
                <a:cubicBezTo>
                  <a:pt x="1240" y="145"/>
                  <a:pt x="1239" y="145"/>
                  <a:pt x="1239" y="145"/>
                </a:cubicBezTo>
                <a:cubicBezTo>
                  <a:pt x="1238" y="145"/>
                  <a:pt x="1238" y="145"/>
                  <a:pt x="1238" y="144"/>
                </a:cubicBezTo>
                <a:cubicBezTo>
                  <a:pt x="1238" y="144"/>
                  <a:pt x="1238" y="144"/>
                  <a:pt x="1238" y="144"/>
                </a:cubicBezTo>
                <a:cubicBezTo>
                  <a:pt x="1238" y="143"/>
                  <a:pt x="1238" y="143"/>
                  <a:pt x="1238" y="143"/>
                </a:cubicBezTo>
                <a:cubicBezTo>
                  <a:pt x="1238" y="142"/>
                  <a:pt x="1237" y="142"/>
                  <a:pt x="1236" y="141"/>
                </a:cubicBezTo>
                <a:cubicBezTo>
                  <a:pt x="1236" y="141"/>
                  <a:pt x="1236" y="140"/>
                  <a:pt x="1236" y="140"/>
                </a:cubicBezTo>
                <a:cubicBezTo>
                  <a:pt x="1236" y="139"/>
                  <a:pt x="1236" y="139"/>
                  <a:pt x="1236" y="138"/>
                </a:cubicBezTo>
                <a:cubicBezTo>
                  <a:pt x="1236" y="138"/>
                  <a:pt x="1235" y="137"/>
                  <a:pt x="1235" y="137"/>
                </a:cubicBezTo>
                <a:cubicBezTo>
                  <a:pt x="1235" y="137"/>
                  <a:pt x="1235" y="136"/>
                  <a:pt x="1236" y="136"/>
                </a:cubicBezTo>
                <a:cubicBezTo>
                  <a:pt x="1236" y="135"/>
                  <a:pt x="1236" y="134"/>
                  <a:pt x="1236" y="134"/>
                </a:cubicBezTo>
                <a:cubicBezTo>
                  <a:pt x="1236" y="133"/>
                  <a:pt x="1236" y="133"/>
                  <a:pt x="1235" y="132"/>
                </a:cubicBezTo>
                <a:cubicBezTo>
                  <a:pt x="1235" y="132"/>
                  <a:pt x="1235" y="131"/>
                  <a:pt x="1234" y="131"/>
                </a:cubicBezTo>
                <a:cubicBezTo>
                  <a:pt x="1234" y="131"/>
                  <a:pt x="1233" y="131"/>
                  <a:pt x="1233" y="131"/>
                </a:cubicBezTo>
                <a:cubicBezTo>
                  <a:pt x="1233" y="130"/>
                  <a:pt x="1232" y="130"/>
                  <a:pt x="1232" y="130"/>
                </a:cubicBezTo>
                <a:cubicBezTo>
                  <a:pt x="1232" y="129"/>
                  <a:pt x="1231" y="128"/>
                  <a:pt x="1230" y="128"/>
                </a:cubicBezTo>
                <a:cubicBezTo>
                  <a:pt x="1229" y="127"/>
                  <a:pt x="1228" y="127"/>
                  <a:pt x="1228" y="127"/>
                </a:cubicBezTo>
                <a:cubicBezTo>
                  <a:pt x="1228" y="126"/>
                  <a:pt x="1228" y="126"/>
                  <a:pt x="1228" y="126"/>
                </a:cubicBezTo>
                <a:cubicBezTo>
                  <a:pt x="1228" y="125"/>
                  <a:pt x="1229" y="125"/>
                  <a:pt x="1229" y="125"/>
                </a:cubicBezTo>
                <a:cubicBezTo>
                  <a:pt x="1229" y="124"/>
                  <a:pt x="1229" y="124"/>
                  <a:pt x="1229" y="123"/>
                </a:cubicBezTo>
                <a:cubicBezTo>
                  <a:pt x="1228" y="123"/>
                  <a:pt x="1228" y="123"/>
                  <a:pt x="1228" y="123"/>
                </a:cubicBezTo>
                <a:cubicBezTo>
                  <a:pt x="1228" y="123"/>
                  <a:pt x="1228" y="122"/>
                  <a:pt x="1228" y="122"/>
                </a:cubicBezTo>
                <a:cubicBezTo>
                  <a:pt x="1228" y="122"/>
                  <a:pt x="1229" y="122"/>
                  <a:pt x="1229" y="122"/>
                </a:cubicBezTo>
                <a:cubicBezTo>
                  <a:pt x="1230" y="121"/>
                  <a:pt x="1231" y="121"/>
                  <a:pt x="1231" y="121"/>
                </a:cubicBezTo>
                <a:cubicBezTo>
                  <a:pt x="1232" y="120"/>
                  <a:pt x="1232" y="120"/>
                  <a:pt x="1232" y="119"/>
                </a:cubicBezTo>
                <a:cubicBezTo>
                  <a:pt x="1232" y="118"/>
                  <a:pt x="1232" y="118"/>
                  <a:pt x="1232" y="117"/>
                </a:cubicBezTo>
                <a:cubicBezTo>
                  <a:pt x="1231" y="116"/>
                  <a:pt x="1230" y="115"/>
                  <a:pt x="1230" y="114"/>
                </a:cubicBezTo>
                <a:cubicBezTo>
                  <a:pt x="1230" y="114"/>
                  <a:pt x="1230" y="114"/>
                  <a:pt x="1231" y="113"/>
                </a:cubicBezTo>
                <a:cubicBezTo>
                  <a:pt x="1231" y="114"/>
                  <a:pt x="1232" y="114"/>
                  <a:pt x="1232" y="114"/>
                </a:cubicBezTo>
                <a:cubicBezTo>
                  <a:pt x="1232" y="115"/>
                  <a:pt x="1232" y="115"/>
                  <a:pt x="1232" y="115"/>
                </a:cubicBezTo>
                <a:cubicBezTo>
                  <a:pt x="1233" y="116"/>
                  <a:pt x="1233" y="116"/>
                  <a:pt x="1233" y="116"/>
                </a:cubicBezTo>
                <a:cubicBezTo>
                  <a:pt x="1233" y="116"/>
                  <a:pt x="1233" y="116"/>
                  <a:pt x="1234" y="116"/>
                </a:cubicBezTo>
                <a:cubicBezTo>
                  <a:pt x="1234" y="117"/>
                  <a:pt x="1234" y="117"/>
                  <a:pt x="1234" y="117"/>
                </a:cubicBezTo>
                <a:cubicBezTo>
                  <a:pt x="1234" y="118"/>
                  <a:pt x="1234" y="118"/>
                  <a:pt x="1235" y="118"/>
                </a:cubicBezTo>
                <a:cubicBezTo>
                  <a:pt x="1235" y="119"/>
                  <a:pt x="1234" y="119"/>
                  <a:pt x="1234" y="120"/>
                </a:cubicBezTo>
                <a:cubicBezTo>
                  <a:pt x="1235" y="120"/>
                  <a:pt x="1235" y="121"/>
                  <a:pt x="1235" y="121"/>
                </a:cubicBezTo>
                <a:cubicBezTo>
                  <a:pt x="1235" y="121"/>
                  <a:pt x="1235" y="122"/>
                  <a:pt x="1234" y="122"/>
                </a:cubicBezTo>
                <a:cubicBezTo>
                  <a:pt x="1235" y="122"/>
                  <a:pt x="1235" y="123"/>
                  <a:pt x="1235" y="123"/>
                </a:cubicBezTo>
                <a:cubicBezTo>
                  <a:pt x="1236" y="123"/>
                  <a:pt x="1236" y="124"/>
                  <a:pt x="1237" y="124"/>
                </a:cubicBezTo>
                <a:cubicBezTo>
                  <a:pt x="1237" y="124"/>
                  <a:pt x="1237" y="124"/>
                  <a:pt x="1237" y="125"/>
                </a:cubicBezTo>
                <a:cubicBezTo>
                  <a:pt x="1237" y="125"/>
                  <a:pt x="1237" y="125"/>
                  <a:pt x="1237" y="125"/>
                </a:cubicBezTo>
                <a:cubicBezTo>
                  <a:pt x="1237" y="125"/>
                  <a:pt x="1237" y="126"/>
                  <a:pt x="1237" y="126"/>
                </a:cubicBezTo>
                <a:cubicBezTo>
                  <a:pt x="1237" y="126"/>
                  <a:pt x="1237" y="126"/>
                  <a:pt x="1236" y="126"/>
                </a:cubicBezTo>
                <a:cubicBezTo>
                  <a:pt x="1236" y="126"/>
                  <a:pt x="1237" y="127"/>
                  <a:pt x="1237" y="127"/>
                </a:cubicBezTo>
                <a:cubicBezTo>
                  <a:pt x="1237" y="127"/>
                  <a:pt x="1238" y="127"/>
                  <a:pt x="1238" y="127"/>
                </a:cubicBezTo>
                <a:cubicBezTo>
                  <a:pt x="1239" y="127"/>
                  <a:pt x="1239" y="127"/>
                  <a:pt x="1240" y="128"/>
                </a:cubicBezTo>
                <a:cubicBezTo>
                  <a:pt x="1240" y="128"/>
                  <a:pt x="1241" y="128"/>
                  <a:pt x="1242" y="128"/>
                </a:cubicBezTo>
                <a:cubicBezTo>
                  <a:pt x="1242" y="128"/>
                  <a:pt x="1243" y="128"/>
                  <a:pt x="1243" y="128"/>
                </a:cubicBezTo>
                <a:cubicBezTo>
                  <a:pt x="1243" y="128"/>
                  <a:pt x="1244" y="128"/>
                  <a:pt x="1244" y="129"/>
                </a:cubicBezTo>
                <a:cubicBezTo>
                  <a:pt x="1244" y="129"/>
                  <a:pt x="1244" y="129"/>
                  <a:pt x="1244" y="129"/>
                </a:cubicBezTo>
                <a:cubicBezTo>
                  <a:pt x="1245" y="129"/>
                  <a:pt x="1245" y="129"/>
                  <a:pt x="1246" y="129"/>
                </a:cubicBezTo>
                <a:cubicBezTo>
                  <a:pt x="1246" y="129"/>
                  <a:pt x="1246" y="129"/>
                  <a:pt x="1247" y="129"/>
                </a:cubicBezTo>
                <a:cubicBezTo>
                  <a:pt x="1247" y="129"/>
                  <a:pt x="1248" y="129"/>
                  <a:pt x="1248" y="128"/>
                </a:cubicBezTo>
                <a:cubicBezTo>
                  <a:pt x="1248" y="129"/>
                  <a:pt x="1249" y="129"/>
                  <a:pt x="1249" y="129"/>
                </a:cubicBezTo>
                <a:cubicBezTo>
                  <a:pt x="1249" y="129"/>
                  <a:pt x="1250" y="130"/>
                  <a:pt x="1250" y="130"/>
                </a:cubicBezTo>
                <a:cubicBezTo>
                  <a:pt x="1251" y="130"/>
                  <a:pt x="1251" y="130"/>
                  <a:pt x="1252" y="130"/>
                </a:cubicBezTo>
                <a:cubicBezTo>
                  <a:pt x="1252" y="131"/>
                  <a:pt x="1253" y="131"/>
                  <a:pt x="1253" y="131"/>
                </a:cubicBezTo>
                <a:cubicBezTo>
                  <a:pt x="1254" y="131"/>
                  <a:pt x="1255" y="131"/>
                  <a:pt x="1255" y="131"/>
                </a:cubicBezTo>
                <a:cubicBezTo>
                  <a:pt x="1256" y="131"/>
                  <a:pt x="1256" y="131"/>
                  <a:pt x="1256" y="131"/>
                </a:cubicBezTo>
                <a:cubicBezTo>
                  <a:pt x="1256" y="131"/>
                  <a:pt x="1256" y="131"/>
                  <a:pt x="1255" y="131"/>
                </a:cubicBezTo>
                <a:cubicBezTo>
                  <a:pt x="1255" y="131"/>
                  <a:pt x="1254" y="131"/>
                  <a:pt x="1253" y="131"/>
                </a:cubicBezTo>
                <a:cubicBezTo>
                  <a:pt x="1253" y="130"/>
                  <a:pt x="1253" y="130"/>
                  <a:pt x="1253" y="130"/>
                </a:cubicBezTo>
                <a:cubicBezTo>
                  <a:pt x="1253" y="130"/>
                  <a:pt x="1252" y="130"/>
                  <a:pt x="1252" y="129"/>
                </a:cubicBezTo>
                <a:cubicBezTo>
                  <a:pt x="1252" y="129"/>
                  <a:pt x="1252" y="129"/>
                  <a:pt x="1252" y="128"/>
                </a:cubicBezTo>
                <a:cubicBezTo>
                  <a:pt x="1251" y="128"/>
                  <a:pt x="1250" y="128"/>
                  <a:pt x="1250" y="128"/>
                </a:cubicBezTo>
                <a:cubicBezTo>
                  <a:pt x="1250" y="128"/>
                  <a:pt x="1249" y="128"/>
                  <a:pt x="1249" y="127"/>
                </a:cubicBezTo>
                <a:cubicBezTo>
                  <a:pt x="1249" y="127"/>
                  <a:pt x="1249" y="127"/>
                  <a:pt x="1249" y="127"/>
                </a:cubicBezTo>
                <a:cubicBezTo>
                  <a:pt x="1249" y="127"/>
                  <a:pt x="1248" y="127"/>
                  <a:pt x="1248" y="128"/>
                </a:cubicBezTo>
                <a:cubicBezTo>
                  <a:pt x="1247" y="127"/>
                  <a:pt x="1246" y="127"/>
                  <a:pt x="1245" y="127"/>
                </a:cubicBezTo>
                <a:cubicBezTo>
                  <a:pt x="1245" y="127"/>
                  <a:pt x="1245" y="127"/>
                  <a:pt x="1244" y="126"/>
                </a:cubicBezTo>
                <a:cubicBezTo>
                  <a:pt x="1244" y="126"/>
                  <a:pt x="1243" y="126"/>
                  <a:pt x="1242" y="126"/>
                </a:cubicBezTo>
                <a:cubicBezTo>
                  <a:pt x="1242" y="125"/>
                  <a:pt x="1241" y="125"/>
                  <a:pt x="1240" y="125"/>
                </a:cubicBezTo>
                <a:cubicBezTo>
                  <a:pt x="1240" y="124"/>
                  <a:pt x="1240" y="124"/>
                  <a:pt x="1240" y="124"/>
                </a:cubicBezTo>
                <a:cubicBezTo>
                  <a:pt x="1240" y="123"/>
                  <a:pt x="1240" y="123"/>
                  <a:pt x="1239" y="123"/>
                </a:cubicBezTo>
                <a:cubicBezTo>
                  <a:pt x="1239" y="123"/>
                  <a:pt x="1238" y="122"/>
                  <a:pt x="1238" y="121"/>
                </a:cubicBezTo>
                <a:cubicBezTo>
                  <a:pt x="1238" y="121"/>
                  <a:pt x="1238" y="121"/>
                  <a:pt x="1239" y="121"/>
                </a:cubicBezTo>
                <a:cubicBezTo>
                  <a:pt x="1239" y="121"/>
                  <a:pt x="1239" y="121"/>
                  <a:pt x="1239" y="121"/>
                </a:cubicBezTo>
                <a:cubicBezTo>
                  <a:pt x="1240" y="121"/>
                  <a:pt x="1241" y="121"/>
                  <a:pt x="1241" y="121"/>
                </a:cubicBezTo>
                <a:cubicBezTo>
                  <a:pt x="1241" y="121"/>
                  <a:pt x="1242" y="121"/>
                  <a:pt x="1242" y="121"/>
                </a:cubicBezTo>
                <a:cubicBezTo>
                  <a:pt x="1242" y="121"/>
                  <a:pt x="1243" y="122"/>
                  <a:pt x="1243" y="122"/>
                </a:cubicBezTo>
                <a:cubicBezTo>
                  <a:pt x="1244" y="122"/>
                  <a:pt x="1245" y="123"/>
                  <a:pt x="1246" y="123"/>
                </a:cubicBezTo>
                <a:cubicBezTo>
                  <a:pt x="1247" y="123"/>
                  <a:pt x="1247" y="123"/>
                  <a:pt x="1248" y="123"/>
                </a:cubicBezTo>
                <a:cubicBezTo>
                  <a:pt x="1248" y="123"/>
                  <a:pt x="1249" y="122"/>
                  <a:pt x="1249" y="122"/>
                </a:cubicBezTo>
                <a:cubicBezTo>
                  <a:pt x="1249" y="121"/>
                  <a:pt x="1249" y="121"/>
                  <a:pt x="1248" y="120"/>
                </a:cubicBezTo>
                <a:cubicBezTo>
                  <a:pt x="1248" y="120"/>
                  <a:pt x="1247" y="120"/>
                  <a:pt x="1246" y="120"/>
                </a:cubicBezTo>
                <a:cubicBezTo>
                  <a:pt x="1246" y="120"/>
                  <a:pt x="1245" y="120"/>
                  <a:pt x="1244" y="120"/>
                </a:cubicBezTo>
                <a:cubicBezTo>
                  <a:pt x="1244" y="120"/>
                  <a:pt x="1244" y="120"/>
                  <a:pt x="1243" y="120"/>
                </a:cubicBezTo>
                <a:cubicBezTo>
                  <a:pt x="1244" y="120"/>
                  <a:pt x="1244" y="119"/>
                  <a:pt x="1244" y="119"/>
                </a:cubicBezTo>
                <a:cubicBezTo>
                  <a:pt x="1244" y="119"/>
                  <a:pt x="1244" y="119"/>
                  <a:pt x="1244" y="120"/>
                </a:cubicBezTo>
                <a:cubicBezTo>
                  <a:pt x="1245" y="120"/>
                  <a:pt x="1245" y="119"/>
                  <a:pt x="1245" y="119"/>
                </a:cubicBezTo>
                <a:cubicBezTo>
                  <a:pt x="1245" y="119"/>
                  <a:pt x="1245" y="119"/>
                  <a:pt x="1245" y="119"/>
                </a:cubicBezTo>
                <a:cubicBezTo>
                  <a:pt x="1246" y="118"/>
                  <a:pt x="1246" y="118"/>
                  <a:pt x="1247" y="117"/>
                </a:cubicBezTo>
                <a:cubicBezTo>
                  <a:pt x="1248" y="117"/>
                  <a:pt x="1248" y="117"/>
                  <a:pt x="1248" y="117"/>
                </a:cubicBezTo>
                <a:cubicBezTo>
                  <a:pt x="1249" y="117"/>
                  <a:pt x="1249" y="117"/>
                  <a:pt x="1250" y="118"/>
                </a:cubicBezTo>
                <a:cubicBezTo>
                  <a:pt x="1251" y="118"/>
                  <a:pt x="1252" y="118"/>
                  <a:pt x="1254" y="118"/>
                </a:cubicBezTo>
                <a:cubicBezTo>
                  <a:pt x="1254" y="119"/>
                  <a:pt x="1255" y="119"/>
                  <a:pt x="1255" y="119"/>
                </a:cubicBezTo>
                <a:cubicBezTo>
                  <a:pt x="1255" y="120"/>
                  <a:pt x="1256" y="120"/>
                  <a:pt x="1256" y="120"/>
                </a:cubicBezTo>
                <a:cubicBezTo>
                  <a:pt x="1257" y="120"/>
                  <a:pt x="1259" y="121"/>
                  <a:pt x="1260" y="121"/>
                </a:cubicBezTo>
                <a:cubicBezTo>
                  <a:pt x="1260" y="121"/>
                  <a:pt x="1260" y="122"/>
                  <a:pt x="1260" y="122"/>
                </a:cubicBezTo>
                <a:cubicBezTo>
                  <a:pt x="1260" y="122"/>
                  <a:pt x="1261" y="122"/>
                  <a:pt x="1261" y="122"/>
                </a:cubicBezTo>
                <a:cubicBezTo>
                  <a:pt x="1262" y="123"/>
                  <a:pt x="1263" y="124"/>
                  <a:pt x="1263" y="124"/>
                </a:cubicBezTo>
                <a:cubicBezTo>
                  <a:pt x="1264" y="124"/>
                  <a:pt x="1264" y="125"/>
                  <a:pt x="1265" y="125"/>
                </a:cubicBezTo>
                <a:cubicBezTo>
                  <a:pt x="1266" y="125"/>
                  <a:pt x="1267" y="125"/>
                  <a:pt x="1268" y="125"/>
                </a:cubicBezTo>
                <a:cubicBezTo>
                  <a:pt x="1269" y="125"/>
                  <a:pt x="1270" y="125"/>
                  <a:pt x="1271" y="124"/>
                </a:cubicBezTo>
                <a:cubicBezTo>
                  <a:pt x="1271" y="125"/>
                  <a:pt x="1271" y="125"/>
                  <a:pt x="1272" y="125"/>
                </a:cubicBezTo>
                <a:cubicBezTo>
                  <a:pt x="1272" y="125"/>
                  <a:pt x="1272" y="125"/>
                  <a:pt x="1272" y="125"/>
                </a:cubicBezTo>
                <a:cubicBezTo>
                  <a:pt x="1273" y="125"/>
                  <a:pt x="1273" y="125"/>
                  <a:pt x="1274" y="125"/>
                </a:cubicBezTo>
                <a:cubicBezTo>
                  <a:pt x="1273" y="126"/>
                  <a:pt x="1273" y="126"/>
                  <a:pt x="1273" y="127"/>
                </a:cubicBezTo>
                <a:cubicBezTo>
                  <a:pt x="1273" y="127"/>
                  <a:pt x="1273" y="127"/>
                  <a:pt x="1273" y="127"/>
                </a:cubicBezTo>
                <a:cubicBezTo>
                  <a:pt x="1273" y="128"/>
                  <a:pt x="1273" y="128"/>
                  <a:pt x="1273" y="128"/>
                </a:cubicBezTo>
                <a:cubicBezTo>
                  <a:pt x="1272" y="128"/>
                  <a:pt x="1272" y="128"/>
                  <a:pt x="1271" y="128"/>
                </a:cubicBezTo>
                <a:cubicBezTo>
                  <a:pt x="1271" y="129"/>
                  <a:pt x="1271" y="129"/>
                  <a:pt x="1271" y="129"/>
                </a:cubicBezTo>
                <a:cubicBezTo>
                  <a:pt x="1271" y="130"/>
                  <a:pt x="1271" y="130"/>
                  <a:pt x="1271" y="130"/>
                </a:cubicBezTo>
                <a:cubicBezTo>
                  <a:pt x="1271" y="131"/>
                  <a:pt x="1271" y="131"/>
                  <a:pt x="1271" y="131"/>
                </a:cubicBezTo>
                <a:cubicBezTo>
                  <a:pt x="1272" y="132"/>
                  <a:pt x="1272" y="132"/>
                  <a:pt x="1273" y="133"/>
                </a:cubicBezTo>
                <a:cubicBezTo>
                  <a:pt x="1273" y="133"/>
                  <a:pt x="1273" y="133"/>
                  <a:pt x="1273" y="134"/>
                </a:cubicBezTo>
                <a:cubicBezTo>
                  <a:pt x="1273" y="134"/>
                  <a:pt x="1272" y="134"/>
                  <a:pt x="1272" y="134"/>
                </a:cubicBezTo>
                <a:cubicBezTo>
                  <a:pt x="1272" y="135"/>
                  <a:pt x="1272" y="136"/>
                  <a:pt x="1272" y="136"/>
                </a:cubicBezTo>
                <a:cubicBezTo>
                  <a:pt x="1273" y="136"/>
                  <a:pt x="1273" y="136"/>
                  <a:pt x="1273" y="136"/>
                </a:cubicBezTo>
                <a:cubicBezTo>
                  <a:pt x="1273" y="136"/>
                  <a:pt x="1273" y="136"/>
                  <a:pt x="1274" y="136"/>
                </a:cubicBezTo>
                <a:cubicBezTo>
                  <a:pt x="1273" y="136"/>
                  <a:pt x="1273" y="135"/>
                  <a:pt x="1273" y="135"/>
                </a:cubicBezTo>
                <a:cubicBezTo>
                  <a:pt x="1274" y="135"/>
                  <a:pt x="1274" y="135"/>
                  <a:pt x="1274" y="135"/>
                </a:cubicBezTo>
                <a:cubicBezTo>
                  <a:pt x="1274" y="134"/>
                  <a:pt x="1274" y="134"/>
                  <a:pt x="1274" y="134"/>
                </a:cubicBezTo>
                <a:cubicBezTo>
                  <a:pt x="1274" y="134"/>
                  <a:pt x="1275" y="134"/>
                  <a:pt x="1275" y="134"/>
                </a:cubicBezTo>
                <a:cubicBezTo>
                  <a:pt x="1275" y="133"/>
                  <a:pt x="1276" y="133"/>
                  <a:pt x="1276" y="133"/>
                </a:cubicBezTo>
                <a:cubicBezTo>
                  <a:pt x="1276" y="133"/>
                  <a:pt x="1276" y="133"/>
                  <a:pt x="1277" y="133"/>
                </a:cubicBezTo>
                <a:cubicBezTo>
                  <a:pt x="1277" y="134"/>
                  <a:pt x="1277" y="134"/>
                  <a:pt x="1277" y="135"/>
                </a:cubicBezTo>
                <a:cubicBezTo>
                  <a:pt x="1277" y="135"/>
                  <a:pt x="1277" y="136"/>
                  <a:pt x="1277" y="136"/>
                </a:cubicBezTo>
                <a:cubicBezTo>
                  <a:pt x="1277" y="137"/>
                  <a:pt x="1277" y="137"/>
                  <a:pt x="1277" y="137"/>
                </a:cubicBezTo>
                <a:cubicBezTo>
                  <a:pt x="1277" y="137"/>
                  <a:pt x="1277" y="137"/>
                  <a:pt x="1276" y="137"/>
                </a:cubicBezTo>
                <a:cubicBezTo>
                  <a:pt x="1276" y="138"/>
                  <a:pt x="1276" y="138"/>
                  <a:pt x="1276" y="138"/>
                </a:cubicBezTo>
                <a:cubicBezTo>
                  <a:pt x="1276" y="138"/>
                  <a:pt x="1276" y="138"/>
                  <a:pt x="1276" y="138"/>
                </a:cubicBezTo>
                <a:cubicBezTo>
                  <a:pt x="1276" y="139"/>
                  <a:pt x="1277" y="139"/>
                  <a:pt x="1278" y="140"/>
                </a:cubicBezTo>
                <a:cubicBezTo>
                  <a:pt x="1278" y="140"/>
                  <a:pt x="1279" y="140"/>
                  <a:pt x="1280" y="140"/>
                </a:cubicBezTo>
                <a:cubicBezTo>
                  <a:pt x="1280" y="140"/>
                  <a:pt x="1281" y="140"/>
                  <a:pt x="1281" y="140"/>
                </a:cubicBezTo>
                <a:cubicBezTo>
                  <a:pt x="1282" y="141"/>
                  <a:pt x="1282" y="141"/>
                  <a:pt x="1282" y="141"/>
                </a:cubicBezTo>
                <a:cubicBezTo>
                  <a:pt x="1282" y="142"/>
                  <a:pt x="1282" y="142"/>
                  <a:pt x="1282" y="142"/>
                </a:cubicBezTo>
                <a:cubicBezTo>
                  <a:pt x="1282" y="143"/>
                  <a:pt x="1283" y="143"/>
                  <a:pt x="1283" y="143"/>
                </a:cubicBezTo>
                <a:cubicBezTo>
                  <a:pt x="1284" y="143"/>
                  <a:pt x="1285" y="143"/>
                  <a:pt x="1286" y="143"/>
                </a:cubicBezTo>
                <a:cubicBezTo>
                  <a:pt x="1286" y="144"/>
                  <a:pt x="1287" y="145"/>
                  <a:pt x="1288" y="145"/>
                </a:cubicBezTo>
                <a:cubicBezTo>
                  <a:pt x="1288" y="145"/>
                  <a:pt x="1288" y="145"/>
                  <a:pt x="1287" y="145"/>
                </a:cubicBezTo>
                <a:cubicBezTo>
                  <a:pt x="1288" y="145"/>
                  <a:pt x="1288" y="144"/>
                  <a:pt x="1288" y="144"/>
                </a:cubicBezTo>
                <a:cubicBezTo>
                  <a:pt x="1288" y="144"/>
                  <a:pt x="1289" y="143"/>
                  <a:pt x="1290" y="143"/>
                </a:cubicBezTo>
                <a:cubicBezTo>
                  <a:pt x="1290" y="143"/>
                  <a:pt x="1291" y="143"/>
                  <a:pt x="1291" y="143"/>
                </a:cubicBezTo>
                <a:cubicBezTo>
                  <a:pt x="1292" y="144"/>
                  <a:pt x="1292" y="144"/>
                  <a:pt x="1293" y="145"/>
                </a:cubicBezTo>
                <a:cubicBezTo>
                  <a:pt x="1294" y="145"/>
                  <a:pt x="1294" y="145"/>
                  <a:pt x="1295" y="145"/>
                </a:cubicBezTo>
                <a:cubicBezTo>
                  <a:pt x="1295" y="145"/>
                  <a:pt x="1296" y="146"/>
                  <a:pt x="1296" y="146"/>
                </a:cubicBezTo>
                <a:cubicBezTo>
                  <a:pt x="1296" y="147"/>
                  <a:pt x="1296" y="147"/>
                  <a:pt x="1296" y="148"/>
                </a:cubicBezTo>
                <a:cubicBezTo>
                  <a:pt x="1296" y="147"/>
                  <a:pt x="1296" y="147"/>
                  <a:pt x="1296" y="146"/>
                </a:cubicBezTo>
                <a:cubicBezTo>
                  <a:pt x="1296" y="146"/>
                  <a:pt x="1296" y="145"/>
                  <a:pt x="1296" y="145"/>
                </a:cubicBezTo>
                <a:cubicBezTo>
                  <a:pt x="1295" y="145"/>
                  <a:pt x="1295" y="145"/>
                  <a:pt x="1295" y="145"/>
                </a:cubicBezTo>
                <a:cubicBezTo>
                  <a:pt x="1294" y="145"/>
                  <a:pt x="1294" y="144"/>
                  <a:pt x="1293" y="144"/>
                </a:cubicBezTo>
                <a:cubicBezTo>
                  <a:pt x="1292" y="144"/>
                  <a:pt x="1292" y="143"/>
                  <a:pt x="1291" y="143"/>
                </a:cubicBezTo>
                <a:cubicBezTo>
                  <a:pt x="1290" y="143"/>
                  <a:pt x="1290" y="143"/>
                  <a:pt x="1289" y="143"/>
                </a:cubicBezTo>
                <a:cubicBezTo>
                  <a:pt x="1288" y="143"/>
                  <a:pt x="1288" y="143"/>
                  <a:pt x="1287" y="143"/>
                </a:cubicBezTo>
                <a:cubicBezTo>
                  <a:pt x="1287" y="143"/>
                  <a:pt x="1286" y="143"/>
                  <a:pt x="1286" y="143"/>
                </a:cubicBezTo>
                <a:cubicBezTo>
                  <a:pt x="1286" y="143"/>
                  <a:pt x="1286" y="143"/>
                  <a:pt x="1286" y="143"/>
                </a:cubicBezTo>
                <a:cubicBezTo>
                  <a:pt x="1285" y="143"/>
                  <a:pt x="1285" y="142"/>
                  <a:pt x="1284" y="142"/>
                </a:cubicBezTo>
                <a:cubicBezTo>
                  <a:pt x="1283" y="142"/>
                  <a:pt x="1283" y="141"/>
                  <a:pt x="1282" y="140"/>
                </a:cubicBezTo>
                <a:cubicBezTo>
                  <a:pt x="1282" y="140"/>
                  <a:pt x="1281" y="140"/>
                  <a:pt x="1281" y="140"/>
                </a:cubicBezTo>
                <a:cubicBezTo>
                  <a:pt x="1280" y="139"/>
                  <a:pt x="1280" y="139"/>
                  <a:pt x="1279" y="139"/>
                </a:cubicBezTo>
                <a:cubicBezTo>
                  <a:pt x="1279" y="139"/>
                  <a:pt x="1278" y="138"/>
                  <a:pt x="1278" y="138"/>
                </a:cubicBezTo>
                <a:cubicBezTo>
                  <a:pt x="1278" y="138"/>
                  <a:pt x="1279" y="138"/>
                  <a:pt x="1279" y="138"/>
                </a:cubicBezTo>
                <a:cubicBezTo>
                  <a:pt x="1279" y="138"/>
                  <a:pt x="1279" y="138"/>
                  <a:pt x="1280" y="138"/>
                </a:cubicBezTo>
                <a:cubicBezTo>
                  <a:pt x="1280" y="138"/>
                  <a:pt x="1281" y="137"/>
                  <a:pt x="1281" y="137"/>
                </a:cubicBezTo>
                <a:cubicBezTo>
                  <a:pt x="1281" y="137"/>
                  <a:pt x="1281" y="136"/>
                  <a:pt x="1281" y="136"/>
                </a:cubicBezTo>
                <a:cubicBezTo>
                  <a:pt x="1281" y="136"/>
                  <a:pt x="1280" y="135"/>
                  <a:pt x="1280" y="135"/>
                </a:cubicBezTo>
                <a:cubicBezTo>
                  <a:pt x="1279" y="134"/>
                  <a:pt x="1279" y="134"/>
                  <a:pt x="1279" y="133"/>
                </a:cubicBezTo>
                <a:cubicBezTo>
                  <a:pt x="1279" y="133"/>
                  <a:pt x="1278" y="132"/>
                  <a:pt x="1278" y="131"/>
                </a:cubicBezTo>
                <a:cubicBezTo>
                  <a:pt x="1277" y="131"/>
                  <a:pt x="1277" y="131"/>
                  <a:pt x="1277" y="131"/>
                </a:cubicBezTo>
                <a:cubicBezTo>
                  <a:pt x="1276" y="130"/>
                  <a:pt x="1276" y="130"/>
                  <a:pt x="1275" y="129"/>
                </a:cubicBezTo>
                <a:cubicBezTo>
                  <a:pt x="1276" y="129"/>
                  <a:pt x="1276" y="129"/>
                  <a:pt x="1276" y="129"/>
                </a:cubicBezTo>
                <a:cubicBezTo>
                  <a:pt x="1276" y="128"/>
                  <a:pt x="1276" y="128"/>
                  <a:pt x="1276" y="128"/>
                </a:cubicBezTo>
                <a:cubicBezTo>
                  <a:pt x="1276" y="127"/>
                  <a:pt x="1276" y="126"/>
                  <a:pt x="1276" y="126"/>
                </a:cubicBezTo>
                <a:cubicBezTo>
                  <a:pt x="1275" y="125"/>
                  <a:pt x="1275" y="125"/>
                  <a:pt x="1275" y="125"/>
                </a:cubicBezTo>
                <a:cubicBezTo>
                  <a:pt x="1274" y="125"/>
                  <a:pt x="1274" y="125"/>
                  <a:pt x="1274" y="125"/>
                </a:cubicBezTo>
                <a:cubicBezTo>
                  <a:pt x="1273" y="124"/>
                  <a:pt x="1273" y="124"/>
                  <a:pt x="1272" y="123"/>
                </a:cubicBezTo>
                <a:cubicBezTo>
                  <a:pt x="1271" y="123"/>
                  <a:pt x="1270" y="123"/>
                  <a:pt x="1269" y="123"/>
                </a:cubicBezTo>
                <a:cubicBezTo>
                  <a:pt x="1269" y="122"/>
                  <a:pt x="1268" y="122"/>
                  <a:pt x="1268" y="122"/>
                </a:cubicBezTo>
                <a:cubicBezTo>
                  <a:pt x="1268" y="121"/>
                  <a:pt x="1267" y="121"/>
                  <a:pt x="1266" y="121"/>
                </a:cubicBezTo>
                <a:cubicBezTo>
                  <a:pt x="1266" y="120"/>
                  <a:pt x="1267" y="120"/>
                  <a:pt x="1267" y="120"/>
                </a:cubicBezTo>
                <a:cubicBezTo>
                  <a:pt x="1266" y="120"/>
                  <a:pt x="1266" y="119"/>
                  <a:pt x="1266" y="119"/>
                </a:cubicBezTo>
                <a:cubicBezTo>
                  <a:pt x="1266" y="119"/>
                  <a:pt x="1266" y="119"/>
                  <a:pt x="1266" y="119"/>
                </a:cubicBezTo>
                <a:cubicBezTo>
                  <a:pt x="1266" y="119"/>
                  <a:pt x="1265" y="119"/>
                  <a:pt x="1265" y="119"/>
                </a:cubicBezTo>
                <a:cubicBezTo>
                  <a:pt x="1263" y="119"/>
                  <a:pt x="1262" y="118"/>
                  <a:pt x="1261" y="118"/>
                </a:cubicBezTo>
                <a:cubicBezTo>
                  <a:pt x="1260" y="118"/>
                  <a:pt x="1260" y="118"/>
                  <a:pt x="1259" y="118"/>
                </a:cubicBezTo>
                <a:cubicBezTo>
                  <a:pt x="1259" y="118"/>
                  <a:pt x="1258" y="117"/>
                  <a:pt x="1258" y="117"/>
                </a:cubicBezTo>
                <a:cubicBezTo>
                  <a:pt x="1258" y="117"/>
                  <a:pt x="1258" y="116"/>
                  <a:pt x="1258" y="116"/>
                </a:cubicBezTo>
                <a:cubicBezTo>
                  <a:pt x="1257" y="116"/>
                  <a:pt x="1257" y="116"/>
                  <a:pt x="1257" y="116"/>
                </a:cubicBezTo>
                <a:cubicBezTo>
                  <a:pt x="1257" y="116"/>
                  <a:pt x="1257" y="116"/>
                  <a:pt x="1257" y="115"/>
                </a:cubicBezTo>
                <a:cubicBezTo>
                  <a:pt x="1257" y="115"/>
                  <a:pt x="1257" y="114"/>
                  <a:pt x="1257" y="114"/>
                </a:cubicBezTo>
                <a:cubicBezTo>
                  <a:pt x="1257" y="113"/>
                  <a:pt x="1256" y="113"/>
                  <a:pt x="1256" y="112"/>
                </a:cubicBezTo>
                <a:cubicBezTo>
                  <a:pt x="1255" y="112"/>
                  <a:pt x="1254" y="111"/>
                  <a:pt x="1254" y="111"/>
                </a:cubicBezTo>
                <a:cubicBezTo>
                  <a:pt x="1254" y="111"/>
                  <a:pt x="1254" y="111"/>
                  <a:pt x="1254" y="111"/>
                </a:cubicBezTo>
                <a:cubicBezTo>
                  <a:pt x="1254" y="110"/>
                  <a:pt x="1254" y="110"/>
                  <a:pt x="1254" y="110"/>
                </a:cubicBezTo>
                <a:cubicBezTo>
                  <a:pt x="1254" y="110"/>
                  <a:pt x="1254" y="110"/>
                  <a:pt x="1253" y="110"/>
                </a:cubicBezTo>
                <a:cubicBezTo>
                  <a:pt x="1253" y="110"/>
                  <a:pt x="1253" y="109"/>
                  <a:pt x="1253" y="109"/>
                </a:cubicBezTo>
                <a:cubicBezTo>
                  <a:pt x="1253" y="109"/>
                  <a:pt x="1253" y="109"/>
                  <a:pt x="1253" y="109"/>
                </a:cubicBezTo>
                <a:cubicBezTo>
                  <a:pt x="1253" y="108"/>
                  <a:pt x="1253" y="108"/>
                  <a:pt x="1253" y="108"/>
                </a:cubicBezTo>
                <a:cubicBezTo>
                  <a:pt x="1253" y="108"/>
                  <a:pt x="1252" y="107"/>
                  <a:pt x="1252" y="107"/>
                </a:cubicBezTo>
                <a:cubicBezTo>
                  <a:pt x="1252" y="107"/>
                  <a:pt x="1253" y="107"/>
                  <a:pt x="1253" y="107"/>
                </a:cubicBezTo>
                <a:cubicBezTo>
                  <a:pt x="1254" y="107"/>
                  <a:pt x="1254" y="107"/>
                  <a:pt x="1255" y="107"/>
                </a:cubicBezTo>
                <a:cubicBezTo>
                  <a:pt x="1255" y="107"/>
                  <a:pt x="1256" y="106"/>
                  <a:pt x="1256" y="106"/>
                </a:cubicBezTo>
                <a:cubicBezTo>
                  <a:pt x="1257" y="106"/>
                  <a:pt x="1257" y="106"/>
                  <a:pt x="1258" y="106"/>
                </a:cubicBezTo>
                <a:cubicBezTo>
                  <a:pt x="1259" y="106"/>
                  <a:pt x="1260" y="106"/>
                  <a:pt x="1261" y="106"/>
                </a:cubicBezTo>
                <a:cubicBezTo>
                  <a:pt x="1263" y="106"/>
                  <a:pt x="1264" y="106"/>
                  <a:pt x="1266" y="106"/>
                </a:cubicBezTo>
                <a:cubicBezTo>
                  <a:pt x="1266" y="106"/>
                  <a:pt x="1267" y="106"/>
                  <a:pt x="1268" y="106"/>
                </a:cubicBezTo>
                <a:cubicBezTo>
                  <a:pt x="1268" y="106"/>
                  <a:pt x="1269" y="106"/>
                  <a:pt x="1269" y="106"/>
                </a:cubicBezTo>
                <a:cubicBezTo>
                  <a:pt x="1269" y="106"/>
                  <a:pt x="1270" y="106"/>
                  <a:pt x="1270" y="106"/>
                </a:cubicBezTo>
                <a:cubicBezTo>
                  <a:pt x="1271" y="106"/>
                  <a:pt x="1271" y="106"/>
                  <a:pt x="1272" y="106"/>
                </a:cubicBezTo>
                <a:cubicBezTo>
                  <a:pt x="1272" y="106"/>
                  <a:pt x="1272" y="105"/>
                  <a:pt x="1273" y="105"/>
                </a:cubicBezTo>
                <a:cubicBezTo>
                  <a:pt x="1273" y="105"/>
                  <a:pt x="1274" y="105"/>
                  <a:pt x="1275" y="105"/>
                </a:cubicBezTo>
                <a:cubicBezTo>
                  <a:pt x="1276" y="105"/>
                  <a:pt x="1278" y="105"/>
                  <a:pt x="1279" y="105"/>
                </a:cubicBezTo>
                <a:cubicBezTo>
                  <a:pt x="1279" y="105"/>
                  <a:pt x="1279" y="105"/>
                  <a:pt x="1279" y="105"/>
                </a:cubicBezTo>
                <a:cubicBezTo>
                  <a:pt x="1279" y="105"/>
                  <a:pt x="1279" y="105"/>
                  <a:pt x="1279" y="106"/>
                </a:cubicBezTo>
                <a:cubicBezTo>
                  <a:pt x="1279" y="106"/>
                  <a:pt x="1279" y="106"/>
                  <a:pt x="1279" y="106"/>
                </a:cubicBezTo>
                <a:cubicBezTo>
                  <a:pt x="1278" y="106"/>
                  <a:pt x="1278" y="106"/>
                  <a:pt x="1278" y="106"/>
                </a:cubicBezTo>
                <a:cubicBezTo>
                  <a:pt x="1277" y="107"/>
                  <a:pt x="1277" y="107"/>
                  <a:pt x="1276" y="108"/>
                </a:cubicBezTo>
                <a:cubicBezTo>
                  <a:pt x="1276" y="108"/>
                  <a:pt x="1276" y="108"/>
                  <a:pt x="1276" y="109"/>
                </a:cubicBezTo>
                <a:cubicBezTo>
                  <a:pt x="1277" y="109"/>
                  <a:pt x="1278" y="110"/>
                  <a:pt x="1278" y="110"/>
                </a:cubicBezTo>
                <a:cubicBezTo>
                  <a:pt x="1279" y="110"/>
                  <a:pt x="1280" y="110"/>
                  <a:pt x="1281" y="111"/>
                </a:cubicBezTo>
                <a:cubicBezTo>
                  <a:pt x="1280" y="110"/>
                  <a:pt x="1280" y="110"/>
                  <a:pt x="1279" y="110"/>
                </a:cubicBezTo>
                <a:cubicBezTo>
                  <a:pt x="1279" y="109"/>
                  <a:pt x="1278" y="109"/>
                  <a:pt x="1278" y="108"/>
                </a:cubicBezTo>
                <a:cubicBezTo>
                  <a:pt x="1278" y="108"/>
                  <a:pt x="1278" y="108"/>
                  <a:pt x="1278" y="108"/>
                </a:cubicBezTo>
                <a:cubicBezTo>
                  <a:pt x="1278" y="108"/>
                  <a:pt x="1278" y="107"/>
                  <a:pt x="1279" y="107"/>
                </a:cubicBezTo>
                <a:cubicBezTo>
                  <a:pt x="1280" y="107"/>
                  <a:pt x="1280" y="107"/>
                  <a:pt x="1281" y="107"/>
                </a:cubicBezTo>
                <a:cubicBezTo>
                  <a:pt x="1282" y="106"/>
                  <a:pt x="1282" y="106"/>
                  <a:pt x="1282" y="106"/>
                </a:cubicBezTo>
                <a:cubicBezTo>
                  <a:pt x="1282" y="105"/>
                  <a:pt x="1282" y="105"/>
                  <a:pt x="1282" y="104"/>
                </a:cubicBezTo>
                <a:cubicBezTo>
                  <a:pt x="1281" y="104"/>
                  <a:pt x="1281" y="104"/>
                  <a:pt x="1280" y="104"/>
                </a:cubicBezTo>
                <a:cubicBezTo>
                  <a:pt x="1280" y="104"/>
                  <a:pt x="1279" y="103"/>
                  <a:pt x="1279" y="103"/>
                </a:cubicBezTo>
                <a:cubicBezTo>
                  <a:pt x="1279" y="103"/>
                  <a:pt x="1279" y="103"/>
                  <a:pt x="1279" y="102"/>
                </a:cubicBezTo>
                <a:cubicBezTo>
                  <a:pt x="1279" y="102"/>
                  <a:pt x="1278" y="102"/>
                  <a:pt x="1277" y="102"/>
                </a:cubicBezTo>
                <a:cubicBezTo>
                  <a:pt x="1277" y="102"/>
                  <a:pt x="1277" y="102"/>
                  <a:pt x="1277" y="102"/>
                </a:cubicBezTo>
                <a:cubicBezTo>
                  <a:pt x="1276" y="102"/>
                  <a:pt x="1276" y="102"/>
                  <a:pt x="1276" y="102"/>
                </a:cubicBezTo>
                <a:cubicBezTo>
                  <a:pt x="1276" y="102"/>
                  <a:pt x="1276" y="101"/>
                  <a:pt x="1276" y="101"/>
                </a:cubicBezTo>
                <a:cubicBezTo>
                  <a:pt x="1275" y="101"/>
                  <a:pt x="1274" y="101"/>
                  <a:pt x="1274" y="101"/>
                </a:cubicBezTo>
                <a:cubicBezTo>
                  <a:pt x="1273" y="101"/>
                  <a:pt x="1273" y="101"/>
                  <a:pt x="1273" y="101"/>
                </a:cubicBezTo>
                <a:cubicBezTo>
                  <a:pt x="1272" y="100"/>
                  <a:pt x="1272" y="100"/>
                  <a:pt x="1271" y="99"/>
                </a:cubicBezTo>
                <a:cubicBezTo>
                  <a:pt x="1272" y="99"/>
                  <a:pt x="1272" y="99"/>
                  <a:pt x="1272" y="99"/>
                </a:cubicBezTo>
                <a:cubicBezTo>
                  <a:pt x="1272" y="99"/>
                  <a:pt x="1272" y="99"/>
                  <a:pt x="1272" y="99"/>
                </a:cubicBezTo>
                <a:cubicBezTo>
                  <a:pt x="1273" y="99"/>
                  <a:pt x="1273" y="99"/>
                  <a:pt x="1273" y="99"/>
                </a:cubicBezTo>
                <a:cubicBezTo>
                  <a:pt x="1273" y="99"/>
                  <a:pt x="1274" y="99"/>
                  <a:pt x="1274" y="99"/>
                </a:cubicBezTo>
                <a:cubicBezTo>
                  <a:pt x="1274" y="100"/>
                  <a:pt x="1275" y="100"/>
                  <a:pt x="1275" y="100"/>
                </a:cubicBezTo>
                <a:cubicBezTo>
                  <a:pt x="1276" y="100"/>
                  <a:pt x="1276" y="100"/>
                  <a:pt x="1277" y="100"/>
                </a:cubicBezTo>
                <a:cubicBezTo>
                  <a:pt x="1277" y="99"/>
                  <a:pt x="1276" y="99"/>
                  <a:pt x="1276" y="99"/>
                </a:cubicBezTo>
                <a:cubicBezTo>
                  <a:pt x="1276" y="99"/>
                  <a:pt x="1276" y="99"/>
                  <a:pt x="1276" y="99"/>
                </a:cubicBezTo>
                <a:cubicBezTo>
                  <a:pt x="1275" y="99"/>
                  <a:pt x="1275" y="99"/>
                  <a:pt x="1275" y="99"/>
                </a:cubicBezTo>
                <a:cubicBezTo>
                  <a:pt x="1274" y="99"/>
                  <a:pt x="1274" y="99"/>
                  <a:pt x="1273" y="98"/>
                </a:cubicBezTo>
                <a:cubicBezTo>
                  <a:pt x="1273" y="98"/>
                  <a:pt x="1273" y="98"/>
                  <a:pt x="1273" y="98"/>
                </a:cubicBezTo>
                <a:cubicBezTo>
                  <a:pt x="1273" y="98"/>
                  <a:pt x="1272" y="97"/>
                  <a:pt x="1272" y="97"/>
                </a:cubicBezTo>
                <a:cubicBezTo>
                  <a:pt x="1271" y="97"/>
                  <a:pt x="1271" y="97"/>
                  <a:pt x="1270" y="97"/>
                </a:cubicBezTo>
                <a:cubicBezTo>
                  <a:pt x="1270" y="97"/>
                  <a:pt x="1269" y="97"/>
                  <a:pt x="1269" y="97"/>
                </a:cubicBezTo>
                <a:cubicBezTo>
                  <a:pt x="1269" y="96"/>
                  <a:pt x="1269" y="96"/>
                  <a:pt x="1268" y="96"/>
                </a:cubicBezTo>
                <a:cubicBezTo>
                  <a:pt x="1269" y="96"/>
                  <a:pt x="1269" y="96"/>
                  <a:pt x="1269" y="96"/>
                </a:cubicBezTo>
                <a:cubicBezTo>
                  <a:pt x="1269" y="95"/>
                  <a:pt x="1269" y="95"/>
                  <a:pt x="1269" y="95"/>
                </a:cubicBezTo>
                <a:cubicBezTo>
                  <a:pt x="1269" y="95"/>
                  <a:pt x="1269" y="94"/>
                  <a:pt x="1268" y="94"/>
                </a:cubicBezTo>
                <a:cubicBezTo>
                  <a:pt x="1268" y="94"/>
                  <a:pt x="1269" y="94"/>
                  <a:pt x="1269" y="94"/>
                </a:cubicBezTo>
                <a:cubicBezTo>
                  <a:pt x="1269" y="94"/>
                  <a:pt x="1269" y="94"/>
                  <a:pt x="1270" y="94"/>
                </a:cubicBezTo>
                <a:cubicBezTo>
                  <a:pt x="1270" y="95"/>
                  <a:pt x="1270" y="95"/>
                  <a:pt x="1271" y="96"/>
                </a:cubicBezTo>
                <a:cubicBezTo>
                  <a:pt x="1271" y="96"/>
                  <a:pt x="1271" y="96"/>
                  <a:pt x="1272" y="96"/>
                </a:cubicBezTo>
                <a:cubicBezTo>
                  <a:pt x="1272" y="96"/>
                  <a:pt x="1272" y="96"/>
                  <a:pt x="1273" y="97"/>
                </a:cubicBezTo>
                <a:cubicBezTo>
                  <a:pt x="1273" y="97"/>
                  <a:pt x="1273" y="96"/>
                  <a:pt x="1273" y="96"/>
                </a:cubicBezTo>
                <a:cubicBezTo>
                  <a:pt x="1273" y="96"/>
                  <a:pt x="1273" y="96"/>
                  <a:pt x="1273" y="96"/>
                </a:cubicBezTo>
                <a:cubicBezTo>
                  <a:pt x="1273" y="96"/>
                  <a:pt x="1274" y="96"/>
                  <a:pt x="1274" y="95"/>
                </a:cubicBezTo>
                <a:cubicBezTo>
                  <a:pt x="1274" y="95"/>
                  <a:pt x="1275" y="94"/>
                  <a:pt x="1275" y="94"/>
                </a:cubicBezTo>
                <a:cubicBezTo>
                  <a:pt x="1274" y="94"/>
                  <a:pt x="1274" y="94"/>
                  <a:pt x="1274" y="93"/>
                </a:cubicBezTo>
                <a:cubicBezTo>
                  <a:pt x="1274" y="93"/>
                  <a:pt x="1274" y="93"/>
                  <a:pt x="1274" y="93"/>
                </a:cubicBezTo>
                <a:cubicBezTo>
                  <a:pt x="1275" y="93"/>
                  <a:pt x="1275" y="93"/>
                  <a:pt x="1275" y="94"/>
                </a:cubicBezTo>
                <a:cubicBezTo>
                  <a:pt x="1276" y="93"/>
                  <a:pt x="1276" y="93"/>
                  <a:pt x="1276" y="93"/>
                </a:cubicBezTo>
                <a:cubicBezTo>
                  <a:pt x="1275" y="93"/>
                  <a:pt x="1274" y="92"/>
                  <a:pt x="1273" y="92"/>
                </a:cubicBezTo>
                <a:cubicBezTo>
                  <a:pt x="1273" y="92"/>
                  <a:pt x="1273" y="92"/>
                  <a:pt x="1273" y="93"/>
                </a:cubicBezTo>
                <a:cubicBezTo>
                  <a:pt x="1272" y="93"/>
                  <a:pt x="1272" y="92"/>
                  <a:pt x="1272" y="92"/>
                </a:cubicBezTo>
                <a:cubicBezTo>
                  <a:pt x="1272" y="92"/>
                  <a:pt x="1272" y="92"/>
                  <a:pt x="1272" y="92"/>
                </a:cubicBezTo>
                <a:cubicBezTo>
                  <a:pt x="1272" y="92"/>
                  <a:pt x="1273" y="91"/>
                  <a:pt x="1273" y="91"/>
                </a:cubicBezTo>
                <a:cubicBezTo>
                  <a:pt x="1274" y="91"/>
                  <a:pt x="1275" y="91"/>
                  <a:pt x="1275" y="92"/>
                </a:cubicBezTo>
                <a:cubicBezTo>
                  <a:pt x="1276" y="92"/>
                  <a:pt x="1276" y="92"/>
                  <a:pt x="1277" y="92"/>
                </a:cubicBezTo>
                <a:cubicBezTo>
                  <a:pt x="1277" y="91"/>
                  <a:pt x="1277" y="91"/>
                  <a:pt x="1277" y="91"/>
                </a:cubicBezTo>
                <a:cubicBezTo>
                  <a:pt x="1277" y="91"/>
                  <a:pt x="1278" y="90"/>
                  <a:pt x="1278" y="90"/>
                </a:cubicBezTo>
                <a:cubicBezTo>
                  <a:pt x="1278" y="90"/>
                  <a:pt x="1278" y="90"/>
                  <a:pt x="1278" y="90"/>
                </a:cubicBezTo>
                <a:cubicBezTo>
                  <a:pt x="1278" y="89"/>
                  <a:pt x="1278" y="89"/>
                  <a:pt x="1279" y="89"/>
                </a:cubicBezTo>
                <a:cubicBezTo>
                  <a:pt x="1279" y="89"/>
                  <a:pt x="1279" y="89"/>
                  <a:pt x="1279" y="89"/>
                </a:cubicBezTo>
                <a:cubicBezTo>
                  <a:pt x="1279" y="89"/>
                  <a:pt x="1279" y="88"/>
                  <a:pt x="1280" y="88"/>
                </a:cubicBezTo>
                <a:cubicBezTo>
                  <a:pt x="1280" y="88"/>
                  <a:pt x="1280" y="88"/>
                  <a:pt x="1280" y="88"/>
                </a:cubicBezTo>
                <a:cubicBezTo>
                  <a:pt x="1280" y="88"/>
                  <a:pt x="1281" y="89"/>
                  <a:pt x="1281" y="89"/>
                </a:cubicBezTo>
                <a:cubicBezTo>
                  <a:pt x="1281" y="89"/>
                  <a:pt x="1281" y="89"/>
                  <a:pt x="1281" y="89"/>
                </a:cubicBezTo>
                <a:cubicBezTo>
                  <a:pt x="1282" y="89"/>
                  <a:pt x="1282" y="88"/>
                  <a:pt x="1282" y="88"/>
                </a:cubicBezTo>
                <a:cubicBezTo>
                  <a:pt x="1282" y="88"/>
                  <a:pt x="1282" y="88"/>
                  <a:pt x="1282" y="88"/>
                </a:cubicBezTo>
                <a:cubicBezTo>
                  <a:pt x="1282" y="88"/>
                  <a:pt x="1282" y="88"/>
                  <a:pt x="1282" y="87"/>
                </a:cubicBezTo>
                <a:cubicBezTo>
                  <a:pt x="1282" y="87"/>
                  <a:pt x="1282" y="87"/>
                  <a:pt x="1282" y="87"/>
                </a:cubicBezTo>
                <a:cubicBezTo>
                  <a:pt x="1283" y="87"/>
                  <a:pt x="1283" y="87"/>
                  <a:pt x="1284" y="87"/>
                </a:cubicBezTo>
                <a:cubicBezTo>
                  <a:pt x="1284" y="87"/>
                  <a:pt x="1284" y="87"/>
                  <a:pt x="1285" y="87"/>
                </a:cubicBezTo>
                <a:cubicBezTo>
                  <a:pt x="1285" y="87"/>
                  <a:pt x="1285" y="87"/>
                  <a:pt x="1285" y="86"/>
                </a:cubicBezTo>
                <a:cubicBezTo>
                  <a:pt x="1285" y="86"/>
                  <a:pt x="1286" y="86"/>
                  <a:pt x="1286" y="86"/>
                </a:cubicBezTo>
                <a:cubicBezTo>
                  <a:pt x="1286" y="87"/>
                  <a:pt x="1286" y="87"/>
                  <a:pt x="1287" y="87"/>
                </a:cubicBezTo>
                <a:cubicBezTo>
                  <a:pt x="1287" y="87"/>
                  <a:pt x="1288" y="87"/>
                  <a:pt x="1289" y="87"/>
                </a:cubicBezTo>
                <a:cubicBezTo>
                  <a:pt x="1289" y="87"/>
                  <a:pt x="1289" y="87"/>
                  <a:pt x="1289" y="86"/>
                </a:cubicBezTo>
                <a:cubicBezTo>
                  <a:pt x="1289" y="86"/>
                  <a:pt x="1289" y="86"/>
                  <a:pt x="1289" y="86"/>
                </a:cubicBezTo>
                <a:cubicBezTo>
                  <a:pt x="1290" y="86"/>
                  <a:pt x="1291" y="86"/>
                  <a:pt x="1291" y="86"/>
                </a:cubicBezTo>
                <a:cubicBezTo>
                  <a:pt x="1292" y="86"/>
                  <a:pt x="1293" y="86"/>
                  <a:pt x="1293" y="86"/>
                </a:cubicBezTo>
                <a:cubicBezTo>
                  <a:pt x="1293" y="86"/>
                  <a:pt x="1294" y="85"/>
                  <a:pt x="1294" y="85"/>
                </a:cubicBezTo>
                <a:cubicBezTo>
                  <a:pt x="1295" y="85"/>
                  <a:pt x="1296" y="85"/>
                  <a:pt x="1297" y="85"/>
                </a:cubicBezTo>
                <a:cubicBezTo>
                  <a:pt x="1297" y="85"/>
                  <a:pt x="1298" y="84"/>
                  <a:pt x="1298" y="84"/>
                </a:cubicBezTo>
                <a:cubicBezTo>
                  <a:pt x="1297" y="84"/>
                  <a:pt x="1297" y="84"/>
                  <a:pt x="1297" y="84"/>
                </a:cubicBezTo>
                <a:cubicBezTo>
                  <a:pt x="1296" y="84"/>
                  <a:pt x="1296" y="84"/>
                  <a:pt x="1295" y="84"/>
                </a:cubicBezTo>
                <a:cubicBezTo>
                  <a:pt x="1295" y="84"/>
                  <a:pt x="1294" y="84"/>
                  <a:pt x="1294" y="84"/>
                </a:cubicBezTo>
                <a:cubicBezTo>
                  <a:pt x="1294" y="84"/>
                  <a:pt x="1293" y="84"/>
                  <a:pt x="1293" y="84"/>
                </a:cubicBezTo>
                <a:cubicBezTo>
                  <a:pt x="1292" y="84"/>
                  <a:pt x="1292" y="84"/>
                  <a:pt x="1292" y="84"/>
                </a:cubicBezTo>
                <a:cubicBezTo>
                  <a:pt x="1292" y="83"/>
                  <a:pt x="1292" y="83"/>
                  <a:pt x="1292" y="82"/>
                </a:cubicBezTo>
                <a:cubicBezTo>
                  <a:pt x="1293" y="82"/>
                  <a:pt x="1293" y="82"/>
                  <a:pt x="1293" y="82"/>
                </a:cubicBezTo>
                <a:cubicBezTo>
                  <a:pt x="1293" y="82"/>
                  <a:pt x="1294" y="82"/>
                  <a:pt x="1294" y="81"/>
                </a:cubicBezTo>
                <a:cubicBezTo>
                  <a:pt x="1294" y="82"/>
                  <a:pt x="1294" y="82"/>
                  <a:pt x="1294" y="82"/>
                </a:cubicBezTo>
                <a:cubicBezTo>
                  <a:pt x="1294" y="82"/>
                  <a:pt x="1294" y="82"/>
                  <a:pt x="1294" y="82"/>
                </a:cubicBezTo>
                <a:cubicBezTo>
                  <a:pt x="1294" y="82"/>
                  <a:pt x="1295" y="82"/>
                  <a:pt x="1295" y="82"/>
                </a:cubicBezTo>
                <a:cubicBezTo>
                  <a:pt x="1295" y="82"/>
                  <a:pt x="1295" y="82"/>
                  <a:pt x="1296" y="82"/>
                </a:cubicBezTo>
                <a:cubicBezTo>
                  <a:pt x="1295" y="82"/>
                  <a:pt x="1295" y="81"/>
                  <a:pt x="1294" y="81"/>
                </a:cubicBezTo>
                <a:cubicBezTo>
                  <a:pt x="1295" y="81"/>
                  <a:pt x="1295" y="81"/>
                  <a:pt x="1296" y="81"/>
                </a:cubicBezTo>
                <a:cubicBezTo>
                  <a:pt x="1296" y="81"/>
                  <a:pt x="1297" y="81"/>
                  <a:pt x="1297" y="82"/>
                </a:cubicBezTo>
                <a:cubicBezTo>
                  <a:pt x="1297" y="82"/>
                  <a:pt x="1298" y="82"/>
                  <a:pt x="1298" y="82"/>
                </a:cubicBezTo>
                <a:cubicBezTo>
                  <a:pt x="1299" y="82"/>
                  <a:pt x="1299" y="82"/>
                  <a:pt x="1300" y="81"/>
                </a:cubicBezTo>
                <a:cubicBezTo>
                  <a:pt x="1300" y="82"/>
                  <a:pt x="1301" y="82"/>
                  <a:pt x="1301" y="82"/>
                </a:cubicBezTo>
                <a:cubicBezTo>
                  <a:pt x="1302" y="82"/>
                  <a:pt x="1303" y="82"/>
                  <a:pt x="1304" y="82"/>
                </a:cubicBezTo>
                <a:cubicBezTo>
                  <a:pt x="1305" y="82"/>
                  <a:pt x="1305" y="82"/>
                  <a:pt x="1306" y="82"/>
                </a:cubicBezTo>
                <a:cubicBezTo>
                  <a:pt x="1306" y="82"/>
                  <a:pt x="1306" y="83"/>
                  <a:pt x="1306" y="83"/>
                </a:cubicBezTo>
                <a:cubicBezTo>
                  <a:pt x="1306" y="83"/>
                  <a:pt x="1305" y="84"/>
                  <a:pt x="1305" y="84"/>
                </a:cubicBezTo>
                <a:cubicBezTo>
                  <a:pt x="1304" y="84"/>
                  <a:pt x="1304" y="85"/>
                  <a:pt x="1304" y="85"/>
                </a:cubicBezTo>
                <a:cubicBezTo>
                  <a:pt x="1305" y="85"/>
                  <a:pt x="1305" y="85"/>
                  <a:pt x="1306" y="86"/>
                </a:cubicBezTo>
                <a:cubicBezTo>
                  <a:pt x="1306" y="85"/>
                  <a:pt x="1306" y="85"/>
                  <a:pt x="1306" y="85"/>
                </a:cubicBezTo>
                <a:cubicBezTo>
                  <a:pt x="1307" y="84"/>
                  <a:pt x="1307" y="84"/>
                  <a:pt x="1308" y="84"/>
                </a:cubicBezTo>
                <a:cubicBezTo>
                  <a:pt x="1308" y="83"/>
                  <a:pt x="1307" y="83"/>
                  <a:pt x="1307" y="83"/>
                </a:cubicBezTo>
                <a:cubicBezTo>
                  <a:pt x="1308" y="83"/>
                  <a:pt x="1308" y="83"/>
                  <a:pt x="1308" y="83"/>
                </a:cubicBezTo>
                <a:cubicBezTo>
                  <a:pt x="1308" y="83"/>
                  <a:pt x="1308" y="83"/>
                  <a:pt x="1309" y="84"/>
                </a:cubicBezTo>
                <a:cubicBezTo>
                  <a:pt x="1309" y="84"/>
                  <a:pt x="1309" y="84"/>
                  <a:pt x="1309" y="85"/>
                </a:cubicBezTo>
                <a:cubicBezTo>
                  <a:pt x="1309" y="85"/>
                  <a:pt x="1309" y="85"/>
                  <a:pt x="1310" y="85"/>
                </a:cubicBezTo>
                <a:cubicBezTo>
                  <a:pt x="1310" y="85"/>
                  <a:pt x="1310" y="84"/>
                  <a:pt x="1310" y="84"/>
                </a:cubicBezTo>
                <a:cubicBezTo>
                  <a:pt x="1310" y="84"/>
                  <a:pt x="1310" y="84"/>
                  <a:pt x="1310" y="83"/>
                </a:cubicBezTo>
                <a:cubicBezTo>
                  <a:pt x="1310" y="83"/>
                  <a:pt x="1311" y="83"/>
                  <a:pt x="1311" y="83"/>
                </a:cubicBezTo>
                <a:cubicBezTo>
                  <a:pt x="1311" y="83"/>
                  <a:pt x="1311" y="83"/>
                  <a:pt x="1311" y="83"/>
                </a:cubicBezTo>
                <a:cubicBezTo>
                  <a:pt x="1311" y="83"/>
                  <a:pt x="1311" y="84"/>
                  <a:pt x="1311" y="84"/>
                </a:cubicBezTo>
                <a:cubicBezTo>
                  <a:pt x="1312" y="84"/>
                  <a:pt x="1313" y="84"/>
                  <a:pt x="1313" y="84"/>
                </a:cubicBezTo>
                <a:cubicBezTo>
                  <a:pt x="1313" y="83"/>
                  <a:pt x="1314" y="83"/>
                  <a:pt x="1314" y="83"/>
                </a:cubicBezTo>
                <a:cubicBezTo>
                  <a:pt x="1313" y="83"/>
                  <a:pt x="1313" y="83"/>
                  <a:pt x="1313" y="82"/>
                </a:cubicBezTo>
                <a:cubicBezTo>
                  <a:pt x="1313" y="82"/>
                  <a:pt x="1314" y="83"/>
                  <a:pt x="1314" y="83"/>
                </a:cubicBezTo>
                <a:cubicBezTo>
                  <a:pt x="1315" y="83"/>
                  <a:pt x="1315" y="82"/>
                  <a:pt x="1315" y="82"/>
                </a:cubicBezTo>
                <a:cubicBezTo>
                  <a:pt x="1315" y="82"/>
                  <a:pt x="1314" y="82"/>
                  <a:pt x="1314" y="82"/>
                </a:cubicBezTo>
                <a:cubicBezTo>
                  <a:pt x="1314" y="82"/>
                  <a:pt x="1315" y="81"/>
                  <a:pt x="1315" y="81"/>
                </a:cubicBezTo>
                <a:cubicBezTo>
                  <a:pt x="1316" y="81"/>
                  <a:pt x="1316" y="81"/>
                  <a:pt x="1317" y="82"/>
                </a:cubicBezTo>
                <a:cubicBezTo>
                  <a:pt x="1317" y="81"/>
                  <a:pt x="1318" y="81"/>
                  <a:pt x="1318" y="81"/>
                </a:cubicBezTo>
                <a:cubicBezTo>
                  <a:pt x="1318" y="81"/>
                  <a:pt x="1319" y="82"/>
                  <a:pt x="1319" y="82"/>
                </a:cubicBezTo>
                <a:cubicBezTo>
                  <a:pt x="1319" y="82"/>
                  <a:pt x="1319" y="82"/>
                  <a:pt x="1319" y="82"/>
                </a:cubicBezTo>
                <a:cubicBezTo>
                  <a:pt x="1319" y="82"/>
                  <a:pt x="1319" y="82"/>
                  <a:pt x="1319" y="82"/>
                </a:cubicBezTo>
                <a:cubicBezTo>
                  <a:pt x="1320" y="83"/>
                  <a:pt x="1320" y="83"/>
                  <a:pt x="1321" y="83"/>
                </a:cubicBezTo>
                <a:cubicBezTo>
                  <a:pt x="1321" y="83"/>
                  <a:pt x="1321" y="83"/>
                  <a:pt x="1321" y="84"/>
                </a:cubicBezTo>
                <a:cubicBezTo>
                  <a:pt x="1321" y="84"/>
                  <a:pt x="1321" y="84"/>
                  <a:pt x="1321" y="84"/>
                </a:cubicBezTo>
                <a:cubicBezTo>
                  <a:pt x="1321" y="85"/>
                  <a:pt x="1321" y="85"/>
                  <a:pt x="1320" y="86"/>
                </a:cubicBezTo>
                <a:cubicBezTo>
                  <a:pt x="1321" y="86"/>
                  <a:pt x="1321" y="86"/>
                  <a:pt x="1322" y="86"/>
                </a:cubicBezTo>
                <a:cubicBezTo>
                  <a:pt x="1322" y="85"/>
                  <a:pt x="1323" y="85"/>
                  <a:pt x="1323" y="84"/>
                </a:cubicBezTo>
                <a:cubicBezTo>
                  <a:pt x="1323" y="84"/>
                  <a:pt x="1323" y="83"/>
                  <a:pt x="1322" y="83"/>
                </a:cubicBezTo>
                <a:cubicBezTo>
                  <a:pt x="1322" y="82"/>
                  <a:pt x="1321" y="82"/>
                  <a:pt x="1321" y="82"/>
                </a:cubicBezTo>
                <a:cubicBezTo>
                  <a:pt x="1321" y="81"/>
                  <a:pt x="1320" y="81"/>
                  <a:pt x="1320" y="81"/>
                </a:cubicBezTo>
                <a:cubicBezTo>
                  <a:pt x="1319" y="81"/>
                  <a:pt x="1319" y="81"/>
                  <a:pt x="1318" y="81"/>
                </a:cubicBezTo>
                <a:cubicBezTo>
                  <a:pt x="1318" y="81"/>
                  <a:pt x="1318" y="81"/>
                  <a:pt x="1318" y="80"/>
                </a:cubicBezTo>
                <a:cubicBezTo>
                  <a:pt x="1317" y="80"/>
                  <a:pt x="1317" y="80"/>
                  <a:pt x="1316" y="80"/>
                </a:cubicBezTo>
                <a:cubicBezTo>
                  <a:pt x="1316" y="80"/>
                  <a:pt x="1316" y="80"/>
                  <a:pt x="1316" y="80"/>
                </a:cubicBezTo>
                <a:cubicBezTo>
                  <a:pt x="1316" y="80"/>
                  <a:pt x="1315" y="79"/>
                  <a:pt x="1315" y="79"/>
                </a:cubicBezTo>
                <a:cubicBezTo>
                  <a:pt x="1315" y="79"/>
                  <a:pt x="1315" y="79"/>
                  <a:pt x="1315" y="79"/>
                </a:cubicBezTo>
                <a:cubicBezTo>
                  <a:pt x="1315" y="79"/>
                  <a:pt x="1316" y="79"/>
                  <a:pt x="1316" y="78"/>
                </a:cubicBezTo>
                <a:cubicBezTo>
                  <a:pt x="1317" y="79"/>
                  <a:pt x="1317" y="79"/>
                  <a:pt x="1318" y="79"/>
                </a:cubicBezTo>
                <a:cubicBezTo>
                  <a:pt x="1319" y="79"/>
                  <a:pt x="1319" y="79"/>
                  <a:pt x="1319" y="79"/>
                </a:cubicBezTo>
                <a:cubicBezTo>
                  <a:pt x="1320" y="79"/>
                  <a:pt x="1320" y="79"/>
                  <a:pt x="1320" y="79"/>
                </a:cubicBezTo>
                <a:cubicBezTo>
                  <a:pt x="1321" y="79"/>
                  <a:pt x="1321" y="79"/>
                  <a:pt x="1321" y="79"/>
                </a:cubicBezTo>
                <a:cubicBezTo>
                  <a:pt x="1322" y="79"/>
                  <a:pt x="1322" y="79"/>
                  <a:pt x="1323" y="79"/>
                </a:cubicBezTo>
                <a:cubicBezTo>
                  <a:pt x="1323" y="79"/>
                  <a:pt x="1323" y="79"/>
                  <a:pt x="1324" y="80"/>
                </a:cubicBezTo>
                <a:cubicBezTo>
                  <a:pt x="1324" y="79"/>
                  <a:pt x="1325" y="79"/>
                  <a:pt x="1326" y="79"/>
                </a:cubicBezTo>
                <a:cubicBezTo>
                  <a:pt x="1327" y="80"/>
                  <a:pt x="1327" y="80"/>
                  <a:pt x="1328" y="80"/>
                </a:cubicBezTo>
                <a:cubicBezTo>
                  <a:pt x="1328" y="80"/>
                  <a:pt x="1328" y="80"/>
                  <a:pt x="1329" y="80"/>
                </a:cubicBezTo>
                <a:cubicBezTo>
                  <a:pt x="1329" y="80"/>
                  <a:pt x="1329" y="80"/>
                  <a:pt x="1330" y="81"/>
                </a:cubicBezTo>
                <a:cubicBezTo>
                  <a:pt x="1330" y="80"/>
                  <a:pt x="1330" y="80"/>
                  <a:pt x="1331" y="80"/>
                </a:cubicBezTo>
                <a:cubicBezTo>
                  <a:pt x="1331" y="80"/>
                  <a:pt x="1331" y="80"/>
                  <a:pt x="1330" y="80"/>
                </a:cubicBezTo>
                <a:cubicBezTo>
                  <a:pt x="1330" y="80"/>
                  <a:pt x="1329" y="79"/>
                  <a:pt x="1329" y="79"/>
                </a:cubicBezTo>
                <a:cubicBezTo>
                  <a:pt x="1328" y="79"/>
                  <a:pt x="1327" y="79"/>
                  <a:pt x="1327" y="78"/>
                </a:cubicBezTo>
                <a:cubicBezTo>
                  <a:pt x="1326" y="79"/>
                  <a:pt x="1326" y="79"/>
                  <a:pt x="1325" y="79"/>
                </a:cubicBezTo>
                <a:cubicBezTo>
                  <a:pt x="1324" y="78"/>
                  <a:pt x="1324" y="78"/>
                  <a:pt x="1323" y="78"/>
                </a:cubicBezTo>
                <a:cubicBezTo>
                  <a:pt x="1323" y="78"/>
                  <a:pt x="1323" y="78"/>
                  <a:pt x="1323" y="77"/>
                </a:cubicBezTo>
                <a:cubicBezTo>
                  <a:pt x="1323" y="77"/>
                  <a:pt x="1323" y="77"/>
                  <a:pt x="1323" y="77"/>
                </a:cubicBezTo>
                <a:cubicBezTo>
                  <a:pt x="1323" y="76"/>
                  <a:pt x="1324" y="76"/>
                  <a:pt x="1325" y="76"/>
                </a:cubicBezTo>
                <a:cubicBezTo>
                  <a:pt x="1324" y="76"/>
                  <a:pt x="1324" y="76"/>
                  <a:pt x="1323" y="76"/>
                </a:cubicBezTo>
                <a:cubicBezTo>
                  <a:pt x="1323" y="75"/>
                  <a:pt x="1322" y="75"/>
                  <a:pt x="1322" y="74"/>
                </a:cubicBezTo>
                <a:cubicBezTo>
                  <a:pt x="1321" y="74"/>
                  <a:pt x="1321" y="74"/>
                  <a:pt x="1321" y="74"/>
                </a:cubicBezTo>
                <a:cubicBezTo>
                  <a:pt x="1320" y="74"/>
                  <a:pt x="1320" y="73"/>
                  <a:pt x="1320" y="73"/>
                </a:cubicBezTo>
                <a:cubicBezTo>
                  <a:pt x="1320" y="73"/>
                  <a:pt x="1320" y="72"/>
                  <a:pt x="1320" y="72"/>
                </a:cubicBezTo>
                <a:cubicBezTo>
                  <a:pt x="1320" y="72"/>
                  <a:pt x="1320" y="72"/>
                  <a:pt x="1321" y="72"/>
                </a:cubicBezTo>
                <a:cubicBezTo>
                  <a:pt x="1321" y="72"/>
                  <a:pt x="1321" y="72"/>
                  <a:pt x="1321" y="71"/>
                </a:cubicBezTo>
                <a:cubicBezTo>
                  <a:pt x="1320" y="71"/>
                  <a:pt x="1320" y="71"/>
                  <a:pt x="1320" y="70"/>
                </a:cubicBezTo>
                <a:cubicBezTo>
                  <a:pt x="1320" y="69"/>
                  <a:pt x="1320" y="68"/>
                  <a:pt x="1320" y="67"/>
                </a:cubicBezTo>
                <a:cubicBezTo>
                  <a:pt x="1321" y="67"/>
                  <a:pt x="1321" y="67"/>
                  <a:pt x="1322" y="66"/>
                </a:cubicBezTo>
                <a:cubicBezTo>
                  <a:pt x="1322" y="66"/>
                  <a:pt x="1322" y="66"/>
                  <a:pt x="1322" y="65"/>
                </a:cubicBezTo>
                <a:cubicBezTo>
                  <a:pt x="1322" y="65"/>
                  <a:pt x="1322" y="65"/>
                  <a:pt x="1322" y="64"/>
                </a:cubicBezTo>
                <a:cubicBezTo>
                  <a:pt x="1323" y="64"/>
                  <a:pt x="1323" y="64"/>
                  <a:pt x="1323" y="64"/>
                </a:cubicBezTo>
                <a:cubicBezTo>
                  <a:pt x="1323" y="64"/>
                  <a:pt x="1323" y="63"/>
                  <a:pt x="1323" y="63"/>
                </a:cubicBezTo>
                <a:cubicBezTo>
                  <a:pt x="1323" y="63"/>
                  <a:pt x="1324" y="63"/>
                  <a:pt x="1324" y="63"/>
                </a:cubicBezTo>
                <a:cubicBezTo>
                  <a:pt x="1324" y="63"/>
                  <a:pt x="1324" y="63"/>
                  <a:pt x="1324" y="62"/>
                </a:cubicBezTo>
                <a:cubicBezTo>
                  <a:pt x="1325" y="62"/>
                  <a:pt x="1326" y="62"/>
                  <a:pt x="1326" y="62"/>
                </a:cubicBezTo>
                <a:cubicBezTo>
                  <a:pt x="1327" y="62"/>
                  <a:pt x="1327" y="62"/>
                  <a:pt x="1327" y="62"/>
                </a:cubicBezTo>
                <a:cubicBezTo>
                  <a:pt x="1327" y="62"/>
                  <a:pt x="1328" y="63"/>
                  <a:pt x="1328" y="63"/>
                </a:cubicBezTo>
                <a:cubicBezTo>
                  <a:pt x="1329" y="63"/>
                  <a:pt x="1329" y="63"/>
                  <a:pt x="1330" y="63"/>
                </a:cubicBezTo>
                <a:cubicBezTo>
                  <a:pt x="1330" y="63"/>
                  <a:pt x="1330" y="63"/>
                  <a:pt x="1331" y="63"/>
                </a:cubicBezTo>
                <a:cubicBezTo>
                  <a:pt x="1331" y="63"/>
                  <a:pt x="1331" y="64"/>
                  <a:pt x="1331" y="64"/>
                </a:cubicBezTo>
                <a:cubicBezTo>
                  <a:pt x="1332" y="64"/>
                  <a:pt x="1332" y="64"/>
                  <a:pt x="1333" y="65"/>
                </a:cubicBezTo>
                <a:cubicBezTo>
                  <a:pt x="1333" y="64"/>
                  <a:pt x="1334" y="64"/>
                  <a:pt x="1335" y="64"/>
                </a:cubicBezTo>
                <a:cubicBezTo>
                  <a:pt x="1335" y="64"/>
                  <a:pt x="1335" y="64"/>
                  <a:pt x="1335" y="64"/>
                </a:cubicBezTo>
                <a:cubicBezTo>
                  <a:pt x="1335" y="65"/>
                  <a:pt x="1335" y="65"/>
                  <a:pt x="1335" y="65"/>
                </a:cubicBezTo>
                <a:cubicBezTo>
                  <a:pt x="1335" y="66"/>
                  <a:pt x="1335" y="66"/>
                  <a:pt x="1335" y="66"/>
                </a:cubicBezTo>
                <a:cubicBezTo>
                  <a:pt x="1336" y="66"/>
                  <a:pt x="1337" y="66"/>
                  <a:pt x="1337" y="66"/>
                </a:cubicBezTo>
                <a:cubicBezTo>
                  <a:pt x="1337" y="67"/>
                  <a:pt x="1337" y="67"/>
                  <a:pt x="1337" y="67"/>
                </a:cubicBezTo>
                <a:cubicBezTo>
                  <a:pt x="1337" y="67"/>
                  <a:pt x="1336" y="67"/>
                  <a:pt x="1336" y="67"/>
                </a:cubicBezTo>
                <a:cubicBezTo>
                  <a:pt x="1336" y="67"/>
                  <a:pt x="1336" y="67"/>
                  <a:pt x="1336" y="67"/>
                </a:cubicBezTo>
                <a:cubicBezTo>
                  <a:pt x="1336" y="67"/>
                  <a:pt x="1335" y="68"/>
                  <a:pt x="1335" y="68"/>
                </a:cubicBezTo>
                <a:cubicBezTo>
                  <a:pt x="1335" y="68"/>
                  <a:pt x="1335" y="68"/>
                  <a:pt x="1335" y="69"/>
                </a:cubicBezTo>
                <a:cubicBezTo>
                  <a:pt x="1335" y="69"/>
                  <a:pt x="1334" y="69"/>
                  <a:pt x="1334" y="70"/>
                </a:cubicBezTo>
                <a:cubicBezTo>
                  <a:pt x="1333" y="70"/>
                  <a:pt x="1333" y="70"/>
                  <a:pt x="1332" y="70"/>
                </a:cubicBezTo>
                <a:cubicBezTo>
                  <a:pt x="1332" y="70"/>
                  <a:pt x="1332" y="70"/>
                  <a:pt x="1331" y="70"/>
                </a:cubicBezTo>
                <a:cubicBezTo>
                  <a:pt x="1332" y="70"/>
                  <a:pt x="1332" y="71"/>
                  <a:pt x="1332" y="71"/>
                </a:cubicBezTo>
                <a:cubicBezTo>
                  <a:pt x="1333" y="71"/>
                  <a:pt x="1334" y="71"/>
                  <a:pt x="1335" y="71"/>
                </a:cubicBezTo>
                <a:cubicBezTo>
                  <a:pt x="1336" y="70"/>
                  <a:pt x="1337" y="70"/>
                  <a:pt x="1337" y="69"/>
                </a:cubicBezTo>
                <a:cubicBezTo>
                  <a:pt x="1338" y="69"/>
                  <a:pt x="1338" y="69"/>
                  <a:pt x="1338" y="69"/>
                </a:cubicBezTo>
                <a:cubicBezTo>
                  <a:pt x="1338" y="70"/>
                  <a:pt x="1338" y="70"/>
                  <a:pt x="1338" y="70"/>
                </a:cubicBezTo>
                <a:cubicBezTo>
                  <a:pt x="1338" y="70"/>
                  <a:pt x="1338" y="70"/>
                  <a:pt x="1337" y="71"/>
                </a:cubicBezTo>
                <a:cubicBezTo>
                  <a:pt x="1337" y="71"/>
                  <a:pt x="1337" y="71"/>
                  <a:pt x="1337" y="71"/>
                </a:cubicBezTo>
                <a:cubicBezTo>
                  <a:pt x="1338" y="71"/>
                  <a:pt x="1338" y="71"/>
                  <a:pt x="1338" y="71"/>
                </a:cubicBezTo>
                <a:cubicBezTo>
                  <a:pt x="1339" y="71"/>
                  <a:pt x="1339" y="71"/>
                  <a:pt x="1340" y="71"/>
                </a:cubicBezTo>
                <a:cubicBezTo>
                  <a:pt x="1340" y="70"/>
                  <a:pt x="1340" y="70"/>
                  <a:pt x="1341" y="70"/>
                </a:cubicBezTo>
                <a:cubicBezTo>
                  <a:pt x="1341" y="71"/>
                  <a:pt x="1341" y="71"/>
                  <a:pt x="1341" y="71"/>
                </a:cubicBezTo>
                <a:cubicBezTo>
                  <a:pt x="1342" y="71"/>
                  <a:pt x="1342" y="71"/>
                  <a:pt x="1343" y="71"/>
                </a:cubicBezTo>
                <a:cubicBezTo>
                  <a:pt x="1343" y="71"/>
                  <a:pt x="1343" y="71"/>
                  <a:pt x="1343" y="70"/>
                </a:cubicBezTo>
                <a:cubicBezTo>
                  <a:pt x="1344" y="70"/>
                  <a:pt x="1344" y="70"/>
                  <a:pt x="1344" y="70"/>
                </a:cubicBezTo>
                <a:cubicBezTo>
                  <a:pt x="1344" y="70"/>
                  <a:pt x="1345" y="71"/>
                  <a:pt x="1345" y="71"/>
                </a:cubicBezTo>
                <a:cubicBezTo>
                  <a:pt x="1345" y="71"/>
                  <a:pt x="1346" y="71"/>
                  <a:pt x="1346" y="71"/>
                </a:cubicBezTo>
                <a:cubicBezTo>
                  <a:pt x="1346" y="71"/>
                  <a:pt x="1347" y="72"/>
                  <a:pt x="1347" y="72"/>
                </a:cubicBezTo>
                <a:cubicBezTo>
                  <a:pt x="1347" y="72"/>
                  <a:pt x="1347" y="72"/>
                  <a:pt x="1347" y="73"/>
                </a:cubicBezTo>
                <a:cubicBezTo>
                  <a:pt x="1347" y="73"/>
                  <a:pt x="1348" y="73"/>
                  <a:pt x="1348" y="74"/>
                </a:cubicBezTo>
                <a:cubicBezTo>
                  <a:pt x="1347" y="74"/>
                  <a:pt x="1347" y="74"/>
                  <a:pt x="1347" y="74"/>
                </a:cubicBezTo>
                <a:cubicBezTo>
                  <a:pt x="1347" y="74"/>
                  <a:pt x="1347" y="75"/>
                  <a:pt x="1347" y="75"/>
                </a:cubicBezTo>
                <a:cubicBezTo>
                  <a:pt x="1347" y="75"/>
                  <a:pt x="1346" y="76"/>
                  <a:pt x="1346" y="76"/>
                </a:cubicBezTo>
                <a:cubicBezTo>
                  <a:pt x="1346" y="76"/>
                  <a:pt x="1347" y="77"/>
                  <a:pt x="1347" y="78"/>
                </a:cubicBezTo>
                <a:cubicBezTo>
                  <a:pt x="1347" y="78"/>
                  <a:pt x="1347" y="78"/>
                  <a:pt x="1347" y="78"/>
                </a:cubicBezTo>
                <a:cubicBezTo>
                  <a:pt x="1346" y="78"/>
                  <a:pt x="1346" y="78"/>
                  <a:pt x="1346" y="78"/>
                </a:cubicBezTo>
                <a:cubicBezTo>
                  <a:pt x="1345" y="78"/>
                  <a:pt x="1345" y="79"/>
                  <a:pt x="1345" y="79"/>
                </a:cubicBezTo>
                <a:cubicBezTo>
                  <a:pt x="1345" y="79"/>
                  <a:pt x="1345" y="79"/>
                  <a:pt x="1345" y="79"/>
                </a:cubicBezTo>
                <a:cubicBezTo>
                  <a:pt x="1346" y="79"/>
                  <a:pt x="1347" y="79"/>
                  <a:pt x="1348" y="79"/>
                </a:cubicBezTo>
                <a:cubicBezTo>
                  <a:pt x="1348" y="79"/>
                  <a:pt x="1349" y="79"/>
                  <a:pt x="1349" y="79"/>
                </a:cubicBezTo>
                <a:cubicBezTo>
                  <a:pt x="1350" y="79"/>
                  <a:pt x="1351" y="79"/>
                  <a:pt x="1351" y="79"/>
                </a:cubicBezTo>
                <a:cubicBezTo>
                  <a:pt x="1352" y="79"/>
                  <a:pt x="1352" y="78"/>
                  <a:pt x="1352" y="78"/>
                </a:cubicBezTo>
                <a:cubicBezTo>
                  <a:pt x="1352" y="78"/>
                  <a:pt x="1352" y="77"/>
                  <a:pt x="1352" y="77"/>
                </a:cubicBezTo>
                <a:cubicBezTo>
                  <a:pt x="1352" y="76"/>
                  <a:pt x="1352" y="76"/>
                  <a:pt x="1352" y="76"/>
                </a:cubicBezTo>
                <a:cubicBezTo>
                  <a:pt x="1352" y="76"/>
                  <a:pt x="1352" y="75"/>
                  <a:pt x="1351" y="75"/>
                </a:cubicBezTo>
                <a:cubicBezTo>
                  <a:pt x="1351" y="75"/>
                  <a:pt x="1351" y="75"/>
                  <a:pt x="1350" y="75"/>
                </a:cubicBezTo>
                <a:cubicBezTo>
                  <a:pt x="1350" y="75"/>
                  <a:pt x="1350" y="75"/>
                  <a:pt x="1351" y="74"/>
                </a:cubicBezTo>
                <a:cubicBezTo>
                  <a:pt x="1351" y="74"/>
                  <a:pt x="1351" y="74"/>
                  <a:pt x="1351" y="74"/>
                </a:cubicBezTo>
                <a:cubicBezTo>
                  <a:pt x="1351" y="74"/>
                  <a:pt x="1352" y="74"/>
                  <a:pt x="1352" y="74"/>
                </a:cubicBezTo>
                <a:cubicBezTo>
                  <a:pt x="1352" y="74"/>
                  <a:pt x="1352" y="75"/>
                  <a:pt x="1353" y="75"/>
                </a:cubicBezTo>
                <a:cubicBezTo>
                  <a:pt x="1353" y="75"/>
                  <a:pt x="1353" y="75"/>
                  <a:pt x="1353" y="75"/>
                </a:cubicBezTo>
                <a:cubicBezTo>
                  <a:pt x="1354" y="75"/>
                  <a:pt x="1355" y="75"/>
                  <a:pt x="1355" y="75"/>
                </a:cubicBezTo>
                <a:cubicBezTo>
                  <a:pt x="1356" y="75"/>
                  <a:pt x="1357" y="74"/>
                  <a:pt x="1357" y="74"/>
                </a:cubicBezTo>
                <a:cubicBezTo>
                  <a:pt x="1357" y="74"/>
                  <a:pt x="1358" y="74"/>
                  <a:pt x="1358" y="74"/>
                </a:cubicBezTo>
                <a:cubicBezTo>
                  <a:pt x="1359" y="75"/>
                  <a:pt x="1359" y="75"/>
                  <a:pt x="1360" y="75"/>
                </a:cubicBezTo>
                <a:cubicBezTo>
                  <a:pt x="1360" y="75"/>
                  <a:pt x="1360" y="74"/>
                  <a:pt x="1360" y="74"/>
                </a:cubicBezTo>
                <a:cubicBezTo>
                  <a:pt x="1361" y="74"/>
                  <a:pt x="1361" y="74"/>
                  <a:pt x="1362" y="74"/>
                </a:cubicBezTo>
                <a:cubicBezTo>
                  <a:pt x="1362" y="74"/>
                  <a:pt x="1362" y="74"/>
                  <a:pt x="1362" y="74"/>
                </a:cubicBezTo>
                <a:cubicBezTo>
                  <a:pt x="1362" y="74"/>
                  <a:pt x="1363" y="74"/>
                  <a:pt x="1363" y="74"/>
                </a:cubicBezTo>
                <a:cubicBezTo>
                  <a:pt x="1363" y="74"/>
                  <a:pt x="1364" y="74"/>
                  <a:pt x="1364" y="74"/>
                </a:cubicBezTo>
                <a:cubicBezTo>
                  <a:pt x="1364" y="74"/>
                  <a:pt x="1365" y="74"/>
                  <a:pt x="1365" y="74"/>
                </a:cubicBezTo>
                <a:cubicBezTo>
                  <a:pt x="1365" y="74"/>
                  <a:pt x="1366" y="74"/>
                  <a:pt x="1366" y="74"/>
                </a:cubicBezTo>
                <a:cubicBezTo>
                  <a:pt x="1366" y="74"/>
                  <a:pt x="1366" y="75"/>
                  <a:pt x="1366" y="75"/>
                </a:cubicBezTo>
                <a:cubicBezTo>
                  <a:pt x="1366" y="75"/>
                  <a:pt x="1366" y="75"/>
                  <a:pt x="1366" y="75"/>
                </a:cubicBezTo>
                <a:cubicBezTo>
                  <a:pt x="1366" y="75"/>
                  <a:pt x="1366" y="75"/>
                  <a:pt x="1366" y="76"/>
                </a:cubicBezTo>
                <a:cubicBezTo>
                  <a:pt x="1367" y="76"/>
                  <a:pt x="1368" y="76"/>
                  <a:pt x="1368" y="76"/>
                </a:cubicBezTo>
                <a:cubicBezTo>
                  <a:pt x="1369" y="76"/>
                  <a:pt x="1369" y="76"/>
                  <a:pt x="1369" y="76"/>
                </a:cubicBezTo>
                <a:cubicBezTo>
                  <a:pt x="1369" y="77"/>
                  <a:pt x="1369" y="77"/>
                  <a:pt x="1370" y="77"/>
                </a:cubicBezTo>
                <a:cubicBezTo>
                  <a:pt x="1371" y="78"/>
                  <a:pt x="1373" y="79"/>
                  <a:pt x="1374" y="79"/>
                </a:cubicBezTo>
                <a:cubicBezTo>
                  <a:pt x="1374" y="80"/>
                  <a:pt x="1375" y="80"/>
                  <a:pt x="1375" y="80"/>
                </a:cubicBezTo>
                <a:cubicBezTo>
                  <a:pt x="1375" y="80"/>
                  <a:pt x="1375" y="80"/>
                  <a:pt x="1376" y="81"/>
                </a:cubicBezTo>
                <a:cubicBezTo>
                  <a:pt x="1375" y="81"/>
                  <a:pt x="1375" y="81"/>
                  <a:pt x="1375" y="81"/>
                </a:cubicBezTo>
                <a:cubicBezTo>
                  <a:pt x="1376" y="82"/>
                  <a:pt x="1377" y="82"/>
                  <a:pt x="1377" y="83"/>
                </a:cubicBezTo>
                <a:cubicBezTo>
                  <a:pt x="1377" y="83"/>
                  <a:pt x="1377" y="83"/>
                  <a:pt x="1378" y="83"/>
                </a:cubicBezTo>
                <a:cubicBezTo>
                  <a:pt x="1378" y="83"/>
                  <a:pt x="1378" y="83"/>
                  <a:pt x="1378" y="82"/>
                </a:cubicBezTo>
                <a:cubicBezTo>
                  <a:pt x="1378" y="82"/>
                  <a:pt x="1378" y="82"/>
                  <a:pt x="1379" y="82"/>
                </a:cubicBezTo>
                <a:cubicBezTo>
                  <a:pt x="1379" y="82"/>
                  <a:pt x="1379" y="82"/>
                  <a:pt x="1379" y="82"/>
                </a:cubicBezTo>
                <a:cubicBezTo>
                  <a:pt x="1379" y="82"/>
                  <a:pt x="1378" y="82"/>
                  <a:pt x="1378" y="82"/>
                </a:cubicBezTo>
                <a:cubicBezTo>
                  <a:pt x="1378" y="81"/>
                  <a:pt x="1377" y="81"/>
                  <a:pt x="1377" y="81"/>
                </a:cubicBezTo>
                <a:cubicBezTo>
                  <a:pt x="1377" y="81"/>
                  <a:pt x="1377" y="81"/>
                  <a:pt x="1377" y="81"/>
                </a:cubicBezTo>
                <a:cubicBezTo>
                  <a:pt x="1378" y="81"/>
                  <a:pt x="1378" y="80"/>
                  <a:pt x="1378" y="80"/>
                </a:cubicBezTo>
                <a:cubicBezTo>
                  <a:pt x="1379" y="80"/>
                  <a:pt x="1379" y="80"/>
                  <a:pt x="1379" y="81"/>
                </a:cubicBezTo>
                <a:cubicBezTo>
                  <a:pt x="1379" y="81"/>
                  <a:pt x="1379" y="81"/>
                  <a:pt x="1380" y="81"/>
                </a:cubicBezTo>
                <a:cubicBezTo>
                  <a:pt x="1380" y="81"/>
                  <a:pt x="1380" y="82"/>
                  <a:pt x="1380" y="82"/>
                </a:cubicBezTo>
                <a:cubicBezTo>
                  <a:pt x="1380" y="82"/>
                  <a:pt x="1380" y="82"/>
                  <a:pt x="1380" y="83"/>
                </a:cubicBezTo>
                <a:cubicBezTo>
                  <a:pt x="1381" y="83"/>
                  <a:pt x="1381" y="83"/>
                  <a:pt x="1382" y="84"/>
                </a:cubicBezTo>
                <a:cubicBezTo>
                  <a:pt x="1382" y="84"/>
                  <a:pt x="1382" y="84"/>
                  <a:pt x="1382" y="85"/>
                </a:cubicBezTo>
                <a:cubicBezTo>
                  <a:pt x="1382" y="85"/>
                  <a:pt x="1382" y="85"/>
                  <a:pt x="1383" y="85"/>
                </a:cubicBezTo>
                <a:cubicBezTo>
                  <a:pt x="1383" y="85"/>
                  <a:pt x="1383" y="85"/>
                  <a:pt x="1383" y="85"/>
                </a:cubicBezTo>
                <a:cubicBezTo>
                  <a:pt x="1383" y="85"/>
                  <a:pt x="1384" y="85"/>
                  <a:pt x="1384" y="85"/>
                </a:cubicBezTo>
                <a:cubicBezTo>
                  <a:pt x="1384" y="85"/>
                  <a:pt x="1384" y="85"/>
                  <a:pt x="1385" y="86"/>
                </a:cubicBezTo>
                <a:cubicBezTo>
                  <a:pt x="1385" y="86"/>
                  <a:pt x="1385" y="86"/>
                  <a:pt x="1385" y="86"/>
                </a:cubicBezTo>
                <a:cubicBezTo>
                  <a:pt x="1385" y="87"/>
                  <a:pt x="1385" y="87"/>
                  <a:pt x="1385" y="87"/>
                </a:cubicBezTo>
                <a:cubicBezTo>
                  <a:pt x="1385" y="87"/>
                  <a:pt x="1386" y="88"/>
                  <a:pt x="1386" y="88"/>
                </a:cubicBezTo>
                <a:cubicBezTo>
                  <a:pt x="1386" y="88"/>
                  <a:pt x="1386" y="88"/>
                  <a:pt x="1386" y="89"/>
                </a:cubicBezTo>
                <a:cubicBezTo>
                  <a:pt x="1386" y="89"/>
                  <a:pt x="1385" y="88"/>
                  <a:pt x="1385" y="88"/>
                </a:cubicBezTo>
                <a:cubicBezTo>
                  <a:pt x="1385" y="88"/>
                  <a:pt x="1385" y="88"/>
                  <a:pt x="1385" y="88"/>
                </a:cubicBezTo>
                <a:cubicBezTo>
                  <a:pt x="1385" y="88"/>
                  <a:pt x="1385" y="88"/>
                  <a:pt x="1385" y="87"/>
                </a:cubicBezTo>
                <a:cubicBezTo>
                  <a:pt x="1385" y="87"/>
                  <a:pt x="1384" y="87"/>
                  <a:pt x="1384" y="87"/>
                </a:cubicBezTo>
                <a:cubicBezTo>
                  <a:pt x="1384" y="87"/>
                  <a:pt x="1384" y="88"/>
                  <a:pt x="1384" y="88"/>
                </a:cubicBezTo>
                <a:cubicBezTo>
                  <a:pt x="1383" y="87"/>
                  <a:pt x="1383" y="87"/>
                  <a:pt x="1383" y="87"/>
                </a:cubicBezTo>
                <a:cubicBezTo>
                  <a:pt x="1382" y="87"/>
                  <a:pt x="1382" y="86"/>
                  <a:pt x="1381" y="86"/>
                </a:cubicBezTo>
                <a:cubicBezTo>
                  <a:pt x="1380" y="86"/>
                  <a:pt x="1380" y="86"/>
                  <a:pt x="1379" y="86"/>
                </a:cubicBezTo>
                <a:cubicBezTo>
                  <a:pt x="1379" y="86"/>
                  <a:pt x="1379" y="86"/>
                  <a:pt x="1379" y="86"/>
                </a:cubicBezTo>
                <a:cubicBezTo>
                  <a:pt x="1379" y="86"/>
                  <a:pt x="1379" y="86"/>
                  <a:pt x="1380" y="87"/>
                </a:cubicBezTo>
                <a:cubicBezTo>
                  <a:pt x="1380" y="87"/>
                  <a:pt x="1381" y="87"/>
                  <a:pt x="1381" y="87"/>
                </a:cubicBezTo>
                <a:cubicBezTo>
                  <a:pt x="1381" y="87"/>
                  <a:pt x="1381" y="87"/>
                  <a:pt x="1382" y="87"/>
                </a:cubicBezTo>
                <a:cubicBezTo>
                  <a:pt x="1382" y="88"/>
                  <a:pt x="1381" y="88"/>
                  <a:pt x="1381" y="88"/>
                </a:cubicBezTo>
                <a:cubicBezTo>
                  <a:pt x="1382" y="88"/>
                  <a:pt x="1382" y="88"/>
                  <a:pt x="1382" y="89"/>
                </a:cubicBezTo>
                <a:cubicBezTo>
                  <a:pt x="1382" y="89"/>
                  <a:pt x="1382" y="89"/>
                  <a:pt x="1382" y="89"/>
                </a:cubicBezTo>
                <a:cubicBezTo>
                  <a:pt x="1383" y="89"/>
                  <a:pt x="1383" y="89"/>
                  <a:pt x="1383" y="89"/>
                </a:cubicBezTo>
                <a:cubicBezTo>
                  <a:pt x="1383" y="89"/>
                  <a:pt x="1384" y="88"/>
                  <a:pt x="1384" y="88"/>
                </a:cubicBezTo>
                <a:cubicBezTo>
                  <a:pt x="1384" y="88"/>
                  <a:pt x="1384" y="88"/>
                  <a:pt x="1384" y="88"/>
                </a:cubicBezTo>
                <a:cubicBezTo>
                  <a:pt x="1384" y="89"/>
                  <a:pt x="1385" y="89"/>
                  <a:pt x="1385" y="89"/>
                </a:cubicBezTo>
                <a:cubicBezTo>
                  <a:pt x="1385" y="89"/>
                  <a:pt x="1385" y="89"/>
                  <a:pt x="1385" y="90"/>
                </a:cubicBezTo>
                <a:cubicBezTo>
                  <a:pt x="1386" y="89"/>
                  <a:pt x="1386" y="89"/>
                  <a:pt x="1386" y="89"/>
                </a:cubicBezTo>
                <a:cubicBezTo>
                  <a:pt x="1386" y="90"/>
                  <a:pt x="1387" y="90"/>
                  <a:pt x="1387" y="90"/>
                </a:cubicBezTo>
                <a:cubicBezTo>
                  <a:pt x="1387" y="90"/>
                  <a:pt x="1387" y="90"/>
                  <a:pt x="1387" y="90"/>
                </a:cubicBezTo>
                <a:cubicBezTo>
                  <a:pt x="1387" y="90"/>
                  <a:pt x="1387" y="90"/>
                  <a:pt x="1386" y="91"/>
                </a:cubicBezTo>
                <a:cubicBezTo>
                  <a:pt x="1387" y="91"/>
                  <a:pt x="1387" y="91"/>
                  <a:pt x="1387" y="92"/>
                </a:cubicBezTo>
                <a:cubicBezTo>
                  <a:pt x="1387" y="92"/>
                  <a:pt x="1387" y="93"/>
                  <a:pt x="1387" y="93"/>
                </a:cubicBezTo>
                <a:cubicBezTo>
                  <a:pt x="1387" y="94"/>
                  <a:pt x="1387" y="94"/>
                  <a:pt x="1387" y="95"/>
                </a:cubicBezTo>
                <a:cubicBezTo>
                  <a:pt x="1387" y="95"/>
                  <a:pt x="1386" y="95"/>
                  <a:pt x="1386" y="96"/>
                </a:cubicBezTo>
                <a:cubicBezTo>
                  <a:pt x="1386" y="96"/>
                  <a:pt x="1386" y="96"/>
                  <a:pt x="1385" y="96"/>
                </a:cubicBezTo>
                <a:cubicBezTo>
                  <a:pt x="1385" y="96"/>
                  <a:pt x="1385" y="96"/>
                  <a:pt x="1385" y="96"/>
                </a:cubicBezTo>
                <a:cubicBezTo>
                  <a:pt x="1385" y="96"/>
                  <a:pt x="1385" y="97"/>
                  <a:pt x="1385" y="97"/>
                </a:cubicBezTo>
                <a:cubicBezTo>
                  <a:pt x="1385" y="97"/>
                  <a:pt x="1384" y="97"/>
                  <a:pt x="1384" y="98"/>
                </a:cubicBezTo>
                <a:cubicBezTo>
                  <a:pt x="1384" y="98"/>
                  <a:pt x="1384" y="98"/>
                  <a:pt x="1384" y="98"/>
                </a:cubicBezTo>
                <a:cubicBezTo>
                  <a:pt x="1384" y="98"/>
                  <a:pt x="1384" y="98"/>
                  <a:pt x="1384" y="99"/>
                </a:cubicBezTo>
                <a:cubicBezTo>
                  <a:pt x="1384" y="99"/>
                  <a:pt x="1384" y="99"/>
                  <a:pt x="1384" y="99"/>
                </a:cubicBezTo>
                <a:cubicBezTo>
                  <a:pt x="1384" y="99"/>
                  <a:pt x="1383" y="99"/>
                  <a:pt x="1383" y="99"/>
                </a:cubicBezTo>
                <a:cubicBezTo>
                  <a:pt x="1383" y="99"/>
                  <a:pt x="1382" y="100"/>
                  <a:pt x="1382" y="100"/>
                </a:cubicBezTo>
                <a:cubicBezTo>
                  <a:pt x="1382" y="100"/>
                  <a:pt x="1382" y="100"/>
                  <a:pt x="1382" y="100"/>
                </a:cubicBezTo>
                <a:cubicBezTo>
                  <a:pt x="1382" y="101"/>
                  <a:pt x="1382" y="101"/>
                  <a:pt x="1381" y="101"/>
                </a:cubicBezTo>
                <a:cubicBezTo>
                  <a:pt x="1381" y="101"/>
                  <a:pt x="1381" y="102"/>
                  <a:pt x="1380" y="102"/>
                </a:cubicBezTo>
                <a:cubicBezTo>
                  <a:pt x="1380" y="102"/>
                  <a:pt x="1380" y="102"/>
                  <a:pt x="1381" y="102"/>
                </a:cubicBezTo>
                <a:cubicBezTo>
                  <a:pt x="1380" y="102"/>
                  <a:pt x="1380" y="102"/>
                  <a:pt x="1380" y="103"/>
                </a:cubicBezTo>
                <a:cubicBezTo>
                  <a:pt x="1379" y="103"/>
                  <a:pt x="1379" y="103"/>
                  <a:pt x="1379" y="103"/>
                </a:cubicBezTo>
                <a:cubicBezTo>
                  <a:pt x="1378" y="103"/>
                  <a:pt x="1378" y="103"/>
                  <a:pt x="1377" y="103"/>
                </a:cubicBezTo>
                <a:cubicBezTo>
                  <a:pt x="1377" y="103"/>
                  <a:pt x="1376" y="103"/>
                  <a:pt x="1376" y="103"/>
                </a:cubicBezTo>
                <a:cubicBezTo>
                  <a:pt x="1376" y="103"/>
                  <a:pt x="1377" y="103"/>
                  <a:pt x="1377" y="103"/>
                </a:cubicBezTo>
                <a:cubicBezTo>
                  <a:pt x="1377" y="103"/>
                  <a:pt x="1378" y="104"/>
                  <a:pt x="1378" y="104"/>
                </a:cubicBezTo>
                <a:cubicBezTo>
                  <a:pt x="1378" y="103"/>
                  <a:pt x="1379" y="103"/>
                  <a:pt x="1379" y="103"/>
                </a:cubicBezTo>
                <a:cubicBezTo>
                  <a:pt x="1379" y="103"/>
                  <a:pt x="1379" y="103"/>
                  <a:pt x="1379" y="103"/>
                </a:cubicBezTo>
                <a:cubicBezTo>
                  <a:pt x="1379" y="104"/>
                  <a:pt x="1380" y="104"/>
                  <a:pt x="1380" y="105"/>
                </a:cubicBezTo>
                <a:cubicBezTo>
                  <a:pt x="1379" y="105"/>
                  <a:pt x="1379" y="105"/>
                  <a:pt x="1378" y="106"/>
                </a:cubicBezTo>
                <a:cubicBezTo>
                  <a:pt x="1378" y="106"/>
                  <a:pt x="1378" y="106"/>
                  <a:pt x="1377" y="106"/>
                </a:cubicBezTo>
                <a:cubicBezTo>
                  <a:pt x="1377" y="107"/>
                  <a:pt x="1377" y="107"/>
                  <a:pt x="1376" y="108"/>
                </a:cubicBezTo>
                <a:cubicBezTo>
                  <a:pt x="1376" y="108"/>
                  <a:pt x="1377" y="108"/>
                  <a:pt x="1377" y="109"/>
                </a:cubicBezTo>
                <a:cubicBezTo>
                  <a:pt x="1377" y="109"/>
                  <a:pt x="1377" y="109"/>
                  <a:pt x="1377" y="109"/>
                </a:cubicBezTo>
                <a:cubicBezTo>
                  <a:pt x="1376" y="110"/>
                  <a:pt x="1376" y="110"/>
                  <a:pt x="1375" y="111"/>
                </a:cubicBezTo>
                <a:cubicBezTo>
                  <a:pt x="1375" y="111"/>
                  <a:pt x="1374" y="111"/>
                  <a:pt x="1374" y="111"/>
                </a:cubicBezTo>
                <a:cubicBezTo>
                  <a:pt x="1374" y="111"/>
                  <a:pt x="1373" y="110"/>
                  <a:pt x="1373" y="110"/>
                </a:cubicBezTo>
                <a:cubicBezTo>
                  <a:pt x="1373" y="110"/>
                  <a:pt x="1373" y="110"/>
                  <a:pt x="1372" y="110"/>
                </a:cubicBezTo>
                <a:cubicBezTo>
                  <a:pt x="1372" y="110"/>
                  <a:pt x="1372" y="111"/>
                  <a:pt x="1372" y="111"/>
                </a:cubicBezTo>
                <a:cubicBezTo>
                  <a:pt x="1372" y="111"/>
                  <a:pt x="1372" y="111"/>
                  <a:pt x="1372" y="111"/>
                </a:cubicBezTo>
                <a:cubicBezTo>
                  <a:pt x="1372" y="112"/>
                  <a:pt x="1372" y="112"/>
                  <a:pt x="1373" y="113"/>
                </a:cubicBezTo>
                <a:cubicBezTo>
                  <a:pt x="1372" y="113"/>
                  <a:pt x="1372" y="113"/>
                  <a:pt x="1372" y="113"/>
                </a:cubicBezTo>
                <a:cubicBezTo>
                  <a:pt x="1371" y="113"/>
                  <a:pt x="1371" y="113"/>
                  <a:pt x="1371" y="113"/>
                </a:cubicBezTo>
                <a:cubicBezTo>
                  <a:pt x="1370" y="114"/>
                  <a:pt x="1370" y="114"/>
                  <a:pt x="1370" y="114"/>
                </a:cubicBezTo>
                <a:cubicBezTo>
                  <a:pt x="1370" y="115"/>
                  <a:pt x="1370" y="115"/>
                  <a:pt x="1370" y="115"/>
                </a:cubicBezTo>
                <a:cubicBezTo>
                  <a:pt x="1370" y="116"/>
                  <a:pt x="1370" y="116"/>
                  <a:pt x="1370" y="116"/>
                </a:cubicBezTo>
                <a:cubicBezTo>
                  <a:pt x="1370" y="116"/>
                  <a:pt x="1370" y="117"/>
                  <a:pt x="1369" y="117"/>
                </a:cubicBezTo>
                <a:cubicBezTo>
                  <a:pt x="1370" y="117"/>
                  <a:pt x="1370" y="117"/>
                  <a:pt x="1370" y="117"/>
                </a:cubicBezTo>
                <a:cubicBezTo>
                  <a:pt x="1370" y="117"/>
                  <a:pt x="1370" y="118"/>
                  <a:pt x="1370" y="118"/>
                </a:cubicBezTo>
                <a:cubicBezTo>
                  <a:pt x="1370" y="118"/>
                  <a:pt x="1369" y="119"/>
                  <a:pt x="1369" y="119"/>
                </a:cubicBezTo>
                <a:cubicBezTo>
                  <a:pt x="1369" y="120"/>
                  <a:pt x="1368" y="120"/>
                  <a:pt x="1368" y="120"/>
                </a:cubicBezTo>
                <a:cubicBezTo>
                  <a:pt x="1368" y="120"/>
                  <a:pt x="1368" y="120"/>
                  <a:pt x="1368" y="120"/>
                </a:cubicBezTo>
                <a:cubicBezTo>
                  <a:pt x="1368" y="120"/>
                  <a:pt x="1368" y="120"/>
                  <a:pt x="1368" y="120"/>
                </a:cubicBezTo>
                <a:cubicBezTo>
                  <a:pt x="1368" y="120"/>
                  <a:pt x="1369" y="120"/>
                  <a:pt x="1369" y="120"/>
                </a:cubicBezTo>
                <a:cubicBezTo>
                  <a:pt x="1370" y="120"/>
                  <a:pt x="1370" y="120"/>
                  <a:pt x="1370" y="120"/>
                </a:cubicBezTo>
                <a:cubicBezTo>
                  <a:pt x="1371" y="119"/>
                  <a:pt x="1371" y="119"/>
                  <a:pt x="1371" y="119"/>
                </a:cubicBezTo>
                <a:cubicBezTo>
                  <a:pt x="1371" y="119"/>
                  <a:pt x="1371" y="119"/>
                  <a:pt x="1371" y="119"/>
                </a:cubicBezTo>
                <a:cubicBezTo>
                  <a:pt x="1371" y="119"/>
                  <a:pt x="1371" y="119"/>
                  <a:pt x="1371" y="118"/>
                </a:cubicBezTo>
                <a:cubicBezTo>
                  <a:pt x="1372" y="118"/>
                  <a:pt x="1372" y="119"/>
                  <a:pt x="1373" y="119"/>
                </a:cubicBezTo>
                <a:cubicBezTo>
                  <a:pt x="1373" y="119"/>
                  <a:pt x="1374" y="119"/>
                  <a:pt x="1374" y="119"/>
                </a:cubicBezTo>
                <a:cubicBezTo>
                  <a:pt x="1374" y="119"/>
                  <a:pt x="1373" y="118"/>
                  <a:pt x="1373" y="118"/>
                </a:cubicBezTo>
                <a:cubicBezTo>
                  <a:pt x="1372" y="118"/>
                  <a:pt x="1372" y="117"/>
                  <a:pt x="1371" y="117"/>
                </a:cubicBezTo>
                <a:cubicBezTo>
                  <a:pt x="1371" y="116"/>
                  <a:pt x="1371" y="116"/>
                  <a:pt x="1371" y="116"/>
                </a:cubicBezTo>
                <a:cubicBezTo>
                  <a:pt x="1371" y="115"/>
                  <a:pt x="1372" y="115"/>
                  <a:pt x="1372" y="115"/>
                </a:cubicBezTo>
                <a:cubicBezTo>
                  <a:pt x="1372" y="115"/>
                  <a:pt x="1373" y="115"/>
                  <a:pt x="1374" y="115"/>
                </a:cubicBezTo>
                <a:cubicBezTo>
                  <a:pt x="1375" y="115"/>
                  <a:pt x="1375" y="115"/>
                  <a:pt x="1376" y="116"/>
                </a:cubicBezTo>
                <a:cubicBezTo>
                  <a:pt x="1377" y="115"/>
                  <a:pt x="1377" y="115"/>
                  <a:pt x="1378" y="115"/>
                </a:cubicBezTo>
                <a:cubicBezTo>
                  <a:pt x="1378" y="115"/>
                  <a:pt x="1379" y="115"/>
                  <a:pt x="1379" y="115"/>
                </a:cubicBezTo>
                <a:cubicBezTo>
                  <a:pt x="1379" y="115"/>
                  <a:pt x="1379" y="115"/>
                  <a:pt x="1380" y="115"/>
                </a:cubicBezTo>
                <a:cubicBezTo>
                  <a:pt x="1379" y="115"/>
                  <a:pt x="1379" y="114"/>
                  <a:pt x="1379" y="114"/>
                </a:cubicBezTo>
                <a:cubicBezTo>
                  <a:pt x="1380" y="114"/>
                  <a:pt x="1380" y="114"/>
                  <a:pt x="1381" y="114"/>
                </a:cubicBezTo>
                <a:cubicBezTo>
                  <a:pt x="1381" y="114"/>
                  <a:pt x="1382" y="113"/>
                  <a:pt x="1382" y="113"/>
                </a:cubicBezTo>
                <a:cubicBezTo>
                  <a:pt x="1382" y="113"/>
                  <a:pt x="1382" y="112"/>
                  <a:pt x="1382" y="112"/>
                </a:cubicBezTo>
                <a:cubicBezTo>
                  <a:pt x="1382" y="112"/>
                  <a:pt x="1382" y="112"/>
                  <a:pt x="1382" y="112"/>
                </a:cubicBezTo>
                <a:cubicBezTo>
                  <a:pt x="1382" y="112"/>
                  <a:pt x="1382" y="112"/>
                  <a:pt x="1383" y="113"/>
                </a:cubicBezTo>
                <a:cubicBezTo>
                  <a:pt x="1383" y="113"/>
                  <a:pt x="1384" y="113"/>
                  <a:pt x="1384" y="113"/>
                </a:cubicBezTo>
                <a:cubicBezTo>
                  <a:pt x="1385" y="112"/>
                  <a:pt x="1385" y="112"/>
                  <a:pt x="1385" y="112"/>
                </a:cubicBezTo>
                <a:cubicBezTo>
                  <a:pt x="1385" y="112"/>
                  <a:pt x="1385" y="112"/>
                  <a:pt x="1385" y="111"/>
                </a:cubicBezTo>
                <a:cubicBezTo>
                  <a:pt x="1386" y="111"/>
                  <a:pt x="1386" y="111"/>
                  <a:pt x="1387" y="111"/>
                </a:cubicBezTo>
                <a:cubicBezTo>
                  <a:pt x="1387" y="111"/>
                  <a:pt x="1387" y="110"/>
                  <a:pt x="1388" y="110"/>
                </a:cubicBezTo>
                <a:cubicBezTo>
                  <a:pt x="1387" y="110"/>
                  <a:pt x="1387" y="110"/>
                  <a:pt x="1387" y="109"/>
                </a:cubicBezTo>
                <a:cubicBezTo>
                  <a:pt x="1386" y="110"/>
                  <a:pt x="1386" y="110"/>
                  <a:pt x="1385" y="110"/>
                </a:cubicBezTo>
                <a:cubicBezTo>
                  <a:pt x="1385" y="110"/>
                  <a:pt x="1385" y="110"/>
                  <a:pt x="1385" y="110"/>
                </a:cubicBezTo>
                <a:cubicBezTo>
                  <a:pt x="1384" y="110"/>
                  <a:pt x="1383" y="110"/>
                  <a:pt x="1383" y="111"/>
                </a:cubicBezTo>
                <a:cubicBezTo>
                  <a:pt x="1382" y="110"/>
                  <a:pt x="1382" y="110"/>
                  <a:pt x="1381" y="110"/>
                </a:cubicBezTo>
                <a:cubicBezTo>
                  <a:pt x="1381" y="110"/>
                  <a:pt x="1381" y="109"/>
                  <a:pt x="1381" y="109"/>
                </a:cubicBezTo>
                <a:cubicBezTo>
                  <a:pt x="1381" y="109"/>
                  <a:pt x="1382" y="108"/>
                  <a:pt x="1382" y="108"/>
                </a:cubicBezTo>
                <a:cubicBezTo>
                  <a:pt x="1382" y="108"/>
                  <a:pt x="1382" y="107"/>
                  <a:pt x="1382" y="107"/>
                </a:cubicBezTo>
                <a:cubicBezTo>
                  <a:pt x="1382" y="107"/>
                  <a:pt x="1383" y="107"/>
                  <a:pt x="1383" y="107"/>
                </a:cubicBezTo>
                <a:cubicBezTo>
                  <a:pt x="1384" y="107"/>
                  <a:pt x="1384" y="107"/>
                  <a:pt x="1385" y="107"/>
                </a:cubicBezTo>
                <a:cubicBezTo>
                  <a:pt x="1386" y="107"/>
                  <a:pt x="1386" y="108"/>
                  <a:pt x="1387" y="108"/>
                </a:cubicBezTo>
                <a:cubicBezTo>
                  <a:pt x="1387" y="108"/>
                  <a:pt x="1387" y="108"/>
                  <a:pt x="1388" y="108"/>
                </a:cubicBezTo>
                <a:cubicBezTo>
                  <a:pt x="1388" y="107"/>
                  <a:pt x="1388" y="107"/>
                  <a:pt x="1388" y="107"/>
                </a:cubicBezTo>
                <a:cubicBezTo>
                  <a:pt x="1388" y="107"/>
                  <a:pt x="1389" y="107"/>
                  <a:pt x="1390" y="107"/>
                </a:cubicBezTo>
                <a:cubicBezTo>
                  <a:pt x="1390" y="107"/>
                  <a:pt x="1390" y="107"/>
                  <a:pt x="1390" y="107"/>
                </a:cubicBezTo>
                <a:cubicBezTo>
                  <a:pt x="1389" y="108"/>
                  <a:pt x="1389" y="108"/>
                  <a:pt x="1389" y="108"/>
                </a:cubicBezTo>
                <a:cubicBezTo>
                  <a:pt x="1389" y="108"/>
                  <a:pt x="1389" y="108"/>
                  <a:pt x="1389" y="109"/>
                </a:cubicBezTo>
                <a:cubicBezTo>
                  <a:pt x="1390" y="109"/>
                  <a:pt x="1391" y="110"/>
                  <a:pt x="1392" y="111"/>
                </a:cubicBezTo>
                <a:cubicBezTo>
                  <a:pt x="1392" y="111"/>
                  <a:pt x="1393" y="111"/>
                  <a:pt x="1393" y="111"/>
                </a:cubicBezTo>
                <a:cubicBezTo>
                  <a:pt x="1393" y="111"/>
                  <a:pt x="1394" y="111"/>
                  <a:pt x="1394" y="111"/>
                </a:cubicBezTo>
                <a:cubicBezTo>
                  <a:pt x="1395" y="111"/>
                  <a:pt x="1396" y="111"/>
                  <a:pt x="1396" y="111"/>
                </a:cubicBezTo>
                <a:cubicBezTo>
                  <a:pt x="1397" y="111"/>
                  <a:pt x="1397" y="111"/>
                  <a:pt x="1398" y="111"/>
                </a:cubicBezTo>
                <a:cubicBezTo>
                  <a:pt x="1398" y="111"/>
                  <a:pt x="1398" y="110"/>
                  <a:pt x="1398" y="110"/>
                </a:cubicBezTo>
                <a:cubicBezTo>
                  <a:pt x="1397" y="110"/>
                  <a:pt x="1396" y="109"/>
                  <a:pt x="1396" y="108"/>
                </a:cubicBezTo>
                <a:cubicBezTo>
                  <a:pt x="1396" y="108"/>
                  <a:pt x="1396" y="108"/>
                  <a:pt x="1396" y="108"/>
                </a:cubicBezTo>
                <a:cubicBezTo>
                  <a:pt x="1396" y="108"/>
                  <a:pt x="1396" y="108"/>
                  <a:pt x="1397" y="108"/>
                </a:cubicBezTo>
                <a:cubicBezTo>
                  <a:pt x="1397" y="109"/>
                  <a:pt x="1398" y="109"/>
                  <a:pt x="1399" y="110"/>
                </a:cubicBezTo>
                <a:cubicBezTo>
                  <a:pt x="1399" y="110"/>
                  <a:pt x="1399" y="110"/>
                  <a:pt x="1399" y="110"/>
                </a:cubicBezTo>
                <a:cubicBezTo>
                  <a:pt x="1400" y="111"/>
                  <a:pt x="1400" y="111"/>
                  <a:pt x="1401" y="111"/>
                </a:cubicBezTo>
                <a:cubicBezTo>
                  <a:pt x="1400" y="112"/>
                  <a:pt x="1400" y="112"/>
                  <a:pt x="1400" y="112"/>
                </a:cubicBezTo>
                <a:cubicBezTo>
                  <a:pt x="1400" y="112"/>
                  <a:pt x="1400" y="112"/>
                  <a:pt x="1400" y="112"/>
                </a:cubicBezTo>
                <a:cubicBezTo>
                  <a:pt x="1401" y="113"/>
                  <a:pt x="1401" y="113"/>
                  <a:pt x="1402" y="114"/>
                </a:cubicBezTo>
                <a:cubicBezTo>
                  <a:pt x="1402" y="114"/>
                  <a:pt x="1402" y="114"/>
                  <a:pt x="1402" y="115"/>
                </a:cubicBezTo>
                <a:cubicBezTo>
                  <a:pt x="1402" y="115"/>
                  <a:pt x="1402" y="115"/>
                  <a:pt x="1402" y="115"/>
                </a:cubicBezTo>
                <a:cubicBezTo>
                  <a:pt x="1402" y="115"/>
                  <a:pt x="1402" y="115"/>
                  <a:pt x="1402" y="115"/>
                </a:cubicBezTo>
                <a:cubicBezTo>
                  <a:pt x="1402" y="115"/>
                  <a:pt x="1403" y="115"/>
                  <a:pt x="1403" y="114"/>
                </a:cubicBezTo>
                <a:cubicBezTo>
                  <a:pt x="1403" y="114"/>
                  <a:pt x="1404" y="114"/>
                  <a:pt x="1404" y="114"/>
                </a:cubicBezTo>
                <a:cubicBezTo>
                  <a:pt x="1404" y="114"/>
                  <a:pt x="1404" y="114"/>
                  <a:pt x="1405" y="114"/>
                </a:cubicBezTo>
                <a:cubicBezTo>
                  <a:pt x="1404" y="114"/>
                  <a:pt x="1404" y="114"/>
                  <a:pt x="1404" y="114"/>
                </a:cubicBezTo>
                <a:cubicBezTo>
                  <a:pt x="1404" y="114"/>
                  <a:pt x="1403" y="114"/>
                  <a:pt x="1403" y="114"/>
                </a:cubicBezTo>
                <a:cubicBezTo>
                  <a:pt x="1403" y="114"/>
                  <a:pt x="1403" y="114"/>
                  <a:pt x="1402" y="113"/>
                </a:cubicBezTo>
                <a:cubicBezTo>
                  <a:pt x="1402" y="113"/>
                  <a:pt x="1402" y="113"/>
                  <a:pt x="1402" y="112"/>
                </a:cubicBezTo>
                <a:cubicBezTo>
                  <a:pt x="1402" y="112"/>
                  <a:pt x="1403" y="112"/>
                  <a:pt x="1403" y="112"/>
                </a:cubicBezTo>
                <a:cubicBezTo>
                  <a:pt x="1404" y="112"/>
                  <a:pt x="1404" y="112"/>
                  <a:pt x="1405" y="112"/>
                </a:cubicBezTo>
                <a:cubicBezTo>
                  <a:pt x="1405" y="112"/>
                  <a:pt x="1405" y="111"/>
                  <a:pt x="1406" y="111"/>
                </a:cubicBezTo>
                <a:cubicBezTo>
                  <a:pt x="1406" y="111"/>
                  <a:pt x="1406" y="111"/>
                  <a:pt x="1406" y="112"/>
                </a:cubicBezTo>
                <a:cubicBezTo>
                  <a:pt x="1407" y="111"/>
                  <a:pt x="1407" y="111"/>
                  <a:pt x="1407" y="111"/>
                </a:cubicBezTo>
                <a:cubicBezTo>
                  <a:pt x="1408" y="111"/>
                  <a:pt x="1409" y="111"/>
                  <a:pt x="1409" y="111"/>
                </a:cubicBezTo>
                <a:cubicBezTo>
                  <a:pt x="1411" y="112"/>
                  <a:pt x="1412" y="112"/>
                  <a:pt x="1414" y="112"/>
                </a:cubicBezTo>
                <a:cubicBezTo>
                  <a:pt x="1415" y="112"/>
                  <a:pt x="1417" y="112"/>
                  <a:pt x="1418" y="113"/>
                </a:cubicBezTo>
                <a:cubicBezTo>
                  <a:pt x="1420" y="113"/>
                  <a:pt x="1421" y="113"/>
                  <a:pt x="1422" y="113"/>
                </a:cubicBezTo>
                <a:cubicBezTo>
                  <a:pt x="1423" y="113"/>
                  <a:pt x="1423" y="113"/>
                  <a:pt x="1424" y="113"/>
                </a:cubicBezTo>
                <a:cubicBezTo>
                  <a:pt x="1425" y="113"/>
                  <a:pt x="1425" y="114"/>
                  <a:pt x="1426" y="114"/>
                </a:cubicBezTo>
                <a:cubicBezTo>
                  <a:pt x="1426" y="114"/>
                  <a:pt x="1425" y="114"/>
                  <a:pt x="1425" y="114"/>
                </a:cubicBezTo>
                <a:cubicBezTo>
                  <a:pt x="1425" y="114"/>
                  <a:pt x="1425" y="114"/>
                  <a:pt x="1425" y="114"/>
                </a:cubicBezTo>
                <a:cubicBezTo>
                  <a:pt x="1425" y="115"/>
                  <a:pt x="1424" y="115"/>
                  <a:pt x="1424" y="115"/>
                </a:cubicBezTo>
                <a:cubicBezTo>
                  <a:pt x="1424" y="116"/>
                  <a:pt x="1424" y="116"/>
                  <a:pt x="1424" y="117"/>
                </a:cubicBezTo>
                <a:cubicBezTo>
                  <a:pt x="1425" y="117"/>
                  <a:pt x="1425" y="117"/>
                  <a:pt x="1426" y="118"/>
                </a:cubicBezTo>
                <a:cubicBezTo>
                  <a:pt x="1427" y="118"/>
                  <a:pt x="1429" y="119"/>
                  <a:pt x="1431" y="119"/>
                </a:cubicBezTo>
                <a:cubicBezTo>
                  <a:pt x="1431" y="119"/>
                  <a:pt x="1431" y="119"/>
                  <a:pt x="1432" y="120"/>
                </a:cubicBezTo>
                <a:cubicBezTo>
                  <a:pt x="1432" y="120"/>
                  <a:pt x="1432" y="120"/>
                  <a:pt x="1432" y="119"/>
                </a:cubicBezTo>
                <a:cubicBezTo>
                  <a:pt x="1433" y="120"/>
                  <a:pt x="1434" y="120"/>
                  <a:pt x="1434" y="120"/>
                </a:cubicBezTo>
                <a:cubicBezTo>
                  <a:pt x="1435" y="120"/>
                  <a:pt x="1435" y="120"/>
                  <a:pt x="1435" y="121"/>
                </a:cubicBezTo>
                <a:cubicBezTo>
                  <a:pt x="1437" y="121"/>
                  <a:pt x="1438" y="121"/>
                  <a:pt x="1439" y="121"/>
                </a:cubicBezTo>
                <a:cubicBezTo>
                  <a:pt x="1440" y="121"/>
                  <a:pt x="1441" y="121"/>
                  <a:pt x="1442" y="121"/>
                </a:cubicBezTo>
                <a:cubicBezTo>
                  <a:pt x="1442" y="121"/>
                  <a:pt x="1443" y="121"/>
                  <a:pt x="1443" y="121"/>
                </a:cubicBezTo>
                <a:cubicBezTo>
                  <a:pt x="1443" y="121"/>
                  <a:pt x="1444" y="122"/>
                  <a:pt x="1444" y="122"/>
                </a:cubicBezTo>
                <a:cubicBezTo>
                  <a:pt x="1444" y="121"/>
                  <a:pt x="1445" y="121"/>
                  <a:pt x="1445" y="121"/>
                </a:cubicBezTo>
                <a:cubicBezTo>
                  <a:pt x="1445" y="121"/>
                  <a:pt x="1445" y="121"/>
                  <a:pt x="1445" y="120"/>
                </a:cubicBezTo>
                <a:cubicBezTo>
                  <a:pt x="1445" y="121"/>
                  <a:pt x="1446" y="121"/>
                  <a:pt x="1446" y="121"/>
                </a:cubicBezTo>
                <a:cubicBezTo>
                  <a:pt x="1446" y="121"/>
                  <a:pt x="1447" y="121"/>
                  <a:pt x="1447" y="121"/>
                </a:cubicBezTo>
                <a:cubicBezTo>
                  <a:pt x="1447" y="121"/>
                  <a:pt x="1448" y="121"/>
                  <a:pt x="1449" y="121"/>
                </a:cubicBezTo>
                <a:cubicBezTo>
                  <a:pt x="1449" y="121"/>
                  <a:pt x="1449" y="122"/>
                  <a:pt x="1449" y="122"/>
                </a:cubicBezTo>
                <a:cubicBezTo>
                  <a:pt x="1449" y="122"/>
                  <a:pt x="1449" y="122"/>
                  <a:pt x="1449" y="122"/>
                </a:cubicBezTo>
                <a:cubicBezTo>
                  <a:pt x="1450" y="122"/>
                  <a:pt x="1450" y="122"/>
                  <a:pt x="1450" y="122"/>
                </a:cubicBezTo>
                <a:cubicBezTo>
                  <a:pt x="1450" y="121"/>
                  <a:pt x="1450" y="121"/>
                  <a:pt x="1450" y="121"/>
                </a:cubicBezTo>
                <a:cubicBezTo>
                  <a:pt x="1450" y="121"/>
                  <a:pt x="1450" y="120"/>
                  <a:pt x="1449" y="120"/>
                </a:cubicBezTo>
                <a:cubicBezTo>
                  <a:pt x="1449" y="120"/>
                  <a:pt x="1449" y="120"/>
                  <a:pt x="1450" y="119"/>
                </a:cubicBezTo>
                <a:cubicBezTo>
                  <a:pt x="1449" y="119"/>
                  <a:pt x="1449" y="119"/>
                  <a:pt x="1449" y="119"/>
                </a:cubicBezTo>
                <a:cubicBezTo>
                  <a:pt x="1449" y="119"/>
                  <a:pt x="1448" y="118"/>
                  <a:pt x="1448" y="118"/>
                </a:cubicBezTo>
                <a:cubicBezTo>
                  <a:pt x="1448" y="118"/>
                  <a:pt x="1448" y="118"/>
                  <a:pt x="1448" y="117"/>
                </a:cubicBezTo>
                <a:cubicBezTo>
                  <a:pt x="1448" y="117"/>
                  <a:pt x="1448" y="117"/>
                  <a:pt x="1447" y="117"/>
                </a:cubicBezTo>
                <a:cubicBezTo>
                  <a:pt x="1447" y="117"/>
                  <a:pt x="1447" y="116"/>
                  <a:pt x="1447" y="116"/>
                </a:cubicBezTo>
                <a:cubicBezTo>
                  <a:pt x="1447" y="116"/>
                  <a:pt x="1447" y="116"/>
                  <a:pt x="1447" y="115"/>
                </a:cubicBezTo>
                <a:cubicBezTo>
                  <a:pt x="1447" y="115"/>
                  <a:pt x="1447" y="115"/>
                  <a:pt x="1447" y="114"/>
                </a:cubicBezTo>
                <a:cubicBezTo>
                  <a:pt x="1447" y="114"/>
                  <a:pt x="1447" y="114"/>
                  <a:pt x="1447" y="114"/>
                </a:cubicBezTo>
                <a:cubicBezTo>
                  <a:pt x="1447" y="114"/>
                  <a:pt x="1448" y="114"/>
                  <a:pt x="1448" y="114"/>
                </a:cubicBezTo>
                <a:cubicBezTo>
                  <a:pt x="1448" y="115"/>
                  <a:pt x="1448" y="115"/>
                  <a:pt x="1448" y="115"/>
                </a:cubicBezTo>
                <a:cubicBezTo>
                  <a:pt x="1449" y="115"/>
                  <a:pt x="1449" y="115"/>
                  <a:pt x="1450" y="114"/>
                </a:cubicBezTo>
                <a:cubicBezTo>
                  <a:pt x="1449" y="114"/>
                  <a:pt x="1449" y="114"/>
                  <a:pt x="1449" y="114"/>
                </a:cubicBezTo>
                <a:cubicBezTo>
                  <a:pt x="1449" y="114"/>
                  <a:pt x="1449" y="114"/>
                  <a:pt x="1449" y="113"/>
                </a:cubicBezTo>
                <a:cubicBezTo>
                  <a:pt x="1450" y="113"/>
                  <a:pt x="1450" y="114"/>
                  <a:pt x="1450" y="114"/>
                </a:cubicBezTo>
                <a:cubicBezTo>
                  <a:pt x="1451" y="114"/>
                  <a:pt x="1451" y="114"/>
                  <a:pt x="1451" y="115"/>
                </a:cubicBezTo>
                <a:cubicBezTo>
                  <a:pt x="1452" y="115"/>
                  <a:pt x="1452" y="115"/>
                  <a:pt x="1452" y="114"/>
                </a:cubicBezTo>
                <a:cubicBezTo>
                  <a:pt x="1452" y="114"/>
                  <a:pt x="1453" y="114"/>
                  <a:pt x="1453" y="114"/>
                </a:cubicBezTo>
                <a:cubicBezTo>
                  <a:pt x="1453" y="114"/>
                  <a:pt x="1453" y="114"/>
                  <a:pt x="1453" y="114"/>
                </a:cubicBezTo>
                <a:cubicBezTo>
                  <a:pt x="1454" y="115"/>
                  <a:pt x="1454" y="115"/>
                  <a:pt x="1455" y="115"/>
                </a:cubicBezTo>
                <a:cubicBezTo>
                  <a:pt x="1455" y="115"/>
                  <a:pt x="1455" y="115"/>
                  <a:pt x="1455" y="115"/>
                </a:cubicBezTo>
                <a:cubicBezTo>
                  <a:pt x="1456" y="115"/>
                  <a:pt x="1456" y="115"/>
                  <a:pt x="1456" y="115"/>
                </a:cubicBezTo>
                <a:cubicBezTo>
                  <a:pt x="1456" y="115"/>
                  <a:pt x="1457" y="115"/>
                  <a:pt x="1457" y="116"/>
                </a:cubicBezTo>
                <a:cubicBezTo>
                  <a:pt x="1457" y="116"/>
                  <a:pt x="1458" y="116"/>
                  <a:pt x="1458" y="116"/>
                </a:cubicBezTo>
                <a:cubicBezTo>
                  <a:pt x="1458" y="116"/>
                  <a:pt x="1458" y="117"/>
                  <a:pt x="1458" y="117"/>
                </a:cubicBezTo>
                <a:cubicBezTo>
                  <a:pt x="1459" y="117"/>
                  <a:pt x="1459" y="117"/>
                  <a:pt x="1459" y="117"/>
                </a:cubicBezTo>
                <a:cubicBezTo>
                  <a:pt x="1459" y="116"/>
                  <a:pt x="1459" y="116"/>
                  <a:pt x="1459" y="116"/>
                </a:cubicBezTo>
                <a:cubicBezTo>
                  <a:pt x="1460" y="116"/>
                  <a:pt x="1460" y="116"/>
                  <a:pt x="1460" y="116"/>
                </a:cubicBezTo>
                <a:cubicBezTo>
                  <a:pt x="1461" y="117"/>
                  <a:pt x="1461" y="117"/>
                  <a:pt x="1461" y="117"/>
                </a:cubicBezTo>
                <a:cubicBezTo>
                  <a:pt x="1461" y="117"/>
                  <a:pt x="1460" y="117"/>
                  <a:pt x="1460" y="117"/>
                </a:cubicBezTo>
                <a:cubicBezTo>
                  <a:pt x="1460" y="118"/>
                  <a:pt x="1460" y="118"/>
                  <a:pt x="1459" y="118"/>
                </a:cubicBezTo>
                <a:cubicBezTo>
                  <a:pt x="1459" y="118"/>
                  <a:pt x="1460" y="118"/>
                  <a:pt x="1460" y="118"/>
                </a:cubicBezTo>
                <a:cubicBezTo>
                  <a:pt x="1460" y="118"/>
                  <a:pt x="1461" y="118"/>
                  <a:pt x="1461" y="118"/>
                </a:cubicBezTo>
                <a:cubicBezTo>
                  <a:pt x="1461" y="118"/>
                  <a:pt x="1461" y="119"/>
                  <a:pt x="1461" y="119"/>
                </a:cubicBezTo>
                <a:cubicBezTo>
                  <a:pt x="1461" y="118"/>
                  <a:pt x="1461" y="118"/>
                  <a:pt x="1462" y="118"/>
                </a:cubicBezTo>
                <a:cubicBezTo>
                  <a:pt x="1462" y="118"/>
                  <a:pt x="1462" y="118"/>
                  <a:pt x="1462" y="118"/>
                </a:cubicBezTo>
                <a:cubicBezTo>
                  <a:pt x="1462" y="118"/>
                  <a:pt x="1463" y="118"/>
                  <a:pt x="1463" y="118"/>
                </a:cubicBezTo>
                <a:cubicBezTo>
                  <a:pt x="1463" y="118"/>
                  <a:pt x="1463" y="118"/>
                  <a:pt x="1463" y="117"/>
                </a:cubicBezTo>
                <a:cubicBezTo>
                  <a:pt x="1462" y="117"/>
                  <a:pt x="1462" y="117"/>
                  <a:pt x="1462" y="117"/>
                </a:cubicBezTo>
                <a:cubicBezTo>
                  <a:pt x="1462" y="117"/>
                  <a:pt x="1462" y="117"/>
                  <a:pt x="1462" y="117"/>
                </a:cubicBezTo>
                <a:cubicBezTo>
                  <a:pt x="1463" y="117"/>
                  <a:pt x="1463" y="117"/>
                  <a:pt x="1464" y="117"/>
                </a:cubicBezTo>
                <a:cubicBezTo>
                  <a:pt x="1464" y="117"/>
                  <a:pt x="1465" y="117"/>
                  <a:pt x="1465" y="117"/>
                </a:cubicBezTo>
                <a:cubicBezTo>
                  <a:pt x="1466" y="117"/>
                  <a:pt x="1466" y="118"/>
                  <a:pt x="1466" y="118"/>
                </a:cubicBezTo>
                <a:cubicBezTo>
                  <a:pt x="1466" y="118"/>
                  <a:pt x="1466" y="118"/>
                  <a:pt x="1467" y="118"/>
                </a:cubicBezTo>
                <a:cubicBezTo>
                  <a:pt x="1467" y="118"/>
                  <a:pt x="1468" y="118"/>
                  <a:pt x="1468" y="118"/>
                </a:cubicBezTo>
                <a:cubicBezTo>
                  <a:pt x="1468" y="118"/>
                  <a:pt x="1468" y="118"/>
                  <a:pt x="1468" y="119"/>
                </a:cubicBezTo>
                <a:cubicBezTo>
                  <a:pt x="1468" y="119"/>
                  <a:pt x="1468" y="119"/>
                  <a:pt x="1468" y="120"/>
                </a:cubicBezTo>
                <a:cubicBezTo>
                  <a:pt x="1468" y="119"/>
                  <a:pt x="1469" y="119"/>
                  <a:pt x="1469" y="119"/>
                </a:cubicBezTo>
                <a:cubicBezTo>
                  <a:pt x="1469" y="119"/>
                  <a:pt x="1469" y="119"/>
                  <a:pt x="1469" y="119"/>
                </a:cubicBezTo>
                <a:cubicBezTo>
                  <a:pt x="1470" y="119"/>
                  <a:pt x="1470" y="119"/>
                  <a:pt x="1470" y="119"/>
                </a:cubicBezTo>
                <a:cubicBezTo>
                  <a:pt x="1470" y="119"/>
                  <a:pt x="1471" y="120"/>
                  <a:pt x="1471" y="120"/>
                </a:cubicBezTo>
                <a:cubicBezTo>
                  <a:pt x="1471" y="120"/>
                  <a:pt x="1471" y="120"/>
                  <a:pt x="1471" y="120"/>
                </a:cubicBezTo>
                <a:cubicBezTo>
                  <a:pt x="1472" y="120"/>
                  <a:pt x="1472" y="120"/>
                  <a:pt x="1473" y="120"/>
                </a:cubicBezTo>
                <a:cubicBezTo>
                  <a:pt x="1473" y="120"/>
                  <a:pt x="1473" y="121"/>
                  <a:pt x="1473" y="121"/>
                </a:cubicBezTo>
                <a:cubicBezTo>
                  <a:pt x="1473" y="121"/>
                  <a:pt x="1473" y="122"/>
                  <a:pt x="1473" y="122"/>
                </a:cubicBezTo>
                <a:cubicBezTo>
                  <a:pt x="1474" y="122"/>
                  <a:pt x="1474" y="122"/>
                  <a:pt x="1475" y="122"/>
                </a:cubicBezTo>
                <a:cubicBezTo>
                  <a:pt x="1475" y="122"/>
                  <a:pt x="1475" y="122"/>
                  <a:pt x="1475" y="122"/>
                </a:cubicBezTo>
                <a:cubicBezTo>
                  <a:pt x="1475" y="122"/>
                  <a:pt x="1476" y="122"/>
                  <a:pt x="1476" y="122"/>
                </a:cubicBezTo>
                <a:cubicBezTo>
                  <a:pt x="1475" y="122"/>
                  <a:pt x="1475" y="123"/>
                  <a:pt x="1475" y="123"/>
                </a:cubicBezTo>
                <a:cubicBezTo>
                  <a:pt x="1475" y="123"/>
                  <a:pt x="1475" y="123"/>
                  <a:pt x="1476" y="124"/>
                </a:cubicBezTo>
                <a:cubicBezTo>
                  <a:pt x="1476" y="124"/>
                  <a:pt x="1476" y="124"/>
                  <a:pt x="1476" y="124"/>
                </a:cubicBezTo>
                <a:cubicBezTo>
                  <a:pt x="1476" y="124"/>
                  <a:pt x="1477" y="124"/>
                  <a:pt x="1477" y="124"/>
                </a:cubicBezTo>
                <a:cubicBezTo>
                  <a:pt x="1477" y="124"/>
                  <a:pt x="1477" y="125"/>
                  <a:pt x="1477" y="125"/>
                </a:cubicBezTo>
                <a:cubicBezTo>
                  <a:pt x="1477" y="125"/>
                  <a:pt x="1478" y="125"/>
                  <a:pt x="1478" y="125"/>
                </a:cubicBezTo>
                <a:cubicBezTo>
                  <a:pt x="1478" y="125"/>
                  <a:pt x="1478" y="125"/>
                  <a:pt x="1478" y="125"/>
                </a:cubicBezTo>
                <a:cubicBezTo>
                  <a:pt x="1478" y="125"/>
                  <a:pt x="1478" y="125"/>
                  <a:pt x="1478" y="126"/>
                </a:cubicBezTo>
                <a:cubicBezTo>
                  <a:pt x="1478" y="126"/>
                  <a:pt x="1478" y="126"/>
                  <a:pt x="1477" y="126"/>
                </a:cubicBezTo>
                <a:cubicBezTo>
                  <a:pt x="1477" y="126"/>
                  <a:pt x="1477" y="127"/>
                  <a:pt x="1477" y="127"/>
                </a:cubicBezTo>
                <a:cubicBezTo>
                  <a:pt x="1478" y="127"/>
                  <a:pt x="1478" y="127"/>
                  <a:pt x="1479" y="126"/>
                </a:cubicBezTo>
                <a:cubicBezTo>
                  <a:pt x="1479" y="127"/>
                  <a:pt x="1480" y="127"/>
                  <a:pt x="1480" y="127"/>
                </a:cubicBezTo>
                <a:cubicBezTo>
                  <a:pt x="1480" y="127"/>
                  <a:pt x="1480" y="127"/>
                  <a:pt x="1480" y="127"/>
                </a:cubicBezTo>
                <a:cubicBezTo>
                  <a:pt x="1479" y="128"/>
                  <a:pt x="1478" y="128"/>
                  <a:pt x="1478" y="128"/>
                </a:cubicBezTo>
                <a:cubicBezTo>
                  <a:pt x="1477" y="128"/>
                  <a:pt x="1477" y="129"/>
                  <a:pt x="1477" y="129"/>
                </a:cubicBezTo>
                <a:cubicBezTo>
                  <a:pt x="1478" y="129"/>
                  <a:pt x="1479" y="129"/>
                  <a:pt x="1479" y="130"/>
                </a:cubicBezTo>
                <a:cubicBezTo>
                  <a:pt x="1479" y="130"/>
                  <a:pt x="1480" y="129"/>
                  <a:pt x="1480" y="129"/>
                </a:cubicBezTo>
                <a:cubicBezTo>
                  <a:pt x="1480" y="129"/>
                  <a:pt x="1480" y="129"/>
                  <a:pt x="1481" y="129"/>
                </a:cubicBezTo>
                <a:cubicBezTo>
                  <a:pt x="1481" y="129"/>
                  <a:pt x="1481" y="130"/>
                  <a:pt x="1481" y="130"/>
                </a:cubicBezTo>
                <a:cubicBezTo>
                  <a:pt x="1481" y="130"/>
                  <a:pt x="1481" y="130"/>
                  <a:pt x="1481" y="130"/>
                </a:cubicBezTo>
                <a:cubicBezTo>
                  <a:pt x="1482" y="130"/>
                  <a:pt x="1482" y="130"/>
                  <a:pt x="1482" y="130"/>
                </a:cubicBezTo>
                <a:cubicBezTo>
                  <a:pt x="1483" y="131"/>
                  <a:pt x="1483" y="131"/>
                  <a:pt x="1483" y="132"/>
                </a:cubicBezTo>
                <a:cubicBezTo>
                  <a:pt x="1483" y="132"/>
                  <a:pt x="1483" y="132"/>
                  <a:pt x="1483" y="132"/>
                </a:cubicBezTo>
                <a:cubicBezTo>
                  <a:pt x="1483" y="133"/>
                  <a:pt x="1484" y="133"/>
                  <a:pt x="1484" y="133"/>
                </a:cubicBezTo>
                <a:cubicBezTo>
                  <a:pt x="1484" y="133"/>
                  <a:pt x="1484" y="133"/>
                  <a:pt x="1484" y="133"/>
                </a:cubicBezTo>
                <a:cubicBezTo>
                  <a:pt x="1484" y="133"/>
                  <a:pt x="1485" y="133"/>
                  <a:pt x="1485" y="133"/>
                </a:cubicBezTo>
                <a:cubicBezTo>
                  <a:pt x="1485" y="133"/>
                  <a:pt x="1485" y="134"/>
                  <a:pt x="1485" y="134"/>
                </a:cubicBezTo>
                <a:cubicBezTo>
                  <a:pt x="1485" y="134"/>
                  <a:pt x="1484" y="134"/>
                  <a:pt x="1484" y="135"/>
                </a:cubicBezTo>
                <a:cubicBezTo>
                  <a:pt x="1483" y="135"/>
                  <a:pt x="1483" y="135"/>
                  <a:pt x="1482" y="135"/>
                </a:cubicBezTo>
                <a:cubicBezTo>
                  <a:pt x="1482" y="134"/>
                  <a:pt x="1482" y="134"/>
                  <a:pt x="1481" y="134"/>
                </a:cubicBezTo>
                <a:cubicBezTo>
                  <a:pt x="1481" y="134"/>
                  <a:pt x="1480" y="133"/>
                  <a:pt x="1479" y="133"/>
                </a:cubicBezTo>
                <a:cubicBezTo>
                  <a:pt x="1478" y="133"/>
                  <a:pt x="1477" y="132"/>
                  <a:pt x="1477" y="132"/>
                </a:cubicBezTo>
                <a:cubicBezTo>
                  <a:pt x="1477" y="132"/>
                  <a:pt x="1477" y="133"/>
                  <a:pt x="1477" y="133"/>
                </a:cubicBezTo>
                <a:cubicBezTo>
                  <a:pt x="1478" y="133"/>
                  <a:pt x="1478" y="133"/>
                  <a:pt x="1478" y="134"/>
                </a:cubicBezTo>
                <a:cubicBezTo>
                  <a:pt x="1478" y="134"/>
                  <a:pt x="1479" y="134"/>
                  <a:pt x="1480" y="135"/>
                </a:cubicBezTo>
                <a:cubicBezTo>
                  <a:pt x="1480" y="135"/>
                  <a:pt x="1480" y="135"/>
                  <a:pt x="1480" y="135"/>
                </a:cubicBezTo>
                <a:cubicBezTo>
                  <a:pt x="1481" y="136"/>
                  <a:pt x="1481" y="136"/>
                  <a:pt x="1482" y="137"/>
                </a:cubicBezTo>
                <a:cubicBezTo>
                  <a:pt x="1483" y="137"/>
                  <a:pt x="1483" y="137"/>
                  <a:pt x="1484" y="138"/>
                </a:cubicBezTo>
                <a:cubicBezTo>
                  <a:pt x="1485" y="138"/>
                  <a:pt x="1485" y="138"/>
                  <a:pt x="1486" y="138"/>
                </a:cubicBezTo>
                <a:cubicBezTo>
                  <a:pt x="1486" y="137"/>
                  <a:pt x="1486" y="137"/>
                  <a:pt x="1486" y="137"/>
                </a:cubicBezTo>
                <a:cubicBezTo>
                  <a:pt x="1486" y="137"/>
                  <a:pt x="1485" y="136"/>
                  <a:pt x="1485" y="136"/>
                </a:cubicBezTo>
                <a:cubicBezTo>
                  <a:pt x="1485" y="136"/>
                  <a:pt x="1485" y="136"/>
                  <a:pt x="1485" y="135"/>
                </a:cubicBezTo>
                <a:cubicBezTo>
                  <a:pt x="1485" y="135"/>
                  <a:pt x="1485" y="135"/>
                  <a:pt x="1485" y="135"/>
                </a:cubicBezTo>
                <a:cubicBezTo>
                  <a:pt x="1486" y="136"/>
                  <a:pt x="1486" y="136"/>
                  <a:pt x="1486" y="137"/>
                </a:cubicBezTo>
                <a:cubicBezTo>
                  <a:pt x="1487" y="137"/>
                  <a:pt x="1487" y="137"/>
                  <a:pt x="1488" y="137"/>
                </a:cubicBezTo>
                <a:cubicBezTo>
                  <a:pt x="1488" y="138"/>
                  <a:pt x="1488" y="138"/>
                  <a:pt x="1488" y="138"/>
                </a:cubicBezTo>
                <a:cubicBezTo>
                  <a:pt x="1488" y="138"/>
                  <a:pt x="1488" y="138"/>
                  <a:pt x="1487" y="138"/>
                </a:cubicBezTo>
                <a:cubicBezTo>
                  <a:pt x="1486" y="138"/>
                  <a:pt x="1485" y="138"/>
                  <a:pt x="1485" y="138"/>
                </a:cubicBezTo>
                <a:cubicBezTo>
                  <a:pt x="1485" y="138"/>
                  <a:pt x="1485" y="139"/>
                  <a:pt x="1485" y="139"/>
                </a:cubicBezTo>
                <a:cubicBezTo>
                  <a:pt x="1485" y="139"/>
                  <a:pt x="1486" y="139"/>
                  <a:pt x="1486" y="139"/>
                </a:cubicBezTo>
                <a:cubicBezTo>
                  <a:pt x="1486" y="139"/>
                  <a:pt x="1487" y="139"/>
                  <a:pt x="1487" y="139"/>
                </a:cubicBezTo>
                <a:cubicBezTo>
                  <a:pt x="1487" y="139"/>
                  <a:pt x="1487" y="139"/>
                  <a:pt x="1488" y="139"/>
                </a:cubicBezTo>
                <a:cubicBezTo>
                  <a:pt x="1489" y="140"/>
                  <a:pt x="1490" y="141"/>
                  <a:pt x="1491" y="142"/>
                </a:cubicBezTo>
                <a:cubicBezTo>
                  <a:pt x="1491" y="143"/>
                  <a:pt x="1491" y="143"/>
                  <a:pt x="1492" y="143"/>
                </a:cubicBezTo>
                <a:cubicBezTo>
                  <a:pt x="1492" y="143"/>
                  <a:pt x="1492" y="144"/>
                  <a:pt x="1493" y="144"/>
                </a:cubicBezTo>
                <a:cubicBezTo>
                  <a:pt x="1494" y="145"/>
                  <a:pt x="1494" y="145"/>
                  <a:pt x="1495" y="145"/>
                </a:cubicBezTo>
                <a:cubicBezTo>
                  <a:pt x="1496" y="146"/>
                  <a:pt x="1496" y="146"/>
                  <a:pt x="1497" y="147"/>
                </a:cubicBezTo>
                <a:cubicBezTo>
                  <a:pt x="1497" y="147"/>
                  <a:pt x="1498" y="147"/>
                  <a:pt x="1498" y="148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500" y="147"/>
                  <a:pt x="1500" y="147"/>
                  <a:pt x="1500" y="147"/>
                </a:cubicBezTo>
                <a:cubicBezTo>
                  <a:pt x="1500" y="148"/>
                  <a:pt x="1500" y="148"/>
                  <a:pt x="1500" y="148"/>
                </a:cubicBezTo>
                <a:cubicBezTo>
                  <a:pt x="1500" y="148"/>
                  <a:pt x="1501" y="149"/>
                  <a:pt x="1501" y="149"/>
                </a:cubicBezTo>
                <a:cubicBezTo>
                  <a:pt x="1501" y="149"/>
                  <a:pt x="1501" y="149"/>
                  <a:pt x="1501" y="149"/>
                </a:cubicBezTo>
                <a:cubicBezTo>
                  <a:pt x="1502" y="149"/>
                  <a:pt x="1502" y="149"/>
                  <a:pt x="1502" y="148"/>
                </a:cubicBezTo>
                <a:cubicBezTo>
                  <a:pt x="1502" y="147"/>
                  <a:pt x="1502" y="146"/>
                  <a:pt x="1502" y="144"/>
                </a:cubicBezTo>
                <a:cubicBezTo>
                  <a:pt x="1502" y="144"/>
                  <a:pt x="1501" y="143"/>
                  <a:pt x="1501" y="142"/>
                </a:cubicBezTo>
                <a:cubicBezTo>
                  <a:pt x="1501" y="141"/>
                  <a:pt x="1501" y="141"/>
                  <a:pt x="1500" y="140"/>
                </a:cubicBezTo>
                <a:cubicBezTo>
                  <a:pt x="1500" y="139"/>
                  <a:pt x="1500" y="138"/>
                  <a:pt x="1500" y="138"/>
                </a:cubicBezTo>
                <a:cubicBezTo>
                  <a:pt x="1500" y="137"/>
                  <a:pt x="1500" y="137"/>
                  <a:pt x="1500" y="136"/>
                </a:cubicBezTo>
                <a:cubicBezTo>
                  <a:pt x="1500" y="136"/>
                  <a:pt x="1500" y="136"/>
                  <a:pt x="1500" y="136"/>
                </a:cubicBezTo>
                <a:cubicBezTo>
                  <a:pt x="1500" y="136"/>
                  <a:pt x="1501" y="136"/>
                  <a:pt x="1501" y="136"/>
                </a:cubicBezTo>
                <a:cubicBezTo>
                  <a:pt x="1501" y="137"/>
                  <a:pt x="1501" y="137"/>
                  <a:pt x="1501" y="137"/>
                </a:cubicBezTo>
                <a:cubicBezTo>
                  <a:pt x="1502" y="138"/>
                  <a:pt x="1502" y="138"/>
                  <a:pt x="1502" y="139"/>
                </a:cubicBezTo>
                <a:cubicBezTo>
                  <a:pt x="1503" y="139"/>
                  <a:pt x="1503" y="139"/>
                  <a:pt x="1504" y="139"/>
                </a:cubicBezTo>
                <a:cubicBezTo>
                  <a:pt x="1504" y="140"/>
                  <a:pt x="1504" y="140"/>
                  <a:pt x="1505" y="140"/>
                </a:cubicBezTo>
                <a:cubicBezTo>
                  <a:pt x="1505" y="141"/>
                  <a:pt x="1506" y="141"/>
                  <a:pt x="1507" y="141"/>
                </a:cubicBezTo>
                <a:cubicBezTo>
                  <a:pt x="1508" y="142"/>
                  <a:pt x="1510" y="142"/>
                  <a:pt x="1512" y="142"/>
                </a:cubicBezTo>
                <a:cubicBezTo>
                  <a:pt x="1512" y="142"/>
                  <a:pt x="1512" y="143"/>
                  <a:pt x="1513" y="143"/>
                </a:cubicBezTo>
                <a:cubicBezTo>
                  <a:pt x="1513" y="143"/>
                  <a:pt x="1513" y="143"/>
                  <a:pt x="1514" y="143"/>
                </a:cubicBezTo>
                <a:cubicBezTo>
                  <a:pt x="1514" y="143"/>
                  <a:pt x="1514" y="143"/>
                  <a:pt x="1514" y="144"/>
                </a:cubicBezTo>
                <a:cubicBezTo>
                  <a:pt x="1515" y="144"/>
                  <a:pt x="1515" y="144"/>
                  <a:pt x="1515" y="144"/>
                </a:cubicBezTo>
                <a:cubicBezTo>
                  <a:pt x="1515" y="143"/>
                  <a:pt x="1514" y="143"/>
                  <a:pt x="1514" y="142"/>
                </a:cubicBezTo>
                <a:cubicBezTo>
                  <a:pt x="1514" y="142"/>
                  <a:pt x="1514" y="142"/>
                  <a:pt x="1515" y="142"/>
                </a:cubicBezTo>
                <a:cubicBezTo>
                  <a:pt x="1514" y="142"/>
                  <a:pt x="1514" y="142"/>
                  <a:pt x="1514" y="141"/>
                </a:cubicBezTo>
                <a:cubicBezTo>
                  <a:pt x="1514" y="141"/>
                  <a:pt x="1514" y="141"/>
                  <a:pt x="1514" y="141"/>
                </a:cubicBezTo>
                <a:cubicBezTo>
                  <a:pt x="1515" y="141"/>
                  <a:pt x="1515" y="141"/>
                  <a:pt x="1515" y="140"/>
                </a:cubicBezTo>
                <a:cubicBezTo>
                  <a:pt x="1516" y="141"/>
                  <a:pt x="1518" y="141"/>
                  <a:pt x="1519" y="141"/>
                </a:cubicBezTo>
                <a:cubicBezTo>
                  <a:pt x="1519" y="141"/>
                  <a:pt x="1519" y="141"/>
                  <a:pt x="1520" y="141"/>
                </a:cubicBezTo>
                <a:cubicBezTo>
                  <a:pt x="1520" y="141"/>
                  <a:pt x="1520" y="141"/>
                  <a:pt x="1521" y="141"/>
                </a:cubicBezTo>
                <a:cubicBezTo>
                  <a:pt x="1521" y="141"/>
                  <a:pt x="1521" y="142"/>
                  <a:pt x="1522" y="142"/>
                </a:cubicBezTo>
                <a:cubicBezTo>
                  <a:pt x="1522" y="142"/>
                  <a:pt x="1523" y="142"/>
                  <a:pt x="1524" y="143"/>
                </a:cubicBezTo>
                <a:cubicBezTo>
                  <a:pt x="1524" y="143"/>
                  <a:pt x="1524" y="143"/>
                  <a:pt x="1525" y="144"/>
                </a:cubicBezTo>
                <a:cubicBezTo>
                  <a:pt x="1525" y="144"/>
                  <a:pt x="1526" y="144"/>
                  <a:pt x="1526" y="144"/>
                </a:cubicBezTo>
                <a:cubicBezTo>
                  <a:pt x="1526" y="145"/>
                  <a:pt x="1526" y="145"/>
                  <a:pt x="1527" y="145"/>
                </a:cubicBezTo>
                <a:cubicBezTo>
                  <a:pt x="1527" y="146"/>
                  <a:pt x="1528" y="146"/>
                  <a:pt x="1528" y="146"/>
                </a:cubicBezTo>
                <a:cubicBezTo>
                  <a:pt x="1529" y="146"/>
                  <a:pt x="1529" y="147"/>
                  <a:pt x="1529" y="147"/>
                </a:cubicBezTo>
                <a:cubicBezTo>
                  <a:pt x="1530" y="147"/>
                  <a:pt x="1531" y="147"/>
                  <a:pt x="1531" y="148"/>
                </a:cubicBezTo>
                <a:cubicBezTo>
                  <a:pt x="1531" y="147"/>
                  <a:pt x="1531" y="147"/>
                  <a:pt x="1530" y="147"/>
                </a:cubicBezTo>
                <a:cubicBezTo>
                  <a:pt x="1530" y="146"/>
                  <a:pt x="1530" y="146"/>
                  <a:pt x="1530" y="146"/>
                </a:cubicBezTo>
                <a:cubicBezTo>
                  <a:pt x="1531" y="146"/>
                  <a:pt x="1531" y="147"/>
                  <a:pt x="1532" y="147"/>
                </a:cubicBezTo>
                <a:cubicBezTo>
                  <a:pt x="1532" y="147"/>
                  <a:pt x="1532" y="147"/>
                  <a:pt x="1533" y="147"/>
                </a:cubicBezTo>
                <a:cubicBezTo>
                  <a:pt x="1532" y="147"/>
                  <a:pt x="1532" y="146"/>
                  <a:pt x="1532" y="146"/>
                </a:cubicBezTo>
                <a:cubicBezTo>
                  <a:pt x="1532" y="146"/>
                  <a:pt x="1532" y="146"/>
                  <a:pt x="1533" y="146"/>
                </a:cubicBezTo>
                <a:cubicBezTo>
                  <a:pt x="1532" y="145"/>
                  <a:pt x="1532" y="145"/>
                  <a:pt x="1532" y="145"/>
                </a:cubicBezTo>
                <a:cubicBezTo>
                  <a:pt x="1531" y="145"/>
                  <a:pt x="1531" y="145"/>
                  <a:pt x="1530" y="145"/>
                </a:cubicBezTo>
                <a:cubicBezTo>
                  <a:pt x="1530" y="145"/>
                  <a:pt x="1529" y="144"/>
                  <a:pt x="1529" y="144"/>
                </a:cubicBezTo>
                <a:cubicBezTo>
                  <a:pt x="1529" y="144"/>
                  <a:pt x="1529" y="143"/>
                  <a:pt x="1529" y="143"/>
                </a:cubicBezTo>
                <a:cubicBezTo>
                  <a:pt x="1529" y="143"/>
                  <a:pt x="1529" y="142"/>
                  <a:pt x="1529" y="142"/>
                </a:cubicBezTo>
                <a:cubicBezTo>
                  <a:pt x="1529" y="142"/>
                  <a:pt x="1529" y="142"/>
                  <a:pt x="1530" y="142"/>
                </a:cubicBezTo>
                <a:cubicBezTo>
                  <a:pt x="1530" y="142"/>
                  <a:pt x="1530" y="142"/>
                  <a:pt x="1530" y="143"/>
                </a:cubicBezTo>
                <a:cubicBezTo>
                  <a:pt x="1531" y="143"/>
                  <a:pt x="1531" y="143"/>
                  <a:pt x="1531" y="142"/>
                </a:cubicBezTo>
                <a:cubicBezTo>
                  <a:pt x="1531" y="142"/>
                  <a:pt x="1531" y="142"/>
                  <a:pt x="1531" y="142"/>
                </a:cubicBezTo>
                <a:cubicBezTo>
                  <a:pt x="1531" y="142"/>
                  <a:pt x="1532" y="142"/>
                  <a:pt x="1532" y="142"/>
                </a:cubicBezTo>
                <a:cubicBezTo>
                  <a:pt x="1532" y="142"/>
                  <a:pt x="1533" y="143"/>
                  <a:pt x="1534" y="143"/>
                </a:cubicBezTo>
                <a:cubicBezTo>
                  <a:pt x="1534" y="143"/>
                  <a:pt x="1534" y="144"/>
                  <a:pt x="1534" y="144"/>
                </a:cubicBezTo>
                <a:cubicBezTo>
                  <a:pt x="1534" y="144"/>
                  <a:pt x="1534" y="144"/>
                  <a:pt x="1535" y="144"/>
                </a:cubicBezTo>
                <a:cubicBezTo>
                  <a:pt x="1535" y="144"/>
                  <a:pt x="1535" y="145"/>
                  <a:pt x="1535" y="145"/>
                </a:cubicBezTo>
                <a:cubicBezTo>
                  <a:pt x="1535" y="145"/>
                  <a:pt x="1536" y="145"/>
                  <a:pt x="1536" y="145"/>
                </a:cubicBezTo>
                <a:cubicBezTo>
                  <a:pt x="1536" y="144"/>
                  <a:pt x="1536" y="144"/>
                  <a:pt x="1536" y="144"/>
                </a:cubicBezTo>
                <a:cubicBezTo>
                  <a:pt x="1536" y="144"/>
                  <a:pt x="1537" y="144"/>
                  <a:pt x="1537" y="144"/>
                </a:cubicBezTo>
                <a:cubicBezTo>
                  <a:pt x="1537" y="144"/>
                  <a:pt x="1538" y="144"/>
                  <a:pt x="1538" y="144"/>
                </a:cubicBezTo>
                <a:cubicBezTo>
                  <a:pt x="1538" y="144"/>
                  <a:pt x="1538" y="144"/>
                  <a:pt x="1538" y="144"/>
                </a:cubicBezTo>
                <a:cubicBezTo>
                  <a:pt x="1538" y="143"/>
                  <a:pt x="1537" y="143"/>
                  <a:pt x="1537" y="142"/>
                </a:cubicBezTo>
                <a:cubicBezTo>
                  <a:pt x="1537" y="142"/>
                  <a:pt x="1536" y="142"/>
                  <a:pt x="1536" y="142"/>
                </a:cubicBezTo>
                <a:cubicBezTo>
                  <a:pt x="1535" y="141"/>
                  <a:pt x="1535" y="141"/>
                  <a:pt x="1534" y="140"/>
                </a:cubicBezTo>
                <a:cubicBezTo>
                  <a:pt x="1535" y="140"/>
                  <a:pt x="1535" y="140"/>
                  <a:pt x="1535" y="140"/>
                </a:cubicBezTo>
                <a:cubicBezTo>
                  <a:pt x="1535" y="139"/>
                  <a:pt x="1535" y="139"/>
                  <a:pt x="1535" y="139"/>
                </a:cubicBezTo>
                <a:cubicBezTo>
                  <a:pt x="1534" y="139"/>
                  <a:pt x="1534" y="139"/>
                  <a:pt x="1533" y="139"/>
                </a:cubicBezTo>
                <a:cubicBezTo>
                  <a:pt x="1533" y="139"/>
                  <a:pt x="1532" y="138"/>
                  <a:pt x="1532" y="138"/>
                </a:cubicBezTo>
                <a:cubicBezTo>
                  <a:pt x="1533" y="138"/>
                  <a:pt x="1533" y="138"/>
                  <a:pt x="1534" y="138"/>
                </a:cubicBezTo>
                <a:cubicBezTo>
                  <a:pt x="1534" y="138"/>
                  <a:pt x="1533" y="138"/>
                  <a:pt x="1533" y="137"/>
                </a:cubicBezTo>
                <a:cubicBezTo>
                  <a:pt x="1533" y="137"/>
                  <a:pt x="1534" y="137"/>
                  <a:pt x="1534" y="137"/>
                </a:cubicBezTo>
                <a:cubicBezTo>
                  <a:pt x="1533" y="137"/>
                  <a:pt x="1533" y="136"/>
                  <a:pt x="1533" y="136"/>
                </a:cubicBezTo>
                <a:cubicBezTo>
                  <a:pt x="1534" y="136"/>
                  <a:pt x="1534" y="136"/>
                  <a:pt x="1535" y="137"/>
                </a:cubicBezTo>
                <a:cubicBezTo>
                  <a:pt x="1535" y="136"/>
                  <a:pt x="1536" y="136"/>
                  <a:pt x="1536" y="136"/>
                </a:cubicBezTo>
                <a:cubicBezTo>
                  <a:pt x="1535" y="135"/>
                  <a:pt x="1534" y="135"/>
                  <a:pt x="1534" y="135"/>
                </a:cubicBezTo>
                <a:cubicBezTo>
                  <a:pt x="1533" y="135"/>
                  <a:pt x="1533" y="136"/>
                  <a:pt x="1532" y="136"/>
                </a:cubicBezTo>
                <a:cubicBezTo>
                  <a:pt x="1532" y="136"/>
                  <a:pt x="1532" y="136"/>
                  <a:pt x="1532" y="136"/>
                </a:cubicBezTo>
                <a:cubicBezTo>
                  <a:pt x="1531" y="136"/>
                  <a:pt x="1530" y="136"/>
                  <a:pt x="1530" y="135"/>
                </a:cubicBezTo>
                <a:cubicBezTo>
                  <a:pt x="1529" y="135"/>
                  <a:pt x="1529" y="134"/>
                  <a:pt x="1529" y="134"/>
                </a:cubicBezTo>
                <a:cubicBezTo>
                  <a:pt x="1529" y="134"/>
                  <a:pt x="1529" y="133"/>
                  <a:pt x="1530" y="133"/>
                </a:cubicBezTo>
                <a:cubicBezTo>
                  <a:pt x="1530" y="133"/>
                  <a:pt x="1530" y="133"/>
                  <a:pt x="1530" y="132"/>
                </a:cubicBezTo>
                <a:cubicBezTo>
                  <a:pt x="1531" y="132"/>
                  <a:pt x="1532" y="132"/>
                  <a:pt x="1532" y="132"/>
                </a:cubicBezTo>
                <a:cubicBezTo>
                  <a:pt x="1533" y="133"/>
                  <a:pt x="1533" y="133"/>
                  <a:pt x="1534" y="133"/>
                </a:cubicBezTo>
                <a:cubicBezTo>
                  <a:pt x="1534" y="133"/>
                  <a:pt x="1535" y="133"/>
                  <a:pt x="1536" y="132"/>
                </a:cubicBezTo>
                <a:cubicBezTo>
                  <a:pt x="1536" y="132"/>
                  <a:pt x="1536" y="132"/>
                  <a:pt x="1536" y="132"/>
                </a:cubicBezTo>
                <a:cubicBezTo>
                  <a:pt x="1536" y="131"/>
                  <a:pt x="1536" y="131"/>
                  <a:pt x="1535" y="131"/>
                </a:cubicBezTo>
                <a:cubicBezTo>
                  <a:pt x="1535" y="131"/>
                  <a:pt x="1535" y="131"/>
                  <a:pt x="1534" y="130"/>
                </a:cubicBezTo>
                <a:cubicBezTo>
                  <a:pt x="1534" y="130"/>
                  <a:pt x="1533" y="130"/>
                  <a:pt x="1533" y="130"/>
                </a:cubicBezTo>
                <a:cubicBezTo>
                  <a:pt x="1532" y="130"/>
                  <a:pt x="1532" y="129"/>
                  <a:pt x="1531" y="129"/>
                </a:cubicBezTo>
                <a:cubicBezTo>
                  <a:pt x="1531" y="129"/>
                  <a:pt x="1530" y="128"/>
                  <a:pt x="1530" y="128"/>
                </a:cubicBezTo>
                <a:cubicBezTo>
                  <a:pt x="1531" y="128"/>
                  <a:pt x="1531" y="128"/>
                  <a:pt x="1532" y="128"/>
                </a:cubicBezTo>
                <a:cubicBezTo>
                  <a:pt x="1533" y="128"/>
                  <a:pt x="1534" y="128"/>
                  <a:pt x="1534" y="128"/>
                </a:cubicBezTo>
                <a:cubicBezTo>
                  <a:pt x="1535" y="129"/>
                  <a:pt x="1536" y="129"/>
                  <a:pt x="1537" y="130"/>
                </a:cubicBezTo>
                <a:cubicBezTo>
                  <a:pt x="1538" y="130"/>
                  <a:pt x="1538" y="130"/>
                  <a:pt x="1539" y="130"/>
                </a:cubicBezTo>
                <a:cubicBezTo>
                  <a:pt x="1541" y="131"/>
                  <a:pt x="1542" y="131"/>
                  <a:pt x="1543" y="132"/>
                </a:cubicBezTo>
                <a:cubicBezTo>
                  <a:pt x="1546" y="132"/>
                  <a:pt x="1548" y="133"/>
                  <a:pt x="1550" y="133"/>
                </a:cubicBezTo>
                <a:cubicBezTo>
                  <a:pt x="1551" y="133"/>
                  <a:pt x="1551" y="133"/>
                  <a:pt x="1552" y="133"/>
                </a:cubicBezTo>
                <a:cubicBezTo>
                  <a:pt x="1553" y="134"/>
                  <a:pt x="1555" y="134"/>
                  <a:pt x="1557" y="135"/>
                </a:cubicBezTo>
                <a:cubicBezTo>
                  <a:pt x="1557" y="135"/>
                  <a:pt x="1558" y="135"/>
                  <a:pt x="1559" y="136"/>
                </a:cubicBezTo>
                <a:cubicBezTo>
                  <a:pt x="1559" y="136"/>
                  <a:pt x="1560" y="136"/>
                  <a:pt x="1561" y="136"/>
                </a:cubicBezTo>
                <a:cubicBezTo>
                  <a:pt x="1562" y="136"/>
                  <a:pt x="1562" y="137"/>
                  <a:pt x="1563" y="137"/>
                </a:cubicBezTo>
                <a:cubicBezTo>
                  <a:pt x="1563" y="137"/>
                  <a:pt x="1562" y="137"/>
                  <a:pt x="1562" y="137"/>
                </a:cubicBezTo>
                <a:cubicBezTo>
                  <a:pt x="1560" y="137"/>
                  <a:pt x="1559" y="137"/>
                  <a:pt x="1558" y="137"/>
                </a:cubicBezTo>
                <a:cubicBezTo>
                  <a:pt x="1557" y="136"/>
                  <a:pt x="1557" y="136"/>
                  <a:pt x="1556" y="136"/>
                </a:cubicBezTo>
                <a:cubicBezTo>
                  <a:pt x="1556" y="136"/>
                  <a:pt x="1556" y="136"/>
                  <a:pt x="1556" y="136"/>
                </a:cubicBezTo>
                <a:cubicBezTo>
                  <a:pt x="1555" y="136"/>
                  <a:pt x="1555" y="135"/>
                  <a:pt x="1555" y="135"/>
                </a:cubicBezTo>
                <a:cubicBezTo>
                  <a:pt x="1554" y="135"/>
                  <a:pt x="1554" y="136"/>
                  <a:pt x="1553" y="136"/>
                </a:cubicBezTo>
                <a:cubicBezTo>
                  <a:pt x="1554" y="137"/>
                  <a:pt x="1554" y="137"/>
                  <a:pt x="1554" y="137"/>
                </a:cubicBezTo>
                <a:cubicBezTo>
                  <a:pt x="1554" y="137"/>
                  <a:pt x="1554" y="137"/>
                  <a:pt x="1553" y="137"/>
                </a:cubicBezTo>
                <a:cubicBezTo>
                  <a:pt x="1553" y="138"/>
                  <a:pt x="1553" y="138"/>
                  <a:pt x="1553" y="138"/>
                </a:cubicBezTo>
                <a:cubicBezTo>
                  <a:pt x="1553" y="138"/>
                  <a:pt x="1553" y="138"/>
                  <a:pt x="1554" y="139"/>
                </a:cubicBezTo>
                <a:cubicBezTo>
                  <a:pt x="1554" y="139"/>
                  <a:pt x="1555" y="139"/>
                  <a:pt x="1556" y="138"/>
                </a:cubicBezTo>
                <a:cubicBezTo>
                  <a:pt x="1556" y="138"/>
                  <a:pt x="1556" y="138"/>
                  <a:pt x="1556" y="138"/>
                </a:cubicBezTo>
                <a:cubicBezTo>
                  <a:pt x="1557" y="138"/>
                  <a:pt x="1558" y="138"/>
                  <a:pt x="1560" y="137"/>
                </a:cubicBezTo>
                <a:cubicBezTo>
                  <a:pt x="1561" y="138"/>
                  <a:pt x="1562" y="138"/>
                  <a:pt x="1564" y="138"/>
                </a:cubicBezTo>
                <a:cubicBezTo>
                  <a:pt x="1564" y="138"/>
                  <a:pt x="1564" y="139"/>
                  <a:pt x="1564" y="139"/>
                </a:cubicBezTo>
                <a:cubicBezTo>
                  <a:pt x="1564" y="140"/>
                  <a:pt x="1564" y="140"/>
                  <a:pt x="1564" y="141"/>
                </a:cubicBezTo>
                <a:cubicBezTo>
                  <a:pt x="1563" y="141"/>
                  <a:pt x="1563" y="141"/>
                  <a:pt x="1563" y="141"/>
                </a:cubicBezTo>
                <a:cubicBezTo>
                  <a:pt x="1563" y="141"/>
                  <a:pt x="1563" y="140"/>
                  <a:pt x="1563" y="140"/>
                </a:cubicBezTo>
                <a:cubicBezTo>
                  <a:pt x="1562" y="140"/>
                  <a:pt x="1562" y="139"/>
                  <a:pt x="1562" y="139"/>
                </a:cubicBezTo>
                <a:cubicBezTo>
                  <a:pt x="1562" y="139"/>
                  <a:pt x="1562" y="138"/>
                  <a:pt x="1562" y="138"/>
                </a:cubicBezTo>
                <a:cubicBezTo>
                  <a:pt x="1562" y="138"/>
                  <a:pt x="1561" y="138"/>
                  <a:pt x="1561" y="138"/>
                </a:cubicBezTo>
                <a:cubicBezTo>
                  <a:pt x="1560" y="138"/>
                  <a:pt x="1560" y="138"/>
                  <a:pt x="1560" y="138"/>
                </a:cubicBezTo>
                <a:cubicBezTo>
                  <a:pt x="1560" y="139"/>
                  <a:pt x="1560" y="139"/>
                  <a:pt x="1560" y="140"/>
                </a:cubicBezTo>
                <a:cubicBezTo>
                  <a:pt x="1561" y="140"/>
                  <a:pt x="1561" y="140"/>
                  <a:pt x="1561" y="140"/>
                </a:cubicBezTo>
                <a:cubicBezTo>
                  <a:pt x="1561" y="141"/>
                  <a:pt x="1561" y="141"/>
                  <a:pt x="1561" y="142"/>
                </a:cubicBezTo>
                <a:cubicBezTo>
                  <a:pt x="1561" y="142"/>
                  <a:pt x="1560" y="142"/>
                  <a:pt x="1560" y="143"/>
                </a:cubicBezTo>
                <a:cubicBezTo>
                  <a:pt x="1560" y="142"/>
                  <a:pt x="1560" y="142"/>
                  <a:pt x="1559" y="142"/>
                </a:cubicBezTo>
                <a:cubicBezTo>
                  <a:pt x="1559" y="142"/>
                  <a:pt x="1559" y="142"/>
                  <a:pt x="1558" y="142"/>
                </a:cubicBezTo>
                <a:cubicBezTo>
                  <a:pt x="1559" y="143"/>
                  <a:pt x="1559" y="143"/>
                  <a:pt x="1560" y="143"/>
                </a:cubicBezTo>
                <a:cubicBezTo>
                  <a:pt x="1559" y="143"/>
                  <a:pt x="1559" y="144"/>
                  <a:pt x="1559" y="144"/>
                </a:cubicBezTo>
                <a:cubicBezTo>
                  <a:pt x="1559" y="144"/>
                  <a:pt x="1560" y="144"/>
                  <a:pt x="1560" y="144"/>
                </a:cubicBezTo>
                <a:cubicBezTo>
                  <a:pt x="1560" y="144"/>
                  <a:pt x="1560" y="144"/>
                  <a:pt x="1561" y="145"/>
                </a:cubicBezTo>
                <a:cubicBezTo>
                  <a:pt x="1561" y="144"/>
                  <a:pt x="1562" y="144"/>
                  <a:pt x="1562" y="144"/>
                </a:cubicBezTo>
                <a:cubicBezTo>
                  <a:pt x="1563" y="144"/>
                  <a:pt x="1563" y="144"/>
                  <a:pt x="1563" y="143"/>
                </a:cubicBezTo>
                <a:cubicBezTo>
                  <a:pt x="1563" y="143"/>
                  <a:pt x="1564" y="143"/>
                  <a:pt x="1564" y="143"/>
                </a:cubicBezTo>
                <a:cubicBezTo>
                  <a:pt x="1564" y="142"/>
                  <a:pt x="1564" y="142"/>
                  <a:pt x="1564" y="142"/>
                </a:cubicBezTo>
                <a:cubicBezTo>
                  <a:pt x="1564" y="142"/>
                  <a:pt x="1564" y="141"/>
                  <a:pt x="1565" y="141"/>
                </a:cubicBezTo>
                <a:cubicBezTo>
                  <a:pt x="1565" y="140"/>
                  <a:pt x="1565" y="138"/>
                  <a:pt x="1565" y="137"/>
                </a:cubicBezTo>
                <a:cubicBezTo>
                  <a:pt x="1566" y="137"/>
                  <a:pt x="1567" y="137"/>
                  <a:pt x="1568" y="137"/>
                </a:cubicBezTo>
                <a:cubicBezTo>
                  <a:pt x="1569" y="137"/>
                  <a:pt x="1570" y="137"/>
                  <a:pt x="1571" y="137"/>
                </a:cubicBezTo>
                <a:cubicBezTo>
                  <a:pt x="1572" y="138"/>
                  <a:pt x="1573" y="138"/>
                  <a:pt x="1575" y="138"/>
                </a:cubicBezTo>
                <a:cubicBezTo>
                  <a:pt x="1576" y="138"/>
                  <a:pt x="1577" y="139"/>
                  <a:pt x="1578" y="139"/>
                </a:cubicBezTo>
                <a:cubicBezTo>
                  <a:pt x="1579" y="140"/>
                  <a:pt x="1580" y="141"/>
                  <a:pt x="1581" y="141"/>
                </a:cubicBezTo>
                <a:cubicBezTo>
                  <a:pt x="1582" y="142"/>
                  <a:pt x="1582" y="143"/>
                  <a:pt x="1583" y="144"/>
                </a:cubicBezTo>
                <a:cubicBezTo>
                  <a:pt x="1583" y="144"/>
                  <a:pt x="1582" y="144"/>
                  <a:pt x="1582" y="144"/>
                </a:cubicBezTo>
                <a:cubicBezTo>
                  <a:pt x="1582" y="144"/>
                  <a:pt x="1581" y="144"/>
                  <a:pt x="1581" y="144"/>
                </a:cubicBezTo>
                <a:cubicBezTo>
                  <a:pt x="1581" y="144"/>
                  <a:pt x="1580" y="143"/>
                  <a:pt x="1579" y="143"/>
                </a:cubicBezTo>
                <a:cubicBezTo>
                  <a:pt x="1579" y="143"/>
                  <a:pt x="1579" y="143"/>
                  <a:pt x="1579" y="143"/>
                </a:cubicBezTo>
                <a:cubicBezTo>
                  <a:pt x="1579" y="143"/>
                  <a:pt x="1579" y="143"/>
                  <a:pt x="1579" y="144"/>
                </a:cubicBezTo>
                <a:cubicBezTo>
                  <a:pt x="1579" y="144"/>
                  <a:pt x="1579" y="144"/>
                  <a:pt x="1579" y="144"/>
                </a:cubicBezTo>
                <a:cubicBezTo>
                  <a:pt x="1579" y="145"/>
                  <a:pt x="1579" y="145"/>
                  <a:pt x="1579" y="145"/>
                </a:cubicBezTo>
                <a:cubicBezTo>
                  <a:pt x="1578" y="145"/>
                  <a:pt x="1578" y="145"/>
                  <a:pt x="1578" y="145"/>
                </a:cubicBezTo>
                <a:cubicBezTo>
                  <a:pt x="1578" y="146"/>
                  <a:pt x="1578" y="146"/>
                  <a:pt x="1578" y="146"/>
                </a:cubicBezTo>
                <a:cubicBezTo>
                  <a:pt x="1579" y="146"/>
                  <a:pt x="1579" y="146"/>
                  <a:pt x="1580" y="146"/>
                </a:cubicBezTo>
                <a:cubicBezTo>
                  <a:pt x="1581" y="146"/>
                  <a:pt x="1581" y="146"/>
                  <a:pt x="1582" y="146"/>
                </a:cubicBezTo>
                <a:cubicBezTo>
                  <a:pt x="1582" y="146"/>
                  <a:pt x="1583" y="146"/>
                  <a:pt x="1583" y="146"/>
                </a:cubicBezTo>
                <a:cubicBezTo>
                  <a:pt x="1583" y="146"/>
                  <a:pt x="1583" y="147"/>
                  <a:pt x="1584" y="147"/>
                </a:cubicBezTo>
                <a:cubicBezTo>
                  <a:pt x="1584" y="148"/>
                  <a:pt x="1584" y="148"/>
                  <a:pt x="1584" y="148"/>
                </a:cubicBezTo>
                <a:cubicBezTo>
                  <a:pt x="1584" y="149"/>
                  <a:pt x="1584" y="149"/>
                  <a:pt x="1584" y="149"/>
                </a:cubicBezTo>
                <a:cubicBezTo>
                  <a:pt x="1584" y="149"/>
                  <a:pt x="1584" y="150"/>
                  <a:pt x="1584" y="150"/>
                </a:cubicBezTo>
                <a:cubicBezTo>
                  <a:pt x="1585" y="150"/>
                  <a:pt x="1585" y="149"/>
                  <a:pt x="1585" y="149"/>
                </a:cubicBezTo>
                <a:cubicBezTo>
                  <a:pt x="1585" y="149"/>
                  <a:pt x="1585" y="149"/>
                  <a:pt x="1585" y="149"/>
                </a:cubicBezTo>
                <a:cubicBezTo>
                  <a:pt x="1586" y="149"/>
                  <a:pt x="1586" y="149"/>
                  <a:pt x="1587" y="148"/>
                </a:cubicBezTo>
                <a:cubicBezTo>
                  <a:pt x="1587" y="149"/>
                  <a:pt x="1588" y="149"/>
                  <a:pt x="1588" y="149"/>
                </a:cubicBezTo>
                <a:cubicBezTo>
                  <a:pt x="1588" y="150"/>
                  <a:pt x="1588" y="150"/>
                  <a:pt x="1589" y="150"/>
                </a:cubicBezTo>
                <a:cubicBezTo>
                  <a:pt x="1588" y="150"/>
                  <a:pt x="1588" y="151"/>
                  <a:pt x="1588" y="151"/>
                </a:cubicBezTo>
                <a:cubicBezTo>
                  <a:pt x="1588" y="151"/>
                  <a:pt x="1587" y="151"/>
                  <a:pt x="1587" y="151"/>
                </a:cubicBezTo>
                <a:cubicBezTo>
                  <a:pt x="1587" y="152"/>
                  <a:pt x="1587" y="152"/>
                  <a:pt x="1587" y="152"/>
                </a:cubicBezTo>
                <a:cubicBezTo>
                  <a:pt x="1588" y="152"/>
                  <a:pt x="1588" y="152"/>
                  <a:pt x="1588" y="152"/>
                </a:cubicBezTo>
                <a:cubicBezTo>
                  <a:pt x="1589" y="152"/>
                  <a:pt x="1589" y="152"/>
                  <a:pt x="1589" y="151"/>
                </a:cubicBezTo>
                <a:cubicBezTo>
                  <a:pt x="1589" y="151"/>
                  <a:pt x="1590" y="151"/>
                  <a:pt x="1590" y="151"/>
                </a:cubicBezTo>
                <a:cubicBezTo>
                  <a:pt x="1590" y="152"/>
                  <a:pt x="1590" y="152"/>
                  <a:pt x="1590" y="152"/>
                </a:cubicBezTo>
                <a:cubicBezTo>
                  <a:pt x="1590" y="152"/>
                  <a:pt x="1590" y="151"/>
                  <a:pt x="1590" y="151"/>
                </a:cubicBezTo>
                <a:cubicBezTo>
                  <a:pt x="1591" y="151"/>
                  <a:pt x="1591" y="151"/>
                  <a:pt x="1592" y="150"/>
                </a:cubicBezTo>
                <a:cubicBezTo>
                  <a:pt x="1592" y="150"/>
                  <a:pt x="1592" y="150"/>
                  <a:pt x="1593" y="150"/>
                </a:cubicBezTo>
                <a:cubicBezTo>
                  <a:pt x="1593" y="150"/>
                  <a:pt x="1593" y="150"/>
                  <a:pt x="1593" y="151"/>
                </a:cubicBezTo>
                <a:cubicBezTo>
                  <a:pt x="1594" y="151"/>
                  <a:pt x="1595" y="152"/>
                  <a:pt x="1596" y="153"/>
                </a:cubicBezTo>
                <a:cubicBezTo>
                  <a:pt x="1597" y="153"/>
                  <a:pt x="1598" y="154"/>
                  <a:pt x="1599" y="154"/>
                </a:cubicBezTo>
                <a:cubicBezTo>
                  <a:pt x="1599" y="155"/>
                  <a:pt x="1599" y="155"/>
                  <a:pt x="1600" y="156"/>
                </a:cubicBezTo>
                <a:cubicBezTo>
                  <a:pt x="1600" y="156"/>
                  <a:pt x="1599" y="156"/>
                  <a:pt x="1599" y="156"/>
                </a:cubicBezTo>
                <a:cubicBezTo>
                  <a:pt x="1599" y="156"/>
                  <a:pt x="1598" y="156"/>
                  <a:pt x="1597" y="156"/>
                </a:cubicBezTo>
                <a:cubicBezTo>
                  <a:pt x="1597" y="156"/>
                  <a:pt x="1596" y="157"/>
                  <a:pt x="1596" y="157"/>
                </a:cubicBezTo>
                <a:cubicBezTo>
                  <a:pt x="1596" y="157"/>
                  <a:pt x="1597" y="157"/>
                  <a:pt x="1597" y="157"/>
                </a:cubicBezTo>
                <a:cubicBezTo>
                  <a:pt x="1598" y="157"/>
                  <a:pt x="1599" y="157"/>
                  <a:pt x="1600" y="157"/>
                </a:cubicBezTo>
                <a:cubicBezTo>
                  <a:pt x="1601" y="158"/>
                  <a:pt x="1601" y="158"/>
                  <a:pt x="1602" y="158"/>
                </a:cubicBezTo>
                <a:cubicBezTo>
                  <a:pt x="1602" y="158"/>
                  <a:pt x="1603" y="158"/>
                  <a:pt x="1604" y="159"/>
                </a:cubicBezTo>
                <a:cubicBezTo>
                  <a:pt x="1604" y="158"/>
                  <a:pt x="1605" y="158"/>
                  <a:pt x="1605" y="158"/>
                </a:cubicBezTo>
                <a:cubicBezTo>
                  <a:pt x="1606" y="158"/>
                  <a:pt x="1606" y="158"/>
                  <a:pt x="1607" y="158"/>
                </a:cubicBezTo>
                <a:cubicBezTo>
                  <a:pt x="1608" y="158"/>
                  <a:pt x="1609" y="158"/>
                  <a:pt x="1610" y="158"/>
                </a:cubicBezTo>
                <a:cubicBezTo>
                  <a:pt x="1610" y="158"/>
                  <a:pt x="1610" y="158"/>
                  <a:pt x="1611" y="158"/>
                </a:cubicBezTo>
                <a:cubicBezTo>
                  <a:pt x="1612" y="158"/>
                  <a:pt x="1612" y="158"/>
                  <a:pt x="1613" y="158"/>
                </a:cubicBezTo>
                <a:cubicBezTo>
                  <a:pt x="1614" y="158"/>
                  <a:pt x="1614" y="158"/>
                  <a:pt x="1615" y="158"/>
                </a:cubicBezTo>
                <a:cubicBezTo>
                  <a:pt x="1616" y="158"/>
                  <a:pt x="1618" y="158"/>
                  <a:pt x="1620" y="158"/>
                </a:cubicBezTo>
                <a:cubicBezTo>
                  <a:pt x="1620" y="158"/>
                  <a:pt x="1621" y="158"/>
                  <a:pt x="1622" y="158"/>
                </a:cubicBezTo>
                <a:cubicBezTo>
                  <a:pt x="1622" y="159"/>
                  <a:pt x="1623" y="159"/>
                  <a:pt x="1623" y="159"/>
                </a:cubicBezTo>
                <a:cubicBezTo>
                  <a:pt x="1623" y="159"/>
                  <a:pt x="1623" y="159"/>
                  <a:pt x="1624" y="159"/>
                </a:cubicBezTo>
                <a:cubicBezTo>
                  <a:pt x="1624" y="159"/>
                  <a:pt x="1625" y="159"/>
                  <a:pt x="1626" y="159"/>
                </a:cubicBezTo>
                <a:cubicBezTo>
                  <a:pt x="1627" y="159"/>
                  <a:pt x="1627" y="159"/>
                  <a:pt x="1628" y="159"/>
                </a:cubicBezTo>
                <a:cubicBezTo>
                  <a:pt x="1629" y="159"/>
                  <a:pt x="1630" y="160"/>
                  <a:pt x="1631" y="160"/>
                </a:cubicBezTo>
                <a:cubicBezTo>
                  <a:pt x="1633" y="161"/>
                  <a:pt x="1634" y="162"/>
                  <a:pt x="1636" y="163"/>
                </a:cubicBezTo>
                <a:cubicBezTo>
                  <a:pt x="1637" y="164"/>
                  <a:pt x="1637" y="165"/>
                  <a:pt x="1638" y="166"/>
                </a:cubicBezTo>
                <a:cubicBezTo>
                  <a:pt x="1639" y="166"/>
                  <a:pt x="1639" y="167"/>
                  <a:pt x="1640" y="167"/>
                </a:cubicBezTo>
                <a:cubicBezTo>
                  <a:pt x="1641" y="168"/>
                  <a:pt x="1641" y="169"/>
                  <a:pt x="1642" y="169"/>
                </a:cubicBezTo>
                <a:cubicBezTo>
                  <a:pt x="1642" y="170"/>
                  <a:pt x="1642" y="171"/>
                  <a:pt x="1642" y="171"/>
                </a:cubicBezTo>
                <a:cubicBezTo>
                  <a:pt x="1642" y="171"/>
                  <a:pt x="1642" y="172"/>
                  <a:pt x="1642" y="172"/>
                </a:cubicBezTo>
                <a:cubicBezTo>
                  <a:pt x="1642" y="172"/>
                  <a:pt x="1642" y="172"/>
                  <a:pt x="1643" y="172"/>
                </a:cubicBezTo>
                <a:cubicBezTo>
                  <a:pt x="1642" y="173"/>
                  <a:pt x="1642" y="173"/>
                  <a:pt x="1642" y="173"/>
                </a:cubicBezTo>
                <a:cubicBezTo>
                  <a:pt x="1642" y="174"/>
                  <a:pt x="1642" y="174"/>
                  <a:pt x="1643" y="175"/>
                </a:cubicBezTo>
                <a:cubicBezTo>
                  <a:pt x="1643" y="175"/>
                  <a:pt x="1643" y="176"/>
                  <a:pt x="1643" y="176"/>
                </a:cubicBezTo>
                <a:cubicBezTo>
                  <a:pt x="1642" y="176"/>
                  <a:pt x="1642" y="176"/>
                  <a:pt x="1641" y="176"/>
                </a:cubicBezTo>
                <a:cubicBezTo>
                  <a:pt x="1642" y="176"/>
                  <a:pt x="1642" y="176"/>
                  <a:pt x="1643" y="176"/>
                </a:cubicBezTo>
                <a:cubicBezTo>
                  <a:pt x="1643" y="176"/>
                  <a:pt x="1644" y="176"/>
                  <a:pt x="1645" y="176"/>
                </a:cubicBezTo>
                <a:cubicBezTo>
                  <a:pt x="1645" y="176"/>
                  <a:pt x="1646" y="176"/>
                  <a:pt x="1646" y="177"/>
                </a:cubicBezTo>
                <a:cubicBezTo>
                  <a:pt x="1646" y="177"/>
                  <a:pt x="1647" y="177"/>
                  <a:pt x="1647" y="177"/>
                </a:cubicBezTo>
                <a:cubicBezTo>
                  <a:pt x="1647" y="177"/>
                  <a:pt x="1647" y="177"/>
                  <a:pt x="1647" y="177"/>
                </a:cubicBezTo>
                <a:cubicBezTo>
                  <a:pt x="1648" y="177"/>
                  <a:pt x="1648" y="177"/>
                  <a:pt x="1649" y="177"/>
                </a:cubicBezTo>
                <a:cubicBezTo>
                  <a:pt x="1649" y="178"/>
                  <a:pt x="1649" y="178"/>
                  <a:pt x="1650" y="178"/>
                </a:cubicBezTo>
                <a:cubicBezTo>
                  <a:pt x="1650" y="179"/>
                  <a:pt x="1650" y="179"/>
                  <a:pt x="1650" y="179"/>
                </a:cubicBezTo>
                <a:cubicBezTo>
                  <a:pt x="1650" y="179"/>
                  <a:pt x="1650" y="179"/>
                  <a:pt x="1650" y="179"/>
                </a:cubicBezTo>
                <a:cubicBezTo>
                  <a:pt x="1650" y="178"/>
                  <a:pt x="1650" y="178"/>
                  <a:pt x="1650" y="177"/>
                </a:cubicBezTo>
                <a:cubicBezTo>
                  <a:pt x="1651" y="178"/>
                  <a:pt x="1651" y="178"/>
                  <a:pt x="1651" y="178"/>
                </a:cubicBezTo>
                <a:cubicBezTo>
                  <a:pt x="1652" y="178"/>
                  <a:pt x="1652" y="179"/>
                  <a:pt x="1652" y="179"/>
                </a:cubicBezTo>
                <a:cubicBezTo>
                  <a:pt x="1652" y="180"/>
                  <a:pt x="1653" y="180"/>
                  <a:pt x="1653" y="181"/>
                </a:cubicBezTo>
                <a:cubicBezTo>
                  <a:pt x="1653" y="181"/>
                  <a:pt x="1653" y="182"/>
                  <a:pt x="1653" y="182"/>
                </a:cubicBezTo>
                <a:cubicBezTo>
                  <a:pt x="1654" y="182"/>
                  <a:pt x="1654" y="182"/>
                  <a:pt x="1654" y="183"/>
                </a:cubicBezTo>
                <a:cubicBezTo>
                  <a:pt x="1655" y="183"/>
                  <a:pt x="1655" y="184"/>
                  <a:pt x="1656" y="184"/>
                </a:cubicBezTo>
                <a:cubicBezTo>
                  <a:pt x="1656" y="184"/>
                  <a:pt x="1656" y="184"/>
                  <a:pt x="1656" y="184"/>
                </a:cubicBezTo>
                <a:cubicBezTo>
                  <a:pt x="1656" y="184"/>
                  <a:pt x="1656" y="183"/>
                  <a:pt x="1656" y="183"/>
                </a:cubicBezTo>
                <a:cubicBezTo>
                  <a:pt x="1655" y="182"/>
                  <a:pt x="1655" y="182"/>
                  <a:pt x="1655" y="182"/>
                </a:cubicBezTo>
                <a:cubicBezTo>
                  <a:pt x="1655" y="182"/>
                  <a:pt x="1655" y="182"/>
                  <a:pt x="1655" y="181"/>
                </a:cubicBezTo>
                <a:cubicBezTo>
                  <a:pt x="1655" y="182"/>
                  <a:pt x="1655" y="182"/>
                  <a:pt x="1656" y="182"/>
                </a:cubicBezTo>
                <a:cubicBezTo>
                  <a:pt x="1656" y="182"/>
                  <a:pt x="1656" y="182"/>
                  <a:pt x="1657" y="182"/>
                </a:cubicBezTo>
                <a:cubicBezTo>
                  <a:pt x="1657" y="183"/>
                  <a:pt x="1657" y="183"/>
                  <a:pt x="1657" y="184"/>
                </a:cubicBezTo>
                <a:cubicBezTo>
                  <a:pt x="1658" y="184"/>
                  <a:pt x="1658" y="185"/>
                  <a:pt x="1659" y="185"/>
                </a:cubicBezTo>
                <a:cubicBezTo>
                  <a:pt x="1659" y="185"/>
                  <a:pt x="1659" y="185"/>
                  <a:pt x="1659" y="184"/>
                </a:cubicBezTo>
                <a:cubicBezTo>
                  <a:pt x="1658" y="183"/>
                  <a:pt x="1658" y="183"/>
                  <a:pt x="1657" y="182"/>
                </a:cubicBezTo>
                <a:cubicBezTo>
                  <a:pt x="1657" y="181"/>
                  <a:pt x="1658" y="181"/>
                  <a:pt x="1658" y="180"/>
                </a:cubicBezTo>
                <a:cubicBezTo>
                  <a:pt x="1658" y="180"/>
                  <a:pt x="1658" y="179"/>
                  <a:pt x="1658" y="179"/>
                </a:cubicBezTo>
                <a:cubicBezTo>
                  <a:pt x="1659" y="179"/>
                  <a:pt x="1660" y="178"/>
                  <a:pt x="1660" y="178"/>
                </a:cubicBezTo>
                <a:cubicBezTo>
                  <a:pt x="1661" y="179"/>
                  <a:pt x="1662" y="179"/>
                  <a:pt x="1663" y="179"/>
                </a:cubicBezTo>
                <a:cubicBezTo>
                  <a:pt x="1663" y="179"/>
                  <a:pt x="1663" y="179"/>
                  <a:pt x="1664" y="179"/>
                </a:cubicBezTo>
                <a:cubicBezTo>
                  <a:pt x="1665" y="179"/>
                  <a:pt x="1665" y="179"/>
                  <a:pt x="1666" y="179"/>
                </a:cubicBezTo>
                <a:cubicBezTo>
                  <a:pt x="1666" y="179"/>
                  <a:pt x="1666" y="179"/>
                  <a:pt x="1666" y="179"/>
                </a:cubicBezTo>
                <a:cubicBezTo>
                  <a:pt x="1666" y="179"/>
                  <a:pt x="1666" y="179"/>
                  <a:pt x="1667" y="179"/>
                </a:cubicBezTo>
                <a:cubicBezTo>
                  <a:pt x="1667" y="179"/>
                  <a:pt x="1667" y="179"/>
                  <a:pt x="1667" y="179"/>
                </a:cubicBezTo>
                <a:cubicBezTo>
                  <a:pt x="1668" y="179"/>
                  <a:pt x="1668" y="180"/>
                  <a:pt x="1668" y="180"/>
                </a:cubicBezTo>
                <a:cubicBezTo>
                  <a:pt x="1669" y="180"/>
                  <a:pt x="1669" y="180"/>
                  <a:pt x="1669" y="180"/>
                </a:cubicBezTo>
                <a:cubicBezTo>
                  <a:pt x="1670" y="181"/>
                  <a:pt x="1670" y="181"/>
                  <a:pt x="1671" y="181"/>
                </a:cubicBezTo>
                <a:cubicBezTo>
                  <a:pt x="1672" y="181"/>
                  <a:pt x="1672" y="181"/>
                  <a:pt x="1673" y="181"/>
                </a:cubicBezTo>
                <a:cubicBezTo>
                  <a:pt x="1673" y="181"/>
                  <a:pt x="1673" y="181"/>
                  <a:pt x="1674" y="181"/>
                </a:cubicBezTo>
                <a:cubicBezTo>
                  <a:pt x="1674" y="181"/>
                  <a:pt x="1675" y="181"/>
                  <a:pt x="1676" y="182"/>
                </a:cubicBezTo>
                <a:cubicBezTo>
                  <a:pt x="1677" y="182"/>
                  <a:pt x="1677" y="182"/>
                  <a:pt x="1678" y="183"/>
                </a:cubicBezTo>
                <a:cubicBezTo>
                  <a:pt x="1679" y="183"/>
                  <a:pt x="1679" y="183"/>
                  <a:pt x="1680" y="183"/>
                </a:cubicBezTo>
                <a:cubicBezTo>
                  <a:pt x="1680" y="183"/>
                  <a:pt x="1680" y="183"/>
                  <a:pt x="1680" y="183"/>
                </a:cubicBezTo>
                <a:cubicBezTo>
                  <a:pt x="1680" y="183"/>
                  <a:pt x="1680" y="183"/>
                  <a:pt x="1680" y="183"/>
                </a:cubicBezTo>
                <a:cubicBezTo>
                  <a:pt x="1680" y="183"/>
                  <a:pt x="1680" y="184"/>
                  <a:pt x="1681" y="184"/>
                </a:cubicBezTo>
                <a:cubicBezTo>
                  <a:pt x="1681" y="184"/>
                  <a:pt x="1681" y="184"/>
                  <a:pt x="1681" y="183"/>
                </a:cubicBezTo>
                <a:cubicBezTo>
                  <a:pt x="1682" y="183"/>
                  <a:pt x="1683" y="183"/>
                  <a:pt x="1683" y="183"/>
                </a:cubicBezTo>
                <a:cubicBezTo>
                  <a:pt x="1683" y="183"/>
                  <a:pt x="1683" y="182"/>
                  <a:pt x="1683" y="182"/>
                </a:cubicBezTo>
                <a:cubicBezTo>
                  <a:pt x="1683" y="182"/>
                  <a:pt x="1683" y="182"/>
                  <a:pt x="1684" y="181"/>
                </a:cubicBezTo>
                <a:cubicBezTo>
                  <a:pt x="1684" y="181"/>
                  <a:pt x="1684" y="181"/>
                  <a:pt x="1684" y="181"/>
                </a:cubicBezTo>
                <a:cubicBezTo>
                  <a:pt x="1684" y="181"/>
                  <a:pt x="1685" y="181"/>
                  <a:pt x="1685" y="181"/>
                </a:cubicBezTo>
                <a:cubicBezTo>
                  <a:pt x="1685" y="181"/>
                  <a:pt x="1686" y="181"/>
                  <a:pt x="1687" y="182"/>
                </a:cubicBezTo>
                <a:cubicBezTo>
                  <a:pt x="1687" y="182"/>
                  <a:pt x="1687" y="182"/>
                  <a:pt x="1687" y="183"/>
                </a:cubicBezTo>
                <a:cubicBezTo>
                  <a:pt x="1687" y="183"/>
                  <a:pt x="1687" y="183"/>
                  <a:pt x="1687" y="183"/>
                </a:cubicBezTo>
                <a:cubicBezTo>
                  <a:pt x="1687" y="183"/>
                  <a:pt x="1688" y="184"/>
                  <a:pt x="1688" y="184"/>
                </a:cubicBezTo>
                <a:cubicBezTo>
                  <a:pt x="1689" y="184"/>
                  <a:pt x="1689" y="184"/>
                  <a:pt x="1689" y="185"/>
                </a:cubicBezTo>
                <a:cubicBezTo>
                  <a:pt x="1689" y="185"/>
                  <a:pt x="1689" y="185"/>
                  <a:pt x="1689" y="185"/>
                </a:cubicBezTo>
                <a:cubicBezTo>
                  <a:pt x="1689" y="186"/>
                  <a:pt x="1690" y="187"/>
                  <a:pt x="1690" y="187"/>
                </a:cubicBezTo>
                <a:cubicBezTo>
                  <a:pt x="1690" y="187"/>
                  <a:pt x="1690" y="188"/>
                  <a:pt x="1691" y="188"/>
                </a:cubicBezTo>
                <a:cubicBezTo>
                  <a:pt x="1691" y="188"/>
                  <a:pt x="1692" y="188"/>
                  <a:pt x="1692" y="188"/>
                </a:cubicBezTo>
                <a:cubicBezTo>
                  <a:pt x="1693" y="189"/>
                  <a:pt x="1694" y="189"/>
                  <a:pt x="1695" y="190"/>
                </a:cubicBezTo>
                <a:cubicBezTo>
                  <a:pt x="1695" y="190"/>
                  <a:pt x="1695" y="190"/>
                  <a:pt x="1696" y="190"/>
                </a:cubicBezTo>
                <a:cubicBezTo>
                  <a:pt x="1696" y="190"/>
                  <a:pt x="1696" y="190"/>
                  <a:pt x="1696" y="190"/>
                </a:cubicBezTo>
                <a:cubicBezTo>
                  <a:pt x="1697" y="191"/>
                  <a:pt x="1697" y="192"/>
                  <a:pt x="1698" y="192"/>
                </a:cubicBezTo>
                <a:cubicBezTo>
                  <a:pt x="1698" y="193"/>
                  <a:pt x="1697" y="193"/>
                  <a:pt x="1697" y="193"/>
                </a:cubicBezTo>
                <a:cubicBezTo>
                  <a:pt x="1698" y="193"/>
                  <a:pt x="1698" y="194"/>
                  <a:pt x="1698" y="194"/>
                </a:cubicBezTo>
                <a:cubicBezTo>
                  <a:pt x="1698" y="194"/>
                  <a:pt x="1699" y="195"/>
                  <a:pt x="1700" y="195"/>
                </a:cubicBezTo>
                <a:cubicBezTo>
                  <a:pt x="1700" y="195"/>
                  <a:pt x="1700" y="195"/>
                  <a:pt x="1701" y="195"/>
                </a:cubicBezTo>
                <a:cubicBezTo>
                  <a:pt x="1701" y="195"/>
                  <a:pt x="1702" y="195"/>
                  <a:pt x="1702" y="195"/>
                </a:cubicBezTo>
                <a:cubicBezTo>
                  <a:pt x="1702" y="195"/>
                  <a:pt x="1702" y="195"/>
                  <a:pt x="1702" y="195"/>
                </a:cubicBezTo>
                <a:cubicBezTo>
                  <a:pt x="1703" y="195"/>
                  <a:pt x="1703" y="195"/>
                  <a:pt x="1704" y="195"/>
                </a:cubicBezTo>
                <a:cubicBezTo>
                  <a:pt x="1704" y="195"/>
                  <a:pt x="1704" y="195"/>
                  <a:pt x="1705" y="195"/>
                </a:cubicBezTo>
                <a:cubicBezTo>
                  <a:pt x="1705" y="195"/>
                  <a:pt x="1705" y="195"/>
                  <a:pt x="1705" y="195"/>
                </a:cubicBezTo>
                <a:cubicBezTo>
                  <a:pt x="1705" y="195"/>
                  <a:pt x="1705" y="194"/>
                  <a:pt x="1705" y="194"/>
                </a:cubicBezTo>
                <a:cubicBezTo>
                  <a:pt x="1705" y="194"/>
                  <a:pt x="1705" y="194"/>
                  <a:pt x="1705" y="194"/>
                </a:cubicBezTo>
                <a:cubicBezTo>
                  <a:pt x="1705" y="194"/>
                  <a:pt x="1705" y="194"/>
                  <a:pt x="1705" y="193"/>
                </a:cubicBezTo>
                <a:cubicBezTo>
                  <a:pt x="1705" y="193"/>
                  <a:pt x="1705" y="193"/>
                  <a:pt x="1706" y="193"/>
                </a:cubicBezTo>
                <a:cubicBezTo>
                  <a:pt x="1705" y="193"/>
                  <a:pt x="1705" y="192"/>
                  <a:pt x="1705" y="192"/>
                </a:cubicBezTo>
                <a:cubicBezTo>
                  <a:pt x="1704" y="191"/>
                  <a:pt x="1704" y="191"/>
                  <a:pt x="1703" y="191"/>
                </a:cubicBezTo>
                <a:cubicBezTo>
                  <a:pt x="1703" y="190"/>
                  <a:pt x="1703" y="190"/>
                  <a:pt x="1703" y="189"/>
                </a:cubicBezTo>
                <a:cubicBezTo>
                  <a:pt x="1703" y="189"/>
                  <a:pt x="1702" y="188"/>
                  <a:pt x="1702" y="187"/>
                </a:cubicBezTo>
                <a:cubicBezTo>
                  <a:pt x="1701" y="187"/>
                  <a:pt x="1701" y="187"/>
                  <a:pt x="1701" y="187"/>
                </a:cubicBezTo>
                <a:cubicBezTo>
                  <a:pt x="1701" y="187"/>
                  <a:pt x="1701" y="187"/>
                  <a:pt x="1701" y="186"/>
                </a:cubicBezTo>
                <a:cubicBezTo>
                  <a:pt x="1700" y="186"/>
                  <a:pt x="1699" y="185"/>
                  <a:pt x="1699" y="185"/>
                </a:cubicBezTo>
                <a:cubicBezTo>
                  <a:pt x="1698" y="185"/>
                  <a:pt x="1698" y="185"/>
                  <a:pt x="1698" y="185"/>
                </a:cubicBezTo>
                <a:cubicBezTo>
                  <a:pt x="1697" y="185"/>
                  <a:pt x="1697" y="185"/>
                  <a:pt x="1697" y="185"/>
                </a:cubicBezTo>
                <a:cubicBezTo>
                  <a:pt x="1697" y="184"/>
                  <a:pt x="1697" y="184"/>
                  <a:pt x="1697" y="184"/>
                </a:cubicBezTo>
                <a:cubicBezTo>
                  <a:pt x="1697" y="184"/>
                  <a:pt x="1698" y="184"/>
                  <a:pt x="1698" y="184"/>
                </a:cubicBezTo>
                <a:cubicBezTo>
                  <a:pt x="1698" y="183"/>
                  <a:pt x="1698" y="183"/>
                  <a:pt x="1697" y="182"/>
                </a:cubicBezTo>
                <a:cubicBezTo>
                  <a:pt x="1697" y="182"/>
                  <a:pt x="1697" y="182"/>
                  <a:pt x="1697" y="181"/>
                </a:cubicBezTo>
                <a:cubicBezTo>
                  <a:pt x="1697" y="181"/>
                  <a:pt x="1697" y="181"/>
                  <a:pt x="1697" y="181"/>
                </a:cubicBezTo>
                <a:cubicBezTo>
                  <a:pt x="1697" y="180"/>
                  <a:pt x="1697" y="180"/>
                  <a:pt x="1697" y="179"/>
                </a:cubicBezTo>
                <a:cubicBezTo>
                  <a:pt x="1696" y="179"/>
                  <a:pt x="1696" y="179"/>
                  <a:pt x="1695" y="178"/>
                </a:cubicBezTo>
                <a:cubicBezTo>
                  <a:pt x="1695" y="178"/>
                  <a:pt x="1695" y="178"/>
                  <a:pt x="1696" y="178"/>
                </a:cubicBezTo>
                <a:cubicBezTo>
                  <a:pt x="1696" y="178"/>
                  <a:pt x="1697" y="178"/>
                  <a:pt x="1698" y="179"/>
                </a:cubicBezTo>
                <a:cubicBezTo>
                  <a:pt x="1699" y="179"/>
                  <a:pt x="1699" y="179"/>
                  <a:pt x="1699" y="179"/>
                </a:cubicBezTo>
                <a:cubicBezTo>
                  <a:pt x="1700" y="180"/>
                  <a:pt x="1701" y="180"/>
                  <a:pt x="1702" y="180"/>
                </a:cubicBezTo>
                <a:cubicBezTo>
                  <a:pt x="1703" y="181"/>
                  <a:pt x="1704" y="181"/>
                  <a:pt x="1705" y="181"/>
                </a:cubicBezTo>
                <a:cubicBezTo>
                  <a:pt x="1705" y="181"/>
                  <a:pt x="1705" y="181"/>
                  <a:pt x="1705" y="181"/>
                </a:cubicBezTo>
                <a:cubicBezTo>
                  <a:pt x="1706" y="181"/>
                  <a:pt x="1706" y="181"/>
                  <a:pt x="1707" y="181"/>
                </a:cubicBezTo>
                <a:cubicBezTo>
                  <a:pt x="1707" y="182"/>
                  <a:pt x="1707" y="182"/>
                  <a:pt x="1708" y="182"/>
                </a:cubicBezTo>
                <a:cubicBezTo>
                  <a:pt x="1708" y="183"/>
                  <a:pt x="1709" y="183"/>
                  <a:pt x="1709" y="183"/>
                </a:cubicBezTo>
                <a:cubicBezTo>
                  <a:pt x="1709" y="183"/>
                  <a:pt x="1709" y="183"/>
                  <a:pt x="1710" y="183"/>
                </a:cubicBezTo>
                <a:cubicBezTo>
                  <a:pt x="1710" y="183"/>
                  <a:pt x="1710" y="183"/>
                  <a:pt x="1710" y="182"/>
                </a:cubicBezTo>
                <a:cubicBezTo>
                  <a:pt x="1711" y="182"/>
                  <a:pt x="1711" y="183"/>
                  <a:pt x="1712" y="183"/>
                </a:cubicBezTo>
                <a:cubicBezTo>
                  <a:pt x="1712" y="183"/>
                  <a:pt x="1712" y="183"/>
                  <a:pt x="1712" y="183"/>
                </a:cubicBezTo>
                <a:cubicBezTo>
                  <a:pt x="1712" y="184"/>
                  <a:pt x="1712" y="184"/>
                  <a:pt x="1712" y="184"/>
                </a:cubicBezTo>
                <a:cubicBezTo>
                  <a:pt x="1713" y="183"/>
                  <a:pt x="1713" y="183"/>
                  <a:pt x="1713" y="183"/>
                </a:cubicBezTo>
                <a:cubicBezTo>
                  <a:pt x="1714" y="183"/>
                  <a:pt x="1714" y="184"/>
                  <a:pt x="1714" y="184"/>
                </a:cubicBezTo>
                <a:cubicBezTo>
                  <a:pt x="1714" y="184"/>
                  <a:pt x="1715" y="183"/>
                  <a:pt x="1715" y="183"/>
                </a:cubicBezTo>
                <a:cubicBezTo>
                  <a:pt x="1716" y="184"/>
                  <a:pt x="1718" y="184"/>
                  <a:pt x="1720" y="184"/>
                </a:cubicBezTo>
                <a:cubicBezTo>
                  <a:pt x="1720" y="185"/>
                  <a:pt x="1720" y="185"/>
                  <a:pt x="1720" y="185"/>
                </a:cubicBezTo>
                <a:cubicBezTo>
                  <a:pt x="1720" y="185"/>
                  <a:pt x="1720" y="185"/>
                  <a:pt x="1720" y="185"/>
                </a:cubicBezTo>
                <a:cubicBezTo>
                  <a:pt x="1721" y="185"/>
                  <a:pt x="1721" y="185"/>
                  <a:pt x="1721" y="184"/>
                </a:cubicBezTo>
                <a:cubicBezTo>
                  <a:pt x="1722" y="185"/>
                  <a:pt x="1722" y="185"/>
                  <a:pt x="1722" y="185"/>
                </a:cubicBezTo>
                <a:cubicBezTo>
                  <a:pt x="1722" y="185"/>
                  <a:pt x="1723" y="185"/>
                  <a:pt x="1723" y="185"/>
                </a:cubicBezTo>
                <a:cubicBezTo>
                  <a:pt x="1724" y="185"/>
                  <a:pt x="1724" y="185"/>
                  <a:pt x="1724" y="186"/>
                </a:cubicBezTo>
                <a:cubicBezTo>
                  <a:pt x="1724" y="186"/>
                  <a:pt x="1725" y="186"/>
                  <a:pt x="1725" y="186"/>
                </a:cubicBezTo>
                <a:cubicBezTo>
                  <a:pt x="1726" y="187"/>
                  <a:pt x="1726" y="187"/>
                  <a:pt x="1727" y="187"/>
                </a:cubicBezTo>
                <a:cubicBezTo>
                  <a:pt x="1728" y="187"/>
                  <a:pt x="1728" y="187"/>
                  <a:pt x="1728" y="188"/>
                </a:cubicBezTo>
                <a:cubicBezTo>
                  <a:pt x="1729" y="188"/>
                  <a:pt x="1729" y="188"/>
                  <a:pt x="1729" y="188"/>
                </a:cubicBezTo>
                <a:cubicBezTo>
                  <a:pt x="1729" y="188"/>
                  <a:pt x="1729" y="189"/>
                  <a:pt x="1730" y="189"/>
                </a:cubicBezTo>
                <a:cubicBezTo>
                  <a:pt x="1730" y="189"/>
                  <a:pt x="1730" y="189"/>
                  <a:pt x="1730" y="189"/>
                </a:cubicBezTo>
                <a:cubicBezTo>
                  <a:pt x="1731" y="189"/>
                  <a:pt x="1732" y="189"/>
                  <a:pt x="1732" y="189"/>
                </a:cubicBezTo>
                <a:cubicBezTo>
                  <a:pt x="1733" y="190"/>
                  <a:pt x="1734" y="191"/>
                  <a:pt x="1736" y="191"/>
                </a:cubicBezTo>
                <a:cubicBezTo>
                  <a:pt x="1736" y="192"/>
                  <a:pt x="1736" y="192"/>
                  <a:pt x="1737" y="192"/>
                </a:cubicBezTo>
                <a:cubicBezTo>
                  <a:pt x="1737" y="192"/>
                  <a:pt x="1737" y="192"/>
                  <a:pt x="1738" y="192"/>
                </a:cubicBezTo>
                <a:cubicBezTo>
                  <a:pt x="1738" y="192"/>
                  <a:pt x="1737" y="192"/>
                  <a:pt x="1737" y="192"/>
                </a:cubicBezTo>
                <a:cubicBezTo>
                  <a:pt x="1738" y="192"/>
                  <a:pt x="1738" y="192"/>
                  <a:pt x="1739" y="192"/>
                </a:cubicBezTo>
                <a:cubicBezTo>
                  <a:pt x="1739" y="193"/>
                  <a:pt x="1739" y="193"/>
                  <a:pt x="1739" y="193"/>
                </a:cubicBezTo>
                <a:cubicBezTo>
                  <a:pt x="1739" y="193"/>
                  <a:pt x="1739" y="193"/>
                  <a:pt x="1739" y="193"/>
                </a:cubicBezTo>
                <a:cubicBezTo>
                  <a:pt x="1739" y="193"/>
                  <a:pt x="1739" y="194"/>
                  <a:pt x="1739" y="194"/>
                </a:cubicBezTo>
                <a:cubicBezTo>
                  <a:pt x="1740" y="194"/>
                  <a:pt x="1740" y="194"/>
                  <a:pt x="1741" y="194"/>
                </a:cubicBezTo>
                <a:cubicBezTo>
                  <a:pt x="1742" y="195"/>
                  <a:pt x="1743" y="195"/>
                  <a:pt x="1745" y="196"/>
                </a:cubicBezTo>
                <a:cubicBezTo>
                  <a:pt x="1746" y="197"/>
                  <a:pt x="1747" y="198"/>
                  <a:pt x="1747" y="199"/>
                </a:cubicBezTo>
                <a:cubicBezTo>
                  <a:pt x="1747" y="199"/>
                  <a:pt x="1747" y="199"/>
                  <a:pt x="1747" y="199"/>
                </a:cubicBezTo>
                <a:cubicBezTo>
                  <a:pt x="1747" y="199"/>
                  <a:pt x="1747" y="199"/>
                  <a:pt x="1746" y="198"/>
                </a:cubicBezTo>
                <a:cubicBezTo>
                  <a:pt x="1746" y="198"/>
                  <a:pt x="1745" y="197"/>
                  <a:pt x="1744" y="197"/>
                </a:cubicBezTo>
                <a:cubicBezTo>
                  <a:pt x="1744" y="197"/>
                  <a:pt x="1744" y="197"/>
                  <a:pt x="1744" y="197"/>
                </a:cubicBezTo>
                <a:cubicBezTo>
                  <a:pt x="1745" y="198"/>
                  <a:pt x="1746" y="199"/>
                  <a:pt x="1747" y="199"/>
                </a:cubicBezTo>
                <a:cubicBezTo>
                  <a:pt x="1748" y="200"/>
                  <a:pt x="1748" y="200"/>
                  <a:pt x="1749" y="200"/>
                </a:cubicBezTo>
                <a:cubicBezTo>
                  <a:pt x="1749" y="200"/>
                  <a:pt x="1749" y="200"/>
                  <a:pt x="1750" y="200"/>
                </a:cubicBezTo>
                <a:cubicBezTo>
                  <a:pt x="1750" y="200"/>
                  <a:pt x="1751" y="200"/>
                  <a:pt x="1751" y="200"/>
                </a:cubicBezTo>
                <a:cubicBezTo>
                  <a:pt x="1752" y="201"/>
                  <a:pt x="1752" y="201"/>
                  <a:pt x="1753" y="201"/>
                </a:cubicBezTo>
                <a:cubicBezTo>
                  <a:pt x="1753" y="201"/>
                  <a:pt x="1753" y="201"/>
                  <a:pt x="1753" y="200"/>
                </a:cubicBezTo>
                <a:cubicBezTo>
                  <a:pt x="1753" y="200"/>
                  <a:pt x="1753" y="200"/>
                  <a:pt x="1754" y="200"/>
                </a:cubicBezTo>
                <a:cubicBezTo>
                  <a:pt x="1754" y="201"/>
                  <a:pt x="1754" y="201"/>
                  <a:pt x="1754" y="201"/>
                </a:cubicBezTo>
                <a:cubicBezTo>
                  <a:pt x="1755" y="202"/>
                  <a:pt x="1755" y="202"/>
                  <a:pt x="1755" y="202"/>
                </a:cubicBezTo>
                <a:cubicBezTo>
                  <a:pt x="1756" y="202"/>
                  <a:pt x="1756" y="202"/>
                  <a:pt x="1756" y="203"/>
                </a:cubicBezTo>
                <a:cubicBezTo>
                  <a:pt x="1756" y="202"/>
                  <a:pt x="1756" y="202"/>
                  <a:pt x="1756" y="202"/>
                </a:cubicBezTo>
                <a:cubicBezTo>
                  <a:pt x="1756" y="202"/>
                  <a:pt x="1756" y="202"/>
                  <a:pt x="1756" y="202"/>
                </a:cubicBezTo>
                <a:cubicBezTo>
                  <a:pt x="1757" y="202"/>
                  <a:pt x="1757" y="203"/>
                  <a:pt x="1758" y="203"/>
                </a:cubicBezTo>
                <a:cubicBezTo>
                  <a:pt x="1758" y="203"/>
                  <a:pt x="1758" y="203"/>
                  <a:pt x="1758" y="204"/>
                </a:cubicBezTo>
                <a:cubicBezTo>
                  <a:pt x="1758" y="204"/>
                  <a:pt x="1759" y="204"/>
                  <a:pt x="1759" y="205"/>
                </a:cubicBezTo>
                <a:cubicBezTo>
                  <a:pt x="1760" y="205"/>
                  <a:pt x="1760" y="205"/>
                  <a:pt x="1761" y="205"/>
                </a:cubicBezTo>
                <a:cubicBezTo>
                  <a:pt x="1762" y="206"/>
                  <a:pt x="1764" y="207"/>
                  <a:pt x="1766" y="208"/>
                </a:cubicBezTo>
                <a:cubicBezTo>
                  <a:pt x="1765" y="207"/>
                  <a:pt x="1765" y="207"/>
                  <a:pt x="1765" y="207"/>
                </a:cubicBezTo>
                <a:cubicBezTo>
                  <a:pt x="1766" y="207"/>
                  <a:pt x="1766" y="207"/>
                  <a:pt x="1767" y="208"/>
                </a:cubicBezTo>
                <a:cubicBezTo>
                  <a:pt x="1767" y="208"/>
                  <a:pt x="1767" y="208"/>
                  <a:pt x="1767" y="208"/>
                </a:cubicBezTo>
                <a:cubicBezTo>
                  <a:pt x="1767" y="209"/>
                  <a:pt x="1768" y="209"/>
                  <a:pt x="1768" y="209"/>
                </a:cubicBezTo>
                <a:cubicBezTo>
                  <a:pt x="1768" y="209"/>
                  <a:pt x="1768" y="209"/>
                  <a:pt x="1768" y="208"/>
                </a:cubicBezTo>
                <a:cubicBezTo>
                  <a:pt x="1768" y="208"/>
                  <a:pt x="1768" y="208"/>
                  <a:pt x="1769" y="208"/>
                </a:cubicBezTo>
                <a:cubicBezTo>
                  <a:pt x="1769" y="209"/>
                  <a:pt x="1770" y="209"/>
                  <a:pt x="1770" y="209"/>
                </a:cubicBezTo>
                <a:cubicBezTo>
                  <a:pt x="1770" y="209"/>
                  <a:pt x="1770" y="209"/>
                  <a:pt x="1770" y="210"/>
                </a:cubicBezTo>
                <a:cubicBezTo>
                  <a:pt x="1770" y="210"/>
                  <a:pt x="1770" y="210"/>
                  <a:pt x="1770" y="211"/>
                </a:cubicBezTo>
                <a:cubicBezTo>
                  <a:pt x="1771" y="211"/>
                  <a:pt x="1772" y="211"/>
                  <a:pt x="1772" y="211"/>
                </a:cubicBezTo>
                <a:cubicBezTo>
                  <a:pt x="1772" y="211"/>
                  <a:pt x="1772" y="211"/>
                  <a:pt x="1772" y="211"/>
                </a:cubicBezTo>
                <a:cubicBezTo>
                  <a:pt x="1772" y="211"/>
                  <a:pt x="1772" y="210"/>
                  <a:pt x="1772" y="210"/>
                </a:cubicBezTo>
                <a:cubicBezTo>
                  <a:pt x="1772" y="210"/>
                  <a:pt x="1773" y="211"/>
                  <a:pt x="1774" y="211"/>
                </a:cubicBezTo>
                <a:cubicBezTo>
                  <a:pt x="1774" y="211"/>
                  <a:pt x="1774" y="211"/>
                  <a:pt x="1774" y="212"/>
                </a:cubicBezTo>
                <a:cubicBezTo>
                  <a:pt x="1774" y="212"/>
                  <a:pt x="1774" y="212"/>
                  <a:pt x="1774" y="212"/>
                </a:cubicBezTo>
                <a:cubicBezTo>
                  <a:pt x="1774" y="212"/>
                  <a:pt x="1774" y="213"/>
                  <a:pt x="1774" y="213"/>
                </a:cubicBezTo>
                <a:cubicBezTo>
                  <a:pt x="1775" y="213"/>
                  <a:pt x="1776" y="214"/>
                  <a:pt x="1776" y="214"/>
                </a:cubicBezTo>
                <a:cubicBezTo>
                  <a:pt x="1777" y="214"/>
                  <a:pt x="1777" y="215"/>
                  <a:pt x="1778" y="215"/>
                </a:cubicBezTo>
                <a:cubicBezTo>
                  <a:pt x="1777" y="214"/>
                  <a:pt x="1777" y="214"/>
                  <a:pt x="1776" y="213"/>
                </a:cubicBezTo>
                <a:cubicBezTo>
                  <a:pt x="1776" y="213"/>
                  <a:pt x="1775" y="213"/>
                  <a:pt x="1775" y="212"/>
                </a:cubicBezTo>
                <a:cubicBezTo>
                  <a:pt x="1775" y="212"/>
                  <a:pt x="1775" y="212"/>
                  <a:pt x="1775" y="212"/>
                </a:cubicBezTo>
                <a:cubicBezTo>
                  <a:pt x="1775" y="212"/>
                  <a:pt x="1776" y="212"/>
                  <a:pt x="1776" y="212"/>
                </a:cubicBezTo>
                <a:cubicBezTo>
                  <a:pt x="1777" y="212"/>
                  <a:pt x="1777" y="213"/>
                  <a:pt x="1778" y="213"/>
                </a:cubicBezTo>
                <a:cubicBezTo>
                  <a:pt x="1778" y="214"/>
                  <a:pt x="1779" y="214"/>
                  <a:pt x="1780" y="215"/>
                </a:cubicBezTo>
                <a:cubicBezTo>
                  <a:pt x="1780" y="215"/>
                  <a:pt x="1780" y="215"/>
                  <a:pt x="1780" y="216"/>
                </a:cubicBezTo>
                <a:cubicBezTo>
                  <a:pt x="1780" y="216"/>
                  <a:pt x="1780" y="216"/>
                  <a:pt x="1780" y="216"/>
                </a:cubicBezTo>
                <a:cubicBezTo>
                  <a:pt x="1780" y="216"/>
                  <a:pt x="1780" y="216"/>
                  <a:pt x="1781" y="216"/>
                </a:cubicBezTo>
                <a:cubicBezTo>
                  <a:pt x="1781" y="216"/>
                  <a:pt x="1781" y="215"/>
                  <a:pt x="1780" y="215"/>
                </a:cubicBezTo>
                <a:cubicBezTo>
                  <a:pt x="1781" y="215"/>
                  <a:pt x="1781" y="216"/>
                  <a:pt x="1781" y="216"/>
                </a:cubicBezTo>
                <a:cubicBezTo>
                  <a:pt x="1782" y="216"/>
                  <a:pt x="1782" y="216"/>
                  <a:pt x="1782" y="217"/>
                </a:cubicBezTo>
                <a:cubicBezTo>
                  <a:pt x="1782" y="217"/>
                  <a:pt x="1782" y="217"/>
                  <a:pt x="1782" y="217"/>
                </a:cubicBezTo>
                <a:cubicBezTo>
                  <a:pt x="1782" y="217"/>
                  <a:pt x="1782" y="218"/>
                  <a:pt x="1782" y="218"/>
                </a:cubicBezTo>
                <a:cubicBezTo>
                  <a:pt x="1783" y="219"/>
                  <a:pt x="1783" y="220"/>
                  <a:pt x="1783" y="221"/>
                </a:cubicBezTo>
                <a:cubicBezTo>
                  <a:pt x="1784" y="221"/>
                  <a:pt x="1784" y="222"/>
                  <a:pt x="1785" y="222"/>
                </a:cubicBezTo>
                <a:cubicBezTo>
                  <a:pt x="1785" y="222"/>
                  <a:pt x="1785" y="223"/>
                  <a:pt x="1785" y="223"/>
                </a:cubicBezTo>
                <a:cubicBezTo>
                  <a:pt x="1785" y="223"/>
                  <a:pt x="1786" y="224"/>
                  <a:pt x="1786" y="224"/>
                </a:cubicBezTo>
                <a:cubicBezTo>
                  <a:pt x="1786" y="224"/>
                  <a:pt x="1786" y="225"/>
                  <a:pt x="1786" y="225"/>
                </a:cubicBezTo>
                <a:cubicBezTo>
                  <a:pt x="1786" y="225"/>
                  <a:pt x="1786" y="225"/>
                  <a:pt x="1786" y="225"/>
                </a:cubicBezTo>
                <a:cubicBezTo>
                  <a:pt x="1786" y="225"/>
                  <a:pt x="1786" y="226"/>
                  <a:pt x="1786" y="226"/>
                </a:cubicBezTo>
                <a:cubicBezTo>
                  <a:pt x="1786" y="226"/>
                  <a:pt x="1786" y="226"/>
                  <a:pt x="1786" y="226"/>
                </a:cubicBezTo>
                <a:cubicBezTo>
                  <a:pt x="1787" y="226"/>
                  <a:pt x="1787" y="226"/>
                  <a:pt x="1788" y="226"/>
                </a:cubicBezTo>
                <a:cubicBezTo>
                  <a:pt x="1788" y="227"/>
                  <a:pt x="1789" y="227"/>
                  <a:pt x="1789" y="227"/>
                </a:cubicBezTo>
                <a:cubicBezTo>
                  <a:pt x="1789" y="228"/>
                  <a:pt x="1789" y="228"/>
                  <a:pt x="1790" y="229"/>
                </a:cubicBezTo>
                <a:cubicBezTo>
                  <a:pt x="1790" y="229"/>
                  <a:pt x="1790" y="229"/>
                  <a:pt x="1791" y="229"/>
                </a:cubicBezTo>
                <a:cubicBezTo>
                  <a:pt x="1791" y="229"/>
                  <a:pt x="1791" y="229"/>
                  <a:pt x="1791" y="229"/>
                </a:cubicBezTo>
                <a:cubicBezTo>
                  <a:pt x="1791" y="229"/>
                  <a:pt x="1791" y="229"/>
                  <a:pt x="1790" y="229"/>
                </a:cubicBezTo>
                <a:cubicBezTo>
                  <a:pt x="1790" y="228"/>
                  <a:pt x="1790" y="228"/>
                  <a:pt x="1790" y="228"/>
                </a:cubicBezTo>
                <a:cubicBezTo>
                  <a:pt x="1791" y="228"/>
                  <a:pt x="1791" y="228"/>
                  <a:pt x="1791" y="228"/>
                </a:cubicBezTo>
                <a:cubicBezTo>
                  <a:pt x="1792" y="228"/>
                  <a:pt x="1792" y="228"/>
                  <a:pt x="1792" y="228"/>
                </a:cubicBezTo>
                <a:cubicBezTo>
                  <a:pt x="1792" y="228"/>
                  <a:pt x="1792" y="229"/>
                  <a:pt x="1792" y="229"/>
                </a:cubicBezTo>
                <a:cubicBezTo>
                  <a:pt x="1792" y="230"/>
                  <a:pt x="1793" y="230"/>
                  <a:pt x="1793" y="230"/>
                </a:cubicBezTo>
                <a:cubicBezTo>
                  <a:pt x="1793" y="230"/>
                  <a:pt x="1793" y="230"/>
                  <a:pt x="1793" y="230"/>
                </a:cubicBezTo>
                <a:cubicBezTo>
                  <a:pt x="1793" y="229"/>
                  <a:pt x="1793" y="229"/>
                  <a:pt x="1793" y="229"/>
                </a:cubicBezTo>
                <a:cubicBezTo>
                  <a:pt x="1793" y="228"/>
                  <a:pt x="1793" y="228"/>
                  <a:pt x="1793" y="228"/>
                </a:cubicBezTo>
                <a:cubicBezTo>
                  <a:pt x="1793" y="228"/>
                  <a:pt x="1793" y="227"/>
                  <a:pt x="1792" y="227"/>
                </a:cubicBezTo>
                <a:cubicBezTo>
                  <a:pt x="1792" y="227"/>
                  <a:pt x="1791" y="227"/>
                  <a:pt x="1791" y="227"/>
                </a:cubicBezTo>
                <a:cubicBezTo>
                  <a:pt x="1790" y="227"/>
                  <a:pt x="1790" y="226"/>
                  <a:pt x="1789" y="226"/>
                </a:cubicBezTo>
                <a:cubicBezTo>
                  <a:pt x="1789" y="226"/>
                  <a:pt x="1789" y="226"/>
                  <a:pt x="1789" y="226"/>
                </a:cubicBezTo>
                <a:cubicBezTo>
                  <a:pt x="1790" y="226"/>
                  <a:pt x="1790" y="225"/>
                  <a:pt x="1790" y="225"/>
                </a:cubicBezTo>
                <a:cubicBezTo>
                  <a:pt x="1790" y="225"/>
                  <a:pt x="1790" y="225"/>
                  <a:pt x="1790" y="224"/>
                </a:cubicBezTo>
                <a:cubicBezTo>
                  <a:pt x="1790" y="224"/>
                  <a:pt x="1789" y="223"/>
                  <a:pt x="1789" y="223"/>
                </a:cubicBezTo>
                <a:cubicBezTo>
                  <a:pt x="1788" y="222"/>
                  <a:pt x="1788" y="222"/>
                  <a:pt x="1788" y="222"/>
                </a:cubicBezTo>
                <a:cubicBezTo>
                  <a:pt x="1788" y="221"/>
                  <a:pt x="1788" y="221"/>
                  <a:pt x="1788" y="221"/>
                </a:cubicBezTo>
                <a:cubicBezTo>
                  <a:pt x="1787" y="221"/>
                  <a:pt x="1787" y="221"/>
                  <a:pt x="1787" y="220"/>
                </a:cubicBezTo>
                <a:cubicBezTo>
                  <a:pt x="1786" y="220"/>
                  <a:pt x="1786" y="220"/>
                  <a:pt x="1785" y="220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6" y="220"/>
                  <a:pt x="1786" y="220"/>
                  <a:pt x="1786" y="220"/>
                </a:cubicBezTo>
                <a:cubicBezTo>
                  <a:pt x="1787" y="220"/>
                  <a:pt x="1787" y="220"/>
                  <a:pt x="1788" y="219"/>
                </a:cubicBezTo>
                <a:cubicBezTo>
                  <a:pt x="1788" y="219"/>
                  <a:pt x="1789" y="219"/>
                  <a:pt x="1790" y="219"/>
                </a:cubicBezTo>
                <a:cubicBezTo>
                  <a:pt x="1790" y="219"/>
                  <a:pt x="1790" y="219"/>
                  <a:pt x="1791" y="219"/>
                </a:cubicBezTo>
                <a:cubicBezTo>
                  <a:pt x="1791" y="219"/>
                  <a:pt x="1790" y="219"/>
                  <a:pt x="1790" y="219"/>
                </a:cubicBezTo>
                <a:cubicBezTo>
                  <a:pt x="1790" y="220"/>
                  <a:pt x="1791" y="220"/>
                  <a:pt x="1791" y="221"/>
                </a:cubicBezTo>
                <a:cubicBezTo>
                  <a:pt x="1791" y="221"/>
                  <a:pt x="1791" y="221"/>
                  <a:pt x="1792" y="222"/>
                </a:cubicBezTo>
                <a:cubicBezTo>
                  <a:pt x="1792" y="222"/>
                  <a:pt x="1792" y="222"/>
                  <a:pt x="1792" y="222"/>
                </a:cubicBezTo>
                <a:cubicBezTo>
                  <a:pt x="1792" y="221"/>
                  <a:pt x="1792" y="221"/>
                  <a:pt x="1791" y="221"/>
                </a:cubicBezTo>
                <a:cubicBezTo>
                  <a:pt x="1791" y="220"/>
                  <a:pt x="1791" y="220"/>
                  <a:pt x="1791" y="220"/>
                </a:cubicBezTo>
                <a:cubicBezTo>
                  <a:pt x="1791" y="220"/>
                  <a:pt x="1792" y="220"/>
                  <a:pt x="1792" y="220"/>
                </a:cubicBezTo>
                <a:cubicBezTo>
                  <a:pt x="1792" y="220"/>
                  <a:pt x="1793" y="220"/>
                  <a:pt x="1793" y="220"/>
                </a:cubicBezTo>
                <a:cubicBezTo>
                  <a:pt x="1794" y="220"/>
                  <a:pt x="1794" y="220"/>
                  <a:pt x="1794" y="220"/>
                </a:cubicBezTo>
                <a:cubicBezTo>
                  <a:pt x="1794" y="220"/>
                  <a:pt x="1793" y="219"/>
                  <a:pt x="1793" y="219"/>
                </a:cubicBezTo>
                <a:cubicBezTo>
                  <a:pt x="1793" y="219"/>
                  <a:pt x="1793" y="219"/>
                  <a:pt x="1793" y="219"/>
                </a:cubicBezTo>
                <a:cubicBezTo>
                  <a:pt x="1794" y="219"/>
                  <a:pt x="1794" y="219"/>
                  <a:pt x="1794" y="219"/>
                </a:cubicBezTo>
                <a:cubicBezTo>
                  <a:pt x="1794" y="219"/>
                  <a:pt x="1795" y="219"/>
                  <a:pt x="1795" y="220"/>
                </a:cubicBezTo>
                <a:cubicBezTo>
                  <a:pt x="1796" y="219"/>
                  <a:pt x="1796" y="219"/>
                  <a:pt x="1797" y="219"/>
                </a:cubicBezTo>
                <a:cubicBezTo>
                  <a:pt x="1797" y="219"/>
                  <a:pt x="1797" y="219"/>
                  <a:pt x="1798" y="220"/>
                </a:cubicBezTo>
                <a:cubicBezTo>
                  <a:pt x="1798" y="220"/>
                  <a:pt x="1798" y="220"/>
                  <a:pt x="1798" y="220"/>
                </a:cubicBezTo>
                <a:cubicBezTo>
                  <a:pt x="1798" y="220"/>
                  <a:pt x="1798" y="220"/>
                  <a:pt x="1798" y="220"/>
                </a:cubicBezTo>
                <a:cubicBezTo>
                  <a:pt x="1799" y="221"/>
                  <a:pt x="1799" y="221"/>
                  <a:pt x="1799" y="221"/>
                </a:cubicBezTo>
                <a:cubicBezTo>
                  <a:pt x="1799" y="221"/>
                  <a:pt x="1799" y="221"/>
                  <a:pt x="1799" y="221"/>
                </a:cubicBezTo>
                <a:cubicBezTo>
                  <a:pt x="1800" y="222"/>
                  <a:pt x="1800" y="222"/>
                  <a:pt x="1800" y="222"/>
                </a:cubicBezTo>
                <a:cubicBezTo>
                  <a:pt x="1801" y="223"/>
                  <a:pt x="1801" y="223"/>
                  <a:pt x="1802" y="223"/>
                </a:cubicBezTo>
                <a:cubicBezTo>
                  <a:pt x="1802" y="223"/>
                  <a:pt x="1802" y="223"/>
                  <a:pt x="1803" y="223"/>
                </a:cubicBezTo>
                <a:cubicBezTo>
                  <a:pt x="1804" y="224"/>
                  <a:pt x="1805" y="225"/>
                  <a:pt x="1806" y="225"/>
                </a:cubicBezTo>
                <a:cubicBezTo>
                  <a:pt x="1806" y="226"/>
                  <a:pt x="1805" y="226"/>
                  <a:pt x="1805" y="226"/>
                </a:cubicBezTo>
                <a:cubicBezTo>
                  <a:pt x="1805" y="226"/>
                  <a:pt x="1805" y="226"/>
                  <a:pt x="1805" y="226"/>
                </a:cubicBezTo>
                <a:cubicBezTo>
                  <a:pt x="1806" y="226"/>
                  <a:pt x="1806" y="226"/>
                  <a:pt x="1806" y="227"/>
                </a:cubicBezTo>
                <a:cubicBezTo>
                  <a:pt x="1806" y="226"/>
                  <a:pt x="1806" y="226"/>
                  <a:pt x="1807" y="226"/>
                </a:cubicBezTo>
                <a:cubicBezTo>
                  <a:pt x="1807" y="226"/>
                  <a:pt x="1807" y="226"/>
                  <a:pt x="1808" y="227"/>
                </a:cubicBezTo>
                <a:cubicBezTo>
                  <a:pt x="1807" y="227"/>
                  <a:pt x="1807" y="227"/>
                  <a:pt x="1807" y="227"/>
                </a:cubicBezTo>
                <a:cubicBezTo>
                  <a:pt x="1808" y="227"/>
                  <a:pt x="1808" y="227"/>
                  <a:pt x="1808" y="227"/>
                </a:cubicBezTo>
                <a:cubicBezTo>
                  <a:pt x="1809" y="227"/>
                  <a:pt x="1809" y="227"/>
                  <a:pt x="1810" y="227"/>
                </a:cubicBezTo>
                <a:cubicBezTo>
                  <a:pt x="1810" y="227"/>
                  <a:pt x="1810" y="228"/>
                  <a:pt x="1811" y="228"/>
                </a:cubicBezTo>
                <a:cubicBezTo>
                  <a:pt x="1811" y="228"/>
                  <a:pt x="1811" y="228"/>
                  <a:pt x="1810" y="228"/>
                </a:cubicBezTo>
                <a:cubicBezTo>
                  <a:pt x="1810" y="228"/>
                  <a:pt x="1810" y="229"/>
                  <a:pt x="1810" y="229"/>
                </a:cubicBezTo>
                <a:cubicBezTo>
                  <a:pt x="1809" y="229"/>
                  <a:pt x="1809" y="229"/>
                  <a:pt x="1809" y="229"/>
                </a:cubicBezTo>
                <a:cubicBezTo>
                  <a:pt x="1809" y="230"/>
                  <a:pt x="1809" y="230"/>
                  <a:pt x="1809" y="231"/>
                </a:cubicBezTo>
                <a:cubicBezTo>
                  <a:pt x="1809" y="231"/>
                  <a:pt x="1809" y="232"/>
                  <a:pt x="1808" y="232"/>
                </a:cubicBezTo>
                <a:cubicBezTo>
                  <a:pt x="1808" y="232"/>
                  <a:pt x="1808" y="232"/>
                  <a:pt x="1808" y="232"/>
                </a:cubicBezTo>
                <a:cubicBezTo>
                  <a:pt x="1809" y="232"/>
                  <a:pt x="1809" y="233"/>
                  <a:pt x="1809" y="233"/>
                </a:cubicBezTo>
                <a:cubicBezTo>
                  <a:pt x="1810" y="233"/>
                  <a:pt x="1810" y="233"/>
                  <a:pt x="1810" y="234"/>
                </a:cubicBezTo>
                <a:cubicBezTo>
                  <a:pt x="1810" y="234"/>
                  <a:pt x="1810" y="234"/>
                  <a:pt x="1811" y="235"/>
                </a:cubicBezTo>
                <a:cubicBezTo>
                  <a:pt x="1811" y="235"/>
                  <a:pt x="1811" y="235"/>
                  <a:pt x="1811" y="235"/>
                </a:cubicBezTo>
                <a:cubicBezTo>
                  <a:pt x="1811" y="236"/>
                  <a:pt x="1810" y="236"/>
                  <a:pt x="1810" y="236"/>
                </a:cubicBezTo>
                <a:cubicBezTo>
                  <a:pt x="1810" y="235"/>
                  <a:pt x="1809" y="235"/>
                  <a:pt x="1808" y="235"/>
                </a:cubicBezTo>
                <a:cubicBezTo>
                  <a:pt x="1808" y="235"/>
                  <a:pt x="1807" y="234"/>
                  <a:pt x="1806" y="234"/>
                </a:cubicBezTo>
                <a:cubicBezTo>
                  <a:pt x="1807" y="235"/>
                  <a:pt x="1808" y="235"/>
                  <a:pt x="1809" y="236"/>
                </a:cubicBezTo>
                <a:cubicBezTo>
                  <a:pt x="1809" y="236"/>
                  <a:pt x="1809" y="236"/>
                  <a:pt x="1809" y="236"/>
                </a:cubicBezTo>
                <a:cubicBezTo>
                  <a:pt x="1809" y="237"/>
                  <a:pt x="1809" y="237"/>
                  <a:pt x="1809" y="237"/>
                </a:cubicBezTo>
                <a:cubicBezTo>
                  <a:pt x="1808" y="237"/>
                  <a:pt x="1808" y="237"/>
                  <a:pt x="1807" y="236"/>
                </a:cubicBezTo>
                <a:cubicBezTo>
                  <a:pt x="1807" y="237"/>
                  <a:pt x="1806" y="237"/>
                  <a:pt x="1806" y="237"/>
                </a:cubicBezTo>
                <a:cubicBezTo>
                  <a:pt x="1806" y="237"/>
                  <a:pt x="1805" y="237"/>
                  <a:pt x="1805" y="237"/>
                </a:cubicBezTo>
                <a:cubicBezTo>
                  <a:pt x="1805" y="237"/>
                  <a:pt x="1804" y="237"/>
                  <a:pt x="1804" y="237"/>
                </a:cubicBezTo>
                <a:cubicBezTo>
                  <a:pt x="1803" y="236"/>
                  <a:pt x="1803" y="236"/>
                  <a:pt x="1802" y="236"/>
                </a:cubicBezTo>
                <a:cubicBezTo>
                  <a:pt x="1802" y="236"/>
                  <a:pt x="1801" y="236"/>
                  <a:pt x="1801" y="236"/>
                </a:cubicBezTo>
                <a:cubicBezTo>
                  <a:pt x="1801" y="236"/>
                  <a:pt x="1802" y="236"/>
                  <a:pt x="1802" y="237"/>
                </a:cubicBezTo>
                <a:cubicBezTo>
                  <a:pt x="1803" y="237"/>
                  <a:pt x="1803" y="237"/>
                  <a:pt x="1803" y="237"/>
                </a:cubicBezTo>
                <a:cubicBezTo>
                  <a:pt x="1803" y="237"/>
                  <a:pt x="1803" y="238"/>
                  <a:pt x="1803" y="238"/>
                </a:cubicBezTo>
                <a:cubicBezTo>
                  <a:pt x="1804" y="238"/>
                  <a:pt x="1804" y="238"/>
                  <a:pt x="1805" y="238"/>
                </a:cubicBezTo>
                <a:cubicBezTo>
                  <a:pt x="1805" y="238"/>
                  <a:pt x="1805" y="238"/>
                  <a:pt x="1805" y="238"/>
                </a:cubicBezTo>
                <a:cubicBezTo>
                  <a:pt x="1805" y="238"/>
                  <a:pt x="1805" y="239"/>
                  <a:pt x="1805" y="239"/>
                </a:cubicBezTo>
                <a:cubicBezTo>
                  <a:pt x="1805" y="239"/>
                  <a:pt x="1805" y="240"/>
                  <a:pt x="1806" y="240"/>
                </a:cubicBezTo>
                <a:cubicBezTo>
                  <a:pt x="1805" y="240"/>
                  <a:pt x="1805" y="240"/>
                  <a:pt x="1804" y="240"/>
                </a:cubicBezTo>
                <a:cubicBezTo>
                  <a:pt x="1804" y="240"/>
                  <a:pt x="1804" y="241"/>
                  <a:pt x="1804" y="241"/>
                </a:cubicBezTo>
                <a:cubicBezTo>
                  <a:pt x="1804" y="241"/>
                  <a:pt x="1805" y="241"/>
                  <a:pt x="1805" y="241"/>
                </a:cubicBezTo>
                <a:cubicBezTo>
                  <a:pt x="1806" y="241"/>
                  <a:pt x="1806" y="241"/>
                  <a:pt x="1807" y="241"/>
                </a:cubicBezTo>
                <a:cubicBezTo>
                  <a:pt x="1807" y="242"/>
                  <a:pt x="1808" y="242"/>
                  <a:pt x="1808" y="243"/>
                </a:cubicBezTo>
                <a:cubicBezTo>
                  <a:pt x="1808" y="243"/>
                  <a:pt x="1808" y="243"/>
                  <a:pt x="1808" y="243"/>
                </a:cubicBezTo>
                <a:cubicBezTo>
                  <a:pt x="1808" y="244"/>
                  <a:pt x="1808" y="244"/>
                  <a:pt x="1808" y="244"/>
                </a:cubicBezTo>
                <a:cubicBezTo>
                  <a:pt x="1807" y="244"/>
                  <a:pt x="1807" y="244"/>
                  <a:pt x="1806" y="244"/>
                </a:cubicBezTo>
                <a:cubicBezTo>
                  <a:pt x="1807" y="245"/>
                  <a:pt x="1807" y="245"/>
                  <a:pt x="1807" y="245"/>
                </a:cubicBezTo>
                <a:cubicBezTo>
                  <a:pt x="1807" y="245"/>
                  <a:pt x="1807" y="246"/>
                  <a:pt x="1807" y="246"/>
                </a:cubicBezTo>
                <a:cubicBezTo>
                  <a:pt x="1806" y="246"/>
                  <a:pt x="1806" y="246"/>
                  <a:pt x="1805" y="246"/>
                </a:cubicBezTo>
                <a:cubicBezTo>
                  <a:pt x="1805" y="246"/>
                  <a:pt x="1805" y="246"/>
                  <a:pt x="1805" y="246"/>
                </a:cubicBezTo>
                <a:cubicBezTo>
                  <a:pt x="1805" y="246"/>
                  <a:pt x="1805" y="247"/>
                  <a:pt x="1805" y="247"/>
                </a:cubicBezTo>
                <a:cubicBezTo>
                  <a:pt x="1805" y="247"/>
                  <a:pt x="1806" y="247"/>
                  <a:pt x="1806" y="246"/>
                </a:cubicBezTo>
                <a:cubicBezTo>
                  <a:pt x="1806" y="246"/>
                  <a:pt x="1806" y="247"/>
                  <a:pt x="1807" y="247"/>
                </a:cubicBezTo>
                <a:cubicBezTo>
                  <a:pt x="1807" y="247"/>
                  <a:pt x="1807" y="247"/>
                  <a:pt x="1807" y="247"/>
                </a:cubicBezTo>
                <a:cubicBezTo>
                  <a:pt x="1807" y="248"/>
                  <a:pt x="1807" y="248"/>
                  <a:pt x="1806" y="248"/>
                </a:cubicBezTo>
                <a:cubicBezTo>
                  <a:pt x="1807" y="248"/>
                  <a:pt x="1807" y="248"/>
                  <a:pt x="1808" y="249"/>
                </a:cubicBezTo>
                <a:cubicBezTo>
                  <a:pt x="1808" y="249"/>
                  <a:pt x="1808" y="249"/>
                  <a:pt x="1808" y="249"/>
                </a:cubicBezTo>
                <a:cubicBezTo>
                  <a:pt x="1808" y="249"/>
                  <a:pt x="1808" y="249"/>
                  <a:pt x="1808" y="249"/>
                </a:cubicBezTo>
                <a:cubicBezTo>
                  <a:pt x="1809" y="249"/>
                  <a:pt x="1809" y="249"/>
                  <a:pt x="1809" y="249"/>
                </a:cubicBezTo>
                <a:cubicBezTo>
                  <a:pt x="1809" y="249"/>
                  <a:pt x="1810" y="249"/>
                  <a:pt x="1810" y="249"/>
                </a:cubicBezTo>
                <a:cubicBezTo>
                  <a:pt x="1810" y="250"/>
                  <a:pt x="1811" y="250"/>
                  <a:pt x="1811" y="250"/>
                </a:cubicBezTo>
                <a:cubicBezTo>
                  <a:pt x="1811" y="250"/>
                  <a:pt x="1811" y="251"/>
                  <a:pt x="1811" y="251"/>
                </a:cubicBezTo>
                <a:cubicBezTo>
                  <a:pt x="1810" y="251"/>
                  <a:pt x="1810" y="251"/>
                  <a:pt x="1810" y="251"/>
                </a:cubicBezTo>
                <a:cubicBezTo>
                  <a:pt x="1809" y="250"/>
                  <a:pt x="1809" y="250"/>
                  <a:pt x="1809" y="250"/>
                </a:cubicBezTo>
                <a:close/>
                <a:moveTo>
                  <a:pt x="1131" y="298"/>
                </a:moveTo>
                <a:cubicBezTo>
                  <a:pt x="1131" y="298"/>
                  <a:pt x="1130" y="298"/>
                  <a:pt x="1130" y="297"/>
                </a:cubicBezTo>
                <a:cubicBezTo>
                  <a:pt x="1130" y="297"/>
                  <a:pt x="1130" y="297"/>
                  <a:pt x="1130" y="297"/>
                </a:cubicBezTo>
                <a:cubicBezTo>
                  <a:pt x="1130" y="297"/>
                  <a:pt x="1131" y="298"/>
                  <a:pt x="1131" y="298"/>
                </a:cubicBezTo>
                <a:close/>
                <a:moveTo>
                  <a:pt x="1374" y="435"/>
                </a:moveTo>
                <a:cubicBezTo>
                  <a:pt x="1374" y="435"/>
                  <a:pt x="1374" y="435"/>
                  <a:pt x="1374" y="435"/>
                </a:cubicBezTo>
                <a:cubicBezTo>
                  <a:pt x="1374" y="435"/>
                  <a:pt x="1373" y="435"/>
                  <a:pt x="1373" y="435"/>
                </a:cubicBezTo>
                <a:cubicBezTo>
                  <a:pt x="1373" y="435"/>
                  <a:pt x="1373" y="435"/>
                  <a:pt x="1373" y="435"/>
                </a:cubicBezTo>
                <a:cubicBezTo>
                  <a:pt x="1373" y="436"/>
                  <a:pt x="1374" y="436"/>
                  <a:pt x="1374" y="436"/>
                </a:cubicBezTo>
                <a:cubicBezTo>
                  <a:pt x="1374" y="436"/>
                  <a:pt x="1374" y="436"/>
                  <a:pt x="1374" y="435"/>
                </a:cubicBezTo>
                <a:close/>
                <a:moveTo>
                  <a:pt x="1300" y="460"/>
                </a:move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299" y="460"/>
                  <a:pt x="1299" y="461"/>
                  <a:pt x="1299" y="461"/>
                </a:cubicBezTo>
                <a:cubicBezTo>
                  <a:pt x="1299" y="461"/>
                  <a:pt x="1300" y="461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lose/>
                <a:moveTo>
                  <a:pt x="1309" y="464"/>
                </a:moveTo>
                <a:cubicBezTo>
                  <a:pt x="1309" y="463"/>
                  <a:pt x="1309" y="463"/>
                  <a:pt x="1308" y="462"/>
                </a:cubicBezTo>
                <a:cubicBezTo>
                  <a:pt x="1308" y="462"/>
                  <a:pt x="1308" y="461"/>
                  <a:pt x="1308" y="461"/>
                </a:cubicBezTo>
                <a:cubicBezTo>
                  <a:pt x="1308" y="461"/>
                  <a:pt x="1307" y="461"/>
                  <a:pt x="1307" y="461"/>
                </a:cubicBezTo>
                <a:cubicBezTo>
                  <a:pt x="1307" y="461"/>
                  <a:pt x="1307" y="461"/>
                  <a:pt x="1307" y="461"/>
                </a:cubicBezTo>
                <a:cubicBezTo>
                  <a:pt x="1307" y="461"/>
                  <a:pt x="1307" y="461"/>
                  <a:pt x="1306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59"/>
                  <a:pt x="1307" y="459"/>
                  <a:pt x="1307" y="459"/>
                </a:cubicBezTo>
                <a:cubicBezTo>
                  <a:pt x="1306" y="459"/>
                  <a:pt x="1306" y="459"/>
                  <a:pt x="1306" y="459"/>
                </a:cubicBezTo>
                <a:cubicBezTo>
                  <a:pt x="1306" y="458"/>
                  <a:pt x="1306" y="458"/>
                  <a:pt x="1306" y="458"/>
                </a:cubicBezTo>
                <a:cubicBezTo>
                  <a:pt x="1306" y="458"/>
                  <a:pt x="1306" y="458"/>
                  <a:pt x="1306" y="458"/>
                </a:cubicBezTo>
                <a:cubicBezTo>
                  <a:pt x="1306" y="457"/>
                  <a:pt x="1306" y="457"/>
                  <a:pt x="1306" y="457"/>
                </a:cubicBezTo>
                <a:cubicBezTo>
                  <a:pt x="1305" y="457"/>
                  <a:pt x="1305" y="457"/>
                  <a:pt x="1305" y="456"/>
                </a:cubicBezTo>
                <a:cubicBezTo>
                  <a:pt x="1304" y="456"/>
                  <a:pt x="1304" y="457"/>
                  <a:pt x="1304" y="457"/>
                </a:cubicBezTo>
                <a:cubicBezTo>
                  <a:pt x="1304" y="457"/>
                  <a:pt x="1304" y="456"/>
                  <a:pt x="1304" y="456"/>
                </a:cubicBezTo>
                <a:cubicBezTo>
                  <a:pt x="1304" y="456"/>
                  <a:pt x="1304" y="456"/>
                  <a:pt x="1304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2" y="456"/>
                  <a:pt x="1302" y="456"/>
                </a:cubicBezTo>
                <a:cubicBezTo>
                  <a:pt x="1302" y="456"/>
                  <a:pt x="1302" y="456"/>
                  <a:pt x="1302" y="456"/>
                </a:cubicBezTo>
                <a:cubicBezTo>
                  <a:pt x="1302" y="457"/>
                  <a:pt x="1302" y="457"/>
                  <a:pt x="1302" y="457"/>
                </a:cubicBezTo>
                <a:cubicBezTo>
                  <a:pt x="1302" y="457"/>
                  <a:pt x="1302" y="457"/>
                  <a:pt x="1302" y="457"/>
                </a:cubicBezTo>
                <a:cubicBezTo>
                  <a:pt x="1302" y="457"/>
                  <a:pt x="1301" y="457"/>
                  <a:pt x="1301" y="457"/>
                </a:cubicBezTo>
                <a:cubicBezTo>
                  <a:pt x="1301" y="457"/>
                  <a:pt x="1301" y="457"/>
                  <a:pt x="1301" y="457"/>
                </a:cubicBezTo>
                <a:cubicBezTo>
                  <a:pt x="1301" y="457"/>
                  <a:pt x="1301" y="457"/>
                  <a:pt x="1300" y="457"/>
                </a:cubicBezTo>
                <a:cubicBezTo>
                  <a:pt x="1300" y="457"/>
                  <a:pt x="1300" y="457"/>
                  <a:pt x="1300" y="457"/>
                </a:cubicBezTo>
                <a:cubicBezTo>
                  <a:pt x="1300" y="457"/>
                  <a:pt x="1301" y="457"/>
                  <a:pt x="1301" y="457"/>
                </a:cubicBezTo>
                <a:cubicBezTo>
                  <a:pt x="1301" y="457"/>
                  <a:pt x="1301" y="457"/>
                  <a:pt x="1301" y="458"/>
                </a:cubicBezTo>
                <a:cubicBezTo>
                  <a:pt x="1301" y="458"/>
                  <a:pt x="1301" y="458"/>
                  <a:pt x="1301" y="458"/>
                </a:cubicBezTo>
                <a:cubicBezTo>
                  <a:pt x="1301" y="458"/>
                  <a:pt x="1301" y="458"/>
                  <a:pt x="1301" y="458"/>
                </a:cubicBezTo>
                <a:cubicBezTo>
                  <a:pt x="1301" y="459"/>
                  <a:pt x="1301" y="459"/>
                  <a:pt x="1301" y="459"/>
                </a:cubicBezTo>
                <a:cubicBezTo>
                  <a:pt x="1301" y="459"/>
                  <a:pt x="1300" y="460"/>
                  <a:pt x="1300" y="460"/>
                </a:cubicBezTo>
                <a:cubicBezTo>
                  <a:pt x="1300" y="460"/>
                  <a:pt x="1300" y="461"/>
                  <a:pt x="1300" y="461"/>
                </a:cubicBezTo>
                <a:cubicBezTo>
                  <a:pt x="1300" y="461"/>
                  <a:pt x="1300" y="462"/>
                  <a:pt x="1300" y="462"/>
                </a:cubicBezTo>
                <a:cubicBezTo>
                  <a:pt x="1300" y="462"/>
                  <a:pt x="1299" y="462"/>
                  <a:pt x="1299" y="462"/>
                </a:cubicBezTo>
                <a:cubicBezTo>
                  <a:pt x="1299" y="462"/>
                  <a:pt x="1299" y="463"/>
                  <a:pt x="1299" y="463"/>
                </a:cubicBezTo>
                <a:cubicBezTo>
                  <a:pt x="1299" y="463"/>
                  <a:pt x="1299" y="464"/>
                  <a:pt x="1299" y="464"/>
                </a:cubicBezTo>
                <a:cubicBezTo>
                  <a:pt x="1299" y="464"/>
                  <a:pt x="1299" y="465"/>
                  <a:pt x="1299" y="466"/>
                </a:cubicBezTo>
                <a:cubicBezTo>
                  <a:pt x="1300" y="466"/>
                  <a:pt x="1300" y="467"/>
                  <a:pt x="1300" y="468"/>
                </a:cubicBezTo>
                <a:cubicBezTo>
                  <a:pt x="1300" y="468"/>
                  <a:pt x="1300" y="468"/>
                  <a:pt x="1300" y="469"/>
                </a:cubicBezTo>
                <a:cubicBezTo>
                  <a:pt x="1301" y="469"/>
                  <a:pt x="1301" y="469"/>
                  <a:pt x="1301" y="469"/>
                </a:cubicBezTo>
                <a:cubicBezTo>
                  <a:pt x="1302" y="469"/>
                  <a:pt x="1302" y="469"/>
                  <a:pt x="1302" y="469"/>
                </a:cubicBezTo>
                <a:cubicBezTo>
                  <a:pt x="1303" y="470"/>
                  <a:pt x="1303" y="470"/>
                  <a:pt x="1304" y="470"/>
                </a:cubicBezTo>
                <a:cubicBezTo>
                  <a:pt x="1304" y="470"/>
                  <a:pt x="1305" y="470"/>
                  <a:pt x="1306" y="470"/>
                </a:cubicBezTo>
                <a:cubicBezTo>
                  <a:pt x="1306" y="469"/>
                  <a:pt x="1307" y="469"/>
                  <a:pt x="1307" y="469"/>
                </a:cubicBezTo>
                <a:cubicBezTo>
                  <a:pt x="1308" y="469"/>
                  <a:pt x="1308" y="468"/>
                  <a:pt x="1308" y="468"/>
                </a:cubicBezTo>
                <a:cubicBezTo>
                  <a:pt x="1308" y="468"/>
                  <a:pt x="1309" y="468"/>
                  <a:pt x="1309" y="467"/>
                </a:cubicBezTo>
                <a:cubicBezTo>
                  <a:pt x="1309" y="467"/>
                  <a:pt x="1309" y="467"/>
                  <a:pt x="1309" y="467"/>
                </a:cubicBezTo>
                <a:cubicBezTo>
                  <a:pt x="1309" y="467"/>
                  <a:pt x="1309" y="467"/>
                  <a:pt x="1309" y="467"/>
                </a:cubicBezTo>
                <a:cubicBezTo>
                  <a:pt x="1309" y="466"/>
                  <a:pt x="1309" y="466"/>
                  <a:pt x="1309" y="466"/>
                </a:cubicBezTo>
                <a:cubicBezTo>
                  <a:pt x="1309" y="465"/>
                  <a:pt x="1309" y="465"/>
                  <a:pt x="1309" y="465"/>
                </a:cubicBezTo>
                <a:cubicBezTo>
                  <a:pt x="1309" y="465"/>
                  <a:pt x="1309" y="465"/>
                  <a:pt x="1309" y="465"/>
                </a:cubicBezTo>
                <a:cubicBezTo>
                  <a:pt x="1309" y="464"/>
                  <a:pt x="1309" y="464"/>
                  <a:pt x="1309" y="464"/>
                </a:cubicBezTo>
                <a:close/>
                <a:moveTo>
                  <a:pt x="1302" y="454"/>
                </a:moveTo>
                <a:cubicBezTo>
                  <a:pt x="1301" y="454"/>
                  <a:pt x="1301" y="454"/>
                  <a:pt x="1301" y="454"/>
                </a:cubicBezTo>
                <a:cubicBezTo>
                  <a:pt x="1302" y="455"/>
                  <a:pt x="1302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4"/>
                </a:cubicBezTo>
                <a:cubicBezTo>
                  <a:pt x="1303" y="454"/>
                  <a:pt x="1303" y="454"/>
                  <a:pt x="1303" y="454"/>
                </a:cubicBezTo>
                <a:cubicBezTo>
                  <a:pt x="1303" y="454"/>
                  <a:pt x="1302" y="454"/>
                  <a:pt x="1302" y="454"/>
                </a:cubicBezTo>
                <a:close/>
                <a:moveTo>
                  <a:pt x="1303" y="455"/>
                </a:moveTo>
                <a:cubicBezTo>
                  <a:pt x="1303" y="455"/>
                  <a:pt x="1304" y="456"/>
                  <a:pt x="1304" y="456"/>
                </a:cubicBezTo>
                <a:cubicBezTo>
                  <a:pt x="1304" y="456"/>
                  <a:pt x="1304" y="456"/>
                  <a:pt x="1304" y="456"/>
                </a:cubicBezTo>
                <a:cubicBezTo>
                  <a:pt x="1305" y="456"/>
                  <a:pt x="1305" y="456"/>
                  <a:pt x="1305" y="456"/>
                </a:cubicBezTo>
                <a:cubicBezTo>
                  <a:pt x="1305" y="456"/>
                  <a:pt x="1306" y="457"/>
                  <a:pt x="1306" y="457"/>
                </a:cubicBezTo>
                <a:cubicBezTo>
                  <a:pt x="1306" y="457"/>
                  <a:pt x="1306" y="456"/>
                  <a:pt x="1306" y="456"/>
                </a:cubicBezTo>
                <a:cubicBezTo>
                  <a:pt x="1305" y="456"/>
                  <a:pt x="1305" y="456"/>
                  <a:pt x="1305" y="456"/>
                </a:cubicBezTo>
                <a:cubicBezTo>
                  <a:pt x="1305" y="455"/>
                  <a:pt x="1305" y="455"/>
                  <a:pt x="1305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lose/>
                <a:moveTo>
                  <a:pt x="1351" y="418"/>
                </a:moveTo>
                <a:cubicBezTo>
                  <a:pt x="1351" y="418"/>
                  <a:pt x="1351" y="418"/>
                  <a:pt x="1352" y="418"/>
                </a:cubicBezTo>
                <a:cubicBezTo>
                  <a:pt x="1352" y="418"/>
                  <a:pt x="1351" y="417"/>
                  <a:pt x="1351" y="417"/>
                </a:cubicBezTo>
                <a:cubicBezTo>
                  <a:pt x="1351" y="417"/>
                  <a:pt x="1351" y="418"/>
                  <a:pt x="1351" y="418"/>
                </a:cubicBezTo>
                <a:close/>
                <a:moveTo>
                  <a:pt x="1349" y="417"/>
                </a:moveTo>
                <a:cubicBezTo>
                  <a:pt x="1350" y="418"/>
                  <a:pt x="1350" y="418"/>
                  <a:pt x="1350" y="418"/>
                </a:cubicBezTo>
                <a:cubicBezTo>
                  <a:pt x="1350" y="418"/>
                  <a:pt x="1350" y="417"/>
                  <a:pt x="1350" y="417"/>
                </a:cubicBezTo>
                <a:cubicBezTo>
                  <a:pt x="1350" y="417"/>
                  <a:pt x="1350" y="417"/>
                  <a:pt x="1350" y="417"/>
                </a:cubicBezTo>
                <a:cubicBezTo>
                  <a:pt x="1349" y="417"/>
                  <a:pt x="1349" y="417"/>
                  <a:pt x="1349" y="417"/>
                </a:cubicBezTo>
                <a:close/>
                <a:moveTo>
                  <a:pt x="1350" y="417"/>
                </a:moveTo>
                <a:cubicBezTo>
                  <a:pt x="1350" y="418"/>
                  <a:pt x="1351" y="418"/>
                  <a:pt x="1351" y="418"/>
                </a:cubicBezTo>
                <a:cubicBezTo>
                  <a:pt x="1351" y="418"/>
                  <a:pt x="1351" y="417"/>
                  <a:pt x="1351" y="417"/>
                </a:cubicBezTo>
                <a:cubicBezTo>
                  <a:pt x="1351" y="417"/>
                  <a:pt x="1351" y="417"/>
                  <a:pt x="1351" y="417"/>
                </a:cubicBezTo>
                <a:cubicBezTo>
                  <a:pt x="1351" y="417"/>
                  <a:pt x="1351" y="417"/>
                  <a:pt x="1350" y="417"/>
                </a:cubicBezTo>
                <a:cubicBezTo>
                  <a:pt x="1350" y="417"/>
                  <a:pt x="1350" y="417"/>
                  <a:pt x="1350" y="417"/>
                </a:cubicBezTo>
                <a:close/>
                <a:moveTo>
                  <a:pt x="1348" y="417"/>
                </a:moveTo>
                <a:cubicBezTo>
                  <a:pt x="1348" y="417"/>
                  <a:pt x="1348" y="417"/>
                  <a:pt x="1348" y="417"/>
                </a:cubicBezTo>
                <a:cubicBezTo>
                  <a:pt x="1348" y="417"/>
                  <a:pt x="1348" y="417"/>
                  <a:pt x="1348" y="417"/>
                </a:cubicBezTo>
                <a:cubicBezTo>
                  <a:pt x="1349" y="417"/>
                  <a:pt x="1349" y="416"/>
                  <a:pt x="1349" y="416"/>
                </a:cubicBezTo>
                <a:cubicBezTo>
                  <a:pt x="1349" y="416"/>
                  <a:pt x="1349" y="416"/>
                  <a:pt x="1349" y="416"/>
                </a:cubicBezTo>
                <a:cubicBezTo>
                  <a:pt x="1349" y="416"/>
                  <a:pt x="1348" y="416"/>
                  <a:pt x="1348" y="417"/>
                </a:cubicBezTo>
                <a:close/>
                <a:moveTo>
                  <a:pt x="1366" y="417"/>
                </a:moveTo>
                <a:cubicBezTo>
                  <a:pt x="1366" y="417"/>
                  <a:pt x="1366" y="417"/>
                  <a:pt x="1366" y="417"/>
                </a:cubicBezTo>
                <a:cubicBezTo>
                  <a:pt x="1366" y="417"/>
                  <a:pt x="1365" y="417"/>
                  <a:pt x="1365" y="417"/>
                </a:cubicBezTo>
                <a:cubicBezTo>
                  <a:pt x="1365" y="417"/>
                  <a:pt x="1365" y="417"/>
                  <a:pt x="1365" y="418"/>
                </a:cubicBezTo>
                <a:cubicBezTo>
                  <a:pt x="1365" y="418"/>
                  <a:pt x="1365" y="418"/>
                  <a:pt x="1366" y="418"/>
                </a:cubicBezTo>
                <a:cubicBezTo>
                  <a:pt x="1366" y="417"/>
                  <a:pt x="1366" y="417"/>
                  <a:pt x="1366" y="417"/>
                </a:cubicBezTo>
                <a:close/>
                <a:moveTo>
                  <a:pt x="1364" y="418"/>
                </a:moveTo>
                <a:cubicBezTo>
                  <a:pt x="1364" y="418"/>
                  <a:pt x="1364" y="418"/>
                  <a:pt x="1365" y="417"/>
                </a:cubicBezTo>
                <a:cubicBezTo>
                  <a:pt x="1365" y="417"/>
                  <a:pt x="1365" y="417"/>
                  <a:pt x="1365" y="417"/>
                </a:cubicBezTo>
                <a:cubicBezTo>
                  <a:pt x="1364" y="417"/>
                  <a:pt x="1364" y="416"/>
                  <a:pt x="1363" y="416"/>
                </a:cubicBezTo>
                <a:cubicBezTo>
                  <a:pt x="1363" y="416"/>
                  <a:pt x="1363" y="416"/>
                  <a:pt x="1363" y="416"/>
                </a:cubicBezTo>
                <a:cubicBezTo>
                  <a:pt x="1363" y="417"/>
                  <a:pt x="1364" y="417"/>
                  <a:pt x="1364" y="417"/>
                </a:cubicBezTo>
                <a:cubicBezTo>
                  <a:pt x="1364" y="417"/>
                  <a:pt x="1364" y="417"/>
                  <a:pt x="1363" y="418"/>
                </a:cubicBezTo>
                <a:cubicBezTo>
                  <a:pt x="1364" y="418"/>
                  <a:pt x="1364" y="418"/>
                  <a:pt x="1364" y="418"/>
                </a:cubicBezTo>
                <a:close/>
                <a:moveTo>
                  <a:pt x="1363" y="416"/>
                </a:moveTo>
                <a:cubicBezTo>
                  <a:pt x="1363" y="416"/>
                  <a:pt x="1363" y="416"/>
                  <a:pt x="1363" y="415"/>
                </a:cubicBezTo>
                <a:cubicBezTo>
                  <a:pt x="1362" y="415"/>
                  <a:pt x="1362" y="416"/>
                  <a:pt x="1362" y="416"/>
                </a:cubicBezTo>
                <a:cubicBezTo>
                  <a:pt x="1362" y="416"/>
                  <a:pt x="1362" y="416"/>
                  <a:pt x="1361" y="416"/>
                </a:cubicBezTo>
                <a:cubicBezTo>
                  <a:pt x="1362" y="416"/>
                  <a:pt x="1362" y="417"/>
                  <a:pt x="1362" y="417"/>
                </a:cubicBezTo>
                <a:cubicBezTo>
                  <a:pt x="1362" y="417"/>
                  <a:pt x="1362" y="417"/>
                  <a:pt x="1363" y="417"/>
                </a:cubicBezTo>
                <a:cubicBezTo>
                  <a:pt x="1363" y="417"/>
                  <a:pt x="1363" y="417"/>
                  <a:pt x="1363" y="416"/>
                </a:cubicBezTo>
                <a:close/>
                <a:moveTo>
                  <a:pt x="959" y="224"/>
                </a:moveTo>
                <a:cubicBezTo>
                  <a:pt x="959" y="225"/>
                  <a:pt x="959" y="225"/>
                  <a:pt x="960" y="225"/>
                </a:cubicBezTo>
                <a:cubicBezTo>
                  <a:pt x="960" y="225"/>
                  <a:pt x="960" y="224"/>
                  <a:pt x="960" y="224"/>
                </a:cubicBezTo>
                <a:cubicBezTo>
                  <a:pt x="960" y="224"/>
                  <a:pt x="961" y="224"/>
                  <a:pt x="961" y="224"/>
                </a:cubicBezTo>
                <a:cubicBezTo>
                  <a:pt x="961" y="224"/>
                  <a:pt x="961" y="224"/>
                  <a:pt x="961" y="224"/>
                </a:cubicBezTo>
                <a:cubicBezTo>
                  <a:pt x="960" y="224"/>
                  <a:pt x="960" y="224"/>
                  <a:pt x="960" y="224"/>
                </a:cubicBezTo>
                <a:cubicBezTo>
                  <a:pt x="960" y="224"/>
                  <a:pt x="960" y="224"/>
                  <a:pt x="959" y="224"/>
                </a:cubicBezTo>
                <a:close/>
                <a:moveTo>
                  <a:pt x="955" y="221"/>
                </a:moveTo>
                <a:cubicBezTo>
                  <a:pt x="955" y="221"/>
                  <a:pt x="955" y="221"/>
                  <a:pt x="955" y="222"/>
                </a:cubicBezTo>
                <a:cubicBezTo>
                  <a:pt x="955" y="222"/>
                  <a:pt x="955" y="222"/>
                  <a:pt x="955" y="222"/>
                </a:cubicBezTo>
                <a:cubicBezTo>
                  <a:pt x="955" y="223"/>
                  <a:pt x="956" y="223"/>
                  <a:pt x="956" y="223"/>
                </a:cubicBezTo>
                <a:cubicBezTo>
                  <a:pt x="956" y="223"/>
                  <a:pt x="956" y="223"/>
                  <a:pt x="956" y="223"/>
                </a:cubicBezTo>
                <a:cubicBezTo>
                  <a:pt x="957" y="223"/>
                  <a:pt x="957" y="223"/>
                  <a:pt x="958" y="223"/>
                </a:cubicBezTo>
                <a:cubicBezTo>
                  <a:pt x="958" y="223"/>
                  <a:pt x="958" y="223"/>
                  <a:pt x="958" y="223"/>
                </a:cubicBezTo>
                <a:cubicBezTo>
                  <a:pt x="958" y="224"/>
                  <a:pt x="958" y="224"/>
                  <a:pt x="957" y="224"/>
                </a:cubicBezTo>
                <a:cubicBezTo>
                  <a:pt x="958" y="224"/>
                  <a:pt x="958" y="224"/>
                  <a:pt x="958" y="224"/>
                </a:cubicBezTo>
                <a:cubicBezTo>
                  <a:pt x="958" y="224"/>
                  <a:pt x="958" y="224"/>
                  <a:pt x="959" y="224"/>
                </a:cubicBezTo>
                <a:cubicBezTo>
                  <a:pt x="959" y="224"/>
                  <a:pt x="959" y="224"/>
                  <a:pt x="959" y="224"/>
                </a:cubicBezTo>
                <a:cubicBezTo>
                  <a:pt x="959" y="224"/>
                  <a:pt x="959" y="224"/>
                  <a:pt x="959" y="223"/>
                </a:cubicBezTo>
                <a:cubicBezTo>
                  <a:pt x="959" y="223"/>
                  <a:pt x="960" y="223"/>
                  <a:pt x="960" y="223"/>
                </a:cubicBezTo>
                <a:cubicBezTo>
                  <a:pt x="960" y="223"/>
                  <a:pt x="961" y="223"/>
                  <a:pt x="961" y="223"/>
                </a:cubicBezTo>
                <a:cubicBezTo>
                  <a:pt x="961" y="223"/>
                  <a:pt x="961" y="222"/>
                  <a:pt x="961" y="222"/>
                </a:cubicBezTo>
                <a:cubicBezTo>
                  <a:pt x="960" y="222"/>
                  <a:pt x="960" y="222"/>
                  <a:pt x="960" y="222"/>
                </a:cubicBezTo>
                <a:cubicBezTo>
                  <a:pt x="960" y="222"/>
                  <a:pt x="960" y="222"/>
                  <a:pt x="960" y="222"/>
                </a:cubicBezTo>
                <a:cubicBezTo>
                  <a:pt x="960" y="221"/>
                  <a:pt x="960" y="221"/>
                  <a:pt x="961" y="221"/>
                </a:cubicBezTo>
                <a:cubicBezTo>
                  <a:pt x="961" y="221"/>
                  <a:pt x="961" y="221"/>
                  <a:pt x="961" y="220"/>
                </a:cubicBezTo>
                <a:cubicBezTo>
                  <a:pt x="961" y="220"/>
                  <a:pt x="961" y="220"/>
                  <a:pt x="961" y="219"/>
                </a:cubicBezTo>
                <a:cubicBezTo>
                  <a:pt x="961" y="219"/>
                  <a:pt x="961" y="219"/>
                  <a:pt x="961" y="219"/>
                </a:cubicBezTo>
                <a:cubicBezTo>
                  <a:pt x="960" y="219"/>
                  <a:pt x="960" y="219"/>
                  <a:pt x="959" y="219"/>
                </a:cubicBezTo>
                <a:cubicBezTo>
                  <a:pt x="959" y="219"/>
                  <a:pt x="958" y="219"/>
                  <a:pt x="958" y="219"/>
                </a:cubicBezTo>
                <a:cubicBezTo>
                  <a:pt x="958" y="219"/>
                  <a:pt x="958" y="220"/>
                  <a:pt x="957" y="220"/>
                </a:cubicBezTo>
                <a:cubicBezTo>
                  <a:pt x="958" y="220"/>
                  <a:pt x="958" y="220"/>
                  <a:pt x="958" y="220"/>
                </a:cubicBezTo>
                <a:cubicBezTo>
                  <a:pt x="958" y="220"/>
                  <a:pt x="958" y="220"/>
                  <a:pt x="959" y="220"/>
                </a:cubicBezTo>
                <a:cubicBezTo>
                  <a:pt x="959" y="221"/>
                  <a:pt x="959" y="221"/>
                  <a:pt x="959" y="221"/>
                </a:cubicBezTo>
                <a:cubicBezTo>
                  <a:pt x="958" y="221"/>
                  <a:pt x="958" y="221"/>
                  <a:pt x="958" y="221"/>
                </a:cubicBezTo>
                <a:cubicBezTo>
                  <a:pt x="958" y="221"/>
                  <a:pt x="958" y="221"/>
                  <a:pt x="958" y="221"/>
                </a:cubicBezTo>
                <a:cubicBezTo>
                  <a:pt x="957" y="221"/>
                  <a:pt x="957" y="221"/>
                  <a:pt x="957" y="220"/>
                </a:cubicBezTo>
                <a:cubicBezTo>
                  <a:pt x="957" y="220"/>
                  <a:pt x="957" y="220"/>
                  <a:pt x="957" y="220"/>
                </a:cubicBezTo>
                <a:cubicBezTo>
                  <a:pt x="957" y="220"/>
                  <a:pt x="956" y="220"/>
                  <a:pt x="956" y="220"/>
                </a:cubicBezTo>
                <a:cubicBezTo>
                  <a:pt x="956" y="220"/>
                  <a:pt x="956" y="220"/>
                  <a:pt x="956" y="220"/>
                </a:cubicBezTo>
                <a:cubicBezTo>
                  <a:pt x="956" y="220"/>
                  <a:pt x="955" y="220"/>
                  <a:pt x="955" y="220"/>
                </a:cubicBezTo>
                <a:cubicBezTo>
                  <a:pt x="955" y="221"/>
                  <a:pt x="955" y="221"/>
                  <a:pt x="955" y="221"/>
                </a:cubicBezTo>
                <a:cubicBezTo>
                  <a:pt x="955" y="221"/>
                  <a:pt x="955" y="221"/>
                  <a:pt x="955" y="221"/>
                </a:cubicBezTo>
                <a:close/>
                <a:moveTo>
                  <a:pt x="961" y="221"/>
                </a:moveTo>
                <a:cubicBezTo>
                  <a:pt x="961" y="221"/>
                  <a:pt x="961" y="221"/>
                  <a:pt x="961" y="221"/>
                </a:cubicBezTo>
                <a:cubicBezTo>
                  <a:pt x="961" y="221"/>
                  <a:pt x="962" y="221"/>
                  <a:pt x="962" y="222"/>
                </a:cubicBezTo>
                <a:cubicBezTo>
                  <a:pt x="962" y="221"/>
                  <a:pt x="962" y="221"/>
                  <a:pt x="961" y="221"/>
                </a:cubicBezTo>
                <a:close/>
                <a:moveTo>
                  <a:pt x="974" y="225"/>
                </a:moveTo>
                <a:cubicBezTo>
                  <a:pt x="974" y="224"/>
                  <a:pt x="974" y="224"/>
                  <a:pt x="974" y="224"/>
                </a:cubicBezTo>
                <a:cubicBezTo>
                  <a:pt x="974" y="224"/>
                  <a:pt x="974" y="223"/>
                  <a:pt x="973" y="223"/>
                </a:cubicBezTo>
                <a:cubicBezTo>
                  <a:pt x="973" y="223"/>
                  <a:pt x="973" y="223"/>
                  <a:pt x="972" y="222"/>
                </a:cubicBezTo>
                <a:cubicBezTo>
                  <a:pt x="972" y="223"/>
                  <a:pt x="972" y="223"/>
                  <a:pt x="972" y="223"/>
                </a:cubicBezTo>
                <a:cubicBezTo>
                  <a:pt x="972" y="224"/>
                  <a:pt x="972" y="224"/>
                  <a:pt x="972" y="224"/>
                </a:cubicBezTo>
                <a:cubicBezTo>
                  <a:pt x="973" y="224"/>
                  <a:pt x="974" y="224"/>
                  <a:pt x="974" y="225"/>
                </a:cubicBezTo>
                <a:close/>
                <a:moveTo>
                  <a:pt x="953" y="223"/>
                </a:moveTo>
                <a:cubicBezTo>
                  <a:pt x="953" y="223"/>
                  <a:pt x="953" y="223"/>
                  <a:pt x="952" y="223"/>
                </a:cubicBezTo>
                <a:cubicBezTo>
                  <a:pt x="952" y="222"/>
                  <a:pt x="952" y="222"/>
                  <a:pt x="952" y="222"/>
                </a:cubicBezTo>
                <a:cubicBezTo>
                  <a:pt x="952" y="222"/>
                  <a:pt x="951" y="222"/>
                  <a:pt x="951" y="222"/>
                </a:cubicBezTo>
                <a:cubicBezTo>
                  <a:pt x="951" y="222"/>
                  <a:pt x="950" y="221"/>
                  <a:pt x="950" y="221"/>
                </a:cubicBezTo>
                <a:cubicBezTo>
                  <a:pt x="949" y="221"/>
                  <a:pt x="949" y="221"/>
                  <a:pt x="948" y="221"/>
                </a:cubicBezTo>
                <a:cubicBezTo>
                  <a:pt x="948" y="222"/>
                  <a:pt x="948" y="222"/>
                  <a:pt x="948" y="222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9" y="223"/>
                  <a:pt x="949" y="224"/>
                  <a:pt x="949" y="224"/>
                </a:cubicBezTo>
                <a:cubicBezTo>
                  <a:pt x="950" y="224"/>
                  <a:pt x="950" y="224"/>
                  <a:pt x="950" y="224"/>
                </a:cubicBezTo>
                <a:cubicBezTo>
                  <a:pt x="951" y="224"/>
                  <a:pt x="951" y="224"/>
                  <a:pt x="951" y="224"/>
                </a:cubicBezTo>
                <a:cubicBezTo>
                  <a:pt x="951" y="224"/>
                  <a:pt x="952" y="224"/>
                  <a:pt x="952" y="224"/>
                </a:cubicBezTo>
                <a:cubicBezTo>
                  <a:pt x="952" y="224"/>
                  <a:pt x="953" y="224"/>
                  <a:pt x="953" y="223"/>
                </a:cubicBezTo>
                <a:close/>
                <a:moveTo>
                  <a:pt x="955" y="225"/>
                </a:moveTo>
                <a:cubicBezTo>
                  <a:pt x="954" y="225"/>
                  <a:pt x="954" y="225"/>
                  <a:pt x="954" y="225"/>
                </a:cubicBezTo>
                <a:cubicBezTo>
                  <a:pt x="954" y="225"/>
                  <a:pt x="954" y="226"/>
                  <a:pt x="954" y="226"/>
                </a:cubicBezTo>
                <a:cubicBezTo>
                  <a:pt x="955" y="226"/>
                  <a:pt x="955" y="226"/>
                  <a:pt x="956" y="226"/>
                </a:cubicBezTo>
                <a:cubicBezTo>
                  <a:pt x="957" y="226"/>
                  <a:pt x="957" y="226"/>
                  <a:pt x="958" y="226"/>
                </a:cubicBezTo>
                <a:cubicBezTo>
                  <a:pt x="958" y="226"/>
                  <a:pt x="958" y="226"/>
                  <a:pt x="958" y="226"/>
                </a:cubicBezTo>
                <a:cubicBezTo>
                  <a:pt x="958" y="226"/>
                  <a:pt x="958" y="226"/>
                  <a:pt x="958" y="226"/>
                </a:cubicBezTo>
                <a:cubicBezTo>
                  <a:pt x="958" y="226"/>
                  <a:pt x="959" y="226"/>
                  <a:pt x="959" y="226"/>
                </a:cubicBezTo>
                <a:cubicBezTo>
                  <a:pt x="959" y="226"/>
                  <a:pt x="959" y="226"/>
                  <a:pt x="959" y="226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8" y="225"/>
                  <a:pt x="958" y="225"/>
                  <a:pt x="958" y="225"/>
                </a:cubicBezTo>
                <a:cubicBezTo>
                  <a:pt x="958" y="225"/>
                  <a:pt x="958" y="225"/>
                  <a:pt x="957" y="225"/>
                </a:cubicBezTo>
                <a:cubicBezTo>
                  <a:pt x="957" y="225"/>
                  <a:pt x="957" y="225"/>
                  <a:pt x="957" y="225"/>
                </a:cubicBezTo>
                <a:cubicBezTo>
                  <a:pt x="957" y="225"/>
                  <a:pt x="956" y="225"/>
                  <a:pt x="956" y="225"/>
                </a:cubicBezTo>
                <a:cubicBezTo>
                  <a:pt x="956" y="225"/>
                  <a:pt x="956" y="225"/>
                  <a:pt x="955" y="224"/>
                </a:cubicBezTo>
                <a:cubicBezTo>
                  <a:pt x="955" y="224"/>
                  <a:pt x="955" y="224"/>
                  <a:pt x="955" y="224"/>
                </a:cubicBezTo>
                <a:cubicBezTo>
                  <a:pt x="954" y="225"/>
                  <a:pt x="954" y="225"/>
                  <a:pt x="954" y="225"/>
                </a:cubicBezTo>
                <a:cubicBezTo>
                  <a:pt x="954" y="225"/>
                  <a:pt x="954" y="225"/>
                  <a:pt x="955" y="225"/>
                </a:cubicBezTo>
                <a:close/>
                <a:moveTo>
                  <a:pt x="965" y="227"/>
                </a:moveTo>
                <a:cubicBezTo>
                  <a:pt x="964" y="227"/>
                  <a:pt x="964" y="227"/>
                  <a:pt x="964" y="227"/>
                </a:cubicBezTo>
                <a:cubicBezTo>
                  <a:pt x="964" y="228"/>
                  <a:pt x="965" y="228"/>
                  <a:pt x="965" y="228"/>
                </a:cubicBezTo>
                <a:cubicBezTo>
                  <a:pt x="965" y="228"/>
                  <a:pt x="965" y="228"/>
                  <a:pt x="966" y="228"/>
                </a:cubicBezTo>
                <a:cubicBezTo>
                  <a:pt x="966" y="228"/>
                  <a:pt x="966" y="228"/>
                  <a:pt x="966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6"/>
                  <a:pt x="967" y="226"/>
                  <a:pt x="967" y="226"/>
                </a:cubicBezTo>
                <a:cubicBezTo>
                  <a:pt x="967" y="226"/>
                  <a:pt x="966" y="226"/>
                  <a:pt x="966" y="226"/>
                </a:cubicBezTo>
                <a:cubicBezTo>
                  <a:pt x="966" y="226"/>
                  <a:pt x="966" y="226"/>
                  <a:pt x="966" y="226"/>
                </a:cubicBezTo>
                <a:cubicBezTo>
                  <a:pt x="966" y="226"/>
                  <a:pt x="966" y="226"/>
                  <a:pt x="965" y="226"/>
                </a:cubicBezTo>
                <a:cubicBezTo>
                  <a:pt x="965" y="226"/>
                  <a:pt x="965" y="226"/>
                  <a:pt x="965" y="226"/>
                </a:cubicBezTo>
                <a:cubicBezTo>
                  <a:pt x="965" y="226"/>
                  <a:pt x="965" y="226"/>
                  <a:pt x="965" y="226"/>
                </a:cubicBezTo>
                <a:cubicBezTo>
                  <a:pt x="965" y="226"/>
                  <a:pt x="965" y="226"/>
                  <a:pt x="966" y="226"/>
                </a:cubicBezTo>
                <a:cubicBezTo>
                  <a:pt x="965" y="227"/>
                  <a:pt x="965" y="227"/>
                  <a:pt x="965" y="227"/>
                </a:cubicBezTo>
                <a:cubicBezTo>
                  <a:pt x="965" y="227"/>
                  <a:pt x="965" y="227"/>
                  <a:pt x="965" y="227"/>
                </a:cubicBezTo>
                <a:close/>
                <a:moveTo>
                  <a:pt x="953" y="212"/>
                </a:moveTo>
                <a:cubicBezTo>
                  <a:pt x="953" y="212"/>
                  <a:pt x="953" y="212"/>
                  <a:pt x="953" y="212"/>
                </a:cubicBezTo>
                <a:cubicBezTo>
                  <a:pt x="954" y="212"/>
                  <a:pt x="954" y="212"/>
                  <a:pt x="954" y="212"/>
                </a:cubicBezTo>
                <a:cubicBezTo>
                  <a:pt x="954" y="212"/>
                  <a:pt x="954" y="212"/>
                  <a:pt x="953" y="212"/>
                </a:cubicBezTo>
                <a:cubicBezTo>
                  <a:pt x="953" y="212"/>
                  <a:pt x="953" y="212"/>
                  <a:pt x="953" y="212"/>
                </a:cubicBezTo>
                <a:close/>
                <a:moveTo>
                  <a:pt x="943" y="215"/>
                </a:moveTo>
                <a:cubicBezTo>
                  <a:pt x="943" y="215"/>
                  <a:pt x="943" y="215"/>
                  <a:pt x="943" y="216"/>
                </a:cubicBezTo>
                <a:cubicBezTo>
                  <a:pt x="943" y="216"/>
                  <a:pt x="943" y="216"/>
                  <a:pt x="943" y="216"/>
                </a:cubicBezTo>
                <a:cubicBezTo>
                  <a:pt x="943" y="215"/>
                  <a:pt x="944" y="215"/>
                  <a:pt x="944" y="215"/>
                </a:cubicBezTo>
                <a:cubicBezTo>
                  <a:pt x="944" y="215"/>
                  <a:pt x="944" y="215"/>
                  <a:pt x="944" y="214"/>
                </a:cubicBezTo>
                <a:cubicBezTo>
                  <a:pt x="944" y="214"/>
                  <a:pt x="944" y="214"/>
                  <a:pt x="943" y="214"/>
                </a:cubicBezTo>
                <a:cubicBezTo>
                  <a:pt x="943" y="215"/>
                  <a:pt x="943" y="215"/>
                  <a:pt x="943" y="215"/>
                </a:cubicBezTo>
                <a:close/>
                <a:moveTo>
                  <a:pt x="953" y="225"/>
                </a:moveTo>
                <a:cubicBezTo>
                  <a:pt x="953" y="224"/>
                  <a:pt x="954" y="224"/>
                  <a:pt x="954" y="224"/>
                </a:cubicBezTo>
                <a:cubicBezTo>
                  <a:pt x="954" y="224"/>
                  <a:pt x="953" y="223"/>
                  <a:pt x="953" y="223"/>
                </a:cubicBezTo>
                <a:cubicBezTo>
                  <a:pt x="953" y="224"/>
                  <a:pt x="953" y="224"/>
                  <a:pt x="953" y="224"/>
                </a:cubicBezTo>
                <a:cubicBezTo>
                  <a:pt x="953" y="225"/>
                  <a:pt x="953" y="225"/>
                  <a:pt x="952" y="225"/>
                </a:cubicBezTo>
                <a:cubicBezTo>
                  <a:pt x="953" y="225"/>
                  <a:pt x="953" y="225"/>
                  <a:pt x="953" y="225"/>
                </a:cubicBezTo>
                <a:cubicBezTo>
                  <a:pt x="953" y="225"/>
                  <a:pt x="953" y="225"/>
                  <a:pt x="953" y="225"/>
                </a:cubicBezTo>
                <a:close/>
                <a:moveTo>
                  <a:pt x="951" y="210"/>
                </a:moveTo>
                <a:cubicBezTo>
                  <a:pt x="951" y="210"/>
                  <a:pt x="950" y="210"/>
                  <a:pt x="950" y="211"/>
                </a:cubicBezTo>
                <a:cubicBezTo>
                  <a:pt x="949" y="211"/>
                  <a:pt x="949" y="211"/>
                  <a:pt x="948" y="211"/>
                </a:cubicBezTo>
                <a:cubicBezTo>
                  <a:pt x="948" y="211"/>
                  <a:pt x="948" y="211"/>
                  <a:pt x="947" y="211"/>
                </a:cubicBezTo>
                <a:cubicBezTo>
                  <a:pt x="947" y="211"/>
                  <a:pt x="947" y="212"/>
                  <a:pt x="947" y="212"/>
                </a:cubicBezTo>
                <a:cubicBezTo>
                  <a:pt x="947" y="212"/>
                  <a:pt x="946" y="212"/>
                  <a:pt x="946" y="213"/>
                </a:cubicBezTo>
                <a:cubicBezTo>
                  <a:pt x="946" y="213"/>
                  <a:pt x="946" y="213"/>
                  <a:pt x="945" y="213"/>
                </a:cubicBezTo>
                <a:cubicBezTo>
                  <a:pt x="945" y="213"/>
                  <a:pt x="944" y="213"/>
                  <a:pt x="944" y="213"/>
                </a:cubicBezTo>
                <a:cubicBezTo>
                  <a:pt x="943" y="213"/>
                  <a:pt x="943" y="214"/>
                  <a:pt x="943" y="214"/>
                </a:cubicBezTo>
                <a:cubicBezTo>
                  <a:pt x="942" y="214"/>
                  <a:pt x="942" y="214"/>
                  <a:pt x="942" y="214"/>
                </a:cubicBezTo>
                <a:cubicBezTo>
                  <a:pt x="942" y="214"/>
                  <a:pt x="942" y="214"/>
                  <a:pt x="941" y="214"/>
                </a:cubicBezTo>
                <a:cubicBezTo>
                  <a:pt x="941" y="214"/>
                  <a:pt x="941" y="214"/>
                  <a:pt x="941" y="215"/>
                </a:cubicBezTo>
                <a:cubicBezTo>
                  <a:pt x="941" y="215"/>
                  <a:pt x="940" y="215"/>
                  <a:pt x="940" y="215"/>
                </a:cubicBezTo>
                <a:cubicBezTo>
                  <a:pt x="940" y="215"/>
                  <a:pt x="940" y="215"/>
                  <a:pt x="941" y="215"/>
                </a:cubicBezTo>
                <a:cubicBezTo>
                  <a:pt x="941" y="215"/>
                  <a:pt x="941" y="215"/>
                  <a:pt x="941" y="215"/>
                </a:cubicBezTo>
                <a:cubicBezTo>
                  <a:pt x="941" y="215"/>
                  <a:pt x="942" y="216"/>
                  <a:pt x="942" y="216"/>
                </a:cubicBezTo>
                <a:cubicBezTo>
                  <a:pt x="942" y="216"/>
                  <a:pt x="942" y="215"/>
                  <a:pt x="942" y="215"/>
                </a:cubicBezTo>
                <a:cubicBezTo>
                  <a:pt x="942" y="215"/>
                  <a:pt x="942" y="215"/>
                  <a:pt x="942" y="215"/>
                </a:cubicBezTo>
                <a:cubicBezTo>
                  <a:pt x="943" y="214"/>
                  <a:pt x="944" y="214"/>
                  <a:pt x="944" y="214"/>
                </a:cubicBezTo>
                <a:cubicBezTo>
                  <a:pt x="944" y="214"/>
                  <a:pt x="944" y="214"/>
                  <a:pt x="944" y="214"/>
                </a:cubicBezTo>
                <a:cubicBezTo>
                  <a:pt x="945" y="214"/>
                  <a:pt x="945" y="214"/>
                  <a:pt x="945" y="214"/>
                </a:cubicBezTo>
                <a:cubicBezTo>
                  <a:pt x="946" y="214"/>
                  <a:pt x="946" y="214"/>
                  <a:pt x="947" y="214"/>
                </a:cubicBezTo>
                <a:cubicBezTo>
                  <a:pt x="947" y="214"/>
                  <a:pt x="947" y="214"/>
                  <a:pt x="947" y="214"/>
                </a:cubicBezTo>
                <a:cubicBezTo>
                  <a:pt x="948" y="214"/>
                  <a:pt x="948" y="214"/>
                  <a:pt x="948" y="214"/>
                </a:cubicBezTo>
                <a:cubicBezTo>
                  <a:pt x="949" y="214"/>
                  <a:pt x="949" y="214"/>
                  <a:pt x="949" y="214"/>
                </a:cubicBezTo>
                <a:cubicBezTo>
                  <a:pt x="950" y="214"/>
                  <a:pt x="950" y="214"/>
                  <a:pt x="950" y="214"/>
                </a:cubicBezTo>
                <a:cubicBezTo>
                  <a:pt x="950" y="213"/>
                  <a:pt x="951" y="213"/>
                  <a:pt x="951" y="213"/>
                </a:cubicBezTo>
                <a:cubicBezTo>
                  <a:pt x="951" y="212"/>
                  <a:pt x="951" y="212"/>
                  <a:pt x="951" y="212"/>
                </a:cubicBezTo>
                <a:cubicBezTo>
                  <a:pt x="951" y="212"/>
                  <a:pt x="951" y="212"/>
                  <a:pt x="951" y="212"/>
                </a:cubicBezTo>
                <a:cubicBezTo>
                  <a:pt x="951" y="211"/>
                  <a:pt x="951" y="211"/>
                  <a:pt x="951" y="211"/>
                </a:cubicBezTo>
                <a:cubicBezTo>
                  <a:pt x="951" y="211"/>
                  <a:pt x="951" y="210"/>
                  <a:pt x="952" y="210"/>
                </a:cubicBezTo>
                <a:cubicBezTo>
                  <a:pt x="952" y="210"/>
                  <a:pt x="951" y="210"/>
                  <a:pt x="951" y="210"/>
                </a:cubicBezTo>
                <a:close/>
                <a:moveTo>
                  <a:pt x="951" y="225"/>
                </a:moveTo>
                <a:cubicBezTo>
                  <a:pt x="952" y="225"/>
                  <a:pt x="952" y="225"/>
                  <a:pt x="952" y="225"/>
                </a:cubicBezTo>
                <a:cubicBezTo>
                  <a:pt x="951" y="225"/>
                  <a:pt x="951" y="225"/>
                  <a:pt x="951" y="225"/>
                </a:cubicBezTo>
                <a:cubicBezTo>
                  <a:pt x="951" y="225"/>
                  <a:pt x="951" y="225"/>
                  <a:pt x="951" y="225"/>
                </a:cubicBezTo>
                <a:close/>
                <a:moveTo>
                  <a:pt x="952" y="220"/>
                </a:moveTo>
                <a:cubicBezTo>
                  <a:pt x="952" y="220"/>
                  <a:pt x="952" y="219"/>
                  <a:pt x="952" y="219"/>
                </a:cubicBezTo>
                <a:cubicBezTo>
                  <a:pt x="952" y="219"/>
                  <a:pt x="952" y="220"/>
                  <a:pt x="952" y="220"/>
                </a:cubicBezTo>
                <a:cubicBezTo>
                  <a:pt x="952" y="220"/>
                  <a:pt x="951" y="220"/>
                  <a:pt x="951" y="221"/>
                </a:cubicBezTo>
                <a:cubicBezTo>
                  <a:pt x="952" y="221"/>
                  <a:pt x="952" y="221"/>
                  <a:pt x="952" y="220"/>
                </a:cubicBezTo>
                <a:cubicBezTo>
                  <a:pt x="952" y="220"/>
                  <a:pt x="952" y="220"/>
                  <a:pt x="952" y="220"/>
                </a:cubicBezTo>
                <a:close/>
                <a:moveTo>
                  <a:pt x="969" y="144"/>
                </a:moveTo>
                <a:cubicBezTo>
                  <a:pt x="969" y="144"/>
                  <a:pt x="970" y="144"/>
                  <a:pt x="970" y="143"/>
                </a:cubicBezTo>
                <a:cubicBezTo>
                  <a:pt x="970" y="143"/>
                  <a:pt x="971" y="143"/>
                  <a:pt x="971" y="143"/>
                </a:cubicBezTo>
                <a:cubicBezTo>
                  <a:pt x="972" y="142"/>
                  <a:pt x="972" y="142"/>
                  <a:pt x="973" y="142"/>
                </a:cubicBezTo>
                <a:cubicBezTo>
                  <a:pt x="973" y="141"/>
                  <a:pt x="972" y="141"/>
                  <a:pt x="972" y="141"/>
                </a:cubicBezTo>
                <a:cubicBezTo>
                  <a:pt x="971" y="141"/>
                  <a:pt x="971" y="140"/>
                  <a:pt x="971" y="140"/>
                </a:cubicBezTo>
                <a:cubicBezTo>
                  <a:pt x="971" y="140"/>
                  <a:pt x="971" y="141"/>
                  <a:pt x="971" y="141"/>
                </a:cubicBezTo>
                <a:cubicBezTo>
                  <a:pt x="971" y="141"/>
                  <a:pt x="971" y="141"/>
                  <a:pt x="972" y="141"/>
                </a:cubicBezTo>
                <a:cubicBezTo>
                  <a:pt x="971" y="141"/>
                  <a:pt x="970" y="141"/>
                  <a:pt x="970" y="141"/>
                </a:cubicBezTo>
                <a:cubicBezTo>
                  <a:pt x="969" y="142"/>
                  <a:pt x="969" y="142"/>
                  <a:pt x="969" y="142"/>
                </a:cubicBezTo>
                <a:cubicBezTo>
                  <a:pt x="969" y="142"/>
                  <a:pt x="969" y="142"/>
                  <a:pt x="969" y="142"/>
                </a:cubicBezTo>
                <a:cubicBezTo>
                  <a:pt x="969" y="141"/>
                  <a:pt x="969" y="140"/>
                  <a:pt x="969" y="140"/>
                </a:cubicBezTo>
                <a:cubicBezTo>
                  <a:pt x="969" y="140"/>
                  <a:pt x="968" y="141"/>
                  <a:pt x="968" y="141"/>
                </a:cubicBezTo>
                <a:cubicBezTo>
                  <a:pt x="968" y="141"/>
                  <a:pt x="968" y="142"/>
                  <a:pt x="968" y="142"/>
                </a:cubicBezTo>
                <a:cubicBezTo>
                  <a:pt x="968" y="142"/>
                  <a:pt x="967" y="142"/>
                  <a:pt x="967" y="142"/>
                </a:cubicBezTo>
                <a:cubicBezTo>
                  <a:pt x="967" y="143"/>
                  <a:pt x="967" y="143"/>
                  <a:pt x="967" y="143"/>
                </a:cubicBezTo>
                <a:cubicBezTo>
                  <a:pt x="967" y="143"/>
                  <a:pt x="967" y="143"/>
                  <a:pt x="967" y="143"/>
                </a:cubicBezTo>
                <a:cubicBezTo>
                  <a:pt x="967" y="144"/>
                  <a:pt x="967" y="144"/>
                  <a:pt x="966" y="144"/>
                </a:cubicBezTo>
                <a:cubicBezTo>
                  <a:pt x="967" y="144"/>
                  <a:pt x="967" y="144"/>
                  <a:pt x="967" y="144"/>
                </a:cubicBezTo>
                <a:cubicBezTo>
                  <a:pt x="968" y="144"/>
                  <a:pt x="968" y="143"/>
                  <a:pt x="968" y="143"/>
                </a:cubicBezTo>
                <a:cubicBezTo>
                  <a:pt x="968" y="143"/>
                  <a:pt x="968" y="144"/>
                  <a:pt x="968" y="144"/>
                </a:cubicBezTo>
                <a:cubicBezTo>
                  <a:pt x="969" y="144"/>
                  <a:pt x="969" y="144"/>
                  <a:pt x="969" y="144"/>
                </a:cubicBezTo>
                <a:close/>
                <a:moveTo>
                  <a:pt x="1002" y="129"/>
                </a:moveTo>
                <a:cubicBezTo>
                  <a:pt x="1002" y="129"/>
                  <a:pt x="1002" y="129"/>
                  <a:pt x="1003" y="128"/>
                </a:cubicBezTo>
                <a:cubicBezTo>
                  <a:pt x="1002" y="128"/>
                  <a:pt x="1002" y="128"/>
                  <a:pt x="1002" y="128"/>
                </a:cubicBezTo>
                <a:cubicBezTo>
                  <a:pt x="1001" y="128"/>
                  <a:pt x="1001" y="128"/>
                  <a:pt x="1000" y="129"/>
                </a:cubicBezTo>
                <a:cubicBezTo>
                  <a:pt x="1001" y="129"/>
                  <a:pt x="1001" y="129"/>
                  <a:pt x="1001" y="130"/>
                </a:cubicBezTo>
                <a:cubicBezTo>
                  <a:pt x="1001" y="130"/>
                  <a:pt x="1001" y="129"/>
                  <a:pt x="1002" y="129"/>
                </a:cubicBezTo>
                <a:close/>
                <a:moveTo>
                  <a:pt x="965" y="142"/>
                </a:moveTo>
                <a:cubicBezTo>
                  <a:pt x="965" y="143"/>
                  <a:pt x="964" y="143"/>
                  <a:pt x="964" y="143"/>
                </a:cubicBezTo>
                <a:cubicBezTo>
                  <a:pt x="965" y="143"/>
                  <a:pt x="965" y="143"/>
                  <a:pt x="966" y="143"/>
                </a:cubicBezTo>
                <a:cubicBezTo>
                  <a:pt x="965" y="143"/>
                  <a:pt x="965" y="143"/>
                  <a:pt x="965" y="142"/>
                </a:cubicBezTo>
                <a:close/>
                <a:moveTo>
                  <a:pt x="964" y="153"/>
                </a:moveTo>
                <a:cubicBezTo>
                  <a:pt x="964" y="153"/>
                  <a:pt x="964" y="152"/>
                  <a:pt x="964" y="152"/>
                </a:cubicBezTo>
                <a:cubicBezTo>
                  <a:pt x="964" y="152"/>
                  <a:pt x="964" y="152"/>
                  <a:pt x="963" y="152"/>
                </a:cubicBezTo>
                <a:cubicBezTo>
                  <a:pt x="963" y="152"/>
                  <a:pt x="963" y="152"/>
                  <a:pt x="963" y="152"/>
                </a:cubicBezTo>
                <a:cubicBezTo>
                  <a:pt x="963" y="153"/>
                  <a:pt x="963" y="153"/>
                  <a:pt x="964" y="153"/>
                </a:cubicBezTo>
                <a:close/>
                <a:moveTo>
                  <a:pt x="966" y="145"/>
                </a:moveTo>
                <a:cubicBezTo>
                  <a:pt x="966" y="144"/>
                  <a:pt x="966" y="144"/>
                  <a:pt x="966" y="143"/>
                </a:cubicBezTo>
                <a:cubicBezTo>
                  <a:pt x="965" y="144"/>
                  <a:pt x="964" y="144"/>
                  <a:pt x="963" y="144"/>
                </a:cubicBezTo>
                <a:cubicBezTo>
                  <a:pt x="963" y="145"/>
                  <a:pt x="963" y="145"/>
                  <a:pt x="963" y="145"/>
                </a:cubicBezTo>
                <a:cubicBezTo>
                  <a:pt x="963" y="145"/>
                  <a:pt x="964" y="145"/>
                  <a:pt x="964" y="144"/>
                </a:cubicBezTo>
                <a:cubicBezTo>
                  <a:pt x="965" y="145"/>
                  <a:pt x="965" y="145"/>
                  <a:pt x="966" y="145"/>
                </a:cubicBezTo>
                <a:close/>
                <a:moveTo>
                  <a:pt x="967" y="141"/>
                </a:moveTo>
                <a:cubicBezTo>
                  <a:pt x="967" y="140"/>
                  <a:pt x="967" y="140"/>
                  <a:pt x="966" y="140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6" y="140"/>
                  <a:pt x="965" y="141"/>
                  <a:pt x="965" y="141"/>
                </a:cubicBezTo>
                <a:cubicBezTo>
                  <a:pt x="965" y="141"/>
                  <a:pt x="964" y="141"/>
                  <a:pt x="964" y="141"/>
                </a:cubicBezTo>
                <a:cubicBezTo>
                  <a:pt x="964" y="141"/>
                  <a:pt x="964" y="141"/>
                  <a:pt x="963" y="141"/>
                </a:cubicBezTo>
                <a:cubicBezTo>
                  <a:pt x="964" y="142"/>
                  <a:pt x="964" y="142"/>
                  <a:pt x="964" y="142"/>
                </a:cubicBezTo>
                <a:cubicBezTo>
                  <a:pt x="964" y="142"/>
                  <a:pt x="965" y="141"/>
                  <a:pt x="965" y="141"/>
                </a:cubicBezTo>
                <a:cubicBezTo>
                  <a:pt x="966" y="141"/>
                  <a:pt x="966" y="141"/>
                  <a:pt x="966" y="141"/>
                </a:cubicBezTo>
                <a:cubicBezTo>
                  <a:pt x="966" y="141"/>
                  <a:pt x="965" y="142"/>
                  <a:pt x="965" y="142"/>
                </a:cubicBezTo>
                <a:cubicBezTo>
                  <a:pt x="965" y="142"/>
                  <a:pt x="965" y="142"/>
                  <a:pt x="965" y="142"/>
                </a:cubicBezTo>
                <a:cubicBezTo>
                  <a:pt x="966" y="142"/>
                  <a:pt x="966" y="142"/>
                  <a:pt x="967" y="142"/>
                </a:cubicBezTo>
                <a:cubicBezTo>
                  <a:pt x="967" y="142"/>
                  <a:pt x="967" y="141"/>
                  <a:pt x="967" y="141"/>
                </a:cubicBezTo>
                <a:close/>
                <a:moveTo>
                  <a:pt x="973" y="140"/>
                </a:moveTo>
                <a:cubicBezTo>
                  <a:pt x="973" y="140"/>
                  <a:pt x="972" y="140"/>
                  <a:pt x="972" y="139"/>
                </a:cubicBezTo>
                <a:cubicBezTo>
                  <a:pt x="972" y="139"/>
                  <a:pt x="971" y="140"/>
                  <a:pt x="971" y="140"/>
                </a:cubicBezTo>
                <a:cubicBezTo>
                  <a:pt x="971" y="140"/>
                  <a:pt x="971" y="140"/>
                  <a:pt x="971" y="140"/>
                </a:cubicBezTo>
                <a:cubicBezTo>
                  <a:pt x="972" y="140"/>
                  <a:pt x="973" y="140"/>
                  <a:pt x="973" y="140"/>
                </a:cubicBezTo>
                <a:cubicBezTo>
                  <a:pt x="973" y="140"/>
                  <a:pt x="973" y="140"/>
                  <a:pt x="973" y="140"/>
                </a:cubicBezTo>
                <a:close/>
                <a:moveTo>
                  <a:pt x="956" y="159"/>
                </a:moveTo>
                <a:cubicBezTo>
                  <a:pt x="956" y="159"/>
                  <a:pt x="956" y="160"/>
                  <a:pt x="956" y="160"/>
                </a:cubicBezTo>
                <a:cubicBezTo>
                  <a:pt x="956" y="160"/>
                  <a:pt x="957" y="159"/>
                  <a:pt x="957" y="159"/>
                </a:cubicBezTo>
                <a:cubicBezTo>
                  <a:pt x="957" y="159"/>
                  <a:pt x="957" y="159"/>
                  <a:pt x="957" y="158"/>
                </a:cubicBezTo>
                <a:cubicBezTo>
                  <a:pt x="957" y="159"/>
                  <a:pt x="956" y="159"/>
                  <a:pt x="956" y="159"/>
                </a:cubicBezTo>
                <a:close/>
                <a:moveTo>
                  <a:pt x="957" y="161"/>
                </a:moveTo>
                <a:cubicBezTo>
                  <a:pt x="957" y="161"/>
                  <a:pt x="958" y="160"/>
                  <a:pt x="958" y="160"/>
                </a:cubicBezTo>
                <a:cubicBezTo>
                  <a:pt x="958" y="160"/>
                  <a:pt x="957" y="160"/>
                  <a:pt x="957" y="160"/>
                </a:cubicBezTo>
                <a:cubicBezTo>
                  <a:pt x="957" y="160"/>
                  <a:pt x="957" y="160"/>
                  <a:pt x="957" y="160"/>
                </a:cubicBezTo>
                <a:cubicBezTo>
                  <a:pt x="957" y="161"/>
                  <a:pt x="957" y="161"/>
                  <a:pt x="957" y="161"/>
                </a:cubicBezTo>
                <a:close/>
                <a:moveTo>
                  <a:pt x="958" y="146"/>
                </a:moveTo>
                <a:cubicBezTo>
                  <a:pt x="959" y="146"/>
                  <a:pt x="959" y="146"/>
                  <a:pt x="959" y="146"/>
                </a:cubicBezTo>
                <a:cubicBezTo>
                  <a:pt x="959" y="146"/>
                  <a:pt x="959" y="146"/>
                  <a:pt x="959" y="146"/>
                </a:cubicBezTo>
                <a:cubicBezTo>
                  <a:pt x="959" y="146"/>
                  <a:pt x="959" y="145"/>
                  <a:pt x="959" y="145"/>
                </a:cubicBezTo>
                <a:cubicBezTo>
                  <a:pt x="959" y="146"/>
                  <a:pt x="959" y="146"/>
                  <a:pt x="958" y="146"/>
                </a:cubicBezTo>
                <a:close/>
                <a:moveTo>
                  <a:pt x="956" y="149"/>
                </a:moveTo>
                <a:cubicBezTo>
                  <a:pt x="956" y="149"/>
                  <a:pt x="956" y="149"/>
                  <a:pt x="956" y="149"/>
                </a:cubicBezTo>
                <a:cubicBezTo>
                  <a:pt x="956" y="149"/>
                  <a:pt x="956" y="149"/>
                  <a:pt x="956" y="149"/>
                </a:cubicBezTo>
                <a:cubicBezTo>
                  <a:pt x="956" y="149"/>
                  <a:pt x="956" y="149"/>
                  <a:pt x="957" y="149"/>
                </a:cubicBezTo>
                <a:cubicBezTo>
                  <a:pt x="956" y="149"/>
                  <a:pt x="956" y="149"/>
                  <a:pt x="956" y="149"/>
                </a:cubicBezTo>
                <a:close/>
                <a:moveTo>
                  <a:pt x="960" y="146"/>
                </a:moveTo>
                <a:cubicBezTo>
                  <a:pt x="961" y="146"/>
                  <a:pt x="961" y="146"/>
                  <a:pt x="962" y="145"/>
                </a:cubicBezTo>
                <a:cubicBezTo>
                  <a:pt x="962" y="145"/>
                  <a:pt x="962" y="145"/>
                  <a:pt x="962" y="145"/>
                </a:cubicBezTo>
                <a:cubicBezTo>
                  <a:pt x="962" y="145"/>
                  <a:pt x="961" y="145"/>
                  <a:pt x="960" y="145"/>
                </a:cubicBezTo>
                <a:cubicBezTo>
                  <a:pt x="960" y="145"/>
                  <a:pt x="960" y="146"/>
                  <a:pt x="960" y="146"/>
                </a:cubicBezTo>
                <a:close/>
                <a:moveTo>
                  <a:pt x="988" y="132"/>
                </a:moveTo>
                <a:cubicBezTo>
                  <a:pt x="988" y="132"/>
                  <a:pt x="988" y="131"/>
                  <a:pt x="987" y="131"/>
                </a:cubicBezTo>
                <a:cubicBezTo>
                  <a:pt x="987" y="131"/>
                  <a:pt x="987" y="131"/>
                  <a:pt x="986" y="131"/>
                </a:cubicBezTo>
                <a:cubicBezTo>
                  <a:pt x="986" y="130"/>
                  <a:pt x="986" y="130"/>
                  <a:pt x="986" y="130"/>
                </a:cubicBezTo>
                <a:cubicBezTo>
                  <a:pt x="986" y="130"/>
                  <a:pt x="986" y="130"/>
                  <a:pt x="985" y="130"/>
                </a:cubicBezTo>
                <a:cubicBezTo>
                  <a:pt x="986" y="130"/>
                  <a:pt x="986" y="131"/>
                  <a:pt x="986" y="131"/>
                </a:cubicBezTo>
                <a:cubicBezTo>
                  <a:pt x="986" y="131"/>
                  <a:pt x="986" y="131"/>
                  <a:pt x="986" y="132"/>
                </a:cubicBezTo>
                <a:cubicBezTo>
                  <a:pt x="986" y="132"/>
                  <a:pt x="987" y="132"/>
                  <a:pt x="987" y="132"/>
                </a:cubicBezTo>
                <a:cubicBezTo>
                  <a:pt x="987" y="132"/>
                  <a:pt x="988" y="132"/>
                  <a:pt x="988" y="132"/>
                </a:cubicBezTo>
                <a:close/>
                <a:moveTo>
                  <a:pt x="985" y="132"/>
                </a:moveTo>
                <a:cubicBezTo>
                  <a:pt x="985" y="132"/>
                  <a:pt x="985" y="132"/>
                  <a:pt x="984" y="132"/>
                </a:cubicBezTo>
                <a:cubicBezTo>
                  <a:pt x="984" y="132"/>
                  <a:pt x="984" y="132"/>
                  <a:pt x="984" y="132"/>
                </a:cubicBezTo>
                <a:cubicBezTo>
                  <a:pt x="983" y="132"/>
                  <a:pt x="983" y="132"/>
                  <a:pt x="982" y="133"/>
                </a:cubicBezTo>
                <a:cubicBezTo>
                  <a:pt x="982" y="133"/>
                  <a:pt x="983" y="133"/>
                  <a:pt x="983" y="134"/>
                </a:cubicBezTo>
                <a:cubicBezTo>
                  <a:pt x="984" y="134"/>
                  <a:pt x="984" y="134"/>
                  <a:pt x="984" y="134"/>
                </a:cubicBezTo>
                <a:cubicBezTo>
                  <a:pt x="984" y="134"/>
                  <a:pt x="984" y="134"/>
                  <a:pt x="985" y="133"/>
                </a:cubicBezTo>
                <a:cubicBezTo>
                  <a:pt x="985" y="133"/>
                  <a:pt x="985" y="133"/>
                  <a:pt x="984" y="133"/>
                </a:cubicBezTo>
                <a:cubicBezTo>
                  <a:pt x="985" y="133"/>
                  <a:pt x="985" y="133"/>
                  <a:pt x="985" y="132"/>
                </a:cubicBezTo>
                <a:cubicBezTo>
                  <a:pt x="985" y="132"/>
                  <a:pt x="985" y="132"/>
                  <a:pt x="985" y="132"/>
                </a:cubicBezTo>
                <a:close/>
                <a:moveTo>
                  <a:pt x="1002" y="126"/>
                </a:moveTo>
                <a:cubicBezTo>
                  <a:pt x="1001" y="126"/>
                  <a:pt x="1000" y="127"/>
                  <a:pt x="1000" y="127"/>
                </a:cubicBezTo>
                <a:cubicBezTo>
                  <a:pt x="1000" y="127"/>
                  <a:pt x="999" y="127"/>
                  <a:pt x="999" y="127"/>
                </a:cubicBezTo>
                <a:cubicBezTo>
                  <a:pt x="999" y="127"/>
                  <a:pt x="999" y="127"/>
                  <a:pt x="999" y="127"/>
                </a:cubicBezTo>
                <a:cubicBezTo>
                  <a:pt x="998" y="127"/>
                  <a:pt x="998" y="127"/>
                  <a:pt x="998" y="127"/>
                </a:cubicBezTo>
                <a:cubicBezTo>
                  <a:pt x="998" y="127"/>
                  <a:pt x="997" y="127"/>
                  <a:pt x="997" y="127"/>
                </a:cubicBezTo>
                <a:cubicBezTo>
                  <a:pt x="996" y="127"/>
                  <a:pt x="996" y="127"/>
                  <a:pt x="996" y="127"/>
                </a:cubicBezTo>
                <a:cubicBezTo>
                  <a:pt x="996" y="128"/>
                  <a:pt x="996" y="128"/>
                  <a:pt x="996" y="128"/>
                </a:cubicBezTo>
                <a:cubicBezTo>
                  <a:pt x="997" y="128"/>
                  <a:pt x="997" y="128"/>
                  <a:pt x="998" y="128"/>
                </a:cubicBezTo>
                <a:cubicBezTo>
                  <a:pt x="998" y="128"/>
                  <a:pt x="999" y="128"/>
                  <a:pt x="999" y="128"/>
                </a:cubicBezTo>
                <a:cubicBezTo>
                  <a:pt x="1000" y="128"/>
                  <a:pt x="1001" y="127"/>
                  <a:pt x="1002" y="127"/>
                </a:cubicBezTo>
                <a:cubicBezTo>
                  <a:pt x="1002" y="126"/>
                  <a:pt x="1002" y="126"/>
                  <a:pt x="1002" y="126"/>
                </a:cubicBezTo>
                <a:close/>
                <a:moveTo>
                  <a:pt x="997" y="130"/>
                </a:moveTo>
                <a:cubicBezTo>
                  <a:pt x="998" y="130"/>
                  <a:pt x="998" y="130"/>
                  <a:pt x="999" y="130"/>
                </a:cubicBezTo>
                <a:cubicBezTo>
                  <a:pt x="999" y="130"/>
                  <a:pt x="999" y="130"/>
                  <a:pt x="1000" y="130"/>
                </a:cubicBezTo>
                <a:cubicBezTo>
                  <a:pt x="1000" y="130"/>
                  <a:pt x="1000" y="130"/>
                  <a:pt x="1000" y="130"/>
                </a:cubicBezTo>
                <a:cubicBezTo>
                  <a:pt x="1000" y="130"/>
                  <a:pt x="1000" y="129"/>
                  <a:pt x="1000" y="129"/>
                </a:cubicBezTo>
                <a:cubicBezTo>
                  <a:pt x="999" y="129"/>
                  <a:pt x="999" y="129"/>
                  <a:pt x="998" y="129"/>
                </a:cubicBezTo>
                <a:cubicBezTo>
                  <a:pt x="998" y="129"/>
                  <a:pt x="998" y="129"/>
                  <a:pt x="997" y="130"/>
                </a:cubicBezTo>
                <a:close/>
                <a:moveTo>
                  <a:pt x="982" y="134"/>
                </a:moveTo>
                <a:cubicBezTo>
                  <a:pt x="982" y="134"/>
                  <a:pt x="982" y="134"/>
                  <a:pt x="982" y="134"/>
                </a:cubicBezTo>
                <a:cubicBezTo>
                  <a:pt x="981" y="134"/>
                  <a:pt x="981" y="134"/>
                  <a:pt x="980" y="134"/>
                </a:cubicBezTo>
                <a:cubicBezTo>
                  <a:pt x="980" y="134"/>
                  <a:pt x="980" y="135"/>
                  <a:pt x="980" y="135"/>
                </a:cubicBezTo>
                <a:cubicBezTo>
                  <a:pt x="980" y="135"/>
                  <a:pt x="979" y="135"/>
                  <a:pt x="979" y="135"/>
                </a:cubicBezTo>
                <a:cubicBezTo>
                  <a:pt x="979" y="135"/>
                  <a:pt x="979" y="136"/>
                  <a:pt x="980" y="136"/>
                </a:cubicBezTo>
                <a:cubicBezTo>
                  <a:pt x="980" y="136"/>
                  <a:pt x="981" y="136"/>
                  <a:pt x="981" y="136"/>
                </a:cubicBezTo>
                <a:cubicBezTo>
                  <a:pt x="981" y="136"/>
                  <a:pt x="982" y="136"/>
                  <a:pt x="982" y="136"/>
                </a:cubicBezTo>
                <a:cubicBezTo>
                  <a:pt x="982" y="135"/>
                  <a:pt x="982" y="135"/>
                  <a:pt x="982" y="135"/>
                </a:cubicBezTo>
                <a:cubicBezTo>
                  <a:pt x="983" y="135"/>
                  <a:pt x="983" y="135"/>
                  <a:pt x="983" y="134"/>
                </a:cubicBezTo>
                <a:cubicBezTo>
                  <a:pt x="983" y="134"/>
                  <a:pt x="983" y="134"/>
                  <a:pt x="982" y="134"/>
                </a:cubicBezTo>
                <a:close/>
                <a:moveTo>
                  <a:pt x="990" y="130"/>
                </a:moveTo>
                <a:cubicBezTo>
                  <a:pt x="990" y="131"/>
                  <a:pt x="990" y="131"/>
                  <a:pt x="989" y="131"/>
                </a:cubicBezTo>
                <a:cubicBezTo>
                  <a:pt x="989" y="131"/>
                  <a:pt x="989" y="132"/>
                  <a:pt x="989" y="132"/>
                </a:cubicBezTo>
                <a:cubicBezTo>
                  <a:pt x="990" y="132"/>
                  <a:pt x="990" y="132"/>
                  <a:pt x="990" y="132"/>
                </a:cubicBezTo>
                <a:cubicBezTo>
                  <a:pt x="991" y="133"/>
                  <a:pt x="991" y="133"/>
                  <a:pt x="991" y="133"/>
                </a:cubicBezTo>
                <a:cubicBezTo>
                  <a:pt x="991" y="133"/>
                  <a:pt x="991" y="133"/>
                  <a:pt x="991" y="132"/>
                </a:cubicBezTo>
                <a:cubicBezTo>
                  <a:pt x="991" y="132"/>
                  <a:pt x="991" y="132"/>
                  <a:pt x="991" y="132"/>
                </a:cubicBezTo>
                <a:cubicBezTo>
                  <a:pt x="991" y="131"/>
                  <a:pt x="991" y="131"/>
                  <a:pt x="991" y="131"/>
                </a:cubicBezTo>
                <a:cubicBezTo>
                  <a:pt x="991" y="131"/>
                  <a:pt x="991" y="131"/>
                  <a:pt x="990" y="130"/>
                </a:cubicBezTo>
                <a:close/>
                <a:moveTo>
                  <a:pt x="977" y="138"/>
                </a:moveTo>
                <a:cubicBezTo>
                  <a:pt x="978" y="138"/>
                  <a:pt x="978" y="138"/>
                  <a:pt x="979" y="138"/>
                </a:cubicBezTo>
                <a:cubicBezTo>
                  <a:pt x="979" y="138"/>
                  <a:pt x="978" y="138"/>
                  <a:pt x="978" y="137"/>
                </a:cubicBezTo>
                <a:cubicBezTo>
                  <a:pt x="978" y="137"/>
                  <a:pt x="979" y="137"/>
                  <a:pt x="979" y="137"/>
                </a:cubicBezTo>
                <a:cubicBezTo>
                  <a:pt x="979" y="137"/>
                  <a:pt x="978" y="136"/>
                  <a:pt x="978" y="136"/>
                </a:cubicBezTo>
                <a:cubicBezTo>
                  <a:pt x="978" y="136"/>
                  <a:pt x="978" y="136"/>
                  <a:pt x="978" y="136"/>
                </a:cubicBezTo>
                <a:cubicBezTo>
                  <a:pt x="977" y="136"/>
                  <a:pt x="977" y="136"/>
                  <a:pt x="977" y="135"/>
                </a:cubicBezTo>
                <a:cubicBezTo>
                  <a:pt x="977" y="135"/>
                  <a:pt x="976" y="135"/>
                  <a:pt x="976" y="135"/>
                </a:cubicBezTo>
                <a:cubicBezTo>
                  <a:pt x="976" y="136"/>
                  <a:pt x="976" y="136"/>
                  <a:pt x="976" y="136"/>
                </a:cubicBezTo>
                <a:cubicBezTo>
                  <a:pt x="976" y="136"/>
                  <a:pt x="975" y="136"/>
                  <a:pt x="975" y="136"/>
                </a:cubicBezTo>
                <a:cubicBezTo>
                  <a:pt x="975" y="136"/>
                  <a:pt x="974" y="136"/>
                  <a:pt x="974" y="136"/>
                </a:cubicBezTo>
                <a:cubicBezTo>
                  <a:pt x="975" y="137"/>
                  <a:pt x="975" y="137"/>
                  <a:pt x="976" y="137"/>
                </a:cubicBezTo>
                <a:cubicBezTo>
                  <a:pt x="975" y="137"/>
                  <a:pt x="975" y="137"/>
                  <a:pt x="974" y="137"/>
                </a:cubicBezTo>
                <a:cubicBezTo>
                  <a:pt x="974" y="137"/>
                  <a:pt x="974" y="137"/>
                  <a:pt x="974" y="138"/>
                </a:cubicBezTo>
                <a:cubicBezTo>
                  <a:pt x="974" y="138"/>
                  <a:pt x="974" y="138"/>
                  <a:pt x="975" y="138"/>
                </a:cubicBezTo>
                <a:cubicBezTo>
                  <a:pt x="974" y="138"/>
                  <a:pt x="974" y="138"/>
                  <a:pt x="974" y="139"/>
                </a:cubicBezTo>
                <a:cubicBezTo>
                  <a:pt x="974" y="139"/>
                  <a:pt x="974" y="139"/>
                  <a:pt x="975" y="139"/>
                </a:cubicBezTo>
                <a:cubicBezTo>
                  <a:pt x="975" y="139"/>
                  <a:pt x="975" y="139"/>
                  <a:pt x="975" y="139"/>
                </a:cubicBezTo>
                <a:cubicBezTo>
                  <a:pt x="975" y="139"/>
                  <a:pt x="975" y="139"/>
                  <a:pt x="975" y="139"/>
                </a:cubicBezTo>
                <a:cubicBezTo>
                  <a:pt x="975" y="139"/>
                  <a:pt x="975" y="139"/>
                  <a:pt x="976" y="139"/>
                </a:cubicBezTo>
                <a:cubicBezTo>
                  <a:pt x="976" y="139"/>
                  <a:pt x="976" y="139"/>
                  <a:pt x="977" y="139"/>
                </a:cubicBezTo>
                <a:cubicBezTo>
                  <a:pt x="977" y="138"/>
                  <a:pt x="977" y="138"/>
                  <a:pt x="977" y="138"/>
                </a:cubicBezTo>
                <a:close/>
                <a:moveTo>
                  <a:pt x="983" y="130"/>
                </a:moveTo>
                <a:cubicBezTo>
                  <a:pt x="983" y="131"/>
                  <a:pt x="983" y="131"/>
                  <a:pt x="983" y="131"/>
                </a:cubicBezTo>
                <a:cubicBezTo>
                  <a:pt x="984" y="131"/>
                  <a:pt x="984" y="130"/>
                  <a:pt x="984" y="130"/>
                </a:cubicBezTo>
                <a:cubicBezTo>
                  <a:pt x="984" y="130"/>
                  <a:pt x="984" y="130"/>
                  <a:pt x="983" y="130"/>
                </a:cubicBezTo>
                <a:close/>
                <a:moveTo>
                  <a:pt x="983" y="131"/>
                </a:moveTo>
                <a:cubicBezTo>
                  <a:pt x="982" y="131"/>
                  <a:pt x="982" y="131"/>
                  <a:pt x="981" y="131"/>
                </a:cubicBezTo>
                <a:cubicBezTo>
                  <a:pt x="981" y="132"/>
                  <a:pt x="981" y="132"/>
                  <a:pt x="981" y="132"/>
                </a:cubicBezTo>
                <a:cubicBezTo>
                  <a:pt x="981" y="132"/>
                  <a:pt x="983" y="132"/>
                  <a:pt x="983" y="132"/>
                </a:cubicBezTo>
                <a:cubicBezTo>
                  <a:pt x="983" y="132"/>
                  <a:pt x="983" y="131"/>
                  <a:pt x="983" y="131"/>
                </a:cubicBezTo>
                <a:close/>
                <a:moveTo>
                  <a:pt x="975" y="141"/>
                </a:moveTo>
                <a:cubicBezTo>
                  <a:pt x="975" y="141"/>
                  <a:pt x="975" y="141"/>
                  <a:pt x="976" y="141"/>
                </a:cubicBezTo>
                <a:cubicBezTo>
                  <a:pt x="975" y="140"/>
                  <a:pt x="975" y="140"/>
                  <a:pt x="975" y="140"/>
                </a:cubicBezTo>
                <a:cubicBezTo>
                  <a:pt x="975" y="140"/>
                  <a:pt x="975" y="141"/>
                  <a:pt x="975" y="141"/>
                </a:cubicBezTo>
                <a:close/>
                <a:moveTo>
                  <a:pt x="969" y="138"/>
                </a:moveTo>
                <a:cubicBezTo>
                  <a:pt x="970" y="138"/>
                  <a:pt x="970" y="138"/>
                  <a:pt x="971" y="138"/>
                </a:cubicBezTo>
                <a:cubicBezTo>
                  <a:pt x="971" y="137"/>
                  <a:pt x="970" y="137"/>
                  <a:pt x="970" y="137"/>
                </a:cubicBezTo>
                <a:cubicBezTo>
                  <a:pt x="970" y="137"/>
                  <a:pt x="969" y="137"/>
                  <a:pt x="969" y="137"/>
                </a:cubicBezTo>
                <a:cubicBezTo>
                  <a:pt x="969" y="138"/>
                  <a:pt x="969" y="138"/>
                  <a:pt x="969" y="138"/>
                </a:cubicBezTo>
                <a:cubicBezTo>
                  <a:pt x="968" y="138"/>
                  <a:pt x="968" y="139"/>
                  <a:pt x="967" y="139"/>
                </a:cubicBezTo>
                <a:cubicBezTo>
                  <a:pt x="967" y="139"/>
                  <a:pt x="967" y="140"/>
                  <a:pt x="967" y="140"/>
                </a:cubicBezTo>
                <a:cubicBezTo>
                  <a:pt x="967" y="140"/>
                  <a:pt x="968" y="140"/>
                  <a:pt x="968" y="140"/>
                </a:cubicBezTo>
                <a:cubicBezTo>
                  <a:pt x="968" y="140"/>
                  <a:pt x="969" y="139"/>
                  <a:pt x="969" y="139"/>
                </a:cubicBezTo>
                <a:cubicBezTo>
                  <a:pt x="969" y="139"/>
                  <a:pt x="969" y="139"/>
                  <a:pt x="969" y="138"/>
                </a:cubicBezTo>
                <a:close/>
                <a:moveTo>
                  <a:pt x="924" y="197"/>
                </a:moveTo>
                <a:cubicBezTo>
                  <a:pt x="925" y="197"/>
                  <a:pt x="925" y="196"/>
                  <a:pt x="925" y="196"/>
                </a:cubicBezTo>
                <a:cubicBezTo>
                  <a:pt x="924" y="196"/>
                  <a:pt x="924" y="196"/>
                  <a:pt x="924" y="197"/>
                </a:cubicBezTo>
                <a:cubicBezTo>
                  <a:pt x="924" y="197"/>
                  <a:pt x="924" y="197"/>
                  <a:pt x="924" y="197"/>
                </a:cubicBezTo>
                <a:close/>
                <a:moveTo>
                  <a:pt x="923" y="186"/>
                </a:moveTo>
                <a:cubicBezTo>
                  <a:pt x="922" y="186"/>
                  <a:pt x="922" y="186"/>
                  <a:pt x="922" y="186"/>
                </a:cubicBezTo>
                <a:cubicBezTo>
                  <a:pt x="922" y="186"/>
                  <a:pt x="922" y="186"/>
                  <a:pt x="922" y="187"/>
                </a:cubicBezTo>
                <a:cubicBezTo>
                  <a:pt x="922" y="187"/>
                  <a:pt x="922" y="186"/>
                  <a:pt x="923" y="186"/>
                </a:cubicBezTo>
                <a:close/>
                <a:moveTo>
                  <a:pt x="924" y="198"/>
                </a:moveTo>
                <a:cubicBezTo>
                  <a:pt x="924" y="198"/>
                  <a:pt x="924" y="198"/>
                  <a:pt x="925" y="199"/>
                </a:cubicBezTo>
                <a:cubicBezTo>
                  <a:pt x="925" y="199"/>
                  <a:pt x="925" y="198"/>
                  <a:pt x="925" y="198"/>
                </a:cubicBezTo>
                <a:cubicBezTo>
                  <a:pt x="925" y="198"/>
                  <a:pt x="925" y="198"/>
                  <a:pt x="924" y="198"/>
                </a:cubicBezTo>
                <a:cubicBezTo>
                  <a:pt x="924" y="198"/>
                  <a:pt x="924" y="198"/>
                  <a:pt x="924" y="198"/>
                </a:cubicBezTo>
                <a:close/>
                <a:moveTo>
                  <a:pt x="922" y="185"/>
                </a:moveTo>
                <a:cubicBezTo>
                  <a:pt x="922" y="185"/>
                  <a:pt x="922" y="185"/>
                  <a:pt x="922" y="186"/>
                </a:cubicBezTo>
                <a:cubicBezTo>
                  <a:pt x="923" y="186"/>
                  <a:pt x="923" y="185"/>
                  <a:pt x="923" y="185"/>
                </a:cubicBezTo>
                <a:cubicBezTo>
                  <a:pt x="923" y="185"/>
                  <a:pt x="922" y="185"/>
                  <a:pt x="922" y="185"/>
                </a:cubicBezTo>
                <a:close/>
                <a:moveTo>
                  <a:pt x="926" y="196"/>
                </a:moveTo>
                <a:cubicBezTo>
                  <a:pt x="925" y="197"/>
                  <a:pt x="925" y="197"/>
                  <a:pt x="925" y="197"/>
                </a:cubicBezTo>
                <a:cubicBezTo>
                  <a:pt x="925" y="197"/>
                  <a:pt x="925" y="197"/>
                  <a:pt x="926" y="197"/>
                </a:cubicBezTo>
                <a:cubicBezTo>
                  <a:pt x="926" y="197"/>
                  <a:pt x="926" y="197"/>
                  <a:pt x="926" y="196"/>
                </a:cubicBezTo>
                <a:close/>
                <a:moveTo>
                  <a:pt x="922" y="193"/>
                </a:moveTo>
                <a:cubicBezTo>
                  <a:pt x="922" y="193"/>
                  <a:pt x="922" y="193"/>
                  <a:pt x="923" y="193"/>
                </a:cubicBezTo>
                <a:cubicBezTo>
                  <a:pt x="923" y="193"/>
                  <a:pt x="923" y="192"/>
                  <a:pt x="923" y="192"/>
                </a:cubicBezTo>
                <a:cubicBezTo>
                  <a:pt x="922" y="193"/>
                  <a:pt x="922" y="193"/>
                  <a:pt x="922" y="193"/>
                </a:cubicBezTo>
                <a:close/>
                <a:moveTo>
                  <a:pt x="922" y="192"/>
                </a:moveTo>
                <a:cubicBezTo>
                  <a:pt x="922" y="191"/>
                  <a:pt x="922" y="191"/>
                  <a:pt x="922" y="191"/>
                </a:cubicBezTo>
                <a:cubicBezTo>
                  <a:pt x="922" y="191"/>
                  <a:pt x="921" y="192"/>
                  <a:pt x="921" y="192"/>
                </a:cubicBezTo>
                <a:cubicBezTo>
                  <a:pt x="921" y="192"/>
                  <a:pt x="921" y="192"/>
                  <a:pt x="922" y="192"/>
                </a:cubicBezTo>
                <a:cubicBezTo>
                  <a:pt x="922" y="192"/>
                  <a:pt x="922" y="192"/>
                  <a:pt x="922" y="192"/>
                </a:cubicBezTo>
                <a:close/>
                <a:moveTo>
                  <a:pt x="923" y="196"/>
                </a:moveTo>
                <a:cubicBezTo>
                  <a:pt x="923" y="195"/>
                  <a:pt x="923" y="195"/>
                  <a:pt x="923" y="195"/>
                </a:cubicBezTo>
                <a:cubicBezTo>
                  <a:pt x="923" y="195"/>
                  <a:pt x="922" y="195"/>
                  <a:pt x="922" y="195"/>
                </a:cubicBezTo>
                <a:cubicBezTo>
                  <a:pt x="922" y="195"/>
                  <a:pt x="923" y="195"/>
                  <a:pt x="923" y="196"/>
                </a:cubicBezTo>
                <a:close/>
                <a:moveTo>
                  <a:pt x="925" y="196"/>
                </a:moveTo>
                <a:cubicBezTo>
                  <a:pt x="925" y="196"/>
                  <a:pt x="925" y="195"/>
                  <a:pt x="925" y="195"/>
                </a:cubicBezTo>
                <a:cubicBezTo>
                  <a:pt x="925" y="195"/>
                  <a:pt x="924" y="195"/>
                  <a:pt x="924" y="195"/>
                </a:cubicBezTo>
                <a:cubicBezTo>
                  <a:pt x="924" y="195"/>
                  <a:pt x="925" y="195"/>
                  <a:pt x="925" y="196"/>
                </a:cubicBezTo>
                <a:close/>
                <a:moveTo>
                  <a:pt x="923" y="194"/>
                </a:moveTo>
                <a:cubicBezTo>
                  <a:pt x="923" y="194"/>
                  <a:pt x="923" y="194"/>
                  <a:pt x="923" y="194"/>
                </a:cubicBezTo>
                <a:cubicBezTo>
                  <a:pt x="923" y="194"/>
                  <a:pt x="923" y="194"/>
                  <a:pt x="922" y="194"/>
                </a:cubicBezTo>
                <a:cubicBezTo>
                  <a:pt x="922" y="194"/>
                  <a:pt x="923" y="194"/>
                  <a:pt x="923" y="194"/>
                </a:cubicBezTo>
                <a:close/>
                <a:moveTo>
                  <a:pt x="958" y="146"/>
                </a:moveTo>
                <a:cubicBezTo>
                  <a:pt x="957" y="146"/>
                  <a:pt x="957" y="147"/>
                  <a:pt x="957" y="147"/>
                </a:cubicBezTo>
                <a:cubicBezTo>
                  <a:pt x="957" y="147"/>
                  <a:pt x="957" y="147"/>
                  <a:pt x="957" y="148"/>
                </a:cubicBezTo>
                <a:cubicBezTo>
                  <a:pt x="957" y="147"/>
                  <a:pt x="958" y="147"/>
                  <a:pt x="958" y="147"/>
                </a:cubicBezTo>
                <a:cubicBezTo>
                  <a:pt x="958" y="146"/>
                  <a:pt x="958" y="146"/>
                  <a:pt x="958" y="146"/>
                </a:cubicBezTo>
                <a:close/>
                <a:moveTo>
                  <a:pt x="951" y="167"/>
                </a:moveTo>
                <a:cubicBezTo>
                  <a:pt x="951" y="167"/>
                  <a:pt x="950" y="167"/>
                  <a:pt x="950" y="168"/>
                </a:cubicBezTo>
                <a:cubicBezTo>
                  <a:pt x="950" y="168"/>
                  <a:pt x="951" y="168"/>
                  <a:pt x="951" y="168"/>
                </a:cubicBezTo>
                <a:cubicBezTo>
                  <a:pt x="951" y="168"/>
                  <a:pt x="951" y="168"/>
                  <a:pt x="952" y="168"/>
                </a:cubicBezTo>
                <a:cubicBezTo>
                  <a:pt x="952" y="168"/>
                  <a:pt x="952" y="168"/>
                  <a:pt x="952" y="168"/>
                </a:cubicBezTo>
                <a:cubicBezTo>
                  <a:pt x="953" y="167"/>
                  <a:pt x="953" y="167"/>
                  <a:pt x="953" y="167"/>
                </a:cubicBezTo>
                <a:cubicBezTo>
                  <a:pt x="953" y="167"/>
                  <a:pt x="953" y="167"/>
                  <a:pt x="953" y="167"/>
                </a:cubicBezTo>
                <a:cubicBezTo>
                  <a:pt x="952" y="167"/>
                  <a:pt x="952" y="167"/>
                  <a:pt x="951" y="167"/>
                </a:cubicBezTo>
                <a:close/>
                <a:moveTo>
                  <a:pt x="955" y="162"/>
                </a:moveTo>
                <a:cubicBezTo>
                  <a:pt x="955" y="162"/>
                  <a:pt x="955" y="162"/>
                  <a:pt x="954" y="162"/>
                </a:cubicBezTo>
                <a:cubicBezTo>
                  <a:pt x="954" y="162"/>
                  <a:pt x="954" y="162"/>
                  <a:pt x="954" y="162"/>
                </a:cubicBezTo>
                <a:cubicBezTo>
                  <a:pt x="954" y="163"/>
                  <a:pt x="954" y="163"/>
                  <a:pt x="954" y="163"/>
                </a:cubicBezTo>
                <a:cubicBezTo>
                  <a:pt x="954" y="163"/>
                  <a:pt x="955" y="163"/>
                  <a:pt x="955" y="162"/>
                </a:cubicBezTo>
                <a:cubicBezTo>
                  <a:pt x="955" y="162"/>
                  <a:pt x="955" y="162"/>
                  <a:pt x="955" y="162"/>
                </a:cubicBezTo>
                <a:close/>
                <a:moveTo>
                  <a:pt x="925" y="183"/>
                </a:moveTo>
                <a:cubicBezTo>
                  <a:pt x="925" y="183"/>
                  <a:pt x="925" y="184"/>
                  <a:pt x="924" y="184"/>
                </a:cubicBezTo>
                <a:cubicBezTo>
                  <a:pt x="925" y="184"/>
                  <a:pt x="925" y="184"/>
                  <a:pt x="925" y="184"/>
                </a:cubicBezTo>
                <a:cubicBezTo>
                  <a:pt x="925" y="184"/>
                  <a:pt x="925" y="183"/>
                  <a:pt x="925" y="183"/>
                </a:cubicBezTo>
                <a:close/>
                <a:moveTo>
                  <a:pt x="926" y="202"/>
                </a:moveTo>
                <a:cubicBezTo>
                  <a:pt x="926" y="202"/>
                  <a:pt x="926" y="202"/>
                  <a:pt x="926" y="203"/>
                </a:cubicBezTo>
                <a:cubicBezTo>
                  <a:pt x="926" y="203"/>
                  <a:pt x="927" y="203"/>
                  <a:pt x="927" y="202"/>
                </a:cubicBezTo>
                <a:cubicBezTo>
                  <a:pt x="927" y="202"/>
                  <a:pt x="927" y="202"/>
                  <a:pt x="926" y="202"/>
                </a:cubicBezTo>
                <a:close/>
                <a:moveTo>
                  <a:pt x="955" y="166"/>
                </a:moveTo>
                <a:cubicBezTo>
                  <a:pt x="954" y="166"/>
                  <a:pt x="954" y="166"/>
                  <a:pt x="953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4" y="166"/>
                  <a:pt x="954" y="166"/>
                  <a:pt x="955" y="166"/>
                </a:cubicBezTo>
                <a:close/>
                <a:moveTo>
                  <a:pt x="939" y="176"/>
                </a:moveTo>
                <a:cubicBezTo>
                  <a:pt x="940" y="177"/>
                  <a:pt x="940" y="177"/>
                  <a:pt x="941" y="177"/>
                </a:cubicBezTo>
                <a:cubicBezTo>
                  <a:pt x="941" y="176"/>
                  <a:pt x="941" y="176"/>
                  <a:pt x="941" y="176"/>
                </a:cubicBezTo>
                <a:cubicBezTo>
                  <a:pt x="941" y="176"/>
                  <a:pt x="941" y="176"/>
                  <a:pt x="941" y="175"/>
                </a:cubicBezTo>
                <a:cubicBezTo>
                  <a:pt x="941" y="175"/>
                  <a:pt x="940" y="175"/>
                  <a:pt x="940" y="175"/>
                </a:cubicBezTo>
                <a:cubicBezTo>
                  <a:pt x="940" y="176"/>
                  <a:pt x="940" y="176"/>
                  <a:pt x="940" y="176"/>
                </a:cubicBezTo>
                <a:cubicBezTo>
                  <a:pt x="939" y="176"/>
                  <a:pt x="939" y="176"/>
                  <a:pt x="939" y="176"/>
                </a:cubicBezTo>
                <a:cubicBezTo>
                  <a:pt x="938" y="176"/>
                  <a:pt x="938" y="176"/>
                  <a:pt x="938" y="177"/>
                </a:cubicBezTo>
                <a:cubicBezTo>
                  <a:pt x="938" y="177"/>
                  <a:pt x="938" y="177"/>
                  <a:pt x="939" y="177"/>
                </a:cubicBezTo>
                <a:cubicBezTo>
                  <a:pt x="939" y="177"/>
                  <a:pt x="939" y="177"/>
                  <a:pt x="939" y="176"/>
                </a:cubicBezTo>
                <a:close/>
                <a:moveTo>
                  <a:pt x="937" y="177"/>
                </a:moveTo>
                <a:cubicBezTo>
                  <a:pt x="936" y="177"/>
                  <a:pt x="936" y="177"/>
                  <a:pt x="936" y="176"/>
                </a:cubicBezTo>
                <a:cubicBezTo>
                  <a:pt x="936" y="176"/>
                  <a:pt x="935" y="176"/>
                  <a:pt x="935" y="176"/>
                </a:cubicBezTo>
                <a:cubicBezTo>
                  <a:pt x="935" y="177"/>
                  <a:pt x="936" y="177"/>
                  <a:pt x="936" y="177"/>
                </a:cubicBezTo>
                <a:cubicBezTo>
                  <a:pt x="936" y="177"/>
                  <a:pt x="936" y="177"/>
                  <a:pt x="937" y="177"/>
                </a:cubicBezTo>
                <a:close/>
                <a:moveTo>
                  <a:pt x="927" y="183"/>
                </a:moveTo>
                <a:cubicBezTo>
                  <a:pt x="927" y="183"/>
                  <a:pt x="927" y="183"/>
                  <a:pt x="927" y="183"/>
                </a:cubicBezTo>
                <a:cubicBezTo>
                  <a:pt x="927" y="183"/>
                  <a:pt x="926" y="183"/>
                  <a:pt x="926" y="183"/>
                </a:cubicBezTo>
                <a:cubicBezTo>
                  <a:pt x="926" y="183"/>
                  <a:pt x="926" y="183"/>
                  <a:pt x="926" y="184"/>
                </a:cubicBezTo>
                <a:cubicBezTo>
                  <a:pt x="927" y="184"/>
                  <a:pt x="927" y="184"/>
                  <a:pt x="927" y="183"/>
                </a:cubicBezTo>
                <a:close/>
                <a:moveTo>
                  <a:pt x="936" y="178"/>
                </a:moveTo>
                <a:cubicBezTo>
                  <a:pt x="936" y="178"/>
                  <a:pt x="937" y="178"/>
                  <a:pt x="937" y="179"/>
                </a:cubicBezTo>
                <a:cubicBezTo>
                  <a:pt x="937" y="178"/>
                  <a:pt x="937" y="178"/>
                  <a:pt x="937" y="178"/>
                </a:cubicBezTo>
                <a:cubicBezTo>
                  <a:pt x="937" y="178"/>
                  <a:pt x="937" y="178"/>
                  <a:pt x="937" y="177"/>
                </a:cubicBezTo>
                <a:cubicBezTo>
                  <a:pt x="937" y="177"/>
                  <a:pt x="936" y="178"/>
                  <a:pt x="936" y="178"/>
                </a:cubicBezTo>
                <a:close/>
                <a:moveTo>
                  <a:pt x="940" y="175"/>
                </a:moveTo>
                <a:cubicBezTo>
                  <a:pt x="940" y="175"/>
                  <a:pt x="940" y="174"/>
                  <a:pt x="939" y="174"/>
                </a:cubicBezTo>
                <a:cubicBezTo>
                  <a:pt x="939" y="175"/>
                  <a:pt x="938" y="175"/>
                  <a:pt x="938" y="175"/>
                </a:cubicBezTo>
                <a:cubicBezTo>
                  <a:pt x="938" y="175"/>
                  <a:pt x="938" y="175"/>
                  <a:pt x="939" y="175"/>
                </a:cubicBezTo>
                <a:cubicBezTo>
                  <a:pt x="939" y="175"/>
                  <a:pt x="940" y="175"/>
                  <a:pt x="940" y="175"/>
                </a:cubicBezTo>
                <a:close/>
                <a:moveTo>
                  <a:pt x="986" y="133"/>
                </a:moveTo>
                <a:cubicBezTo>
                  <a:pt x="985" y="133"/>
                  <a:pt x="985" y="133"/>
                  <a:pt x="985" y="134"/>
                </a:cubicBezTo>
                <a:cubicBezTo>
                  <a:pt x="985" y="134"/>
                  <a:pt x="986" y="133"/>
                  <a:pt x="986" y="133"/>
                </a:cubicBezTo>
                <a:cubicBezTo>
                  <a:pt x="986" y="133"/>
                  <a:pt x="986" y="133"/>
                  <a:pt x="986" y="133"/>
                </a:cubicBezTo>
                <a:close/>
                <a:moveTo>
                  <a:pt x="1005" y="126"/>
                </a:moveTo>
                <a:cubicBezTo>
                  <a:pt x="1006" y="125"/>
                  <a:pt x="1006" y="125"/>
                  <a:pt x="1006" y="125"/>
                </a:cubicBezTo>
                <a:cubicBezTo>
                  <a:pt x="1006" y="125"/>
                  <a:pt x="1005" y="125"/>
                  <a:pt x="1005" y="125"/>
                </a:cubicBezTo>
                <a:cubicBezTo>
                  <a:pt x="1005" y="125"/>
                  <a:pt x="1005" y="125"/>
                  <a:pt x="1004" y="125"/>
                </a:cubicBezTo>
                <a:cubicBezTo>
                  <a:pt x="1004" y="125"/>
                  <a:pt x="1005" y="125"/>
                  <a:pt x="1005" y="126"/>
                </a:cubicBezTo>
                <a:cubicBezTo>
                  <a:pt x="1005" y="126"/>
                  <a:pt x="1005" y="126"/>
                  <a:pt x="1005" y="126"/>
                </a:cubicBezTo>
                <a:close/>
                <a:moveTo>
                  <a:pt x="1008" y="124"/>
                </a:moveTo>
                <a:cubicBezTo>
                  <a:pt x="1008" y="124"/>
                  <a:pt x="1008" y="124"/>
                  <a:pt x="1008" y="124"/>
                </a:cubicBezTo>
                <a:cubicBezTo>
                  <a:pt x="1009" y="124"/>
                  <a:pt x="1009" y="124"/>
                  <a:pt x="1009" y="124"/>
                </a:cubicBezTo>
                <a:cubicBezTo>
                  <a:pt x="1009" y="124"/>
                  <a:pt x="1008" y="124"/>
                  <a:pt x="1008" y="124"/>
                </a:cubicBezTo>
                <a:cubicBezTo>
                  <a:pt x="1008" y="124"/>
                  <a:pt x="1008" y="124"/>
                  <a:pt x="1008" y="124"/>
                </a:cubicBezTo>
                <a:close/>
                <a:moveTo>
                  <a:pt x="1012" y="124"/>
                </a:moveTo>
                <a:cubicBezTo>
                  <a:pt x="1012" y="124"/>
                  <a:pt x="1011" y="124"/>
                  <a:pt x="1011" y="124"/>
                </a:cubicBezTo>
                <a:cubicBezTo>
                  <a:pt x="1011" y="124"/>
                  <a:pt x="1011" y="124"/>
                  <a:pt x="1011" y="124"/>
                </a:cubicBezTo>
                <a:cubicBezTo>
                  <a:pt x="1010" y="124"/>
                  <a:pt x="1010" y="124"/>
                  <a:pt x="1010" y="124"/>
                </a:cubicBezTo>
                <a:cubicBezTo>
                  <a:pt x="1010" y="124"/>
                  <a:pt x="1010" y="125"/>
                  <a:pt x="1010" y="125"/>
                </a:cubicBezTo>
                <a:cubicBezTo>
                  <a:pt x="1010" y="125"/>
                  <a:pt x="1011" y="125"/>
                  <a:pt x="1011" y="125"/>
                </a:cubicBezTo>
                <a:cubicBezTo>
                  <a:pt x="1012" y="125"/>
                  <a:pt x="1012" y="125"/>
                  <a:pt x="1012" y="125"/>
                </a:cubicBezTo>
                <a:cubicBezTo>
                  <a:pt x="1013" y="125"/>
                  <a:pt x="1013" y="125"/>
                  <a:pt x="1014" y="125"/>
                </a:cubicBezTo>
                <a:cubicBezTo>
                  <a:pt x="1014" y="125"/>
                  <a:pt x="1014" y="125"/>
                  <a:pt x="1014" y="125"/>
                </a:cubicBezTo>
                <a:cubicBezTo>
                  <a:pt x="1014" y="124"/>
                  <a:pt x="1013" y="124"/>
                  <a:pt x="1013" y="124"/>
                </a:cubicBezTo>
                <a:cubicBezTo>
                  <a:pt x="1013" y="124"/>
                  <a:pt x="1013" y="124"/>
                  <a:pt x="1014" y="124"/>
                </a:cubicBezTo>
                <a:cubicBezTo>
                  <a:pt x="1013" y="124"/>
                  <a:pt x="1013" y="124"/>
                  <a:pt x="1013" y="124"/>
                </a:cubicBezTo>
                <a:cubicBezTo>
                  <a:pt x="1012" y="124"/>
                  <a:pt x="1012" y="123"/>
                  <a:pt x="1012" y="123"/>
                </a:cubicBezTo>
                <a:cubicBezTo>
                  <a:pt x="1012" y="124"/>
                  <a:pt x="1012" y="124"/>
                  <a:pt x="1012" y="124"/>
                </a:cubicBezTo>
                <a:close/>
                <a:moveTo>
                  <a:pt x="1003" y="128"/>
                </a:moveTo>
                <a:cubicBezTo>
                  <a:pt x="1003" y="128"/>
                  <a:pt x="1003" y="128"/>
                  <a:pt x="1004" y="128"/>
                </a:cubicBezTo>
                <a:cubicBezTo>
                  <a:pt x="1004" y="128"/>
                  <a:pt x="1005" y="128"/>
                  <a:pt x="1005" y="128"/>
                </a:cubicBezTo>
                <a:cubicBezTo>
                  <a:pt x="1005" y="128"/>
                  <a:pt x="1005" y="127"/>
                  <a:pt x="1006" y="127"/>
                </a:cubicBezTo>
                <a:cubicBezTo>
                  <a:pt x="1005" y="127"/>
                  <a:pt x="1005" y="127"/>
                  <a:pt x="1004" y="127"/>
                </a:cubicBezTo>
                <a:cubicBezTo>
                  <a:pt x="1004" y="127"/>
                  <a:pt x="1003" y="127"/>
                  <a:pt x="1003" y="127"/>
                </a:cubicBezTo>
                <a:cubicBezTo>
                  <a:pt x="1003" y="127"/>
                  <a:pt x="1003" y="127"/>
                  <a:pt x="1003" y="128"/>
                </a:cubicBezTo>
                <a:close/>
                <a:moveTo>
                  <a:pt x="956" y="208"/>
                </a:moveTo>
                <a:cubicBezTo>
                  <a:pt x="956" y="208"/>
                  <a:pt x="955" y="208"/>
                  <a:pt x="955" y="208"/>
                </a:cubicBezTo>
                <a:cubicBezTo>
                  <a:pt x="955" y="208"/>
                  <a:pt x="955" y="208"/>
                  <a:pt x="955" y="208"/>
                </a:cubicBezTo>
                <a:cubicBezTo>
                  <a:pt x="955" y="208"/>
                  <a:pt x="955" y="208"/>
                  <a:pt x="956" y="208"/>
                </a:cubicBezTo>
                <a:cubicBezTo>
                  <a:pt x="956" y="208"/>
                  <a:pt x="956" y="208"/>
                  <a:pt x="956" y="208"/>
                </a:cubicBezTo>
                <a:close/>
                <a:moveTo>
                  <a:pt x="989" y="201"/>
                </a:moveTo>
                <a:cubicBezTo>
                  <a:pt x="989" y="201"/>
                  <a:pt x="990" y="200"/>
                  <a:pt x="990" y="200"/>
                </a:cubicBezTo>
                <a:cubicBezTo>
                  <a:pt x="990" y="200"/>
                  <a:pt x="990" y="200"/>
                  <a:pt x="990" y="200"/>
                </a:cubicBezTo>
                <a:cubicBezTo>
                  <a:pt x="990" y="200"/>
                  <a:pt x="989" y="200"/>
                  <a:pt x="989" y="200"/>
                </a:cubicBezTo>
                <a:cubicBezTo>
                  <a:pt x="988" y="200"/>
                  <a:pt x="988" y="200"/>
                  <a:pt x="988" y="201"/>
                </a:cubicBezTo>
                <a:cubicBezTo>
                  <a:pt x="988" y="201"/>
                  <a:pt x="988" y="201"/>
                  <a:pt x="988" y="202"/>
                </a:cubicBezTo>
                <a:cubicBezTo>
                  <a:pt x="989" y="202"/>
                  <a:pt x="989" y="202"/>
                  <a:pt x="989" y="202"/>
                </a:cubicBezTo>
                <a:cubicBezTo>
                  <a:pt x="989" y="202"/>
                  <a:pt x="989" y="201"/>
                  <a:pt x="989" y="201"/>
                </a:cubicBezTo>
                <a:close/>
                <a:moveTo>
                  <a:pt x="989" y="214"/>
                </a:moveTo>
                <a:cubicBezTo>
                  <a:pt x="989" y="214"/>
                  <a:pt x="989" y="214"/>
                  <a:pt x="990" y="214"/>
                </a:cubicBezTo>
                <a:cubicBezTo>
                  <a:pt x="990" y="214"/>
                  <a:pt x="989" y="214"/>
                  <a:pt x="989" y="214"/>
                </a:cubicBezTo>
                <a:cubicBezTo>
                  <a:pt x="989" y="214"/>
                  <a:pt x="989" y="214"/>
                  <a:pt x="989" y="215"/>
                </a:cubicBezTo>
                <a:cubicBezTo>
                  <a:pt x="989" y="215"/>
                  <a:pt x="989" y="215"/>
                  <a:pt x="989" y="215"/>
                </a:cubicBezTo>
                <a:cubicBezTo>
                  <a:pt x="989" y="215"/>
                  <a:pt x="990" y="215"/>
                  <a:pt x="990" y="215"/>
                </a:cubicBezTo>
                <a:cubicBezTo>
                  <a:pt x="990" y="215"/>
                  <a:pt x="990" y="214"/>
                  <a:pt x="990" y="214"/>
                </a:cubicBezTo>
                <a:cubicBezTo>
                  <a:pt x="990" y="214"/>
                  <a:pt x="990" y="214"/>
                  <a:pt x="990" y="214"/>
                </a:cubicBezTo>
                <a:cubicBezTo>
                  <a:pt x="990" y="214"/>
                  <a:pt x="990" y="214"/>
                  <a:pt x="990" y="214"/>
                </a:cubicBezTo>
                <a:cubicBezTo>
                  <a:pt x="991" y="213"/>
                  <a:pt x="991" y="213"/>
                  <a:pt x="992" y="213"/>
                </a:cubicBezTo>
                <a:cubicBezTo>
                  <a:pt x="992" y="213"/>
                  <a:pt x="992" y="213"/>
                  <a:pt x="992" y="213"/>
                </a:cubicBezTo>
                <a:cubicBezTo>
                  <a:pt x="992" y="212"/>
                  <a:pt x="992" y="212"/>
                  <a:pt x="993" y="212"/>
                </a:cubicBezTo>
                <a:cubicBezTo>
                  <a:pt x="992" y="212"/>
                  <a:pt x="992" y="212"/>
                  <a:pt x="992" y="212"/>
                </a:cubicBezTo>
                <a:cubicBezTo>
                  <a:pt x="992" y="211"/>
                  <a:pt x="992" y="211"/>
                  <a:pt x="992" y="211"/>
                </a:cubicBezTo>
                <a:cubicBezTo>
                  <a:pt x="992" y="211"/>
                  <a:pt x="992" y="211"/>
                  <a:pt x="992" y="210"/>
                </a:cubicBezTo>
                <a:cubicBezTo>
                  <a:pt x="992" y="210"/>
                  <a:pt x="992" y="210"/>
                  <a:pt x="992" y="210"/>
                </a:cubicBezTo>
                <a:cubicBezTo>
                  <a:pt x="992" y="210"/>
                  <a:pt x="993" y="210"/>
                  <a:pt x="993" y="210"/>
                </a:cubicBezTo>
                <a:cubicBezTo>
                  <a:pt x="992" y="210"/>
                  <a:pt x="992" y="210"/>
                  <a:pt x="992" y="210"/>
                </a:cubicBezTo>
                <a:cubicBezTo>
                  <a:pt x="992" y="210"/>
                  <a:pt x="992" y="210"/>
                  <a:pt x="991" y="210"/>
                </a:cubicBezTo>
                <a:cubicBezTo>
                  <a:pt x="991" y="210"/>
                  <a:pt x="991" y="210"/>
                  <a:pt x="990" y="210"/>
                </a:cubicBezTo>
                <a:cubicBezTo>
                  <a:pt x="990" y="210"/>
                  <a:pt x="990" y="210"/>
                  <a:pt x="990" y="210"/>
                </a:cubicBezTo>
                <a:cubicBezTo>
                  <a:pt x="989" y="211"/>
                  <a:pt x="989" y="211"/>
                  <a:pt x="989" y="211"/>
                </a:cubicBezTo>
                <a:cubicBezTo>
                  <a:pt x="989" y="211"/>
                  <a:pt x="988" y="211"/>
                  <a:pt x="988" y="211"/>
                </a:cubicBezTo>
                <a:cubicBezTo>
                  <a:pt x="988" y="212"/>
                  <a:pt x="988" y="212"/>
                  <a:pt x="989" y="212"/>
                </a:cubicBezTo>
                <a:cubicBezTo>
                  <a:pt x="988" y="212"/>
                  <a:pt x="988" y="212"/>
                  <a:pt x="988" y="212"/>
                </a:cubicBezTo>
                <a:cubicBezTo>
                  <a:pt x="988" y="213"/>
                  <a:pt x="989" y="213"/>
                  <a:pt x="989" y="214"/>
                </a:cubicBezTo>
                <a:close/>
                <a:moveTo>
                  <a:pt x="981" y="215"/>
                </a:moveTo>
                <a:cubicBezTo>
                  <a:pt x="981" y="216"/>
                  <a:pt x="981" y="216"/>
                  <a:pt x="980" y="217"/>
                </a:cubicBezTo>
                <a:cubicBezTo>
                  <a:pt x="980" y="217"/>
                  <a:pt x="981" y="217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2" y="217"/>
                  <a:pt x="982" y="217"/>
                  <a:pt x="982" y="217"/>
                </a:cubicBezTo>
                <a:cubicBezTo>
                  <a:pt x="982" y="216"/>
                  <a:pt x="982" y="216"/>
                  <a:pt x="982" y="215"/>
                </a:cubicBezTo>
                <a:cubicBezTo>
                  <a:pt x="982" y="215"/>
                  <a:pt x="983" y="215"/>
                  <a:pt x="983" y="214"/>
                </a:cubicBezTo>
                <a:cubicBezTo>
                  <a:pt x="983" y="214"/>
                  <a:pt x="983" y="213"/>
                  <a:pt x="983" y="213"/>
                </a:cubicBezTo>
                <a:cubicBezTo>
                  <a:pt x="983" y="213"/>
                  <a:pt x="983" y="213"/>
                  <a:pt x="982" y="213"/>
                </a:cubicBezTo>
                <a:cubicBezTo>
                  <a:pt x="982" y="213"/>
                  <a:pt x="982" y="213"/>
                  <a:pt x="982" y="213"/>
                </a:cubicBezTo>
                <a:cubicBezTo>
                  <a:pt x="982" y="213"/>
                  <a:pt x="982" y="214"/>
                  <a:pt x="982" y="214"/>
                </a:cubicBezTo>
                <a:cubicBezTo>
                  <a:pt x="982" y="214"/>
                  <a:pt x="982" y="214"/>
                  <a:pt x="981" y="215"/>
                </a:cubicBezTo>
                <a:cubicBezTo>
                  <a:pt x="981" y="215"/>
                  <a:pt x="981" y="215"/>
                  <a:pt x="981" y="215"/>
                </a:cubicBezTo>
                <a:close/>
                <a:moveTo>
                  <a:pt x="993" y="209"/>
                </a:moveTo>
                <a:cubicBezTo>
                  <a:pt x="993" y="209"/>
                  <a:pt x="993" y="209"/>
                  <a:pt x="993" y="209"/>
                </a:cubicBezTo>
                <a:cubicBezTo>
                  <a:pt x="993" y="209"/>
                  <a:pt x="993" y="210"/>
                  <a:pt x="993" y="210"/>
                </a:cubicBezTo>
                <a:cubicBezTo>
                  <a:pt x="993" y="210"/>
                  <a:pt x="994" y="209"/>
                  <a:pt x="994" y="209"/>
                </a:cubicBezTo>
                <a:cubicBezTo>
                  <a:pt x="994" y="209"/>
                  <a:pt x="994" y="209"/>
                  <a:pt x="995" y="209"/>
                </a:cubicBezTo>
                <a:cubicBezTo>
                  <a:pt x="995" y="209"/>
                  <a:pt x="995" y="209"/>
                  <a:pt x="995" y="209"/>
                </a:cubicBezTo>
                <a:cubicBezTo>
                  <a:pt x="994" y="209"/>
                  <a:pt x="994" y="209"/>
                  <a:pt x="993" y="209"/>
                </a:cubicBezTo>
                <a:close/>
                <a:moveTo>
                  <a:pt x="992" y="206"/>
                </a:moveTo>
                <a:cubicBezTo>
                  <a:pt x="993" y="206"/>
                  <a:pt x="993" y="206"/>
                  <a:pt x="993" y="207"/>
                </a:cubicBezTo>
                <a:cubicBezTo>
                  <a:pt x="993" y="206"/>
                  <a:pt x="993" y="206"/>
                  <a:pt x="994" y="206"/>
                </a:cubicBezTo>
                <a:cubicBezTo>
                  <a:pt x="993" y="206"/>
                  <a:pt x="993" y="206"/>
                  <a:pt x="993" y="206"/>
                </a:cubicBezTo>
                <a:cubicBezTo>
                  <a:pt x="993" y="206"/>
                  <a:pt x="993" y="206"/>
                  <a:pt x="992" y="206"/>
                </a:cubicBezTo>
                <a:close/>
                <a:moveTo>
                  <a:pt x="1008" y="196"/>
                </a:moveTo>
                <a:cubicBezTo>
                  <a:pt x="1008" y="196"/>
                  <a:pt x="1008" y="196"/>
                  <a:pt x="1008" y="196"/>
                </a:cubicBezTo>
                <a:cubicBezTo>
                  <a:pt x="1008" y="196"/>
                  <a:pt x="1009" y="196"/>
                  <a:pt x="1009" y="196"/>
                </a:cubicBezTo>
                <a:cubicBezTo>
                  <a:pt x="1009" y="196"/>
                  <a:pt x="1008" y="196"/>
                  <a:pt x="1008" y="196"/>
                </a:cubicBezTo>
                <a:close/>
                <a:moveTo>
                  <a:pt x="1010" y="197"/>
                </a:moveTo>
                <a:cubicBezTo>
                  <a:pt x="1010" y="197"/>
                  <a:pt x="1010" y="197"/>
                  <a:pt x="1010" y="197"/>
                </a:cubicBezTo>
                <a:cubicBezTo>
                  <a:pt x="1010" y="197"/>
                  <a:pt x="1010" y="197"/>
                  <a:pt x="1010" y="197"/>
                </a:cubicBezTo>
                <a:cubicBezTo>
                  <a:pt x="1009" y="197"/>
                  <a:pt x="1009" y="197"/>
                  <a:pt x="1009" y="197"/>
                </a:cubicBezTo>
                <a:cubicBezTo>
                  <a:pt x="1009" y="197"/>
                  <a:pt x="1009" y="197"/>
                  <a:pt x="1009" y="197"/>
                </a:cubicBezTo>
                <a:cubicBezTo>
                  <a:pt x="1010" y="197"/>
                  <a:pt x="1010" y="197"/>
                  <a:pt x="1010" y="197"/>
                </a:cubicBezTo>
                <a:close/>
                <a:moveTo>
                  <a:pt x="1000" y="176"/>
                </a:moveTo>
                <a:cubicBezTo>
                  <a:pt x="1000" y="176"/>
                  <a:pt x="1000" y="176"/>
                  <a:pt x="999" y="176"/>
                </a:cubicBezTo>
                <a:cubicBezTo>
                  <a:pt x="999" y="176"/>
                  <a:pt x="999" y="176"/>
                  <a:pt x="999" y="176"/>
                </a:cubicBezTo>
                <a:cubicBezTo>
                  <a:pt x="999" y="176"/>
                  <a:pt x="1000" y="177"/>
                  <a:pt x="1000" y="177"/>
                </a:cubicBezTo>
                <a:cubicBezTo>
                  <a:pt x="1000" y="176"/>
                  <a:pt x="1000" y="176"/>
                  <a:pt x="1000" y="176"/>
                </a:cubicBezTo>
                <a:close/>
                <a:moveTo>
                  <a:pt x="1004" y="194"/>
                </a:moveTo>
                <a:cubicBezTo>
                  <a:pt x="1004" y="194"/>
                  <a:pt x="1004" y="194"/>
                  <a:pt x="1004" y="194"/>
                </a:cubicBezTo>
                <a:cubicBezTo>
                  <a:pt x="1004" y="194"/>
                  <a:pt x="1004" y="194"/>
                  <a:pt x="1004" y="195"/>
                </a:cubicBezTo>
                <a:cubicBezTo>
                  <a:pt x="1005" y="194"/>
                  <a:pt x="1005" y="194"/>
                  <a:pt x="1005" y="194"/>
                </a:cubicBezTo>
                <a:cubicBezTo>
                  <a:pt x="1005" y="194"/>
                  <a:pt x="1004" y="194"/>
                  <a:pt x="1004" y="194"/>
                </a:cubicBezTo>
                <a:close/>
                <a:moveTo>
                  <a:pt x="1006" y="195"/>
                </a:moveTo>
                <a:cubicBezTo>
                  <a:pt x="1006" y="195"/>
                  <a:pt x="1006" y="196"/>
                  <a:pt x="1007" y="196"/>
                </a:cubicBezTo>
                <a:cubicBezTo>
                  <a:pt x="1007" y="196"/>
                  <a:pt x="1007" y="195"/>
                  <a:pt x="1008" y="195"/>
                </a:cubicBezTo>
                <a:cubicBezTo>
                  <a:pt x="1008" y="195"/>
                  <a:pt x="1008" y="195"/>
                  <a:pt x="1008" y="195"/>
                </a:cubicBezTo>
                <a:cubicBezTo>
                  <a:pt x="1007" y="195"/>
                  <a:pt x="1007" y="195"/>
                  <a:pt x="1006" y="195"/>
                </a:cubicBezTo>
                <a:cubicBezTo>
                  <a:pt x="1006" y="195"/>
                  <a:pt x="1006" y="195"/>
                  <a:pt x="1006" y="195"/>
                </a:cubicBezTo>
                <a:close/>
                <a:moveTo>
                  <a:pt x="1001" y="194"/>
                </a:moveTo>
                <a:cubicBezTo>
                  <a:pt x="1001" y="194"/>
                  <a:pt x="1002" y="194"/>
                  <a:pt x="1002" y="194"/>
                </a:cubicBezTo>
                <a:cubicBezTo>
                  <a:pt x="1002" y="194"/>
                  <a:pt x="1002" y="194"/>
                  <a:pt x="1002" y="194"/>
                </a:cubicBezTo>
                <a:cubicBezTo>
                  <a:pt x="1002" y="194"/>
                  <a:pt x="1002" y="194"/>
                  <a:pt x="1001" y="194"/>
                </a:cubicBezTo>
                <a:close/>
                <a:moveTo>
                  <a:pt x="994" y="195"/>
                </a:moveTo>
                <a:cubicBezTo>
                  <a:pt x="994" y="195"/>
                  <a:pt x="993" y="195"/>
                  <a:pt x="993" y="195"/>
                </a:cubicBezTo>
                <a:cubicBezTo>
                  <a:pt x="994" y="195"/>
                  <a:pt x="994" y="195"/>
                  <a:pt x="994" y="195"/>
                </a:cubicBezTo>
                <a:cubicBezTo>
                  <a:pt x="994" y="196"/>
                  <a:pt x="994" y="196"/>
                  <a:pt x="995" y="196"/>
                </a:cubicBezTo>
                <a:cubicBezTo>
                  <a:pt x="995" y="196"/>
                  <a:pt x="995" y="196"/>
                  <a:pt x="996" y="196"/>
                </a:cubicBezTo>
                <a:cubicBezTo>
                  <a:pt x="996" y="196"/>
                  <a:pt x="996" y="197"/>
                  <a:pt x="997" y="197"/>
                </a:cubicBezTo>
                <a:cubicBezTo>
                  <a:pt x="997" y="197"/>
                  <a:pt x="997" y="197"/>
                  <a:pt x="997" y="197"/>
                </a:cubicBezTo>
                <a:cubicBezTo>
                  <a:pt x="997" y="196"/>
                  <a:pt x="997" y="196"/>
                  <a:pt x="997" y="196"/>
                </a:cubicBezTo>
                <a:cubicBezTo>
                  <a:pt x="997" y="196"/>
                  <a:pt x="997" y="196"/>
                  <a:pt x="996" y="196"/>
                </a:cubicBezTo>
                <a:cubicBezTo>
                  <a:pt x="996" y="196"/>
                  <a:pt x="996" y="195"/>
                  <a:pt x="996" y="195"/>
                </a:cubicBezTo>
                <a:cubicBezTo>
                  <a:pt x="996" y="195"/>
                  <a:pt x="996" y="195"/>
                  <a:pt x="996" y="195"/>
                </a:cubicBezTo>
                <a:cubicBezTo>
                  <a:pt x="996" y="195"/>
                  <a:pt x="997" y="195"/>
                  <a:pt x="997" y="195"/>
                </a:cubicBezTo>
                <a:cubicBezTo>
                  <a:pt x="997" y="195"/>
                  <a:pt x="997" y="195"/>
                  <a:pt x="997" y="195"/>
                </a:cubicBezTo>
                <a:cubicBezTo>
                  <a:pt x="996" y="194"/>
                  <a:pt x="996" y="194"/>
                  <a:pt x="995" y="194"/>
                </a:cubicBezTo>
                <a:cubicBezTo>
                  <a:pt x="995" y="194"/>
                  <a:pt x="995" y="194"/>
                  <a:pt x="995" y="194"/>
                </a:cubicBezTo>
                <a:cubicBezTo>
                  <a:pt x="995" y="194"/>
                  <a:pt x="995" y="194"/>
                  <a:pt x="995" y="194"/>
                </a:cubicBezTo>
                <a:cubicBezTo>
                  <a:pt x="995" y="194"/>
                  <a:pt x="995" y="195"/>
                  <a:pt x="995" y="195"/>
                </a:cubicBezTo>
                <a:cubicBezTo>
                  <a:pt x="995" y="195"/>
                  <a:pt x="995" y="195"/>
                  <a:pt x="995" y="195"/>
                </a:cubicBezTo>
                <a:cubicBezTo>
                  <a:pt x="995" y="195"/>
                  <a:pt x="994" y="195"/>
                  <a:pt x="994" y="195"/>
                </a:cubicBezTo>
                <a:close/>
                <a:moveTo>
                  <a:pt x="1016" y="166"/>
                </a:moveTo>
                <a:cubicBezTo>
                  <a:pt x="1016" y="166"/>
                  <a:pt x="1015" y="165"/>
                  <a:pt x="1015" y="165"/>
                </a:cubicBezTo>
                <a:cubicBezTo>
                  <a:pt x="1014" y="166"/>
                  <a:pt x="1014" y="166"/>
                  <a:pt x="1014" y="166"/>
                </a:cubicBezTo>
                <a:cubicBezTo>
                  <a:pt x="1014" y="166"/>
                  <a:pt x="1014" y="166"/>
                  <a:pt x="1014" y="167"/>
                </a:cubicBezTo>
                <a:cubicBezTo>
                  <a:pt x="1015" y="167"/>
                  <a:pt x="1015" y="167"/>
                  <a:pt x="1015" y="167"/>
                </a:cubicBezTo>
                <a:cubicBezTo>
                  <a:pt x="1015" y="167"/>
                  <a:pt x="1016" y="166"/>
                  <a:pt x="1016" y="166"/>
                </a:cubicBezTo>
                <a:cubicBezTo>
                  <a:pt x="1016" y="166"/>
                  <a:pt x="1015" y="166"/>
                  <a:pt x="1015" y="166"/>
                </a:cubicBezTo>
                <a:cubicBezTo>
                  <a:pt x="1016" y="166"/>
                  <a:pt x="1016" y="166"/>
                  <a:pt x="1016" y="166"/>
                </a:cubicBezTo>
                <a:cubicBezTo>
                  <a:pt x="1016" y="166"/>
                  <a:pt x="1016" y="166"/>
                  <a:pt x="1016" y="166"/>
                </a:cubicBezTo>
                <a:close/>
                <a:moveTo>
                  <a:pt x="998" y="177"/>
                </a:moveTo>
                <a:cubicBezTo>
                  <a:pt x="999" y="178"/>
                  <a:pt x="999" y="178"/>
                  <a:pt x="999" y="178"/>
                </a:cubicBezTo>
                <a:cubicBezTo>
                  <a:pt x="999" y="178"/>
                  <a:pt x="1000" y="178"/>
                  <a:pt x="1000" y="178"/>
                </a:cubicBezTo>
                <a:cubicBezTo>
                  <a:pt x="1000" y="177"/>
                  <a:pt x="1000" y="177"/>
                  <a:pt x="1000" y="177"/>
                </a:cubicBezTo>
                <a:cubicBezTo>
                  <a:pt x="1000" y="177"/>
                  <a:pt x="1000" y="177"/>
                  <a:pt x="999" y="177"/>
                </a:cubicBezTo>
                <a:cubicBezTo>
                  <a:pt x="999" y="177"/>
                  <a:pt x="999" y="177"/>
                  <a:pt x="999" y="177"/>
                </a:cubicBezTo>
                <a:cubicBezTo>
                  <a:pt x="999" y="177"/>
                  <a:pt x="999" y="177"/>
                  <a:pt x="998" y="177"/>
                </a:cubicBezTo>
                <a:close/>
                <a:moveTo>
                  <a:pt x="1010" y="207"/>
                </a:moveTo>
                <a:cubicBezTo>
                  <a:pt x="1011" y="207"/>
                  <a:pt x="1011" y="207"/>
                  <a:pt x="1011" y="207"/>
                </a:cubicBezTo>
                <a:cubicBezTo>
                  <a:pt x="1011" y="207"/>
                  <a:pt x="1011" y="207"/>
                  <a:pt x="1012" y="206"/>
                </a:cubicBezTo>
                <a:cubicBezTo>
                  <a:pt x="1012" y="206"/>
                  <a:pt x="1012" y="206"/>
                  <a:pt x="1012" y="206"/>
                </a:cubicBezTo>
                <a:cubicBezTo>
                  <a:pt x="1012" y="206"/>
                  <a:pt x="1013" y="206"/>
                  <a:pt x="1013" y="206"/>
                </a:cubicBezTo>
                <a:cubicBezTo>
                  <a:pt x="1013" y="206"/>
                  <a:pt x="1013" y="206"/>
                  <a:pt x="1012" y="206"/>
                </a:cubicBezTo>
                <a:cubicBezTo>
                  <a:pt x="1012" y="206"/>
                  <a:pt x="1012" y="206"/>
                  <a:pt x="1012" y="206"/>
                </a:cubicBezTo>
                <a:cubicBezTo>
                  <a:pt x="1012" y="206"/>
                  <a:pt x="1011" y="206"/>
                  <a:pt x="1011" y="205"/>
                </a:cubicBezTo>
                <a:cubicBezTo>
                  <a:pt x="1010" y="205"/>
                  <a:pt x="1010" y="205"/>
                  <a:pt x="1009" y="205"/>
                </a:cubicBezTo>
                <a:cubicBezTo>
                  <a:pt x="1009" y="205"/>
                  <a:pt x="1009" y="205"/>
                  <a:pt x="1009" y="205"/>
                </a:cubicBezTo>
                <a:cubicBezTo>
                  <a:pt x="1009" y="205"/>
                  <a:pt x="1009" y="205"/>
                  <a:pt x="1008" y="206"/>
                </a:cubicBezTo>
                <a:cubicBezTo>
                  <a:pt x="1008" y="206"/>
                  <a:pt x="1008" y="206"/>
                  <a:pt x="1008" y="206"/>
                </a:cubicBezTo>
                <a:cubicBezTo>
                  <a:pt x="1008" y="206"/>
                  <a:pt x="1008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6" y="206"/>
                  <a:pt x="1006" y="206"/>
                  <a:pt x="1006" y="206"/>
                </a:cubicBezTo>
                <a:cubicBezTo>
                  <a:pt x="1006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7"/>
                </a:cubicBezTo>
                <a:cubicBezTo>
                  <a:pt x="1007" y="207"/>
                  <a:pt x="1006" y="207"/>
                  <a:pt x="1006" y="207"/>
                </a:cubicBezTo>
                <a:cubicBezTo>
                  <a:pt x="1006" y="207"/>
                  <a:pt x="1006" y="207"/>
                  <a:pt x="1006" y="207"/>
                </a:cubicBezTo>
                <a:cubicBezTo>
                  <a:pt x="1006" y="207"/>
                  <a:pt x="1007" y="207"/>
                  <a:pt x="1007" y="207"/>
                </a:cubicBezTo>
                <a:cubicBezTo>
                  <a:pt x="1007" y="208"/>
                  <a:pt x="1008" y="208"/>
                  <a:pt x="1008" y="208"/>
                </a:cubicBezTo>
                <a:cubicBezTo>
                  <a:pt x="1008" y="208"/>
                  <a:pt x="1008" y="208"/>
                  <a:pt x="1008" y="208"/>
                </a:cubicBezTo>
                <a:cubicBezTo>
                  <a:pt x="1007" y="208"/>
                  <a:pt x="1007" y="208"/>
                  <a:pt x="1007" y="208"/>
                </a:cubicBezTo>
                <a:cubicBezTo>
                  <a:pt x="1007" y="209"/>
                  <a:pt x="1007" y="209"/>
                  <a:pt x="1007" y="209"/>
                </a:cubicBezTo>
                <a:cubicBezTo>
                  <a:pt x="1007" y="209"/>
                  <a:pt x="1007" y="209"/>
                  <a:pt x="1007" y="209"/>
                </a:cubicBezTo>
                <a:cubicBezTo>
                  <a:pt x="1007" y="209"/>
                  <a:pt x="1008" y="209"/>
                  <a:pt x="1008" y="209"/>
                </a:cubicBezTo>
                <a:cubicBezTo>
                  <a:pt x="1008" y="209"/>
                  <a:pt x="1008" y="209"/>
                  <a:pt x="1008" y="209"/>
                </a:cubicBezTo>
                <a:cubicBezTo>
                  <a:pt x="1008" y="208"/>
                  <a:pt x="1008" y="208"/>
                  <a:pt x="1009" y="208"/>
                </a:cubicBezTo>
                <a:cubicBezTo>
                  <a:pt x="1009" y="208"/>
                  <a:pt x="1010" y="208"/>
                  <a:pt x="1010" y="207"/>
                </a:cubicBezTo>
                <a:close/>
                <a:moveTo>
                  <a:pt x="1013" y="203"/>
                </a:moveTo>
                <a:cubicBezTo>
                  <a:pt x="1012" y="203"/>
                  <a:pt x="1012" y="203"/>
                  <a:pt x="1012" y="203"/>
                </a:cubicBezTo>
                <a:cubicBezTo>
                  <a:pt x="1012" y="203"/>
                  <a:pt x="1012" y="203"/>
                  <a:pt x="1012" y="203"/>
                </a:cubicBezTo>
                <a:cubicBezTo>
                  <a:pt x="1012" y="203"/>
                  <a:pt x="1013" y="203"/>
                  <a:pt x="1013" y="203"/>
                </a:cubicBezTo>
                <a:cubicBezTo>
                  <a:pt x="1013" y="203"/>
                  <a:pt x="1013" y="203"/>
                  <a:pt x="1013" y="203"/>
                </a:cubicBezTo>
                <a:close/>
                <a:moveTo>
                  <a:pt x="1007" y="204"/>
                </a:moveTo>
                <a:cubicBezTo>
                  <a:pt x="1007" y="204"/>
                  <a:pt x="1008" y="204"/>
                  <a:pt x="1008" y="204"/>
                </a:cubicBezTo>
                <a:cubicBezTo>
                  <a:pt x="1008" y="204"/>
                  <a:pt x="1009" y="204"/>
                  <a:pt x="1009" y="204"/>
                </a:cubicBezTo>
                <a:cubicBezTo>
                  <a:pt x="1009" y="204"/>
                  <a:pt x="1009" y="204"/>
                  <a:pt x="1010" y="205"/>
                </a:cubicBezTo>
                <a:cubicBezTo>
                  <a:pt x="1010" y="205"/>
                  <a:pt x="1010" y="204"/>
                  <a:pt x="1010" y="204"/>
                </a:cubicBezTo>
                <a:cubicBezTo>
                  <a:pt x="1010" y="204"/>
                  <a:pt x="1011" y="204"/>
                  <a:pt x="1011" y="204"/>
                </a:cubicBezTo>
                <a:cubicBezTo>
                  <a:pt x="1011" y="204"/>
                  <a:pt x="1011" y="204"/>
                  <a:pt x="1012" y="204"/>
                </a:cubicBezTo>
                <a:cubicBezTo>
                  <a:pt x="1012" y="204"/>
                  <a:pt x="1011" y="204"/>
                  <a:pt x="1011" y="203"/>
                </a:cubicBezTo>
                <a:cubicBezTo>
                  <a:pt x="1011" y="203"/>
                  <a:pt x="1011" y="203"/>
                  <a:pt x="1010" y="203"/>
                </a:cubicBezTo>
                <a:cubicBezTo>
                  <a:pt x="1010" y="203"/>
                  <a:pt x="1010" y="203"/>
                  <a:pt x="1010" y="203"/>
                </a:cubicBezTo>
                <a:cubicBezTo>
                  <a:pt x="1010" y="203"/>
                  <a:pt x="1009" y="203"/>
                  <a:pt x="1009" y="203"/>
                </a:cubicBezTo>
                <a:cubicBezTo>
                  <a:pt x="1009" y="203"/>
                  <a:pt x="1009" y="203"/>
                  <a:pt x="1009" y="203"/>
                </a:cubicBezTo>
                <a:cubicBezTo>
                  <a:pt x="1009" y="203"/>
                  <a:pt x="1009" y="203"/>
                  <a:pt x="1008" y="203"/>
                </a:cubicBezTo>
                <a:cubicBezTo>
                  <a:pt x="1008" y="204"/>
                  <a:pt x="1007" y="204"/>
                  <a:pt x="1007" y="204"/>
                </a:cubicBezTo>
                <a:cubicBezTo>
                  <a:pt x="1007" y="204"/>
                  <a:pt x="1007" y="204"/>
                  <a:pt x="1007" y="204"/>
                </a:cubicBezTo>
                <a:close/>
                <a:moveTo>
                  <a:pt x="1012" y="205"/>
                </a:moveTo>
                <a:cubicBezTo>
                  <a:pt x="1012" y="206"/>
                  <a:pt x="1013" y="206"/>
                  <a:pt x="1013" y="206"/>
                </a:cubicBezTo>
                <a:cubicBezTo>
                  <a:pt x="1013" y="206"/>
                  <a:pt x="1013" y="206"/>
                  <a:pt x="1014" y="206"/>
                </a:cubicBezTo>
                <a:cubicBezTo>
                  <a:pt x="1013" y="205"/>
                  <a:pt x="1013" y="205"/>
                  <a:pt x="1013" y="205"/>
                </a:cubicBezTo>
                <a:cubicBezTo>
                  <a:pt x="1013" y="205"/>
                  <a:pt x="1012" y="205"/>
                  <a:pt x="1012" y="205"/>
                </a:cubicBezTo>
                <a:cubicBezTo>
                  <a:pt x="1012" y="205"/>
                  <a:pt x="1012" y="205"/>
                  <a:pt x="1012" y="205"/>
                </a:cubicBezTo>
                <a:close/>
                <a:moveTo>
                  <a:pt x="975" y="275"/>
                </a:moveTo>
                <a:cubicBezTo>
                  <a:pt x="975" y="275"/>
                  <a:pt x="975" y="275"/>
                  <a:pt x="975" y="275"/>
                </a:cubicBezTo>
                <a:cubicBezTo>
                  <a:pt x="975" y="275"/>
                  <a:pt x="975" y="275"/>
                  <a:pt x="975" y="274"/>
                </a:cubicBezTo>
                <a:cubicBezTo>
                  <a:pt x="975" y="274"/>
                  <a:pt x="974" y="274"/>
                  <a:pt x="974" y="273"/>
                </a:cubicBezTo>
                <a:cubicBezTo>
                  <a:pt x="974" y="274"/>
                  <a:pt x="974" y="274"/>
                  <a:pt x="974" y="274"/>
                </a:cubicBezTo>
                <a:cubicBezTo>
                  <a:pt x="974" y="274"/>
                  <a:pt x="974" y="274"/>
                  <a:pt x="974" y="274"/>
                </a:cubicBezTo>
                <a:cubicBezTo>
                  <a:pt x="974" y="275"/>
                  <a:pt x="975" y="275"/>
                  <a:pt x="975" y="275"/>
                </a:cubicBezTo>
                <a:close/>
                <a:moveTo>
                  <a:pt x="987" y="282"/>
                </a:moveTo>
                <a:cubicBezTo>
                  <a:pt x="987" y="282"/>
                  <a:pt x="987" y="281"/>
                  <a:pt x="988" y="281"/>
                </a:cubicBezTo>
                <a:cubicBezTo>
                  <a:pt x="987" y="281"/>
                  <a:pt x="986" y="281"/>
                  <a:pt x="985" y="281"/>
                </a:cubicBezTo>
                <a:cubicBezTo>
                  <a:pt x="986" y="281"/>
                  <a:pt x="986" y="282"/>
                  <a:pt x="987" y="282"/>
                </a:cubicBezTo>
                <a:close/>
                <a:moveTo>
                  <a:pt x="988" y="281"/>
                </a:moveTo>
                <a:cubicBezTo>
                  <a:pt x="988" y="281"/>
                  <a:pt x="987" y="281"/>
                  <a:pt x="987" y="280"/>
                </a:cubicBezTo>
                <a:cubicBezTo>
                  <a:pt x="987" y="280"/>
                  <a:pt x="986" y="280"/>
                  <a:pt x="985" y="280"/>
                </a:cubicBezTo>
                <a:cubicBezTo>
                  <a:pt x="985" y="281"/>
                  <a:pt x="985" y="281"/>
                  <a:pt x="986" y="281"/>
                </a:cubicBezTo>
                <a:cubicBezTo>
                  <a:pt x="986" y="281"/>
                  <a:pt x="986" y="281"/>
                  <a:pt x="987" y="281"/>
                </a:cubicBezTo>
                <a:cubicBezTo>
                  <a:pt x="987" y="281"/>
                  <a:pt x="987" y="281"/>
                  <a:pt x="988" y="281"/>
                </a:cubicBezTo>
                <a:close/>
                <a:moveTo>
                  <a:pt x="976" y="276"/>
                </a:moveTo>
                <a:cubicBezTo>
                  <a:pt x="976" y="276"/>
                  <a:pt x="976" y="276"/>
                  <a:pt x="976" y="276"/>
                </a:cubicBezTo>
                <a:cubicBezTo>
                  <a:pt x="976" y="276"/>
                  <a:pt x="976" y="276"/>
                  <a:pt x="976" y="276"/>
                </a:cubicBezTo>
                <a:cubicBezTo>
                  <a:pt x="976" y="276"/>
                  <a:pt x="976" y="276"/>
                  <a:pt x="976" y="276"/>
                </a:cubicBezTo>
                <a:close/>
                <a:moveTo>
                  <a:pt x="989" y="283"/>
                </a:moveTo>
                <a:cubicBezTo>
                  <a:pt x="989" y="282"/>
                  <a:pt x="988" y="282"/>
                  <a:pt x="988" y="282"/>
                </a:cubicBezTo>
                <a:cubicBezTo>
                  <a:pt x="988" y="282"/>
                  <a:pt x="986" y="282"/>
                  <a:pt x="986" y="282"/>
                </a:cubicBezTo>
                <a:cubicBezTo>
                  <a:pt x="987" y="282"/>
                  <a:pt x="987" y="282"/>
                  <a:pt x="987" y="282"/>
                </a:cubicBezTo>
                <a:cubicBezTo>
                  <a:pt x="988" y="282"/>
                  <a:pt x="988" y="283"/>
                  <a:pt x="989" y="283"/>
                </a:cubicBezTo>
                <a:close/>
                <a:moveTo>
                  <a:pt x="979" y="276"/>
                </a:moveTo>
                <a:cubicBezTo>
                  <a:pt x="979" y="276"/>
                  <a:pt x="978" y="276"/>
                  <a:pt x="978" y="276"/>
                </a:cubicBezTo>
                <a:cubicBezTo>
                  <a:pt x="978" y="276"/>
                  <a:pt x="978" y="276"/>
                  <a:pt x="978" y="276"/>
                </a:cubicBezTo>
                <a:cubicBezTo>
                  <a:pt x="978" y="276"/>
                  <a:pt x="978" y="276"/>
                  <a:pt x="978" y="276"/>
                </a:cubicBezTo>
                <a:cubicBezTo>
                  <a:pt x="979" y="276"/>
                  <a:pt x="979" y="276"/>
                  <a:pt x="979" y="276"/>
                </a:cubicBezTo>
                <a:close/>
                <a:moveTo>
                  <a:pt x="975" y="272"/>
                </a:moveTo>
                <a:cubicBezTo>
                  <a:pt x="975" y="272"/>
                  <a:pt x="974" y="272"/>
                  <a:pt x="974" y="272"/>
                </a:cubicBezTo>
                <a:cubicBezTo>
                  <a:pt x="974" y="273"/>
                  <a:pt x="974" y="273"/>
                  <a:pt x="974" y="273"/>
                </a:cubicBezTo>
                <a:cubicBezTo>
                  <a:pt x="974" y="273"/>
                  <a:pt x="975" y="273"/>
                  <a:pt x="975" y="273"/>
                </a:cubicBezTo>
                <a:cubicBezTo>
                  <a:pt x="975" y="274"/>
                  <a:pt x="975" y="274"/>
                  <a:pt x="975" y="274"/>
                </a:cubicBezTo>
                <a:cubicBezTo>
                  <a:pt x="976" y="274"/>
                  <a:pt x="976" y="274"/>
                  <a:pt x="976" y="274"/>
                </a:cubicBezTo>
                <a:cubicBezTo>
                  <a:pt x="976" y="273"/>
                  <a:pt x="975" y="273"/>
                  <a:pt x="975" y="272"/>
                </a:cubicBezTo>
                <a:close/>
                <a:moveTo>
                  <a:pt x="978" y="278"/>
                </a:moveTo>
                <a:cubicBezTo>
                  <a:pt x="978" y="278"/>
                  <a:pt x="978" y="278"/>
                  <a:pt x="978" y="277"/>
                </a:cubicBezTo>
                <a:cubicBezTo>
                  <a:pt x="978" y="277"/>
                  <a:pt x="977" y="277"/>
                  <a:pt x="977" y="277"/>
                </a:cubicBezTo>
                <a:cubicBezTo>
                  <a:pt x="977" y="277"/>
                  <a:pt x="978" y="278"/>
                  <a:pt x="978" y="278"/>
                </a:cubicBezTo>
                <a:close/>
                <a:moveTo>
                  <a:pt x="977" y="275"/>
                </a:moveTo>
                <a:cubicBezTo>
                  <a:pt x="977" y="275"/>
                  <a:pt x="977" y="275"/>
                  <a:pt x="977" y="275"/>
                </a:cubicBezTo>
                <a:cubicBezTo>
                  <a:pt x="977" y="275"/>
                  <a:pt x="977" y="275"/>
                  <a:pt x="978" y="275"/>
                </a:cubicBezTo>
                <a:cubicBezTo>
                  <a:pt x="977" y="275"/>
                  <a:pt x="977" y="275"/>
                  <a:pt x="977" y="275"/>
                </a:cubicBezTo>
                <a:close/>
                <a:moveTo>
                  <a:pt x="920" y="242"/>
                </a:moveTo>
                <a:cubicBezTo>
                  <a:pt x="920" y="242"/>
                  <a:pt x="920" y="242"/>
                  <a:pt x="920" y="242"/>
                </a:cubicBezTo>
                <a:cubicBezTo>
                  <a:pt x="920" y="242"/>
                  <a:pt x="920" y="241"/>
                  <a:pt x="920" y="241"/>
                </a:cubicBezTo>
                <a:cubicBezTo>
                  <a:pt x="920" y="241"/>
                  <a:pt x="919" y="241"/>
                  <a:pt x="919" y="242"/>
                </a:cubicBezTo>
                <a:cubicBezTo>
                  <a:pt x="919" y="242"/>
                  <a:pt x="919" y="242"/>
                  <a:pt x="920" y="242"/>
                </a:cubicBezTo>
                <a:cubicBezTo>
                  <a:pt x="920" y="242"/>
                  <a:pt x="920" y="242"/>
                  <a:pt x="920" y="242"/>
                </a:cubicBezTo>
                <a:close/>
                <a:moveTo>
                  <a:pt x="920" y="241"/>
                </a:moveTo>
                <a:cubicBezTo>
                  <a:pt x="920" y="241"/>
                  <a:pt x="920" y="241"/>
                  <a:pt x="920" y="241"/>
                </a:cubicBezTo>
                <a:cubicBezTo>
                  <a:pt x="921" y="241"/>
                  <a:pt x="921" y="241"/>
                  <a:pt x="921" y="241"/>
                </a:cubicBezTo>
                <a:cubicBezTo>
                  <a:pt x="921" y="241"/>
                  <a:pt x="921" y="241"/>
                  <a:pt x="921" y="241"/>
                </a:cubicBezTo>
                <a:cubicBezTo>
                  <a:pt x="921" y="241"/>
                  <a:pt x="920" y="241"/>
                  <a:pt x="920" y="241"/>
                </a:cubicBezTo>
                <a:cubicBezTo>
                  <a:pt x="920" y="241"/>
                  <a:pt x="920" y="241"/>
                  <a:pt x="919" y="241"/>
                </a:cubicBezTo>
                <a:cubicBezTo>
                  <a:pt x="919" y="241"/>
                  <a:pt x="919" y="241"/>
                  <a:pt x="920" y="241"/>
                </a:cubicBezTo>
                <a:cubicBezTo>
                  <a:pt x="920" y="241"/>
                  <a:pt x="920" y="241"/>
                  <a:pt x="920" y="241"/>
                </a:cubicBezTo>
                <a:close/>
                <a:moveTo>
                  <a:pt x="868" y="190"/>
                </a:moveTo>
                <a:cubicBezTo>
                  <a:pt x="868" y="190"/>
                  <a:pt x="868" y="190"/>
                  <a:pt x="868" y="190"/>
                </a:cubicBezTo>
                <a:cubicBezTo>
                  <a:pt x="868" y="190"/>
                  <a:pt x="868" y="189"/>
                  <a:pt x="868" y="189"/>
                </a:cubicBezTo>
                <a:cubicBezTo>
                  <a:pt x="868" y="189"/>
                  <a:pt x="867" y="189"/>
                  <a:pt x="867" y="189"/>
                </a:cubicBezTo>
                <a:cubicBezTo>
                  <a:pt x="867" y="190"/>
                  <a:pt x="868" y="190"/>
                  <a:pt x="868" y="190"/>
                </a:cubicBezTo>
                <a:close/>
                <a:moveTo>
                  <a:pt x="869" y="184"/>
                </a:moveTo>
                <a:cubicBezTo>
                  <a:pt x="868" y="184"/>
                  <a:pt x="868" y="184"/>
                  <a:pt x="868" y="184"/>
                </a:cubicBezTo>
                <a:cubicBezTo>
                  <a:pt x="868" y="185"/>
                  <a:pt x="869" y="185"/>
                  <a:pt x="869" y="185"/>
                </a:cubicBezTo>
                <a:cubicBezTo>
                  <a:pt x="869" y="185"/>
                  <a:pt x="869" y="185"/>
                  <a:pt x="869" y="184"/>
                </a:cubicBezTo>
                <a:close/>
                <a:moveTo>
                  <a:pt x="868" y="186"/>
                </a:moveTo>
                <a:cubicBezTo>
                  <a:pt x="868" y="185"/>
                  <a:pt x="868" y="185"/>
                  <a:pt x="868" y="185"/>
                </a:cubicBezTo>
                <a:cubicBezTo>
                  <a:pt x="868" y="185"/>
                  <a:pt x="867" y="185"/>
                  <a:pt x="867" y="184"/>
                </a:cubicBezTo>
                <a:cubicBezTo>
                  <a:pt x="867" y="184"/>
                  <a:pt x="866" y="184"/>
                  <a:pt x="866" y="184"/>
                </a:cubicBezTo>
                <a:cubicBezTo>
                  <a:pt x="867" y="185"/>
                  <a:pt x="867" y="185"/>
                  <a:pt x="867" y="185"/>
                </a:cubicBezTo>
                <a:cubicBezTo>
                  <a:pt x="868" y="185"/>
                  <a:pt x="868" y="185"/>
                  <a:pt x="868" y="186"/>
                </a:cubicBezTo>
                <a:close/>
                <a:moveTo>
                  <a:pt x="868" y="188"/>
                </a:moveTo>
                <a:cubicBezTo>
                  <a:pt x="868" y="188"/>
                  <a:pt x="868" y="187"/>
                  <a:pt x="868" y="187"/>
                </a:cubicBezTo>
                <a:cubicBezTo>
                  <a:pt x="867" y="187"/>
                  <a:pt x="867" y="187"/>
                  <a:pt x="867" y="188"/>
                </a:cubicBezTo>
                <a:cubicBezTo>
                  <a:pt x="867" y="188"/>
                  <a:pt x="868" y="188"/>
                  <a:pt x="868" y="188"/>
                </a:cubicBezTo>
                <a:cubicBezTo>
                  <a:pt x="868" y="188"/>
                  <a:pt x="868" y="188"/>
                  <a:pt x="868" y="188"/>
                </a:cubicBezTo>
                <a:close/>
                <a:moveTo>
                  <a:pt x="868" y="187"/>
                </a:moveTo>
                <a:cubicBezTo>
                  <a:pt x="868" y="187"/>
                  <a:pt x="868" y="187"/>
                  <a:pt x="869" y="187"/>
                </a:cubicBezTo>
                <a:cubicBezTo>
                  <a:pt x="868" y="186"/>
                  <a:pt x="868" y="186"/>
                  <a:pt x="867" y="186"/>
                </a:cubicBezTo>
                <a:cubicBezTo>
                  <a:pt x="867" y="186"/>
                  <a:pt x="866" y="185"/>
                  <a:pt x="866" y="185"/>
                </a:cubicBezTo>
                <a:cubicBezTo>
                  <a:pt x="866" y="185"/>
                  <a:pt x="866" y="185"/>
                  <a:pt x="866" y="185"/>
                </a:cubicBezTo>
                <a:cubicBezTo>
                  <a:pt x="866" y="185"/>
                  <a:pt x="866" y="185"/>
                  <a:pt x="866" y="186"/>
                </a:cubicBezTo>
                <a:cubicBezTo>
                  <a:pt x="867" y="186"/>
                  <a:pt x="867" y="186"/>
                  <a:pt x="868" y="187"/>
                </a:cubicBezTo>
                <a:close/>
                <a:moveTo>
                  <a:pt x="866" y="186"/>
                </a:moveTo>
                <a:cubicBezTo>
                  <a:pt x="865" y="186"/>
                  <a:pt x="865" y="186"/>
                  <a:pt x="865" y="185"/>
                </a:cubicBezTo>
                <a:cubicBezTo>
                  <a:pt x="865" y="186"/>
                  <a:pt x="865" y="186"/>
                  <a:pt x="865" y="186"/>
                </a:cubicBezTo>
                <a:cubicBezTo>
                  <a:pt x="865" y="186"/>
                  <a:pt x="866" y="186"/>
                  <a:pt x="866" y="186"/>
                </a:cubicBezTo>
                <a:close/>
                <a:moveTo>
                  <a:pt x="852" y="240"/>
                </a:moveTo>
                <a:cubicBezTo>
                  <a:pt x="852" y="240"/>
                  <a:pt x="852" y="240"/>
                  <a:pt x="852" y="240"/>
                </a:cubicBezTo>
                <a:cubicBezTo>
                  <a:pt x="852" y="240"/>
                  <a:pt x="851" y="240"/>
                  <a:pt x="851" y="240"/>
                </a:cubicBezTo>
                <a:cubicBezTo>
                  <a:pt x="851" y="240"/>
                  <a:pt x="850" y="240"/>
                  <a:pt x="850" y="240"/>
                </a:cubicBezTo>
                <a:cubicBezTo>
                  <a:pt x="850" y="240"/>
                  <a:pt x="850" y="240"/>
                  <a:pt x="850" y="241"/>
                </a:cubicBezTo>
                <a:cubicBezTo>
                  <a:pt x="851" y="240"/>
                  <a:pt x="852" y="240"/>
                  <a:pt x="853" y="240"/>
                </a:cubicBezTo>
                <a:cubicBezTo>
                  <a:pt x="853" y="241"/>
                  <a:pt x="853" y="241"/>
                  <a:pt x="852" y="241"/>
                </a:cubicBezTo>
                <a:cubicBezTo>
                  <a:pt x="852" y="241"/>
                  <a:pt x="851" y="241"/>
                  <a:pt x="851" y="241"/>
                </a:cubicBezTo>
                <a:cubicBezTo>
                  <a:pt x="851" y="242"/>
                  <a:pt x="851" y="242"/>
                  <a:pt x="851" y="242"/>
                </a:cubicBezTo>
                <a:cubicBezTo>
                  <a:pt x="851" y="242"/>
                  <a:pt x="851" y="242"/>
                  <a:pt x="851" y="242"/>
                </a:cubicBezTo>
                <a:cubicBezTo>
                  <a:pt x="852" y="242"/>
                  <a:pt x="852" y="242"/>
                  <a:pt x="852" y="242"/>
                </a:cubicBezTo>
                <a:cubicBezTo>
                  <a:pt x="853" y="242"/>
                  <a:pt x="853" y="242"/>
                  <a:pt x="854" y="242"/>
                </a:cubicBezTo>
                <a:cubicBezTo>
                  <a:pt x="854" y="242"/>
                  <a:pt x="853" y="242"/>
                  <a:pt x="852" y="243"/>
                </a:cubicBezTo>
                <a:cubicBezTo>
                  <a:pt x="852" y="243"/>
                  <a:pt x="852" y="243"/>
                  <a:pt x="852" y="243"/>
                </a:cubicBezTo>
                <a:cubicBezTo>
                  <a:pt x="852" y="243"/>
                  <a:pt x="852" y="243"/>
                  <a:pt x="853" y="243"/>
                </a:cubicBezTo>
                <a:cubicBezTo>
                  <a:pt x="853" y="243"/>
                  <a:pt x="854" y="243"/>
                  <a:pt x="855" y="242"/>
                </a:cubicBezTo>
                <a:cubicBezTo>
                  <a:pt x="855" y="243"/>
                  <a:pt x="855" y="243"/>
                  <a:pt x="855" y="243"/>
                </a:cubicBezTo>
                <a:cubicBezTo>
                  <a:pt x="854" y="243"/>
                  <a:pt x="854" y="243"/>
                  <a:pt x="853" y="243"/>
                </a:cubicBezTo>
                <a:cubicBezTo>
                  <a:pt x="853" y="243"/>
                  <a:pt x="854" y="243"/>
                  <a:pt x="854" y="243"/>
                </a:cubicBezTo>
                <a:cubicBezTo>
                  <a:pt x="854" y="243"/>
                  <a:pt x="854" y="244"/>
                  <a:pt x="854" y="244"/>
                </a:cubicBezTo>
                <a:cubicBezTo>
                  <a:pt x="854" y="244"/>
                  <a:pt x="855" y="244"/>
                  <a:pt x="855" y="243"/>
                </a:cubicBezTo>
                <a:cubicBezTo>
                  <a:pt x="855" y="244"/>
                  <a:pt x="855" y="244"/>
                  <a:pt x="856" y="244"/>
                </a:cubicBezTo>
                <a:cubicBezTo>
                  <a:pt x="856" y="244"/>
                  <a:pt x="857" y="244"/>
                  <a:pt x="858" y="243"/>
                </a:cubicBezTo>
                <a:cubicBezTo>
                  <a:pt x="858" y="243"/>
                  <a:pt x="859" y="243"/>
                  <a:pt x="859" y="243"/>
                </a:cubicBezTo>
                <a:cubicBezTo>
                  <a:pt x="860" y="243"/>
                  <a:pt x="860" y="243"/>
                  <a:pt x="861" y="242"/>
                </a:cubicBezTo>
                <a:cubicBezTo>
                  <a:pt x="860" y="242"/>
                  <a:pt x="860" y="242"/>
                  <a:pt x="860" y="242"/>
                </a:cubicBezTo>
                <a:cubicBezTo>
                  <a:pt x="860" y="242"/>
                  <a:pt x="861" y="242"/>
                  <a:pt x="861" y="242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2"/>
                  <a:pt x="862" y="242"/>
                  <a:pt x="862" y="242"/>
                </a:cubicBezTo>
                <a:cubicBezTo>
                  <a:pt x="862" y="242"/>
                  <a:pt x="863" y="242"/>
                  <a:pt x="863" y="241"/>
                </a:cubicBezTo>
                <a:cubicBezTo>
                  <a:pt x="863" y="241"/>
                  <a:pt x="863" y="241"/>
                  <a:pt x="864" y="241"/>
                </a:cubicBezTo>
                <a:cubicBezTo>
                  <a:pt x="864" y="241"/>
                  <a:pt x="864" y="241"/>
                  <a:pt x="864" y="241"/>
                </a:cubicBezTo>
                <a:cubicBezTo>
                  <a:pt x="865" y="240"/>
                  <a:pt x="866" y="240"/>
                  <a:pt x="867" y="240"/>
                </a:cubicBezTo>
                <a:cubicBezTo>
                  <a:pt x="867" y="240"/>
                  <a:pt x="867" y="240"/>
                  <a:pt x="867" y="240"/>
                </a:cubicBezTo>
                <a:cubicBezTo>
                  <a:pt x="867" y="240"/>
                  <a:pt x="868" y="240"/>
                  <a:pt x="868" y="240"/>
                </a:cubicBezTo>
                <a:cubicBezTo>
                  <a:pt x="868" y="240"/>
                  <a:pt x="868" y="240"/>
                  <a:pt x="868" y="240"/>
                </a:cubicBezTo>
                <a:cubicBezTo>
                  <a:pt x="869" y="240"/>
                  <a:pt x="869" y="240"/>
                  <a:pt x="869" y="240"/>
                </a:cubicBezTo>
                <a:cubicBezTo>
                  <a:pt x="870" y="240"/>
                  <a:pt x="870" y="240"/>
                  <a:pt x="871" y="240"/>
                </a:cubicBezTo>
                <a:cubicBezTo>
                  <a:pt x="870" y="240"/>
                  <a:pt x="870" y="239"/>
                  <a:pt x="869" y="239"/>
                </a:cubicBezTo>
                <a:cubicBezTo>
                  <a:pt x="870" y="239"/>
                  <a:pt x="870" y="239"/>
                  <a:pt x="870" y="239"/>
                </a:cubicBezTo>
                <a:cubicBezTo>
                  <a:pt x="871" y="239"/>
                  <a:pt x="871" y="238"/>
                  <a:pt x="871" y="238"/>
                </a:cubicBezTo>
                <a:cubicBezTo>
                  <a:pt x="871" y="238"/>
                  <a:pt x="871" y="238"/>
                  <a:pt x="871" y="237"/>
                </a:cubicBezTo>
                <a:cubicBezTo>
                  <a:pt x="871" y="237"/>
                  <a:pt x="871" y="237"/>
                  <a:pt x="872" y="237"/>
                </a:cubicBezTo>
                <a:cubicBezTo>
                  <a:pt x="872" y="237"/>
                  <a:pt x="872" y="236"/>
                  <a:pt x="872" y="236"/>
                </a:cubicBezTo>
                <a:cubicBezTo>
                  <a:pt x="872" y="235"/>
                  <a:pt x="872" y="235"/>
                  <a:pt x="872" y="234"/>
                </a:cubicBezTo>
                <a:cubicBezTo>
                  <a:pt x="871" y="234"/>
                  <a:pt x="871" y="234"/>
                  <a:pt x="871" y="234"/>
                </a:cubicBezTo>
                <a:cubicBezTo>
                  <a:pt x="871" y="234"/>
                  <a:pt x="871" y="234"/>
                  <a:pt x="872" y="234"/>
                </a:cubicBezTo>
                <a:cubicBezTo>
                  <a:pt x="872" y="234"/>
                  <a:pt x="872" y="233"/>
                  <a:pt x="872" y="233"/>
                </a:cubicBezTo>
                <a:cubicBezTo>
                  <a:pt x="871" y="233"/>
                  <a:pt x="871" y="233"/>
                  <a:pt x="871" y="232"/>
                </a:cubicBezTo>
                <a:cubicBezTo>
                  <a:pt x="871" y="232"/>
                  <a:pt x="871" y="232"/>
                  <a:pt x="871" y="232"/>
                </a:cubicBezTo>
                <a:cubicBezTo>
                  <a:pt x="871" y="231"/>
                  <a:pt x="870" y="231"/>
                  <a:pt x="870" y="231"/>
                </a:cubicBezTo>
                <a:cubicBezTo>
                  <a:pt x="870" y="231"/>
                  <a:pt x="870" y="231"/>
                  <a:pt x="871" y="231"/>
                </a:cubicBezTo>
                <a:cubicBezTo>
                  <a:pt x="871" y="231"/>
                  <a:pt x="871" y="231"/>
                  <a:pt x="871" y="231"/>
                </a:cubicBezTo>
                <a:cubicBezTo>
                  <a:pt x="871" y="231"/>
                  <a:pt x="871" y="231"/>
                  <a:pt x="871" y="231"/>
                </a:cubicBezTo>
                <a:cubicBezTo>
                  <a:pt x="871" y="231"/>
                  <a:pt x="871" y="230"/>
                  <a:pt x="871" y="230"/>
                </a:cubicBezTo>
                <a:cubicBezTo>
                  <a:pt x="872" y="230"/>
                  <a:pt x="872" y="230"/>
                  <a:pt x="872" y="230"/>
                </a:cubicBezTo>
                <a:cubicBezTo>
                  <a:pt x="872" y="230"/>
                  <a:pt x="872" y="230"/>
                  <a:pt x="873" y="230"/>
                </a:cubicBezTo>
                <a:cubicBezTo>
                  <a:pt x="873" y="230"/>
                  <a:pt x="873" y="229"/>
                  <a:pt x="873" y="229"/>
                </a:cubicBezTo>
                <a:cubicBezTo>
                  <a:pt x="873" y="229"/>
                  <a:pt x="874" y="229"/>
                  <a:pt x="874" y="229"/>
                </a:cubicBezTo>
                <a:cubicBezTo>
                  <a:pt x="874" y="229"/>
                  <a:pt x="874" y="229"/>
                  <a:pt x="874" y="229"/>
                </a:cubicBezTo>
                <a:cubicBezTo>
                  <a:pt x="874" y="229"/>
                  <a:pt x="874" y="229"/>
                  <a:pt x="873" y="229"/>
                </a:cubicBezTo>
                <a:cubicBezTo>
                  <a:pt x="873" y="228"/>
                  <a:pt x="874" y="228"/>
                  <a:pt x="874" y="228"/>
                </a:cubicBezTo>
                <a:cubicBezTo>
                  <a:pt x="874" y="228"/>
                  <a:pt x="873" y="228"/>
                  <a:pt x="873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4" y="228"/>
                  <a:pt x="874" y="228"/>
                  <a:pt x="875" y="229"/>
                </a:cubicBezTo>
                <a:cubicBezTo>
                  <a:pt x="875" y="228"/>
                  <a:pt x="874" y="228"/>
                  <a:pt x="874" y="227"/>
                </a:cubicBezTo>
                <a:cubicBezTo>
                  <a:pt x="874" y="227"/>
                  <a:pt x="873" y="227"/>
                  <a:pt x="873" y="227"/>
                </a:cubicBezTo>
                <a:cubicBezTo>
                  <a:pt x="873" y="227"/>
                  <a:pt x="873" y="227"/>
                  <a:pt x="874" y="227"/>
                </a:cubicBezTo>
                <a:cubicBezTo>
                  <a:pt x="873" y="226"/>
                  <a:pt x="872" y="226"/>
                  <a:pt x="872" y="225"/>
                </a:cubicBezTo>
                <a:cubicBezTo>
                  <a:pt x="872" y="225"/>
                  <a:pt x="872" y="225"/>
                  <a:pt x="872" y="225"/>
                </a:cubicBezTo>
                <a:cubicBezTo>
                  <a:pt x="871" y="225"/>
                  <a:pt x="871" y="224"/>
                  <a:pt x="871" y="224"/>
                </a:cubicBezTo>
                <a:cubicBezTo>
                  <a:pt x="870" y="224"/>
                  <a:pt x="870" y="224"/>
                  <a:pt x="869" y="224"/>
                </a:cubicBezTo>
                <a:cubicBezTo>
                  <a:pt x="869" y="225"/>
                  <a:pt x="869" y="225"/>
                  <a:pt x="868" y="225"/>
                </a:cubicBezTo>
                <a:cubicBezTo>
                  <a:pt x="868" y="225"/>
                  <a:pt x="868" y="225"/>
                  <a:pt x="868" y="225"/>
                </a:cubicBezTo>
                <a:cubicBezTo>
                  <a:pt x="867" y="225"/>
                  <a:pt x="867" y="225"/>
                  <a:pt x="867" y="225"/>
                </a:cubicBezTo>
                <a:cubicBezTo>
                  <a:pt x="867" y="225"/>
                  <a:pt x="867" y="225"/>
                  <a:pt x="866" y="225"/>
                </a:cubicBezTo>
                <a:cubicBezTo>
                  <a:pt x="866" y="225"/>
                  <a:pt x="866" y="225"/>
                  <a:pt x="866" y="225"/>
                </a:cubicBezTo>
                <a:cubicBezTo>
                  <a:pt x="866" y="225"/>
                  <a:pt x="866" y="225"/>
                  <a:pt x="867" y="225"/>
                </a:cubicBezTo>
                <a:cubicBezTo>
                  <a:pt x="867" y="225"/>
                  <a:pt x="867" y="225"/>
                  <a:pt x="868" y="224"/>
                </a:cubicBezTo>
                <a:cubicBezTo>
                  <a:pt x="867" y="224"/>
                  <a:pt x="867" y="224"/>
                  <a:pt x="867" y="224"/>
                </a:cubicBezTo>
                <a:cubicBezTo>
                  <a:pt x="866" y="224"/>
                  <a:pt x="866" y="224"/>
                  <a:pt x="866" y="224"/>
                </a:cubicBezTo>
                <a:cubicBezTo>
                  <a:pt x="866" y="224"/>
                  <a:pt x="866" y="224"/>
                  <a:pt x="866" y="224"/>
                </a:cubicBezTo>
                <a:cubicBezTo>
                  <a:pt x="866" y="224"/>
                  <a:pt x="865" y="224"/>
                  <a:pt x="865" y="224"/>
                </a:cubicBezTo>
                <a:cubicBezTo>
                  <a:pt x="865" y="224"/>
                  <a:pt x="865" y="225"/>
                  <a:pt x="865" y="225"/>
                </a:cubicBezTo>
                <a:cubicBezTo>
                  <a:pt x="865" y="225"/>
                  <a:pt x="865" y="226"/>
                  <a:pt x="864" y="226"/>
                </a:cubicBezTo>
                <a:cubicBezTo>
                  <a:pt x="864" y="226"/>
                  <a:pt x="864" y="225"/>
                  <a:pt x="865" y="225"/>
                </a:cubicBezTo>
                <a:cubicBezTo>
                  <a:pt x="865" y="225"/>
                  <a:pt x="865" y="225"/>
                  <a:pt x="865" y="225"/>
                </a:cubicBezTo>
                <a:cubicBezTo>
                  <a:pt x="865" y="225"/>
                  <a:pt x="865" y="224"/>
                  <a:pt x="864" y="224"/>
                </a:cubicBezTo>
                <a:cubicBezTo>
                  <a:pt x="864" y="224"/>
                  <a:pt x="864" y="224"/>
                  <a:pt x="864" y="224"/>
                </a:cubicBezTo>
                <a:cubicBezTo>
                  <a:pt x="864" y="225"/>
                  <a:pt x="864" y="225"/>
                  <a:pt x="864" y="225"/>
                </a:cubicBezTo>
                <a:cubicBezTo>
                  <a:pt x="864" y="225"/>
                  <a:pt x="864" y="225"/>
                  <a:pt x="863" y="225"/>
                </a:cubicBezTo>
                <a:cubicBezTo>
                  <a:pt x="863" y="225"/>
                  <a:pt x="863" y="225"/>
                  <a:pt x="863" y="225"/>
                </a:cubicBezTo>
                <a:cubicBezTo>
                  <a:pt x="862" y="225"/>
                  <a:pt x="862" y="225"/>
                  <a:pt x="861" y="225"/>
                </a:cubicBezTo>
                <a:cubicBezTo>
                  <a:pt x="861" y="225"/>
                  <a:pt x="861" y="225"/>
                  <a:pt x="861" y="225"/>
                </a:cubicBezTo>
                <a:cubicBezTo>
                  <a:pt x="861" y="225"/>
                  <a:pt x="861" y="225"/>
                  <a:pt x="861" y="225"/>
                </a:cubicBezTo>
                <a:cubicBezTo>
                  <a:pt x="861" y="226"/>
                  <a:pt x="861" y="226"/>
                  <a:pt x="860" y="226"/>
                </a:cubicBezTo>
                <a:cubicBezTo>
                  <a:pt x="861" y="226"/>
                  <a:pt x="861" y="226"/>
                  <a:pt x="861" y="226"/>
                </a:cubicBezTo>
                <a:cubicBezTo>
                  <a:pt x="861" y="226"/>
                  <a:pt x="861" y="226"/>
                  <a:pt x="861" y="227"/>
                </a:cubicBezTo>
                <a:cubicBezTo>
                  <a:pt x="861" y="227"/>
                  <a:pt x="860" y="227"/>
                  <a:pt x="860" y="227"/>
                </a:cubicBezTo>
                <a:cubicBezTo>
                  <a:pt x="860" y="227"/>
                  <a:pt x="860" y="227"/>
                  <a:pt x="860" y="227"/>
                </a:cubicBezTo>
                <a:cubicBezTo>
                  <a:pt x="860" y="227"/>
                  <a:pt x="860" y="227"/>
                  <a:pt x="859" y="227"/>
                </a:cubicBezTo>
                <a:cubicBezTo>
                  <a:pt x="859" y="227"/>
                  <a:pt x="859" y="227"/>
                  <a:pt x="860" y="228"/>
                </a:cubicBezTo>
                <a:cubicBezTo>
                  <a:pt x="860" y="228"/>
                  <a:pt x="860" y="228"/>
                  <a:pt x="861" y="228"/>
                </a:cubicBezTo>
                <a:cubicBezTo>
                  <a:pt x="861" y="228"/>
                  <a:pt x="861" y="228"/>
                  <a:pt x="861" y="228"/>
                </a:cubicBezTo>
                <a:cubicBezTo>
                  <a:pt x="861" y="228"/>
                  <a:pt x="861" y="228"/>
                  <a:pt x="862" y="228"/>
                </a:cubicBezTo>
                <a:cubicBezTo>
                  <a:pt x="862" y="228"/>
                  <a:pt x="862" y="228"/>
                  <a:pt x="862" y="228"/>
                </a:cubicBezTo>
                <a:cubicBezTo>
                  <a:pt x="862" y="228"/>
                  <a:pt x="861" y="228"/>
                  <a:pt x="861" y="228"/>
                </a:cubicBezTo>
                <a:cubicBezTo>
                  <a:pt x="860" y="229"/>
                  <a:pt x="860" y="229"/>
                  <a:pt x="859" y="229"/>
                </a:cubicBezTo>
                <a:cubicBezTo>
                  <a:pt x="860" y="229"/>
                  <a:pt x="860" y="229"/>
                  <a:pt x="860" y="229"/>
                </a:cubicBezTo>
                <a:cubicBezTo>
                  <a:pt x="859" y="229"/>
                  <a:pt x="859" y="229"/>
                  <a:pt x="858" y="230"/>
                </a:cubicBezTo>
                <a:cubicBezTo>
                  <a:pt x="858" y="229"/>
                  <a:pt x="858" y="229"/>
                  <a:pt x="858" y="229"/>
                </a:cubicBezTo>
                <a:cubicBezTo>
                  <a:pt x="857" y="229"/>
                  <a:pt x="857" y="230"/>
                  <a:pt x="857" y="230"/>
                </a:cubicBezTo>
                <a:cubicBezTo>
                  <a:pt x="857" y="230"/>
                  <a:pt x="857" y="229"/>
                  <a:pt x="857" y="229"/>
                </a:cubicBezTo>
                <a:cubicBezTo>
                  <a:pt x="856" y="229"/>
                  <a:pt x="855" y="229"/>
                  <a:pt x="854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54" y="229"/>
                  <a:pt x="853" y="229"/>
                  <a:pt x="853" y="229"/>
                </a:cubicBezTo>
                <a:cubicBezTo>
                  <a:pt x="853" y="230"/>
                  <a:pt x="852" y="230"/>
                  <a:pt x="852" y="230"/>
                </a:cubicBezTo>
                <a:cubicBezTo>
                  <a:pt x="853" y="230"/>
                  <a:pt x="853" y="230"/>
                  <a:pt x="853" y="230"/>
                </a:cubicBezTo>
                <a:cubicBezTo>
                  <a:pt x="853" y="230"/>
                  <a:pt x="853" y="230"/>
                  <a:pt x="853" y="230"/>
                </a:cubicBezTo>
                <a:cubicBezTo>
                  <a:pt x="853" y="230"/>
                  <a:pt x="853" y="230"/>
                  <a:pt x="854" y="230"/>
                </a:cubicBezTo>
                <a:cubicBezTo>
                  <a:pt x="854" y="231"/>
                  <a:pt x="854" y="231"/>
                  <a:pt x="854" y="231"/>
                </a:cubicBezTo>
                <a:cubicBezTo>
                  <a:pt x="854" y="231"/>
                  <a:pt x="854" y="231"/>
                  <a:pt x="853" y="231"/>
                </a:cubicBezTo>
                <a:cubicBezTo>
                  <a:pt x="853" y="231"/>
                  <a:pt x="853" y="231"/>
                  <a:pt x="853" y="231"/>
                </a:cubicBezTo>
                <a:cubicBezTo>
                  <a:pt x="853" y="231"/>
                  <a:pt x="852" y="231"/>
                  <a:pt x="852" y="231"/>
                </a:cubicBezTo>
                <a:cubicBezTo>
                  <a:pt x="852" y="231"/>
                  <a:pt x="853" y="231"/>
                  <a:pt x="853" y="231"/>
                </a:cubicBezTo>
                <a:cubicBezTo>
                  <a:pt x="854" y="231"/>
                  <a:pt x="854" y="231"/>
                  <a:pt x="855" y="231"/>
                </a:cubicBezTo>
                <a:cubicBezTo>
                  <a:pt x="855" y="231"/>
                  <a:pt x="855" y="232"/>
                  <a:pt x="855" y="232"/>
                </a:cubicBezTo>
                <a:cubicBezTo>
                  <a:pt x="854" y="232"/>
                  <a:pt x="854" y="232"/>
                  <a:pt x="854" y="232"/>
                </a:cubicBezTo>
                <a:cubicBezTo>
                  <a:pt x="853" y="232"/>
                  <a:pt x="853" y="232"/>
                  <a:pt x="853" y="232"/>
                </a:cubicBezTo>
                <a:cubicBezTo>
                  <a:pt x="854" y="233"/>
                  <a:pt x="854" y="233"/>
                  <a:pt x="854" y="233"/>
                </a:cubicBezTo>
                <a:cubicBezTo>
                  <a:pt x="853" y="233"/>
                  <a:pt x="853" y="233"/>
                  <a:pt x="852" y="233"/>
                </a:cubicBezTo>
                <a:cubicBezTo>
                  <a:pt x="852" y="233"/>
                  <a:pt x="852" y="233"/>
                  <a:pt x="853" y="234"/>
                </a:cubicBezTo>
                <a:cubicBezTo>
                  <a:pt x="852" y="234"/>
                  <a:pt x="852" y="234"/>
                  <a:pt x="852" y="234"/>
                </a:cubicBezTo>
                <a:cubicBezTo>
                  <a:pt x="852" y="234"/>
                  <a:pt x="853" y="234"/>
                  <a:pt x="853" y="234"/>
                </a:cubicBezTo>
                <a:cubicBezTo>
                  <a:pt x="853" y="234"/>
                  <a:pt x="853" y="234"/>
                  <a:pt x="854" y="234"/>
                </a:cubicBezTo>
                <a:cubicBezTo>
                  <a:pt x="853" y="234"/>
                  <a:pt x="853" y="234"/>
                  <a:pt x="853" y="234"/>
                </a:cubicBezTo>
                <a:cubicBezTo>
                  <a:pt x="854" y="234"/>
                  <a:pt x="854" y="234"/>
                  <a:pt x="854" y="234"/>
                </a:cubicBezTo>
                <a:cubicBezTo>
                  <a:pt x="855" y="234"/>
                  <a:pt x="855" y="235"/>
                  <a:pt x="855" y="235"/>
                </a:cubicBezTo>
                <a:cubicBezTo>
                  <a:pt x="856" y="235"/>
                  <a:pt x="857" y="235"/>
                  <a:pt x="858" y="235"/>
                </a:cubicBezTo>
                <a:cubicBezTo>
                  <a:pt x="858" y="235"/>
                  <a:pt x="857" y="235"/>
                  <a:pt x="857" y="235"/>
                </a:cubicBezTo>
                <a:cubicBezTo>
                  <a:pt x="857" y="235"/>
                  <a:pt x="856" y="235"/>
                  <a:pt x="856" y="235"/>
                </a:cubicBezTo>
                <a:cubicBezTo>
                  <a:pt x="856" y="236"/>
                  <a:pt x="855" y="236"/>
                  <a:pt x="855" y="236"/>
                </a:cubicBezTo>
                <a:cubicBezTo>
                  <a:pt x="855" y="236"/>
                  <a:pt x="855" y="236"/>
                  <a:pt x="856" y="236"/>
                </a:cubicBezTo>
                <a:cubicBezTo>
                  <a:pt x="855" y="237"/>
                  <a:pt x="855" y="237"/>
                  <a:pt x="855" y="237"/>
                </a:cubicBezTo>
                <a:cubicBezTo>
                  <a:pt x="854" y="238"/>
                  <a:pt x="854" y="238"/>
                  <a:pt x="853" y="238"/>
                </a:cubicBezTo>
                <a:cubicBezTo>
                  <a:pt x="853" y="238"/>
                  <a:pt x="853" y="238"/>
                  <a:pt x="854" y="238"/>
                </a:cubicBezTo>
                <a:cubicBezTo>
                  <a:pt x="854" y="238"/>
                  <a:pt x="854" y="238"/>
                  <a:pt x="855" y="238"/>
                </a:cubicBezTo>
                <a:cubicBezTo>
                  <a:pt x="855" y="238"/>
                  <a:pt x="855" y="238"/>
                  <a:pt x="855" y="238"/>
                </a:cubicBezTo>
                <a:cubicBezTo>
                  <a:pt x="856" y="238"/>
                  <a:pt x="856" y="238"/>
                  <a:pt x="857" y="238"/>
                </a:cubicBezTo>
                <a:cubicBezTo>
                  <a:pt x="857" y="238"/>
                  <a:pt x="857" y="237"/>
                  <a:pt x="857" y="237"/>
                </a:cubicBezTo>
                <a:cubicBezTo>
                  <a:pt x="858" y="237"/>
                  <a:pt x="858" y="237"/>
                  <a:pt x="858" y="238"/>
                </a:cubicBezTo>
                <a:cubicBezTo>
                  <a:pt x="858" y="238"/>
                  <a:pt x="858" y="238"/>
                  <a:pt x="859" y="238"/>
                </a:cubicBezTo>
                <a:cubicBezTo>
                  <a:pt x="858" y="238"/>
                  <a:pt x="857" y="238"/>
                  <a:pt x="856" y="238"/>
                </a:cubicBezTo>
                <a:cubicBezTo>
                  <a:pt x="856" y="238"/>
                  <a:pt x="855" y="238"/>
                  <a:pt x="854" y="238"/>
                </a:cubicBezTo>
                <a:cubicBezTo>
                  <a:pt x="854" y="238"/>
                  <a:pt x="854" y="239"/>
                  <a:pt x="854" y="239"/>
                </a:cubicBezTo>
                <a:cubicBezTo>
                  <a:pt x="854" y="239"/>
                  <a:pt x="853" y="239"/>
                  <a:pt x="853" y="239"/>
                </a:cubicBezTo>
                <a:cubicBezTo>
                  <a:pt x="853" y="239"/>
                  <a:pt x="853" y="239"/>
                  <a:pt x="853" y="239"/>
                </a:cubicBezTo>
                <a:cubicBezTo>
                  <a:pt x="853" y="240"/>
                  <a:pt x="853" y="240"/>
                  <a:pt x="853" y="240"/>
                </a:cubicBezTo>
                <a:cubicBezTo>
                  <a:pt x="853" y="240"/>
                  <a:pt x="853" y="240"/>
                  <a:pt x="854" y="240"/>
                </a:cubicBezTo>
                <a:cubicBezTo>
                  <a:pt x="853" y="240"/>
                  <a:pt x="853" y="240"/>
                  <a:pt x="853" y="240"/>
                </a:cubicBezTo>
                <a:cubicBezTo>
                  <a:pt x="852" y="240"/>
                  <a:pt x="852" y="240"/>
                  <a:pt x="852" y="240"/>
                </a:cubicBezTo>
                <a:close/>
                <a:moveTo>
                  <a:pt x="870" y="215"/>
                </a:moveTo>
                <a:cubicBezTo>
                  <a:pt x="870" y="215"/>
                  <a:pt x="870" y="215"/>
                  <a:pt x="870" y="216"/>
                </a:cubicBezTo>
                <a:cubicBezTo>
                  <a:pt x="871" y="215"/>
                  <a:pt x="871" y="215"/>
                  <a:pt x="871" y="215"/>
                </a:cubicBezTo>
                <a:cubicBezTo>
                  <a:pt x="871" y="215"/>
                  <a:pt x="871" y="215"/>
                  <a:pt x="871" y="215"/>
                </a:cubicBezTo>
                <a:cubicBezTo>
                  <a:pt x="870" y="215"/>
                  <a:pt x="870" y="215"/>
                  <a:pt x="870" y="215"/>
                </a:cubicBezTo>
                <a:close/>
                <a:moveTo>
                  <a:pt x="873" y="221"/>
                </a:moveTo>
                <a:cubicBezTo>
                  <a:pt x="873" y="220"/>
                  <a:pt x="873" y="220"/>
                  <a:pt x="873" y="220"/>
                </a:cubicBezTo>
                <a:cubicBezTo>
                  <a:pt x="873" y="220"/>
                  <a:pt x="872" y="220"/>
                  <a:pt x="872" y="221"/>
                </a:cubicBezTo>
                <a:cubicBezTo>
                  <a:pt x="872" y="221"/>
                  <a:pt x="872" y="221"/>
                  <a:pt x="872" y="221"/>
                </a:cubicBezTo>
                <a:cubicBezTo>
                  <a:pt x="872" y="221"/>
                  <a:pt x="872" y="221"/>
                  <a:pt x="873" y="221"/>
                </a:cubicBezTo>
                <a:close/>
                <a:moveTo>
                  <a:pt x="871" y="212"/>
                </a:moveTo>
                <a:cubicBezTo>
                  <a:pt x="871" y="212"/>
                  <a:pt x="870" y="212"/>
                  <a:pt x="870" y="212"/>
                </a:cubicBezTo>
                <a:cubicBezTo>
                  <a:pt x="870" y="212"/>
                  <a:pt x="870" y="212"/>
                  <a:pt x="870" y="213"/>
                </a:cubicBezTo>
                <a:cubicBezTo>
                  <a:pt x="870" y="212"/>
                  <a:pt x="870" y="212"/>
                  <a:pt x="869" y="212"/>
                </a:cubicBezTo>
                <a:cubicBezTo>
                  <a:pt x="869" y="212"/>
                  <a:pt x="869" y="213"/>
                  <a:pt x="869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69" y="213"/>
                  <a:pt x="869" y="213"/>
                  <a:pt x="868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70" y="213"/>
                  <a:pt x="870" y="213"/>
                  <a:pt x="870" y="213"/>
                </a:cubicBezTo>
                <a:cubicBezTo>
                  <a:pt x="870" y="213"/>
                  <a:pt x="870" y="213"/>
                  <a:pt x="870" y="214"/>
                </a:cubicBezTo>
                <a:cubicBezTo>
                  <a:pt x="870" y="214"/>
                  <a:pt x="870" y="214"/>
                  <a:pt x="871" y="214"/>
                </a:cubicBezTo>
                <a:cubicBezTo>
                  <a:pt x="871" y="214"/>
                  <a:pt x="871" y="214"/>
                  <a:pt x="872" y="214"/>
                </a:cubicBezTo>
                <a:cubicBezTo>
                  <a:pt x="872" y="214"/>
                  <a:pt x="872" y="215"/>
                  <a:pt x="872" y="215"/>
                </a:cubicBezTo>
                <a:cubicBezTo>
                  <a:pt x="872" y="215"/>
                  <a:pt x="872" y="215"/>
                  <a:pt x="872" y="215"/>
                </a:cubicBezTo>
                <a:cubicBezTo>
                  <a:pt x="872" y="215"/>
                  <a:pt x="873" y="214"/>
                  <a:pt x="873" y="214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2" y="214"/>
                </a:cubicBezTo>
                <a:cubicBezTo>
                  <a:pt x="872" y="214"/>
                  <a:pt x="872" y="214"/>
                  <a:pt x="871" y="213"/>
                </a:cubicBezTo>
                <a:cubicBezTo>
                  <a:pt x="871" y="213"/>
                  <a:pt x="871" y="213"/>
                  <a:pt x="871" y="212"/>
                </a:cubicBezTo>
                <a:cubicBezTo>
                  <a:pt x="871" y="212"/>
                  <a:pt x="871" y="212"/>
                  <a:pt x="871" y="212"/>
                </a:cubicBezTo>
                <a:close/>
                <a:moveTo>
                  <a:pt x="885" y="203"/>
                </a:moveTo>
                <a:cubicBezTo>
                  <a:pt x="885" y="203"/>
                  <a:pt x="884" y="203"/>
                  <a:pt x="884" y="204"/>
                </a:cubicBezTo>
                <a:cubicBezTo>
                  <a:pt x="884" y="204"/>
                  <a:pt x="884" y="204"/>
                  <a:pt x="885" y="204"/>
                </a:cubicBezTo>
                <a:cubicBezTo>
                  <a:pt x="885" y="204"/>
                  <a:pt x="885" y="204"/>
                  <a:pt x="885" y="203"/>
                </a:cubicBezTo>
                <a:close/>
                <a:moveTo>
                  <a:pt x="906" y="243"/>
                </a:move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6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7" y="243"/>
                  <a:pt x="907" y="243"/>
                  <a:pt x="906" y="243"/>
                </a:cubicBezTo>
                <a:close/>
                <a:moveTo>
                  <a:pt x="869" y="211"/>
                </a:moveTo>
                <a:cubicBezTo>
                  <a:pt x="869" y="211"/>
                  <a:pt x="868" y="211"/>
                  <a:pt x="868" y="210"/>
                </a:cubicBezTo>
                <a:cubicBezTo>
                  <a:pt x="868" y="211"/>
                  <a:pt x="868" y="211"/>
                  <a:pt x="868" y="211"/>
                </a:cubicBezTo>
                <a:cubicBezTo>
                  <a:pt x="868" y="211"/>
                  <a:pt x="868" y="211"/>
                  <a:pt x="867" y="211"/>
                </a:cubicBezTo>
                <a:cubicBezTo>
                  <a:pt x="867" y="211"/>
                  <a:pt x="867" y="211"/>
                  <a:pt x="867" y="211"/>
                </a:cubicBezTo>
                <a:cubicBezTo>
                  <a:pt x="867" y="211"/>
                  <a:pt x="868" y="211"/>
                  <a:pt x="868" y="211"/>
                </a:cubicBezTo>
                <a:cubicBezTo>
                  <a:pt x="868" y="211"/>
                  <a:pt x="869" y="211"/>
                  <a:pt x="869" y="211"/>
                </a:cubicBezTo>
                <a:close/>
                <a:moveTo>
                  <a:pt x="871" y="220"/>
                </a:moveTo>
                <a:cubicBezTo>
                  <a:pt x="871" y="220"/>
                  <a:pt x="871" y="220"/>
                  <a:pt x="871" y="220"/>
                </a:cubicBezTo>
                <a:cubicBezTo>
                  <a:pt x="871" y="220"/>
                  <a:pt x="871" y="220"/>
                  <a:pt x="871" y="220"/>
                </a:cubicBezTo>
                <a:cubicBezTo>
                  <a:pt x="871" y="220"/>
                  <a:pt x="871" y="220"/>
                  <a:pt x="871" y="220"/>
                </a:cubicBezTo>
                <a:close/>
                <a:moveTo>
                  <a:pt x="871" y="216"/>
                </a:moveTo>
                <a:cubicBezTo>
                  <a:pt x="871" y="216"/>
                  <a:pt x="871" y="216"/>
                  <a:pt x="871" y="216"/>
                </a:cubicBezTo>
                <a:cubicBezTo>
                  <a:pt x="871" y="216"/>
                  <a:pt x="871" y="216"/>
                  <a:pt x="872" y="216"/>
                </a:cubicBezTo>
                <a:cubicBezTo>
                  <a:pt x="871" y="216"/>
                  <a:pt x="871" y="216"/>
                  <a:pt x="871" y="216"/>
                </a:cubicBezTo>
                <a:close/>
                <a:moveTo>
                  <a:pt x="893" y="194"/>
                </a:moveTo>
                <a:cubicBezTo>
                  <a:pt x="893" y="194"/>
                  <a:pt x="893" y="194"/>
                  <a:pt x="893" y="194"/>
                </a:cubicBezTo>
                <a:cubicBezTo>
                  <a:pt x="893" y="194"/>
                  <a:pt x="892" y="194"/>
                  <a:pt x="892" y="195"/>
                </a:cubicBezTo>
                <a:cubicBezTo>
                  <a:pt x="892" y="195"/>
                  <a:pt x="893" y="195"/>
                  <a:pt x="893" y="195"/>
                </a:cubicBezTo>
                <a:cubicBezTo>
                  <a:pt x="893" y="195"/>
                  <a:pt x="893" y="194"/>
                  <a:pt x="893" y="194"/>
                </a:cubicBezTo>
                <a:close/>
                <a:moveTo>
                  <a:pt x="895" y="194"/>
                </a:moveTo>
                <a:cubicBezTo>
                  <a:pt x="895" y="194"/>
                  <a:pt x="895" y="194"/>
                  <a:pt x="895" y="193"/>
                </a:cubicBezTo>
                <a:cubicBezTo>
                  <a:pt x="895" y="193"/>
                  <a:pt x="895" y="193"/>
                  <a:pt x="894" y="193"/>
                </a:cubicBezTo>
                <a:cubicBezTo>
                  <a:pt x="894" y="193"/>
                  <a:pt x="894" y="193"/>
                  <a:pt x="894" y="194"/>
                </a:cubicBezTo>
                <a:cubicBezTo>
                  <a:pt x="894" y="194"/>
                  <a:pt x="894" y="194"/>
                  <a:pt x="894" y="194"/>
                </a:cubicBezTo>
                <a:cubicBezTo>
                  <a:pt x="894" y="194"/>
                  <a:pt x="894" y="194"/>
                  <a:pt x="894" y="194"/>
                </a:cubicBezTo>
                <a:cubicBezTo>
                  <a:pt x="895" y="194"/>
                  <a:pt x="895" y="194"/>
                  <a:pt x="895" y="194"/>
                </a:cubicBezTo>
                <a:close/>
                <a:moveTo>
                  <a:pt x="896" y="192"/>
                </a:moveTo>
                <a:cubicBezTo>
                  <a:pt x="896" y="192"/>
                  <a:pt x="895" y="193"/>
                  <a:pt x="895" y="193"/>
                </a:cubicBezTo>
                <a:cubicBezTo>
                  <a:pt x="895" y="193"/>
                  <a:pt x="895" y="193"/>
                  <a:pt x="896" y="193"/>
                </a:cubicBezTo>
                <a:cubicBezTo>
                  <a:pt x="896" y="193"/>
                  <a:pt x="896" y="193"/>
                  <a:pt x="896" y="192"/>
                </a:cubicBezTo>
                <a:close/>
                <a:moveTo>
                  <a:pt x="868" y="218"/>
                </a:moveTo>
                <a:cubicBezTo>
                  <a:pt x="868" y="218"/>
                  <a:pt x="868" y="218"/>
                  <a:pt x="868" y="218"/>
                </a:cubicBezTo>
                <a:cubicBezTo>
                  <a:pt x="868" y="218"/>
                  <a:pt x="868" y="218"/>
                  <a:pt x="869" y="218"/>
                </a:cubicBezTo>
                <a:cubicBezTo>
                  <a:pt x="868" y="218"/>
                  <a:pt x="868" y="218"/>
                  <a:pt x="868" y="218"/>
                </a:cubicBezTo>
                <a:close/>
                <a:moveTo>
                  <a:pt x="869" y="209"/>
                </a:moveTo>
                <a:cubicBezTo>
                  <a:pt x="868" y="209"/>
                  <a:pt x="868" y="209"/>
                  <a:pt x="868" y="209"/>
                </a:cubicBezTo>
                <a:cubicBezTo>
                  <a:pt x="867" y="209"/>
                  <a:pt x="867" y="209"/>
                  <a:pt x="867" y="209"/>
                </a:cubicBezTo>
                <a:cubicBezTo>
                  <a:pt x="867" y="210"/>
                  <a:pt x="867" y="210"/>
                  <a:pt x="868" y="210"/>
                </a:cubicBezTo>
                <a:cubicBezTo>
                  <a:pt x="867" y="210"/>
                  <a:pt x="867" y="210"/>
                  <a:pt x="867" y="210"/>
                </a:cubicBezTo>
                <a:cubicBezTo>
                  <a:pt x="867" y="210"/>
                  <a:pt x="867" y="210"/>
                  <a:pt x="868" y="210"/>
                </a:cubicBezTo>
                <a:cubicBezTo>
                  <a:pt x="868" y="210"/>
                  <a:pt x="868" y="210"/>
                  <a:pt x="869" y="210"/>
                </a:cubicBezTo>
                <a:cubicBezTo>
                  <a:pt x="869" y="210"/>
                  <a:pt x="869" y="210"/>
                  <a:pt x="870" y="210"/>
                </a:cubicBezTo>
                <a:cubicBezTo>
                  <a:pt x="870" y="210"/>
                  <a:pt x="870" y="210"/>
                  <a:pt x="870" y="210"/>
                </a:cubicBezTo>
                <a:cubicBezTo>
                  <a:pt x="870" y="210"/>
                  <a:pt x="870" y="210"/>
                  <a:pt x="870" y="209"/>
                </a:cubicBezTo>
                <a:cubicBezTo>
                  <a:pt x="870" y="209"/>
                  <a:pt x="870" y="209"/>
                  <a:pt x="870" y="209"/>
                </a:cubicBezTo>
                <a:cubicBezTo>
                  <a:pt x="871" y="209"/>
                  <a:pt x="871" y="209"/>
                  <a:pt x="871" y="208"/>
                </a:cubicBezTo>
                <a:cubicBezTo>
                  <a:pt x="871" y="208"/>
                  <a:pt x="871" y="208"/>
                  <a:pt x="871" y="207"/>
                </a:cubicBezTo>
                <a:cubicBezTo>
                  <a:pt x="870" y="208"/>
                  <a:pt x="869" y="208"/>
                  <a:pt x="868" y="209"/>
                </a:cubicBezTo>
                <a:cubicBezTo>
                  <a:pt x="869" y="209"/>
                  <a:pt x="869" y="209"/>
                  <a:pt x="869" y="209"/>
                </a:cubicBezTo>
                <a:close/>
                <a:moveTo>
                  <a:pt x="894" y="197"/>
                </a:moveTo>
                <a:cubicBezTo>
                  <a:pt x="894" y="197"/>
                  <a:pt x="894" y="197"/>
                  <a:pt x="894" y="197"/>
                </a:cubicBezTo>
                <a:cubicBezTo>
                  <a:pt x="894" y="197"/>
                  <a:pt x="894" y="197"/>
                  <a:pt x="894" y="198"/>
                </a:cubicBezTo>
                <a:cubicBezTo>
                  <a:pt x="894" y="197"/>
                  <a:pt x="894" y="197"/>
                  <a:pt x="894" y="197"/>
                </a:cubicBezTo>
                <a:close/>
                <a:moveTo>
                  <a:pt x="894" y="196"/>
                </a:moveTo>
                <a:cubicBezTo>
                  <a:pt x="894" y="196"/>
                  <a:pt x="894" y="196"/>
                  <a:pt x="894" y="197"/>
                </a:cubicBezTo>
                <a:cubicBezTo>
                  <a:pt x="894" y="197"/>
                  <a:pt x="894" y="197"/>
                  <a:pt x="895" y="197"/>
                </a:cubicBezTo>
                <a:cubicBezTo>
                  <a:pt x="895" y="196"/>
                  <a:pt x="894" y="196"/>
                  <a:pt x="894" y="196"/>
                </a:cubicBezTo>
                <a:cubicBezTo>
                  <a:pt x="895" y="196"/>
                  <a:pt x="895" y="196"/>
                  <a:pt x="895" y="196"/>
                </a:cubicBezTo>
                <a:cubicBezTo>
                  <a:pt x="895" y="196"/>
                  <a:pt x="895" y="195"/>
                  <a:pt x="895" y="195"/>
                </a:cubicBezTo>
                <a:cubicBezTo>
                  <a:pt x="895" y="195"/>
                  <a:pt x="895" y="195"/>
                  <a:pt x="895" y="195"/>
                </a:cubicBezTo>
                <a:cubicBezTo>
                  <a:pt x="895" y="195"/>
                  <a:pt x="895" y="195"/>
                  <a:pt x="894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4" y="195"/>
                  <a:pt x="894" y="195"/>
                  <a:pt x="893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3" y="195"/>
                  <a:pt x="893" y="195"/>
                  <a:pt x="892" y="195"/>
                </a:cubicBezTo>
                <a:cubicBezTo>
                  <a:pt x="892" y="195"/>
                  <a:pt x="892" y="196"/>
                  <a:pt x="892" y="196"/>
                </a:cubicBezTo>
                <a:cubicBezTo>
                  <a:pt x="892" y="196"/>
                  <a:pt x="892" y="196"/>
                  <a:pt x="892" y="196"/>
                </a:cubicBezTo>
                <a:cubicBezTo>
                  <a:pt x="893" y="196"/>
                  <a:pt x="893" y="196"/>
                  <a:pt x="894" y="196"/>
                </a:cubicBezTo>
                <a:close/>
                <a:moveTo>
                  <a:pt x="866" y="213"/>
                </a:move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7" y="213"/>
                  <a:pt x="867" y="213"/>
                </a:cubicBezTo>
                <a:cubicBezTo>
                  <a:pt x="866" y="213"/>
                  <a:pt x="866" y="213"/>
                  <a:pt x="866" y="213"/>
                </a:cubicBezTo>
                <a:close/>
                <a:moveTo>
                  <a:pt x="883" y="205"/>
                </a:moveTo>
                <a:cubicBezTo>
                  <a:pt x="884" y="205"/>
                  <a:pt x="884" y="204"/>
                  <a:pt x="884" y="204"/>
                </a:cubicBezTo>
                <a:cubicBezTo>
                  <a:pt x="884" y="204"/>
                  <a:pt x="884" y="205"/>
                  <a:pt x="884" y="205"/>
                </a:cubicBezTo>
                <a:cubicBezTo>
                  <a:pt x="884" y="205"/>
                  <a:pt x="884" y="205"/>
                  <a:pt x="885" y="205"/>
                </a:cubicBezTo>
                <a:cubicBezTo>
                  <a:pt x="885" y="205"/>
                  <a:pt x="885" y="205"/>
                  <a:pt x="885" y="205"/>
                </a:cubicBezTo>
                <a:cubicBezTo>
                  <a:pt x="885" y="205"/>
                  <a:pt x="885" y="205"/>
                  <a:pt x="885" y="204"/>
                </a:cubicBezTo>
                <a:cubicBezTo>
                  <a:pt x="885" y="204"/>
                  <a:pt x="885" y="204"/>
                  <a:pt x="884" y="204"/>
                </a:cubicBezTo>
                <a:cubicBezTo>
                  <a:pt x="884" y="204"/>
                  <a:pt x="884" y="204"/>
                  <a:pt x="885" y="204"/>
                </a:cubicBezTo>
                <a:cubicBezTo>
                  <a:pt x="884" y="204"/>
                  <a:pt x="884" y="204"/>
                  <a:pt x="884" y="204"/>
                </a:cubicBezTo>
                <a:cubicBezTo>
                  <a:pt x="884" y="204"/>
                  <a:pt x="883" y="204"/>
                  <a:pt x="883" y="204"/>
                </a:cubicBezTo>
                <a:cubicBezTo>
                  <a:pt x="883" y="204"/>
                  <a:pt x="883" y="204"/>
                  <a:pt x="883" y="204"/>
                </a:cubicBezTo>
                <a:cubicBezTo>
                  <a:pt x="883" y="205"/>
                  <a:pt x="883" y="205"/>
                  <a:pt x="883" y="205"/>
                </a:cubicBezTo>
                <a:close/>
                <a:moveTo>
                  <a:pt x="873" y="212"/>
                </a:moveTo>
                <a:cubicBezTo>
                  <a:pt x="873" y="213"/>
                  <a:pt x="873" y="213"/>
                  <a:pt x="873" y="213"/>
                </a:cubicBezTo>
                <a:cubicBezTo>
                  <a:pt x="873" y="213"/>
                  <a:pt x="873" y="213"/>
                  <a:pt x="873" y="213"/>
                </a:cubicBezTo>
                <a:cubicBezTo>
                  <a:pt x="873" y="213"/>
                  <a:pt x="874" y="213"/>
                  <a:pt x="874" y="213"/>
                </a:cubicBezTo>
                <a:cubicBezTo>
                  <a:pt x="874" y="213"/>
                  <a:pt x="874" y="213"/>
                  <a:pt x="873" y="213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5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3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3" y="215"/>
                  <a:pt x="873" y="215"/>
                </a:cubicBezTo>
                <a:cubicBezTo>
                  <a:pt x="873" y="215"/>
                  <a:pt x="873" y="215"/>
                  <a:pt x="873" y="215"/>
                </a:cubicBezTo>
                <a:cubicBezTo>
                  <a:pt x="873" y="215"/>
                  <a:pt x="873" y="215"/>
                  <a:pt x="874" y="215"/>
                </a:cubicBezTo>
                <a:cubicBezTo>
                  <a:pt x="874" y="215"/>
                  <a:pt x="874" y="215"/>
                  <a:pt x="874" y="215"/>
                </a:cubicBezTo>
                <a:cubicBezTo>
                  <a:pt x="873" y="215"/>
                  <a:pt x="873" y="215"/>
                  <a:pt x="873" y="215"/>
                </a:cubicBezTo>
                <a:cubicBezTo>
                  <a:pt x="873" y="215"/>
                  <a:pt x="873" y="215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73" y="216"/>
                  <a:pt x="872" y="216"/>
                  <a:pt x="872" y="216"/>
                </a:cubicBezTo>
                <a:cubicBezTo>
                  <a:pt x="872" y="216"/>
                  <a:pt x="872" y="216"/>
                  <a:pt x="871" y="216"/>
                </a:cubicBezTo>
                <a:cubicBezTo>
                  <a:pt x="871" y="216"/>
                  <a:pt x="871" y="217"/>
                  <a:pt x="871" y="217"/>
                </a:cubicBezTo>
                <a:cubicBezTo>
                  <a:pt x="871" y="217"/>
                  <a:pt x="871" y="217"/>
                  <a:pt x="871" y="217"/>
                </a:cubicBezTo>
                <a:cubicBezTo>
                  <a:pt x="872" y="217"/>
                  <a:pt x="872" y="217"/>
                  <a:pt x="872" y="217"/>
                </a:cubicBezTo>
                <a:cubicBezTo>
                  <a:pt x="872" y="217"/>
                  <a:pt x="873" y="217"/>
                  <a:pt x="873" y="217"/>
                </a:cubicBezTo>
                <a:cubicBezTo>
                  <a:pt x="873" y="217"/>
                  <a:pt x="873" y="217"/>
                  <a:pt x="873" y="217"/>
                </a:cubicBezTo>
                <a:cubicBezTo>
                  <a:pt x="872" y="217"/>
                  <a:pt x="872" y="217"/>
                  <a:pt x="872" y="217"/>
                </a:cubicBezTo>
                <a:cubicBezTo>
                  <a:pt x="872" y="217"/>
                  <a:pt x="873" y="217"/>
                  <a:pt x="873" y="217"/>
                </a:cubicBezTo>
                <a:cubicBezTo>
                  <a:pt x="873" y="217"/>
                  <a:pt x="873" y="217"/>
                  <a:pt x="873" y="217"/>
                </a:cubicBezTo>
                <a:cubicBezTo>
                  <a:pt x="873" y="218"/>
                  <a:pt x="873" y="218"/>
                  <a:pt x="874" y="218"/>
                </a:cubicBezTo>
                <a:cubicBezTo>
                  <a:pt x="874" y="217"/>
                  <a:pt x="875" y="217"/>
                  <a:pt x="876" y="216"/>
                </a:cubicBezTo>
                <a:cubicBezTo>
                  <a:pt x="876" y="216"/>
                  <a:pt x="876" y="216"/>
                  <a:pt x="875" y="217"/>
                </a:cubicBezTo>
                <a:cubicBezTo>
                  <a:pt x="876" y="217"/>
                  <a:pt x="876" y="217"/>
                  <a:pt x="876" y="217"/>
                </a:cubicBezTo>
                <a:cubicBezTo>
                  <a:pt x="876" y="217"/>
                  <a:pt x="875" y="217"/>
                  <a:pt x="875" y="217"/>
                </a:cubicBezTo>
                <a:cubicBezTo>
                  <a:pt x="875" y="217"/>
                  <a:pt x="875" y="217"/>
                  <a:pt x="875" y="218"/>
                </a:cubicBezTo>
                <a:cubicBezTo>
                  <a:pt x="875" y="218"/>
                  <a:pt x="875" y="218"/>
                  <a:pt x="875" y="218"/>
                </a:cubicBezTo>
                <a:cubicBezTo>
                  <a:pt x="874" y="218"/>
                  <a:pt x="874" y="219"/>
                  <a:pt x="874" y="219"/>
                </a:cubicBezTo>
                <a:cubicBezTo>
                  <a:pt x="874" y="219"/>
                  <a:pt x="874" y="219"/>
                  <a:pt x="874" y="219"/>
                </a:cubicBezTo>
                <a:cubicBezTo>
                  <a:pt x="874" y="219"/>
                  <a:pt x="874" y="220"/>
                  <a:pt x="874" y="220"/>
                </a:cubicBezTo>
                <a:cubicBezTo>
                  <a:pt x="874" y="220"/>
                  <a:pt x="874" y="221"/>
                  <a:pt x="874" y="221"/>
                </a:cubicBezTo>
                <a:cubicBezTo>
                  <a:pt x="874" y="221"/>
                  <a:pt x="874" y="221"/>
                  <a:pt x="873" y="221"/>
                </a:cubicBezTo>
                <a:cubicBezTo>
                  <a:pt x="874" y="221"/>
                  <a:pt x="874" y="221"/>
                  <a:pt x="874" y="221"/>
                </a:cubicBezTo>
                <a:cubicBezTo>
                  <a:pt x="874" y="221"/>
                  <a:pt x="874" y="221"/>
                  <a:pt x="874" y="221"/>
                </a:cubicBezTo>
                <a:cubicBezTo>
                  <a:pt x="874" y="222"/>
                  <a:pt x="874" y="222"/>
                  <a:pt x="874" y="222"/>
                </a:cubicBezTo>
                <a:cubicBezTo>
                  <a:pt x="874" y="222"/>
                  <a:pt x="873" y="223"/>
                  <a:pt x="873" y="223"/>
                </a:cubicBezTo>
                <a:cubicBezTo>
                  <a:pt x="873" y="223"/>
                  <a:pt x="873" y="223"/>
                  <a:pt x="873" y="224"/>
                </a:cubicBezTo>
                <a:cubicBezTo>
                  <a:pt x="873" y="224"/>
                  <a:pt x="873" y="224"/>
                  <a:pt x="873" y="224"/>
                </a:cubicBezTo>
                <a:cubicBezTo>
                  <a:pt x="873" y="224"/>
                  <a:pt x="874" y="224"/>
                  <a:pt x="874" y="224"/>
                </a:cubicBezTo>
                <a:cubicBezTo>
                  <a:pt x="874" y="224"/>
                  <a:pt x="874" y="223"/>
                  <a:pt x="874" y="223"/>
                </a:cubicBezTo>
                <a:cubicBezTo>
                  <a:pt x="874" y="223"/>
                  <a:pt x="874" y="223"/>
                  <a:pt x="874" y="222"/>
                </a:cubicBezTo>
                <a:cubicBezTo>
                  <a:pt x="874" y="222"/>
                  <a:pt x="874" y="222"/>
                  <a:pt x="874" y="222"/>
                </a:cubicBezTo>
                <a:cubicBezTo>
                  <a:pt x="875" y="222"/>
                  <a:pt x="875" y="222"/>
                  <a:pt x="875" y="221"/>
                </a:cubicBezTo>
                <a:cubicBezTo>
                  <a:pt x="875" y="221"/>
                  <a:pt x="875" y="221"/>
                  <a:pt x="874" y="220"/>
                </a:cubicBezTo>
                <a:cubicBezTo>
                  <a:pt x="875" y="220"/>
                  <a:pt x="875" y="220"/>
                  <a:pt x="875" y="220"/>
                </a:cubicBezTo>
                <a:cubicBezTo>
                  <a:pt x="875" y="220"/>
                  <a:pt x="876" y="219"/>
                  <a:pt x="876" y="219"/>
                </a:cubicBezTo>
                <a:cubicBezTo>
                  <a:pt x="876" y="219"/>
                  <a:pt x="876" y="220"/>
                  <a:pt x="875" y="220"/>
                </a:cubicBezTo>
                <a:cubicBezTo>
                  <a:pt x="875" y="220"/>
                  <a:pt x="875" y="221"/>
                  <a:pt x="875" y="221"/>
                </a:cubicBezTo>
                <a:cubicBezTo>
                  <a:pt x="875" y="221"/>
                  <a:pt x="875" y="221"/>
                  <a:pt x="876" y="221"/>
                </a:cubicBezTo>
                <a:cubicBezTo>
                  <a:pt x="876" y="221"/>
                  <a:pt x="876" y="221"/>
                  <a:pt x="876" y="221"/>
                </a:cubicBezTo>
                <a:cubicBezTo>
                  <a:pt x="876" y="220"/>
                  <a:pt x="876" y="220"/>
                  <a:pt x="876" y="220"/>
                </a:cubicBezTo>
                <a:cubicBezTo>
                  <a:pt x="876" y="220"/>
                  <a:pt x="877" y="221"/>
                  <a:pt x="877" y="221"/>
                </a:cubicBezTo>
                <a:cubicBezTo>
                  <a:pt x="877" y="221"/>
                  <a:pt x="877" y="220"/>
                  <a:pt x="877" y="220"/>
                </a:cubicBezTo>
                <a:cubicBezTo>
                  <a:pt x="877" y="220"/>
                  <a:pt x="877" y="220"/>
                  <a:pt x="877" y="219"/>
                </a:cubicBezTo>
                <a:cubicBezTo>
                  <a:pt x="877" y="219"/>
                  <a:pt x="877" y="219"/>
                  <a:pt x="877" y="219"/>
                </a:cubicBezTo>
                <a:cubicBezTo>
                  <a:pt x="877" y="219"/>
                  <a:pt x="877" y="220"/>
                  <a:pt x="877" y="220"/>
                </a:cubicBezTo>
                <a:cubicBezTo>
                  <a:pt x="878" y="220"/>
                  <a:pt x="878" y="220"/>
                  <a:pt x="879" y="221"/>
                </a:cubicBezTo>
                <a:cubicBezTo>
                  <a:pt x="878" y="220"/>
                  <a:pt x="878" y="220"/>
                  <a:pt x="878" y="220"/>
                </a:cubicBezTo>
                <a:cubicBezTo>
                  <a:pt x="877" y="221"/>
                  <a:pt x="877" y="221"/>
                  <a:pt x="877" y="221"/>
                </a:cubicBezTo>
                <a:cubicBezTo>
                  <a:pt x="877" y="222"/>
                  <a:pt x="877" y="222"/>
                  <a:pt x="877" y="222"/>
                </a:cubicBezTo>
                <a:cubicBezTo>
                  <a:pt x="878" y="222"/>
                  <a:pt x="878" y="222"/>
                  <a:pt x="878" y="222"/>
                </a:cubicBezTo>
                <a:cubicBezTo>
                  <a:pt x="878" y="222"/>
                  <a:pt x="878" y="223"/>
                  <a:pt x="878" y="223"/>
                </a:cubicBezTo>
                <a:cubicBezTo>
                  <a:pt x="878" y="223"/>
                  <a:pt x="878" y="223"/>
                  <a:pt x="878" y="223"/>
                </a:cubicBezTo>
                <a:cubicBezTo>
                  <a:pt x="877" y="224"/>
                  <a:pt x="877" y="225"/>
                  <a:pt x="877" y="225"/>
                </a:cubicBezTo>
                <a:cubicBezTo>
                  <a:pt x="877" y="225"/>
                  <a:pt x="877" y="226"/>
                  <a:pt x="877" y="226"/>
                </a:cubicBezTo>
                <a:cubicBezTo>
                  <a:pt x="877" y="226"/>
                  <a:pt x="876" y="226"/>
                  <a:pt x="876" y="225"/>
                </a:cubicBezTo>
                <a:cubicBezTo>
                  <a:pt x="876" y="226"/>
                  <a:pt x="876" y="226"/>
                  <a:pt x="876" y="226"/>
                </a:cubicBezTo>
                <a:cubicBezTo>
                  <a:pt x="877" y="227"/>
                  <a:pt x="877" y="227"/>
                  <a:pt x="877" y="227"/>
                </a:cubicBezTo>
                <a:cubicBezTo>
                  <a:pt x="877" y="227"/>
                  <a:pt x="877" y="227"/>
                  <a:pt x="877" y="226"/>
                </a:cubicBezTo>
                <a:cubicBezTo>
                  <a:pt x="877" y="226"/>
                  <a:pt x="877" y="226"/>
                  <a:pt x="878" y="226"/>
                </a:cubicBezTo>
                <a:cubicBezTo>
                  <a:pt x="878" y="226"/>
                  <a:pt x="879" y="227"/>
                  <a:pt x="880" y="227"/>
                </a:cubicBezTo>
                <a:cubicBezTo>
                  <a:pt x="880" y="227"/>
                  <a:pt x="880" y="226"/>
                  <a:pt x="880" y="226"/>
                </a:cubicBezTo>
                <a:cubicBezTo>
                  <a:pt x="879" y="226"/>
                  <a:pt x="879" y="226"/>
                  <a:pt x="879" y="226"/>
                </a:cubicBezTo>
                <a:cubicBezTo>
                  <a:pt x="879" y="226"/>
                  <a:pt x="879" y="226"/>
                  <a:pt x="879" y="226"/>
                </a:cubicBezTo>
                <a:cubicBezTo>
                  <a:pt x="880" y="226"/>
                  <a:pt x="880" y="226"/>
                  <a:pt x="881" y="226"/>
                </a:cubicBezTo>
                <a:cubicBezTo>
                  <a:pt x="881" y="226"/>
                  <a:pt x="882" y="226"/>
                  <a:pt x="882" y="226"/>
                </a:cubicBezTo>
                <a:cubicBezTo>
                  <a:pt x="882" y="226"/>
                  <a:pt x="882" y="226"/>
                  <a:pt x="882" y="226"/>
                </a:cubicBezTo>
                <a:cubicBezTo>
                  <a:pt x="882" y="226"/>
                  <a:pt x="883" y="226"/>
                  <a:pt x="883" y="226"/>
                </a:cubicBezTo>
                <a:cubicBezTo>
                  <a:pt x="883" y="226"/>
                  <a:pt x="883" y="225"/>
                  <a:pt x="883" y="225"/>
                </a:cubicBezTo>
                <a:cubicBezTo>
                  <a:pt x="884" y="225"/>
                  <a:pt x="885" y="225"/>
                  <a:pt x="886" y="225"/>
                </a:cubicBezTo>
                <a:cubicBezTo>
                  <a:pt x="885" y="225"/>
                  <a:pt x="885" y="225"/>
                  <a:pt x="884" y="226"/>
                </a:cubicBezTo>
                <a:cubicBezTo>
                  <a:pt x="884" y="226"/>
                  <a:pt x="884" y="227"/>
                  <a:pt x="883" y="228"/>
                </a:cubicBezTo>
                <a:cubicBezTo>
                  <a:pt x="884" y="228"/>
                  <a:pt x="884" y="229"/>
                  <a:pt x="885" y="229"/>
                </a:cubicBezTo>
                <a:cubicBezTo>
                  <a:pt x="885" y="229"/>
                  <a:pt x="885" y="229"/>
                  <a:pt x="885" y="229"/>
                </a:cubicBezTo>
                <a:cubicBezTo>
                  <a:pt x="885" y="229"/>
                  <a:pt x="885" y="230"/>
                  <a:pt x="885" y="230"/>
                </a:cubicBezTo>
                <a:cubicBezTo>
                  <a:pt x="886" y="230"/>
                  <a:pt x="886" y="229"/>
                  <a:pt x="886" y="229"/>
                </a:cubicBezTo>
                <a:cubicBezTo>
                  <a:pt x="887" y="229"/>
                  <a:pt x="887" y="229"/>
                  <a:pt x="887" y="229"/>
                </a:cubicBezTo>
                <a:cubicBezTo>
                  <a:pt x="887" y="229"/>
                  <a:pt x="887" y="230"/>
                  <a:pt x="887" y="230"/>
                </a:cubicBezTo>
                <a:cubicBezTo>
                  <a:pt x="887" y="230"/>
                  <a:pt x="887" y="230"/>
                  <a:pt x="887" y="230"/>
                </a:cubicBezTo>
                <a:cubicBezTo>
                  <a:pt x="887" y="230"/>
                  <a:pt x="887" y="231"/>
                  <a:pt x="886" y="231"/>
                </a:cubicBezTo>
                <a:cubicBezTo>
                  <a:pt x="886" y="231"/>
                  <a:pt x="886" y="231"/>
                  <a:pt x="887" y="232"/>
                </a:cubicBezTo>
                <a:cubicBezTo>
                  <a:pt x="886" y="232"/>
                  <a:pt x="886" y="232"/>
                  <a:pt x="886" y="233"/>
                </a:cubicBezTo>
                <a:cubicBezTo>
                  <a:pt x="886" y="233"/>
                  <a:pt x="887" y="233"/>
                  <a:pt x="887" y="233"/>
                </a:cubicBezTo>
                <a:cubicBezTo>
                  <a:pt x="887" y="233"/>
                  <a:pt x="887" y="233"/>
                  <a:pt x="888" y="234"/>
                </a:cubicBezTo>
                <a:cubicBezTo>
                  <a:pt x="888" y="234"/>
                  <a:pt x="888" y="234"/>
                  <a:pt x="888" y="234"/>
                </a:cubicBezTo>
                <a:cubicBezTo>
                  <a:pt x="888" y="234"/>
                  <a:pt x="888" y="234"/>
                  <a:pt x="888" y="234"/>
                </a:cubicBezTo>
                <a:cubicBezTo>
                  <a:pt x="888" y="234"/>
                  <a:pt x="887" y="234"/>
                  <a:pt x="887" y="234"/>
                </a:cubicBezTo>
                <a:cubicBezTo>
                  <a:pt x="887" y="234"/>
                  <a:pt x="887" y="233"/>
                  <a:pt x="886" y="233"/>
                </a:cubicBezTo>
                <a:cubicBezTo>
                  <a:pt x="886" y="233"/>
                  <a:pt x="886" y="233"/>
                  <a:pt x="886" y="233"/>
                </a:cubicBezTo>
                <a:cubicBezTo>
                  <a:pt x="886" y="234"/>
                  <a:pt x="886" y="234"/>
                  <a:pt x="886" y="234"/>
                </a:cubicBezTo>
                <a:cubicBezTo>
                  <a:pt x="886" y="234"/>
                  <a:pt x="887" y="234"/>
                  <a:pt x="887" y="234"/>
                </a:cubicBezTo>
                <a:cubicBezTo>
                  <a:pt x="887" y="234"/>
                  <a:pt x="886" y="234"/>
                  <a:pt x="886" y="234"/>
                </a:cubicBezTo>
                <a:cubicBezTo>
                  <a:pt x="886" y="234"/>
                  <a:pt x="886" y="234"/>
                  <a:pt x="885" y="234"/>
                </a:cubicBezTo>
                <a:cubicBezTo>
                  <a:pt x="885" y="234"/>
                  <a:pt x="884" y="234"/>
                  <a:pt x="884" y="234"/>
                </a:cubicBezTo>
                <a:cubicBezTo>
                  <a:pt x="883" y="234"/>
                  <a:pt x="883" y="234"/>
                  <a:pt x="883" y="234"/>
                </a:cubicBezTo>
                <a:cubicBezTo>
                  <a:pt x="882" y="234"/>
                  <a:pt x="882" y="235"/>
                  <a:pt x="881" y="235"/>
                </a:cubicBezTo>
                <a:cubicBezTo>
                  <a:pt x="881" y="235"/>
                  <a:pt x="880" y="235"/>
                  <a:pt x="880" y="236"/>
                </a:cubicBezTo>
                <a:cubicBezTo>
                  <a:pt x="880" y="236"/>
                  <a:pt x="879" y="236"/>
                  <a:pt x="879" y="236"/>
                </a:cubicBezTo>
                <a:cubicBezTo>
                  <a:pt x="879" y="236"/>
                  <a:pt x="878" y="237"/>
                  <a:pt x="878" y="237"/>
                </a:cubicBezTo>
                <a:cubicBezTo>
                  <a:pt x="878" y="237"/>
                  <a:pt x="879" y="237"/>
                  <a:pt x="879" y="237"/>
                </a:cubicBezTo>
                <a:cubicBezTo>
                  <a:pt x="879" y="237"/>
                  <a:pt x="879" y="237"/>
                  <a:pt x="879" y="237"/>
                </a:cubicBezTo>
                <a:cubicBezTo>
                  <a:pt x="879" y="237"/>
                  <a:pt x="880" y="237"/>
                  <a:pt x="880" y="236"/>
                </a:cubicBezTo>
                <a:cubicBezTo>
                  <a:pt x="880" y="236"/>
                  <a:pt x="881" y="236"/>
                  <a:pt x="881" y="236"/>
                </a:cubicBezTo>
                <a:cubicBezTo>
                  <a:pt x="881" y="236"/>
                  <a:pt x="881" y="236"/>
                  <a:pt x="881" y="237"/>
                </a:cubicBezTo>
                <a:cubicBezTo>
                  <a:pt x="881" y="237"/>
                  <a:pt x="882" y="237"/>
                  <a:pt x="882" y="237"/>
                </a:cubicBezTo>
                <a:cubicBezTo>
                  <a:pt x="882" y="237"/>
                  <a:pt x="881" y="237"/>
                  <a:pt x="881" y="237"/>
                </a:cubicBezTo>
                <a:cubicBezTo>
                  <a:pt x="881" y="238"/>
                  <a:pt x="882" y="238"/>
                  <a:pt x="882" y="238"/>
                </a:cubicBezTo>
                <a:cubicBezTo>
                  <a:pt x="882" y="238"/>
                  <a:pt x="882" y="238"/>
                  <a:pt x="882" y="238"/>
                </a:cubicBezTo>
                <a:cubicBezTo>
                  <a:pt x="882" y="239"/>
                  <a:pt x="881" y="239"/>
                  <a:pt x="881" y="240"/>
                </a:cubicBezTo>
                <a:cubicBezTo>
                  <a:pt x="881" y="240"/>
                  <a:pt x="880" y="240"/>
                  <a:pt x="880" y="240"/>
                </a:cubicBezTo>
                <a:cubicBezTo>
                  <a:pt x="880" y="240"/>
                  <a:pt x="880" y="240"/>
                  <a:pt x="879" y="240"/>
                </a:cubicBezTo>
                <a:cubicBezTo>
                  <a:pt x="879" y="240"/>
                  <a:pt x="879" y="240"/>
                  <a:pt x="879" y="240"/>
                </a:cubicBezTo>
                <a:cubicBezTo>
                  <a:pt x="878" y="241"/>
                  <a:pt x="878" y="241"/>
                  <a:pt x="878" y="241"/>
                </a:cubicBezTo>
                <a:cubicBezTo>
                  <a:pt x="877" y="241"/>
                  <a:pt x="877" y="241"/>
                  <a:pt x="877" y="241"/>
                </a:cubicBezTo>
                <a:cubicBezTo>
                  <a:pt x="876" y="241"/>
                  <a:pt x="876" y="241"/>
                  <a:pt x="876" y="242"/>
                </a:cubicBezTo>
                <a:cubicBezTo>
                  <a:pt x="876" y="242"/>
                  <a:pt x="876" y="242"/>
                  <a:pt x="877" y="242"/>
                </a:cubicBezTo>
                <a:cubicBezTo>
                  <a:pt x="877" y="242"/>
                  <a:pt x="877" y="242"/>
                  <a:pt x="877" y="242"/>
                </a:cubicBezTo>
                <a:cubicBezTo>
                  <a:pt x="876" y="242"/>
                  <a:pt x="876" y="242"/>
                  <a:pt x="876" y="242"/>
                </a:cubicBezTo>
                <a:cubicBezTo>
                  <a:pt x="876" y="242"/>
                  <a:pt x="877" y="242"/>
                  <a:pt x="877" y="242"/>
                </a:cubicBezTo>
                <a:cubicBezTo>
                  <a:pt x="877" y="243"/>
                  <a:pt x="877" y="243"/>
                  <a:pt x="877" y="243"/>
                </a:cubicBezTo>
                <a:cubicBezTo>
                  <a:pt x="877" y="243"/>
                  <a:pt x="877" y="243"/>
                  <a:pt x="878" y="243"/>
                </a:cubicBezTo>
                <a:cubicBezTo>
                  <a:pt x="878" y="243"/>
                  <a:pt x="878" y="243"/>
                  <a:pt x="878" y="243"/>
                </a:cubicBezTo>
                <a:cubicBezTo>
                  <a:pt x="879" y="243"/>
                  <a:pt x="879" y="242"/>
                  <a:pt x="879" y="242"/>
                </a:cubicBezTo>
                <a:cubicBezTo>
                  <a:pt x="880" y="242"/>
                  <a:pt x="880" y="242"/>
                  <a:pt x="881" y="242"/>
                </a:cubicBezTo>
                <a:cubicBezTo>
                  <a:pt x="881" y="242"/>
                  <a:pt x="881" y="242"/>
                  <a:pt x="881" y="242"/>
                </a:cubicBezTo>
                <a:cubicBezTo>
                  <a:pt x="881" y="242"/>
                  <a:pt x="881" y="242"/>
                  <a:pt x="882" y="243"/>
                </a:cubicBezTo>
                <a:cubicBezTo>
                  <a:pt x="881" y="243"/>
                  <a:pt x="881" y="243"/>
                  <a:pt x="881" y="243"/>
                </a:cubicBezTo>
                <a:cubicBezTo>
                  <a:pt x="881" y="243"/>
                  <a:pt x="881" y="243"/>
                  <a:pt x="881" y="243"/>
                </a:cubicBezTo>
                <a:cubicBezTo>
                  <a:pt x="881" y="243"/>
                  <a:pt x="882" y="243"/>
                  <a:pt x="882" y="243"/>
                </a:cubicBezTo>
                <a:cubicBezTo>
                  <a:pt x="882" y="243"/>
                  <a:pt x="882" y="243"/>
                  <a:pt x="882" y="243"/>
                </a:cubicBezTo>
                <a:cubicBezTo>
                  <a:pt x="883" y="243"/>
                  <a:pt x="883" y="243"/>
                  <a:pt x="883" y="243"/>
                </a:cubicBezTo>
                <a:cubicBezTo>
                  <a:pt x="883" y="243"/>
                  <a:pt x="884" y="243"/>
                  <a:pt x="884" y="243"/>
                </a:cubicBezTo>
                <a:cubicBezTo>
                  <a:pt x="884" y="243"/>
                  <a:pt x="884" y="244"/>
                  <a:pt x="885" y="244"/>
                </a:cubicBezTo>
                <a:cubicBezTo>
                  <a:pt x="885" y="244"/>
                  <a:pt x="886" y="244"/>
                  <a:pt x="886" y="244"/>
                </a:cubicBezTo>
                <a:cubicBezTo>
                  <a:pt x="887" y="244"/>
                  <a:pt x="887" y="243"/>
                  <a:pt x="887" y="243"/>
                </a:cubicBezTo>
                <a:cubicBezTo>
                  <a:pt x="887" y="243"/>
                  <a:pt x="887" y="243"/>
                  <a:pt x="888" y="243"/>
                </a:cubicBezTo>
                <a:cubicBezTo>
                  <a:pt x="888" y="243"/>
                  <a:pt x="888" y="243"/>
                  <a:pt x="889" y="243"/>
                </a:cubicBezTo>
                <a:cubicBezTo>
                  <a:pt x="889" y="243"/>
                  <a:pt x="889" y="242"/>
                  <a:pt x="889" y="242"/>
                </a:cubicBezTo>
                <a:cubicBezTo>
                  <a:pt x="890" y="242"/>
                  <a:pt x="890" y="242"/>
                  <a:pt x="890" y="242"/>
                </a:cubicBezTo>
                <a:cubicBezTo>
                  <a:pt x="890" y="242"/>
                  <a:pt x="889" y="243"/>
                  <a:pt x="889" y="243"/>
                </a:cubicBezTo>
                <a:cubicBezTo>
                  <a:pt x="888" y="243"/>
                  <a:pt x="888" y="244"/>
                  <a:pt x="888" y="244"/>
                </a:cubicBezTo>
                <a:cubicBezTo>
                  <a:pt x="888" y="244"/>
                  <a:pt x="888" y="245"/>
                  <a:pt x="888" y="245"/>
                </a:cubicBezTo>
                <a:cubicBezTo>
                  <a:pt x="887" y="245"/>
                  <a:pt x="887" y="245"/>
                  <a:pt x="887" y="245"/>
                </a:cubicBezTo>
                <a:cubicBezTo>
                  <a:pt x="886" y="245"/>
                  <a:pt x="886" y="245"/>
                  <a:pt x="886" y="245"/>
                </a:cubicBezTo>
                <a:cubicBezTo>
                  <a:pt x="886" y="245"/>
                  <a:pt x="885" y="245"/>
                  <a:pt x="885" y="245"/>
                </a:cubicBezTo>
                <a:cubicBezTo>
                  <a:pt x="884" y="245"/>
                  <a:pt x="884" y="245"/>
                  <a:pt x="883" y="245"/>
                </a:cubicBezTo>
                <a:cubicBezTo>
                  <a:pt x="882" y="245"/>
                  <a:pt x="882" y="245"/>
                  <a:pt x="881" y="245"/>
                </a:cubicBezTo>
                <a:cubicBezTo>
                  <a:pt x="881" y="245"/>
                  <a:pt x="881" y="245"/>
                  <a:pt x="881" y="246"/>
                </a:cubicBezTo>
                <a:cubicBezTo>
                  <a:pt x="881" y="246"/>
                  <a:pt x="881" y="246"/>
                  <a:pt x="881" y="246"/>
                </a:cubicBezTo>
                <a:cubicBezTo>
                  <a:pt x="880" y="246"/>
                  <a:pt x="880" y="246"/>
                  <a:pt x="880" y="246"/>
                </a:cubicBezTo>
                <a:cubicBezTo>
                  <a:pt x="880" y="246"/>
                  <a:pt x="880" y="247"/>
                  <a:pt x="880" y="247"/>
                </a:cubicBezTo>
                <a:cubicBezTo>
                  <a:pt x="879" y="248"/>
                  <a:pt x="879" y="248"/>
                  <a:pt x="879" y="248"/>
                </a:cubicBezTo>
                <a:cubicBezTo>
                  <a:pt x="879" y="248"/>
                  <a:pt x="879" y="248"/>
                  <a:pt x="878" y="248"/>
                </a:cubicBezTo>
                <a:cubicBezTo>
                  <a:pt x="878" y="248"/>
                  <a:pt x="878" y="248"/>
                  <a:pt x="877" y="248"/>
                </a:cubicBezTo>
                <a:cubicBezTo>
                  <a:pt x="877" y="249"/>
                  <a:pt x="877" y="249"/>
                  <a:pt x="877" y="249"/>
                </a:cubicBezTo>
                <a:cubicBezTo>
                  <a:pt x="877" y="249"/>
                  <a:pt x="877" y="249"/>
                  <a:pt x="877" y="249"/>
                </a:cubicBezTo>
                <a:cubicBezTo>
                  <a:pt x="877" y="249"/>
                  <a:pt x="877" y="249"/>
                  <a:pt x="876" y="250"/>
                </a:cubicBezTo>
                <a:cubicBezTo>
                  <a:pt x="876" y="250"/>
                  <a:pt x="876" y="250"/>
                  <a:pt x="875" y="250"/>
                </a:cubicBezTo>
                <a:cubicBezTo>
                  <a:pt x="875" y="250"/>
                  <a:pt x="875" y="250"/>
                  <a:pt x="875" y="250"/>
                </a:cubicBezTo>
                <a:cubicBezTo>
                  <a:pt x="874" y="250"/>
                  <a:pt x="874" y="250"/>
                  <a:pt x="874" y="251"/>
                </a:cubicBezTo>
                <a:cubicBezTo>
                  <a:pt x="874" y="251"/>
                  <a:pt x="874" y="251"/>
                  <a:pt x="874" y="251"/>
                </a:cubicBezTo>
                <a:cubicBezTo>
                  <a:pt x="874" y="251"/>
                  <a:pt x="874" y="251"/>
                  <a:pt x="875" y="251"/>
                </a:cubicBezTo>
                <a:cubicBezTo>
                  <a:pt x="875" y="251"/>
                  <a:pt x="875" y="251"/>
                  <a:pt x="875" y="251"/>
                </a:cubicBezTo>
                <a:cubicBezTo>
                  <a:pt x="875" y="251"/>
                  <a:pt x="876" y="251"/>
                  <a:pt x="876" y="251"/>
                </a:cubicBezTo>
                <a:cubicBezTo>
                  <a:pt x="876" y="251"/>
                  <a:pt x="876" y="251"/>
                  <a:pt x="876" y="251"/>
                </a:cubicBezTo>
                <a:cubicBezTo>
                  <a:pt x="877" y="251"/>
                  <a:pt x="877" y="251"/>
                  <a:pt x="877" y="251"/>
                </a:cubicBezTo>
                <a:cubicBezTo>
                  <a:pt x="877" y="251"/>
                  <a:pt x="877" y="251"/>
                  <a:pt x="877" y="251"/>
                </a:cubicBezTo>
                <a:cubicBezTo>
                  <a:pt x="877" y="251"/>
                  <a:pt x="877" y="250"/>
                  <a:pt x="877" y="250"/>
                </a:cubicBezTo>
                <a:cubicBezTo>
                  <a:pt x="877" y="250"/>
                  <a:pt x="877" y="250"/>
                  <a:pt x="878" y="250"/>
                </a:cubicBezTo>
                <a:cubicBezTo>
                  <a:pt x="878" y="250"/>
                  <a:pt x="878" y="250"/>
                  <a:pt x="878" y="250"/>
                </a:cubicBezTo>
                <a:cubicBezTo>
                  <a:pt x="878" y="250"/>
                  <a:pt x="878" y="250"/>
                  <a:pt x="879" y="250"/>
                </a:cubicBezTo>
                <a:cubicBezTo>
                  <a:pt x="879" y="250"/>
                  <a:pt x="879" y="250"/>
                  <a:pt x="879" y="249"/>
                </a:cubicBezTo>
                <a:cubicBezTo>
                  <a:pt x="879" y="249"/>
                  <a:pt x="880" y="250"/>
                  <a:pt x="880" y="250"/>
                </a:cubicBezTo>
                <a:cubicBezTo>
                  <a:pt x="880" y="249"/>
                  <a:pt x="880" y="249"/>
                  <a:pt x="881" y="249"/>
                </a:cubicBezTo>
                <a:cubicBezTo>
                  <a:pt x="881" y="249"/>
                  <a:pt x="881" y="249"/>
                  <a:pt x="881" y="249"/>
                </a:cubicBezTo>
                <a:cubicBezTo>
                  <a:pt x="882" y="249"/>
                  <a:pt x="882" y="249"/>
                  <a:pt x="882" y="249"/>
                </a:cubicBezTo>
                <a:cubicBezTo>
                  <a:pt x="882" y="249"/>
                  <a:pt x="882" y="249"/>
                  <a:pt x="882" y="250"/>
                </a:cubicBezTo>
                <a:cubicBezTo>
                  <a:pt x="882" y="250"/>
                  <a:pt x="883" y="250"/>
                  <a:pt x="883" y="250"/>
                </a:cubicBezTo>
                <a:cubicBezTo>
                  <a:pt x="883" y="250"/>
                  <a:pt x="883" y="250"/>
                  <a:pt x="884" y="250"/>
                </a:cubicBezTo>
                <a:cubicBezTo>
                  <a:pt x="884" y="250"/>
                  <a:pt x="884" y="250"/>
                  <a:pt x="884" y="250"/>
                </a:cubicBezTo>
                <a:cubicBezTo>
                  <a:pt x="884" y="250"/>
                  <a:pt x="884" y="250"/>
                  <a:pt x="884" y="249"/>
                </a:cubicBezTo>
                <a:cubicBezTo>
                  <a:pt x="885" y="249"/>
                  <a:pt x="885" y="249"/>
                  <a:pt x="885" y="249"/>
                </a:cubicBezTo>
                <a:cubicBezTo>
                  <a:pt x="885" y="249"/>
                  <a:pt x="885" y="249"/>
                  <a:pt x="885" y="249"/>
                </a:cubicBezTo>
                <a:cubicBezTo>
                  <a:pt x="885" y="249"/>
                  <a:pt x="885" y="248"/>
                  <a:pt x="885" y="248"/>
                </a:cubicBezTo>
                <a:cubicBezTo>
                  <a:pt x="885" y="248"/>
                  <a:pt x="885" y="248"/>
                  <a:pt x="886" y="248"/>
                </a:cubicBezTo>
                <a:cubicBezTo>
                  <a:pt x="886" y="248"/>
                  <a:pt x="886" y="248"/>
                  <a:pt x="886" y="248"/>
                </a:cubicBezTo>
                <a:cubicBezTo>
                  <a:pt x="886" y="248"/>
                  <a:pt x="886" y="248"/>
                  <a:pt x="886" y="248"/>
                </a:cubicBezTo>
                <a:cubicBezTo>
                  <a:pt x="887" y="247"/>
                  <a:pt x="888" y="247"/>
                  <a:pt x="888" y="247"/>
                </a:cubicBezTo>
                <a:cubicBezTo>
                  <a:pt x="889" y="247"/>
                  <a:pt x="889" y="247"/>
                  <a:pt x="889" y="247"/>
                </a:cubicBezTo>
                <a:cubicBezTo>
                  <a:pt x="890" y="247"/>
                  <a:pt x="890" y="248"/>
                  <a:pt x="890" y="248"/>
                </a:cubicBezTo>
                <a:cubicBezTo>
                  <a:pt x="891" y="248"/>
                  <a:pt x="891" y="248"/>
                  <a:pt x="891" y="248"/>
                </a:cubicBezTo>
                <a:cubicBezTo>
                  <a:pt x="891" y="248"/>
                  <a:pt x="892" y="248"/>
                  <a:pt x="892" y="248"/>
                </a:cubicBezTo>
                <a:cubicBezTo>
                  <a:pt x="892" y="248"/>
                  <a:pt x="893" y="248"/>
                  <a:pt x="893" y="248"/>
                </a:cubicBezTo>
                <a:cubicBezTo>
                  <a:pt x="893" y="248"/>
                  <a:pt x="893" y="247"/>
                  <a:pt x="893" y="247"/>
                </a:cubicBezTo>
                <a:cubicBezTo>
                  <a:pt x="894" y="247"/>
                  <a:pt x="894" y="247"/>
                  <a:pt x="894" y="247"/>
                </a:cubicBezTo>
                <a:cubicBezTo>
                  <a:pt x="895" y="247"/>
                  <a:pt x="895" y="247"/>
                  <a:pt x="895" y="247"/>
                </a:cubicBezTo>
                <a:cubicBezTo>
                  <a:pt x="895" y="247"/>
                  <a:pt x="896" y="246"/>
                  <a:pt x="896" y="246"/>
                </a:cubicBezTo>
                <a:cubicBezTo>
                  <a:pt x="897" y="246"/>
                  <a:pt x="897" y="246"/>
                  <a:pt x="897" y="246"/>
                </a:cubicBezTo>
                <a:cubicBezTo>
                  <a:pt x="897" y="246"/>
                  <a:pt x="897" y="246"/>
                  <a:pt x="897" y="246"/>
                </a:cubicBezTo>
                <a:cubicBezTo>
                  <a:pt x="898" y="246"/>
                  <a:pt x="898" y="246"/>
                  <a:pt x="898" y="246"/>
                </a:cubicBezTo>
                <a:cubicBezTo>
                  <a:pt x="898" y="246"/>
                  <a:pt x="898" y="246"/>
                  <a:pt x="898" y="246"/>
                </a:cubicBezTo>
                <a:cubicBezTo>
                  <a:pt x="898" y="246"/>
                  <a:pt x="899" y="247"/>
                  <a:pt x="899" y="247"/>
                </a:cubicBezTo>
                <a:cubicBezTo>
                  <a:pt x="899" y="246"/>
                  <a:pt x="899" y="246"/>
                  <a:pt x="900" y="246"/>
                </a:cubicBezTo>
                <a:cubicBezTo>
                  <a:pt x="900" y="246"/>
                  <a:pt x="901" y="246"/>
                  <a:pt x="901" y="246"/>
                </a:cubicBezTo>
                <a:cubicBezTo>
                  <a:pt x="902" y="246"/>
                  <a:pt x="902" y="246"/>
                  <a:pt x="903" y="246"/>
                </a:cubicBezTo>
                <a:cubicBezTo>
                  <a:pt x="903" y="246"/>
                  <a:pt x="903" y="246"/>
                  <a:pt x="904" y="246"/>
                </a:cubicBezTo>
                <a:cubicBezTo>
                  <a:pt x="904" y="246"/>
                  <a:pt x="904" y="246"/>
                  <a:pt x="904" y="246"/>
                </a:cubicBezTo>
                <a:cubicBezTo>
                  <a:pt x="904" y="246"/>
                  <a:pt x="905" y="246"/>
                  <a:pt x="905" y="246"/>
                </a:cubicBezTo>
                <a:cubicBezTo>
                  <a:pt x="905" y="246"/>
                  <a:pt x="906" y="246"/>
                  <a:pt x="906" y="246"/>
                </a:cubicBezTo>
                <a:cubicBezTo>
                  <a:pt x="906" y="245"/>
                  <a:pt x="906" y="245"/>
                  <a:pt x="907" y="245"/>
                </a:cubicBezTo>
                <a:cubicBezTo>
                  <a:pt x="907" y="245"/>
                  <a:pt x="907" y="245"/>
                  <a:pt x="907" y="245"/>
                </a:cubicBezTo>
                <a:cubicBezTo>
                  <a:pt x="907" y="245"/>
                  <a:pt x="908" y="245"/>
                  <a:pt x="908" y="245"/>
                </a:cubicBezTo>
                <a:cubicBezTo>
                  <a:pt x="908" y="245"/>
                  <a:pt x="908" y="245"/>
                  <a:pt x="908" y="245"/>
                </a:cubicBezTo>
                <a:cubicBezTo>
                  <a:pt x="908" y="245"/>
                  <a:pt x="908" y="244"/>
                  <a:pt x="909" y="244"/>
                </a:cubicBezTo>
                <a:cubicBezTo>
                  <a:pt x="909" y="244"/>
                  <a:pt x="909" y="244"/>
                  <a:pt x="910" y="244"/>
                </a:cubicBezTo>
                <a:cubicBezTo>
                  <a:pt x="910" y="244"/>
                  <a:pt x="910" y="244"/>
                  <a:pt x="910" y="243"/>
                </a:cubicBezTo>
                <a:cubicBezTo>
                  <a:pt x="910" y="243"/>
                  <a:pt x="910" y="243"/>
                  <a:pt x="909" y="243"/>
                </a:cubicBezTo>
                <a:cubicBezTo>
                  <a:pt x="910" y="243"/>
                  <a:pt x="910" y="243"/>
                  <a:pt x="910" y="243"/>
                </a:cubicBezTo>
                <a:cubicBezTo>
                  <a:pt x="909" y="243"/>
                  <a:pt x="909" y="243"/>
                  <a:pt x="908" y="243"/>
                </a:cubicBezTo>
                <a:cubicBezTo>
                  <a:pt x="908" y="243"/>
                  <a:pt x="908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5" y="243"/>
                  <a:pt x="905" y="243"/>
                </a:cubicBezTo>
                <a:cubicBezTo>
                  <a:pt x="905" y="243"/>
                  <a:pt x="906" y="243"/>
                  <a:pt x="906" y="243"/>
                </a:cubicBez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6" y="242"/>
                  <a:pt x="906" y="242"/>
                </a:cubicBezTo>
                <a:cubicBezTo>
                  <a:pt x="906" y="242"/>
                  <a:pt x="906" y="242"/>
                  <a:pt x="905" y="242"/>
                </a:cubicBezTo>
                <a:cubicBezTo>
                  <a:pt x="905" y="242"/>
                  <a:pt x="905" y="242"/>
                  <a:pt x="904" y="242"/>
                </a:cubicBezTo>
                <a:cubicBezTo>
                  <a:pt x="905" y="242"/>
                  <a:pt x="905" y="242"/>
                  <a:pt x="906" y="242"/>
                </a:cubicBezTo>
                <a:cubicBezTo>
                  <a:pt x="906" y="242"/>
                  <a:pt x="906" y="242"/>
                  <a:pt x="906" y="242"/>
                </a:cubicBezTo>
                <a:cubicBezTo>
                  <a:pt x="906" y="242"/>
                  <a:pt x="907" y="242"/>
                  <a:pt x="907" y="242"/>
                </a:cubicBezTo>
                <a:cubicBezTo>
                  <a:pt x="907" y="242"/>
                  <a:pt x="907" y="241"/>
                  <a:pt x="907" y="241"/>
                </a:cubicBezTo>
                <a:cubicBezTo>
                  <a:pt x="907" y="241"/>
                  <a:pt x="906" y="241"/>
                  <a:pt x="906" y="241"/>
                </a:cubicBezTo>
                <a:cubicBezTo>
                  <a:pt x="906" y="241"/>
                  <a:pt x="906" y="241"/>
                  <a:pt x="907" y="241"/>
                </a:cubicBezTo>
                <a:cubicBezTo>
                  <a:pt x="907" y="241"/>
                  <a:pt x="907" y="241"/>
                  <a:pt x="907" y="241"/>
                </a:cubicBezTo>
                <a:cubicBezTo>
                  <a:pt x="907" y="241"/>
                  <a:pt x="907" y="241"/>
                  <a:pt x="908" y="241"/>
                </a:cubicBezTo>
                <a:cubicBezTo>
                  <a:pt x="908" y="241"/>
                  <a:pt x="908" y="241"/>
                  <a:pt x="908" y="240"/>
                </a:cubicBezTo>
                <a:cubicBezTo>
                  <a:pt x="908" y="240"/>
                  <a:pt x="908" y="240"/>
                  <a:pt x="909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39"/>
                  <a:pt x="908" y="239"/>
                </a:cubicBezTo>
                <a:cubicBezTo>
                  <a:pt x="908" y="239"/>
                  <a:pt x="908" y="239"/>
                  <a:pt x="908" y="239"/>
                </a:cubicBezTo>
                <a:cubicBezTo>
                  <a:pt x="909" y="240"/>
                  <a:pt x="909" y="240"/>
                  <a:pt x="909" y="240"/>
                </a:cubicBezTo>
                <a:cubicBezTo>
                  <a:pt x="909" y="240"/>
                  <a:pt x="909" y="239"/>
                  <a:pt x="909" y="239"/>
                </a:cubicBezTo>
                <a:cubicBezTo>
                  <a:pt x="909" y="239"/>
                  <a:pt x="910" y="239"/>
                  <a:pt x="910" y="239"/>
                </a:cubicBezTo>
                <a:cubicBezTo>
                  <a:pt x="910" y="239"/>
                  <a:pt x="910" y="238"/>
                  <a:pt x="910" y="238"/>
                </a:cubicBezTo>
                <a:cubicBezTo>
                  <a:pt x="910" y="238"/>
                  <a:pt x="910" y="237"/>
                  <a:pt x="911" y="237"/>
                </a:cubicBezTo>
                <a:cubicBezTo>
                  <a:pt x="910" y="237"/>
                  <a:pt x="910" y="237"/>
                  <a:pt x="910" y="236"/>
                </a:cubicBezTo>
                <a:cubicBezTo>
                  <a:pt x="910" y="236"/>
                  <a:pt x="910" y="236"/>
                  <a:pt x="910" y="236"/>
                </a:cubicBezTo>
                <a:cubicBezTo>
                  <a:pt x="909" y="235"/>
                  <a:pt x="909" y="235"/>
                  <a:pt x="908" y="235"/>
                </a:cubicBezTo>
                <a:cubicBezTo>
                  <a:pt x="907" y="235"/>
                  <a:pt x="906" y="235"/>
                  <a:pt x="905" y="235"/>
                </a:cubicBezTo>
                <a:cubicBezTo>
                  <a:pt x="905" y="235"/>
                  <a:pt x="904" y="235"/>
                  <a:pt x="904" y="235"/>
                </a:cubicBezTo>
                <a:cubicBezTo>
                  <a:pt x="904" y="235"/>
                  <a:pt x="904" y="235"/>
                  <a:pt x="904" y="235"/>
                </a:cubicBezTo>
                <a:cubicBezTo>
                  <a:pt x="904" y="236"/>
                  <a:pt x="903" y="236"/>
                  <a:pt x="903" y="236"/>
                </a:cubicBezTo>
                <a:cubicBezTo>
                  <a:pt x="903" y="236"/>
                  <a:pt x="903" y="236"/>
                  <a:pt x="902" y="235"/>
                </a:cubicBezTo>
                <a:cubicBezTo>
                  <a:pt x="902" y="235"/>
                  <a:pt x="902" y="235"/>
                  <a:pt x="901" y="235"/>
                </a:cubicBezTo>
                <a:cubicBezTo>
                  <a:pt x="902" y="235"/>
                  <a:pt x="902" y="234"/>
                  <a:pt x="903" y="234"/>
                </a:cubicBezTo>
                <a:cubicBezTo>
                  <a:pt x="903" y="234"/>
                  <a:pt x="903" y="234"/>
                  <a:pt x="903" y="233"/>
                </a:cubicBezTo>
                <a:cubicBezTo>
                  <a:pt x="903" y="233"/>
                  <a:pt x="902" y="233"/>
                  <a:pt x="902" y="232"/>
                </a:cubicBezTo>
                <a:cubicBezTo>
                  <a:pt x="902" y="232"/>
                  <a:pt x="901" y="232"/>
                  <a:pt x="901" y="232"/>
                </a:cubicBezTo>
                <a:cubicBezTo>
                  <a:pt x="901" y="232"/>
                  <a:pt x="900" y="232"/>
                  <a:pt x="900" y="232"/>
                </a:cubicBezTo>
                <a:cubicBezTo>
                  <a:pt x="900" y="231"/>
                  <a:pt x="900" y="231"/>
                  <a:pt x="900" y="231"/>
                </a:cubicBezTo>
                <a:cubicBezTo>
                  <a:pt x="899" y="231"/>
                  <a:pt x="899" y="231"/>
                  <a:pt x="899" y="231"/>
                </a:cubicBezTo>
                <a:cubicBezTo>
                  <a:pt x="899" y="231"/>
                  <a:pt x="899" y="231"/>
                  <a:pt x="899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9" y="231"/>
                  <a:pt x="899" y="231"/>
                </a:cubicBezTo>
                <a:cubicBezTo>
                  <a:pt x="899" y="231"/>
                  <a:pt x="899" y="231"/>
                  <a:pt x="900" y="231"/>
                </a:cubicBezTo>
                <a:cubicBezTo>
                  <a:pt x="900" y="231"/>
                  <a:pt x="900" y="231"/>
                  <a:pt x="900" y="231"/>
                </a:cubicBezTo>
                <a:cubicBezTo>
                  <a:pt x="900" y="231"/>
                  <a:pt x="900" y="231"/>
                  <a:pt x="901" y="231"/>
                </a:cubicBezTo>
                <a:cubicBezTo>
                  <a:pt x="901" y="231"/>
                  <a:pt x="901" y="231"/>
                  <a:pt x="901" y="231"/>
                </a:cubicBezTo>
                <a:cubicBezTo>
                  <a:pt x="901" y="231"/>
                  <a:pt x="901" y="231"/>
                  <a:pt x="902" y="231"/>
                </a:cubicBezTo>
                <a:cubicBezTo>
                  <a:pt x="901" y="231"/>
                  <a:pt x="901" y="231"/>
                  <a:pt x="900" y="230"/>
                </a:cubicBezTo>
                <a:cubicBezTo>
                  <a:pt x="900" y="230"/>
                  <a:pt x="900" y="230"/>
                  <a:pt x="899" y="230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9" y="229"/>
                  <a:pt x="899" y="229"/>
                  <a:pt x="899" y="228"/>
                </a:cubicBezTo>
                <a:cubicBezTo>
                  <a:pt x="899" y="228"/>
                  <a:pt x="899" y="228"/>
                  <a:pt x="899" y="228"/>
                </a:cubicBezTo>
                <a:cubicBezTo>
                  <a:pt x="899" y="228"/>
                  <a:pt x="898" y="228"/>
                  <a:pt x="898" y="227"/>
                </a:cubicBezTo>
                <a:cubicBezTo>
                  <a:pt x="898" y="227"/>
                  <a:pt x="897" y="227"/>
                  <a:pt x="897" y="227"/>
                </a:cubicBezTo>
                <a:cubicBezTo>
                  <a:pt x="896" y="227"/>
                  <a:pt x="895" y="227"/>
                  <a:pt x="895" y="227"/>
                </a:cubicBezTo>
                <a:cubicBezTo>
                  <a:pt x="895" y="227"/>
                  <a:pt x="895" y="226"/>
                  <a:pt x="895" y="226"/>
                </a:cubicBezTo>
                <a:cubicBezTo>
                  <a:pt x="895" y="226"/>
                  <a:pt x="894" y="226"/>
                  <a:pt x="894" y="226"/>
                </a:cubicBezTo>
                <a:cubicBezTo>
                  <a:pt x="894" y="226"/>
                  <a:pt x="894" y="225"/>
                  <a:pt x="894" y="225"/>
                </a:cubicBezTo>
                <a:cubicBezTo>
                  <a:pt x="893" y="225"/>
                  <a:pt x="893" y="224"/>
                  <a:pt x="893" y="224"/>
                </a:cubicBezTo>
                <a:cubicBezTo>
                  <a:pt x="893" y="223"/>
                  <a:pt x="893" y="223"/>
                  <a:pt x="892" y="222"/>
                </a:cubicBezTo>
                <a:cubicBezTo>
                  <a:pt x="892" y="222"/>
                  <a:pt x="892" y="222"/>
                  <a:pt x="892" y="222"/>
                </a:cubicBezTo>
                <a:cubicBezTo>
                  <a:pt x="892" y="222"/>
                  <a:pt x="892" y="222"/>
                  <a:pt x="891" y="222"/>
                </a:cubicBezTo>
                <a:cubicBezTo>
                  <a:pt x="891" y="221"/>
                  <a:pt x="890" y="221"/>
                  <a:pt x="890" y="220"/>
                </a:cubicBezTo>
                <a:cubicBezTo>
                  <a:pt x="889" y="220"/>
                  <a:pt x="889" y="220"/>
                  <a:pt x="889" y="220"/>
                </a:cubicBezTo>
                <a:cubicBezTo>
                  <a:pt x="889" y="220"/>
                  <a:pt x="888" y="220"/>
                  <a:pt x="888" y="220"/>
                </a:cubicBezTo>
                <a:cubicBezTo>
                  <a:pt x="888" y="220"/>
                  <a:pt x="887" y="220"/>
                  <a:pt x="887" y="220"/>
                </a:cubicBezTo>
                <a:cubicBezTo>
                  <a:pt x="887" y="220"/>
                  <a:pt x="887" y="220"/>
                  <a:pt x="886" y="220"/>
                </a:cubicBezTo>
                <a:cubicBezTo>
                  <a:pt x="886" y="220"/>
                  <a:pt x="886" y="220"/>
                  <a:pt x="886" y="220"/>
                </a:cubicBezTo>
                <a:cubicBezTo>
                  <a:pt x="885" y="220"/>
                  <a:pt x="885" y="220"/>
                  <a:pt x="884" y="220"/>
                </a:cubicBezTo>
                <a:cubicBezTo>
                  <a:pt x="884" y="220"/>
                  <a:pt x="884" y="220"/>
                  <a:pt x="884" y="220"/>
                </a:cubicBezTo>
                <a:cubicBezTo>
                  <a:pt x="883" y="220"/>
                  <a:pt x="883" y="220"/>
                  <a:pt x="883" y="220"/>
                </a:cubicBezTo>
                <a:cubicBezTo>
                  <a:pt x="882" y="220"/>
                  <a:pt x="882" y="220"/>
                  <a:pt x="882" y="220"/>
                </a:cubicBezTo>
                <a:cubicBezTo>
                  <a:pt x="882" y="220"/>
                  <a:pt x="883" y="220"/>
                  <a:pt x="883" y="220"/>
                </a:cubicBezTo>
                <a:cubicBezTo>
                  <a:pt x="883" y="220"/>
                  <a:pt x="884" y="220"/>
                  <a:pt x="884" y="220"/>
                </a:cubicBezTo>
                <a:cubicBezTo>
                  <a:pt x="884" y="220"/>
                  <a:pt x="885" y="220"/>
                  <a:pt x="885" y="220"/>
                </a:cubicBezTo>
                <a:cubicBezTo>
                  <a:pt x="885" y="219"/>
                  <a:pt x="885" y="219"/>
                  <a:pt x="885" y="219"/>
                </a:cubicBezTo>
                <a:cubicBezTo>
                  <a:pt x="886" y="219"/>
                  <a:pt x="886" y="219"/>
                  <a:pt x="887" y="219"/>
                </a:cubicBezTo>
                <a:cubicBezTo>
                  <a:pt x="887" y="219"/>
                  <a:pt x="887" y="219"/>
                  <a:pt x="887" y="218"/>
                </a:cubicBezTo>
                <a:cubicBezTo>
                  <a:pt x="887" y="218"/>
                  <a:pt x="887" y="218"/>
                  <a:pt x="886" y="218"/>
                </a:cubicBezTo>
                <a:cubicBezTo>
                  <a:pt x="886" y="218"/>
                  <a:pt x="886" y="218"/>
                  <a:pt x="886" y="218"/>
                </a:cubicBezTo>
                <a:cubicBezTo>
                  <a:pt x="886" y="218"/>
                  <a:pt x="886" y="218"/>
                  <a:pt x="886" y="218"/>
                </a:cubicBezTo>
                <a:cubicBezTo>
                  <a:pt x="886" y="218"/>
                  <a:pt x="885" y="218"/>
                  <a:pt x="885" y="218"/>
                </a:cubicBezTo>
                <a:cubicBezTo>
                  <a:pt x="885" y="218"/>
                  <a:pt x="884" y="218"/>
                  <a:pt x="884" y="218"/>
                </a:cubicBezTo>
                <a:cubicBezTo>
                  <a:pt x="885" y="218"/>
                  <a:pt x="885" y="218"/>
                  <a:pt x="885" y="217"/>
                </a:cubicBezTo>
                <a:cubicBezTo>
                  <a:pt x="886" y="217"/>
                  <a:pt x="886" y="217"/>
                  <a:pt x="887" y="217"/>
                </a:cubicBezTo>
                <a:cubicBezTo>
                  <a:pt x="887" y="217"/>
                  <a:pt x="887" y="217"/>
                  <a:pt x="887" y="217"/>
                </a:cubicBezTo>
                <a:cubicBezTo>
                  <a:pt x="887" y="217"/>
                  <a:pt x="887" y="217"/>
                  <a:pt x="888" y="217"/>
                </a:cubicBezTo>
                <a:cubicBezTo>
                  <a:pt x="888" y="216"/>
                  <a:pt x="888" y="216"/>
                  <a:pt x="888" y="216"/>
                </a:cubicBezTo>
                <a:cubicBezTo>
                  <a:pt x="888" y="216"/>
                  <a:pt x="889" y="216"/>
                  <a:pt x="889" y="215"/>
                </a:cubicBezTo>
                <a:cubicBezTo>
                  <a:pt x="889" y="215"/>
                  <a:pt x="889" y="215"/>
                  <a:pt x="889" y="215"/>
                </a:cubicBezTo>
                <a:cubicBezTo>
                  <a:pt x="889" y="215"/>
                  <a:pt x="889" y="215"/>
                  <a:pt x="889" y="215"/>
                </a:cubicBezTo>
                <a:cubicBezTo>
                  <a:pt x="889" y="214"/>
                  <a:pt x="889" y="214"/>
                  <a:pt x="890" y="214"/>
                </a:cubicBezTo>
                <a:cubicBezTo>
                  <a:pt x="890" y="214"/>
                  <a:pt x="889" y="214"/>
                  <a:pt x="889" y="214"/>
                </a:cubicBezTo>
                <a:cubicBezTo>
                  <a:pt x="890" y="213"/>
                  <a:pt x="890" y="213"/>
                  <a:pt x="890" y="213"/>
                </a:cubicBezTo>
                <a:cubicBezTo>
                  <a:pt x="890" y="213"/>
                  <a:pt x="890" y="212"/>
                  <a:pt x="891" y="212"/>
                </a:cubicBezTo>
                <a:cubicBezTo>
                  <a:pt x="891" y="212"/>
                  <a:pt x="891" y="212"/>
                  <a:pt x="891" y="212"/>
                </a:cubicBezTo>
                <a:cubicBezTo>
                  <a:pt x="890" y="211"/>
                  <a:pt x="890" y="211"/>
                  <a:pt x="889" y="211"/>
                </a:cubicBezTo>
                <a:cubicBezTo>
                  <a:pt x="889" y="211"/>
                  <a:pt x="889" y="211"/>
                  <a:pt x="889" y="211"/>
                </a:cubicBezTo>
                <a:cubicBezTo>
                  <a:pt x="888" y="211"/>
                  <a:pt x="888" y="211"/>
                  <a:pt x="887" y="211"/>
                </a:cubicBezTo>
                <a:cubicBezTo>
                  <a:pt x="886" y="211"/>
                  <a:pt x="886" y="211"/>
                  <a:pt x="885" y="211"/>
                </a:cubicBezTo>
                <a:cubicBezTo>
                  <a:pt x="885" y="211"/>
                  <a:pt x="885" y="211"/>
                  <a:pt x="885" y="211"/>
                </a:cubicBezTo>
                <a:cubicBezTo>
                  <a:pt x="885" y="211"/>
                  <a:pt x="885" y="211"/>
                  <a:pt x="884" y="211"/>
                </a:cubicBezTo>
                <a:cubicBezTo>
                  <a:pt x="884" y="211"/>
                  <a:pt x="884" y="211"/>
                  <a:pt x="884" y="211"/>
                </a:cubicBezTo>
                <a:cubicBezTo>
                  <a:pt x="883" y="211"/>
                  <a:pt x="883" y="211"/>
                  <a:pt x="883" y="211"/>
                </a:cubicBezTo>
                <a:cubicBezTo>
                  <a:pt x="883" y="211"/>
                  <a:pt x="883" y="211"/>
                  <a:pt x="883" y="211"/>
                </a:cubicBezTo>
                <a:cubicBezTo>
                  <a:pt x="883" y="211"/>
                  <a:pt x="882" y="212"/>
                  <a:pt x="882" y="212"/>
                </a:cubicBezTo>
                <a:cubicBezTo>
                  <a:pt x="882" y="212"/>
                  <a:pt x="881" y="212"/>
                  <a:pt x="881" y="212"/>
                </a:cubicBezTo>
                <a:cubicBezTo>
                  <a:pt x="881" y="212"/>
                  <a:pt x="881" y="212"/>
                  <a:pt x="881" y="212"/>
                </a:cubicBezTo>
                <a:cubicBezTo>
                  <a:pt x="881" y="212"/>
                  <a:pt x="880" y="212"/>
                  <a:pt x="880" y="212"/>
                </a:cubicBezTo>
                <a:cubicBezTo>
                  <a:pt x="880" y="212"/>
                  <a:pt x="880" y="212"/>
                  <a:pt x="880" y="212"/>
                </a:cubicBezTo>
                <a:cubicBezTo>
                  <a:pt x="880" y="212"/>
                  <a:pt x="881" y="212"/>
                  <a:pt x="881" y="212"/>
                </a:cubicBezTo>
                <a:cubicBezTo>
                  <a:pt x="881" y="211"/>
                  <a:pt x="881" y="211"/>
                  <a:pt x="882" y="211"/>
                </a:cubicBezTo>
                <a:cubicBezTo>
                  <a:pt x="881" y="211"/>
                  <a:pt x="881" y="211"/>
                  <a:pt x="881" y="211"/>
                </a:cubicBezTo>
                <a:cubicBezTo>
                  <a:pt x="881" y="211"/>
                  <a:pt x="880" y="211"/>
                  <a:pt x="880" y="211"/>
                </a:cubicBezTo>
                <a:cubicBezTo>
                  <a:pt x="880" y="211"/>
                  <a:pt x="881" y="210"/>
                  <a:pt x="881" y="210"/>
                </a:cubicBezTo>
                <a:cubicBezTo>
                  <a:pt x="881" y="210"/>
                  <a:pt x="881" y="210"/>
                  <a:pt x="881" y="210"/>
                </a:cubicBezTo>
                <a:cubicBezTo>
                  <a:pt x="882" y="210"/>
                  <a:pt x="882" y="209"/>
                  <a:pt x="883" y="209"/>
                </a:cubicBezTo>
                <a:cubicBezTo>
                  <a:pt x="883" y="209"/>
                  <a:pt x="883" y="208"/>
                  <a:pt x="884" y="208"/>
                </a:cubicBezTo>
                <a:cubicBezTo>
                  <a:pt x="884" y="208"/>
                  <a:pt x="884" y="208"/>
                  <a:pt x="884" y="208"/>
                </a:cubicBezTo>
                <a:cubicBezTo>
                  <a:pt x="884" y="208"/>
                  <a:pt x="885" y="207"/>
                  <a:pt x="885" y="207"/>
                </a:cubicBezTo>
                <a:cubicBezTo>
                  <a:pt x="885" y="207"/>
                  <a:pt x="884" y="207"/>
                  <a:pt x="884" y="207"/>
                </a:cubicBezTo>
                <a:cubicBezTo>
                  <a:pt x="884" y="207"/>
                  <a:pt x="885" y="207"/>
                  <a:pt x="885" y="207"/>
                </a:cubicBezTo>
                <a:cubicBezTo>
                  <a:pt x="885" y="206"/>
                  <a:pt x="885" y="206"/>
                  <a:pt x="885" y="206"/>
                </a:cubicBezTo>
                <a:cubicBezTo>
                  <a:pt x="884" y="206"/>
                  <a:pt x="884" y="206"/>
                  <a:pt x="884" y="206"/>
                </a:cubicBezTo>
                <a:cubicBezTo>
                  <a:pt x="883" y="206"/>
                  <a:pt x="883" y="206"/>
                  <a:pt x="883" y="207"/>
                </a:cubicBezTo>
                <a:cubicBezTo>
                  <a:pt x="883" y="207"/>
                  <a:pt x="883" y="207"/>
                  <a:pt x="882" y="206"/>
                </a:cubicBezTo>
                <a:cubicBezTo>
                  <a:pt x="882" y="207"/>
                  <a:pt x="882" y="207"/>
                  <a:pt x="881" y="207"/>
                </a:cubicBezTo>
                <a:cubicBezTo>
                  <a:pt x="881" y="207"/>
                  <a:pt x="881" y="207"/>
                  <a:pt x="880" y="207"/>
                </a:cubicBezTo>
                <a:cubicBezTo>
                  <a:pt x="880" y="207"/>
                  <a:pt x="880" y="207"/>
                  <a:pt x="880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8" y="207"/>
                  <a:pt x="878" y="207"/>
                </a:cubicBezTo>
                <a:cubicBezTo>
                  <a:pt x="878" y="207"/>
                  <a:pt x="878" y="207"/>
                  <a:pt x="877" y="207"/>
                </a:cubicBezTo>
                <a:cubicBezTo>
                  <a:pt x="877" y="207"/>
                  <a:pt x="877" y="207"/>
                  <a:pt x="878" y="207"/>
                </a:cubicBezTo>
                <a:cubicBezTo>
                  <a:pt x="877" y="207"/>
                  <a:pt x="877" y="207"/>
                  <a:pt x="876" y="207"/>
                </a:cubicBezTo>
                <a:cubicBezTo>
                  <a:pt x="876" y="207"/>
                  <a:pt x="876" y="207"/>
                  <a:pt x="876" y="207"/>
                </a:cubicBezTo>
                <a:cubicBezTo>
                  <a:pt x="876" y="207"/>
                  <a:pt x="876" y="207"/>
                  <a:pt x="876" y="207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5" y="209"/>
                  <a:pt x="875" y="209"/>
                  <a:pt x="875" y="209"/>
                </a:cubicBezTo>
                <a:cubicBezTo>
                  <a:pt x="875" y="209"/>
                  <a:pt x="875" y="209"/>
                  <a:pt x="875" y="209"/>
                </a:cubicBezTo>
                <a:cubicBezTo>
                  <a:pt x="875" y="209"/>
                  <a:pt x="875" y="209"/>
                  <a:pt x="875" y="210"/>
                </a:cubicBezTo>
                <a:cubicBezTo>
                  <a:pt x="875" y="210"/>
                  <a:pt x="875" y="210"/>
                  <a:pt x="874" y="210"/>
                </a:cubicBezTo>
                <a:cubicBezTo>
                  <a:pt x="875" y="210"/>
                  <a:pt x="875" y="210"/>
                  <a:pt x="876" y="210"/>
                </a:cubicBezTo>
                <a:cubicBezTo>
                  <a:pt x="876" y="210"/>
                  <a:pt x="876" y="211"/>
                  <a:pt x="876" y="211"/>
                </a:cubicBezTo>
                <a:cubicBezTo>
                  <a:pt x="876" y="211"/>
                  <a:pt x="875" y="211"/>
                  <a:pt x="875" y="210"/>
                </a:cubicBezTo>
                <a:cubicBezTo>
                  <a:pt x="875" y="210"/>
                  <a:pt x="875" y="211"/>
                  <a:pt x="874" y="211"/>
                </a:cubicBezTo>
                <a:cubicBezTo>
                  <a:pt x="874" y="211"/>
                  <a:pt x="874" y="210"/>
                  <a:pt x="874" y="210"/>
                </a:cubicBezTo>
                <a:cubicBezTo>
                  <a:pt x="874" y="210"/>
                  <a:pt x="874" y="210"/>
                  <a:pt x="874" y="211"/>
                </a:cubicBezTo>
                <a:cubicBezTo>
                  <a:pt x="874" y="211"/>
                  <a:pt x="874" y="211"/>
                  <a:pt x="874" y="211"/>
                </a:cubicBezTo>
                <a:cubicBezTo>
                  <a:pt x="874" y="211"/>
                  <a:pt x="874" y="211"/>
                  <a:pt x="874" y="211"/>
                </a:cubicBezTo>
                <a:cubicBezTo>
                  <a:pt x="873" y="211"/>
                  <a:pt x="873" y="211"/>
                  <a:pt x="873" y="211"/>
                </a:cubicBezTo>
                <a:cubicBezTo>
                  <a:pt x="873" y="211"/>
                  <a:pt x="873" y="211"/>
                  <a:pt x="873" y="211"/>
                </a:cubicBezTo>
                <a:cubicBezTo>
                  <a:pt x="873" y="211"/>
                  <a:pt x="873" y="211"/>
                  <a:pt x="873" y="212"/>
                </a:cubicBezTo>
                <a:cubicBezTo>
                  <a:pt x="873" y="212"/>
                  <a:pt x="873" y="212"/>
                  <a:pt x="873" y="212"/>
                </a:cubicBezTo>
                <a:cubicBezTo>
                  <a:pt x="873" y="212"/>
                  <a:pt x="873" y="212"/>
                  <a:pt x="874" y="212"/>
                </a:cubicBezTo>
                <a:cubicBezTo>
                  <a:pt x="874" y="212"/>
                  <a:pt x="874" y="212"/>
                  <a:pt x="874" y="212"/>
                </a:cubicBezTo>
                <a:cubicBezTo>
                  <a:pt x="874" y="212"/>
                  <a:pt x="874" y="212"/>
                  <a:pt x="873" y="213"/>
                </a:cubicBezTo>
                <a:cubicBezTo>
                  <a:pt x="873" y="212"/>
                  <a:pt x="873" y="212"/>
                  <a:pt x="873" y="212"/>
                </a:cubicBezTo>
                <a:close/>
                <a:moveTo>
                  <a:pt x="867" y="212"/>
                </a:moveTo>
                <a:cubicBezTo>
                  <a:pt x="866" y="212"/>
                  <a:pt x="866" y="212"/>
                  <a:pt x="866" y="212"/>
                </a:cubicBezTo>
                <a:cubicBezTo>
                  <a:pt x="865" y="212"/>
                  <a:pt x="865" y="212"/>
                  <a:pt x="865" y="212"/>
                </a:cubicBezTo>
                <a:cubicBezTo>
                  <a:pt x="865" y="212"/>
                  <a:pt x="866" y="212"/>
                  <a:pt x="866" y="212"/>
                </a:cubicBezTo>
                <a:cubicBezTo>
                  <a:pt x="866" y="212"/>
                  <a:pt x="867" y="212"/>
                  <a:pt x="867" y="212"/>
                </a:cubicBezTo>
                <a:cubicBezTo>
                  <a:pt x="867" y="212"/>
                  <a:pt x="867" y="212"/>
                  <a:pt x="867" y="212"/>
                </a:cubicBezTo>
                <a:close/>
                <a:moveTo>
                  <a:pt x="876" y="221"/>
                </a:moveTo>
                <a:cubicBezTo>
                  <a:pt x="876" y="221"/>
                  <a:pt x="876" y="221"/>
                  <a:pt x="876" y="221"/>
                </a:cubicBezTo>
                <a:cubicBezTo>
                  <a:pt x="876" y="221"/>
                  <a:pt x="876" y="221"/>
                  <a:pt x="876" y="221"/>
                </a:cubicBezTo>
                <a:cubicBezTo>
                  <a:pt x="876" y="221"/>
                  <a:pt x="876" y="222"/>
                  <a:pt x="877" y="222"/>
                </a:cubicBezTo>
                <a:cubicBezTo>
                  <a:pt x="877" y="221"/>
                  <a:pt x="877" y="221"/>
                  <a:pt x="876" y="221"/>
                </a:cubicBezTo>
                <a:close/>
                <a:moveTo>
                  <a:pt x="878" y="229"/>
                </a:move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78" y="230"/>
                  <a:pt x="879" y="230"/>
                </a:cubicBezTo>
                <a:cubicBezTo>
                  <a:pt x="879" y="230"/>
                  <a:pt x="879" y="230"/>
                  <a:pt x="880" y="229"/>
                </a:cubicBezTo>
                <a:cubicBezTo>
                  <a:pt x="880" y="229"/>
                  <a:pt x="880" y="229"/>
                  <a:pt x="880" y="229"/>
                </a:cubicBezTo>
                <a:cubicBezTo>
                  <a:pt x="880" y="229"/>
                  <a:pt x="880" y="228"/>
                  <a:pt x="880" y="228"/>
                </a:cubicBezTo>
                <a:cubicBezTo>
                  <a:pt x="879" y="229"/>
                  <a:pt x="879" y="229"/>
                  <a:pt x="878" y="229"/>
                </a:cubicBezTo>
                <a:close/>
                <a:moveTo>
                  <a:pt x="872" y="222"/>
                </a:moveTo>
                <a:cubicBezTo>
                  <a:pt x="872" y="222"/>
                  <a:pt x="871" y="221"/>
                  <a:pt x="871" y="221"/>
                </a:cubicBezTo>
                <a:cubicBezTo>
                  <a:pt x="871" y="221"/>
                  <a:pt x="870" y="221"/>
                  <a:pt x="870" y="221"/>
                </a:cubicBezTo>
                <a:cubicBezTo>
                  <a:pt x="870" y="222"/>
                  <a:pt x="870" y="222"/>
                  <a:pt x="870" y="222"/>
                </a:cubicBezTo>
                <a:cubicBezTo>
                  <a:pt x="870" y="222"/>
                  <a:pt x="870" y="222"/>
                  <a:pt x="871" y="222"/>
                </a:cubicBezTo>
                <a:cubicBezTo>
                  <a:pt x="871" y="222"/>
                  <a:pt x="871" y="222"/>
                  <a:pt x="871" y="222"/>
                </a:cubicBezTo>
                <a:cubicBezTo>
                  <a:pt x="871" y="222"/>
                  <a:pt x="871" y="222"/>
                  <a:pt x="872" y="222"/>
                </a:cubicBezTo>
                <a:close/>
                <a:moveTo>
                  <a:pt x="870" y="217"/>
                </a:moveTo>
                <a:cubicBezTo>
                  <a:pt x="870" y="217"/>
                  <a:pt x="870" y="217"/>
                  <a:pt x="870" y="217"/>
                </a:cubicBezTo>
                <a:cubicBezTo>
                  <a:pt x="870" y="217"/>
                  <a:pt x="869" y="217"/>
                  <a:pt x="869" y="217"/>
                </a:cubicBezTo>
                <a:cubicBezTo>
                  <a:pt x="869" y="217"/>
                  <a:pt x="869" y="217"/>
                  <a:pt x="870" y="217"/>
                </a:cubicBezTo>
                <a:close/>
                <a:moveTo>
                  <a:pt x="880" y="235"/>
                </a:moveTo>
                <a:cubicBezTo>
                  <a:pt x="881" y="234"/>
                  <a:pt x="881" y="234"/>
                  <a:pt x="882" y="234"/>
                </a:cubicBezTo>
                <a:cubicBezTo>
                  <a:pt x="881" y="234"/>
                  <a:pt x="881" y="234"/>
                  <a:pt x="881" y="234"/>
                </a:cubicBezTo>
                <a:cubicBezTo>
                  <a:pt x="881" y="234"/>
                  <a:pt x="880" y="234"/>
                  <a:pt x="880" y="233"/>
                </a:cubicBezTo>
                <a:cubicBezTo>
                  <a:pt x="880" y="233"/>
                  <a:pt x="880" y="234"/>
                  <a:pt x="879" y="234"/>
                </a:cubicBezTo>
                <a:cubicBezTo>
                  <a:pt x="879" y="234"/>
                  <a:pt x="879" y="234"/>
                  <a:pt x="879" y="234"/>
                </a:cubicBezTo>
                <a:cubicBezTo>
                  <a:pt x="879" y="234"/>
                  <a:pt x="880" y="234"/>
                  <a:pt x="880" y="235"/>
                </a:cubicBezTo>
                <a:close/>
                <a:moveTo>
                  <a:pt x="897" y="247"/>
                </a:moveTo>
                <a:cubicBezTo>
                  <a:pt x="897" y="247"/>
                  <a:pt x="896" y="247"/>
                  <a:pt x="896" y="247"/>
                </a:cubicBezTo>
                <a:cubicBezTo>
                  <a:pt x="896" y="247"/>
                  <a:pt x="895" y="247"/>
                  <a:pt x="895" y="247"/>
                </a:cubicBezTo>
                <a:cubicBezTo>
                  <a:pt x="895" y="247"/>
                  <a:pt x="895" y="247"/>
                  <a:pt x="896" y="247"/>
                </a:cubicBezTo>
                <a:cubicBezTo>
                  <a:pt x="896" y="247"/>
                  <a:pt x="896" y="247"/>
                  <a:pt x="896" y="248"/>
                </a:cubicBezTo>
                <a:cubicBezTo>
                  <a:pt x="897" y="248"/>
                  <a:pt x="897" y="248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lose/>
                <a:moveTo>
                  <a:pt x="875" y="222"/>
                </a:moveTo>
                <a:cubicBezTo>
                  <a:pt x="875" y="223"/>
                  <a:pt x="875" y="223"/>
                  <a:pt x="875" y="223"/>
                </a:cubicBezTo>
                <a:cubicBezTo>
                  <a:pt x="875" y="223"/>
                  <a:pt x="876" y="223"/>
                  <a:pt x="876" y="223"/>
                </a:cubicBezTo>
                <a:cubicBezTo>
                  <a:pt x="876" y="223"/>
                  <a:pt x="876" y="223"/>
                  <a:pt x="876" y="223"/>
                </a:cubicBezTo>
                <a:cubicBezTo>
                  <a:pt x="876" y="222"/>
                  <a:pt x="876" y="222"/>
                  <a:pt x="876" y="222"/>
                </a:cubicBezTo>
                <a:cubicBezTo>
                  <a:pt x="875" y="222"/>
                  <a:pt x="875" y="222"/>
                  <a:pt x="875" y="222"/>
                </a:cubicBezTo>
                <a:close/>
                <a:moveTo>
                  <a:pt x="873" y="219"/>
                </a:moveTo>
                <a:cubicBezTo>
                  <a:pt x="873" y="219"/>
                  <a:pt x="873" y="218"/>
                  <a:pt x="873" y="218"/>
                </a:cubicBezTo>
                <a:cubicBezTo>
                  <a:pt x="873" y="218"/>
                  <a:pt x="873" y="218"/>
                  <a:pt x="873" y="218"/>
                </a:cubicBezTo>
                <a:cubicBezTo>
                  <a:pt x="873" y="218"/>
                  <a:pt x="873" y="218"/>
                  <a:pt x="872" y="218"/>
                </a:cubicBezTo>
                <a:cubicBezTo>
                  <a:pt x="872" y="217"/>
                  <a:pt x="872" y="217"/>
                  <a:pt x="871" y="217"/>
                </a:cubicBezTo>
                <a:cubicBezTo>
                  <a:pt x="871" y="217"/>
                  <a:pt x="871" y="217"/>
                  <a:pt x="870" y="218"/>
                </a:cubicBezTo>
                <a:cubicBezTo>
                  <a:pt x="871" y="218"/>
                  <a:pt x="871" y="218"/>
                  <a:pt x="872" y="218"/>
                </a:cubicBezTo>
                <a:cubicBezTo>
                  <a:pt x="872" y="218"/>
                  <a:pt x="871" y="218"/>
                  <a:pt x="871" y="218"/>
                </a:cubicBezTo>
                <a:cubicBezTo>
                  <a:pt x="871" y="218"/>
                  <a:pt x="871" y="218"/>
                  <a:pt x="871" y="218"/>
                </a:cubicBezTo>
                <a:cubicBezTo>
                  <a:pt x="871" y="219"/>
                  <a:pt x="871" y="219"/>
                  <a:pt x="870" y="219"/>
                </a:cubicBezTo>
                <a:cubicBezTo>
                  <a:pt x="871" y="219"/>
                  <a:pt x="872" y="219"/>
                  <a:pt x="872" y="219"/>
                </a:cubicBezTo>
                <a:cubicBezTo>
                  <a:pt x="872" y="219"/>
                  <a:pt x="872" y="219"/>
                  <a:pt x="873" y="219"/>
                </a:cubicBezTo>
                <a:close/>
                <a:moveTo>
                  <a:pt x="884" y="205"/>
                </a:moveTo>
                <a:cubicBezTo>
                  <a:pt x="884" y="205"/>
                  <a:pt x="884" y="205"/>
                  <a:pt x="883" y="205"/>
                </a:cubicBezTo>
                <a:cubicBezTo>
                  <a:pt x="883" y="205"/>
                  <a:pt x="883" y="205"/>
                  <a:pt x="883" y="205"/>
                </a:cubicBezTo>
                <a:cubicBezTo>
                  <a:pt x="883" y="205"/>
                  <a:pt x="883" y="205"/>
                  <a:pt x="884" y="206"/>
                </a:cubicBezTo>
                <a:cubicBezTo>
                  <a:pt x="884" y="206"/>
                  <a:pt x="884" y="205"/>
                  <a:pt x="884" y="205"/>
                </a:cubicBezTo>
                <a:close/>
                <a:moveTo>
                  <a:pt x="865" y="215"/>
                </a:moveTo>
                <a:cubicBezTo>
                  <a:pt x="865" y="216"/>
                  <a:pt x="865" y="216"/>
                  <a:pt x="865" y="216"/>
                </a:cubicBezTo>
                <a:cubicBezTo>
                  <a:pt x="865" y="216"/>
                  <a:pt x="866" y="216"/>
                  <a:pt x="866" y="215"/>
                </a:cubicBezTo>
                <a:cubicBezTo>
                  <a:pt x="866" y="215"/>
                  <a:pt x="866" y="215"/>
                  <a:pt x="865" y="215"/>
                </a:cubicBezTo>
                <a:cubicBezTo>
                  <a:pt x="865" y="215"/>
                  <a:pt x="865" y="215"/>
                  <a:pt x="865" y="215"/>
                </a:cubicBezTo>
                <a:close/>
                <a:moveTo>
                  <a:pt x="866" y="213"/>
                </a:move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6" y="214"/>
                  <a:pt x="866" y="214"/>
                </a:cubicBezTo>
                <a:cubicBezTo>
                  <a:pt x="866" y="214"/>
                  <a:pt x="866" y="214"/>
                  <a:pt x="866" y="214"/>
                </a:cubicBezTo>
                <a:cubicBezTo>
                  <a:pt x="866" y="214"/>
                  <a:pt x="866" y="214"/>
                  <a:pt x="866" y="215"/>
                </a:cubicBezTo>
                <a:cubicBezTo>
                  <a:pt x="866" y="215"/>
                  <a:pt x="866" y="215"/>
                  <a:pt x="866" y="215"/>
                </a:cubicBezTo>
                <a:cubicBezTo>
                  <a:pt x="866" y="215"/>
                  <a:pt x="866" y="214"/>
                  <a:pt x="866" y="214"/>
                </a:cubicBezTo>
                <a:cubicBezTo>
                  <a:pt x="866" y="214"/>
                  <a:pt x="866" y="214"/>
                  <a:pt x="866" y="214"/>
                </a:cubicBezTo>
                <a:cubicBezTo>
                  <a:pt x="866" y="214"/>
                  <a:pt x="866" y="213"/>
                  <a:pt x="866" y="213"/>
                </a:cubicBezTo>
                <a:close/>
                <a:moveTo>
                  <a:pt x="945" y="285"/>
                </a:moveTo>
                <a:cubicBezTo>
                  <a:pt x="945" y="285"/>
                  <a:pt x="945" y="285"/>
                  <a:pt x="945" y="286"/>
                </a:cubicBezTo>
                <a:cubicBezTo>
                  <a:pt x="945" y="286"/>
                  <a:pt x="945" y="286"/>
                  <a:pt x="946" y="286"/>
                </a:cubicBezTo>
                <a:cubicBezTo>
                  <a:pt x="946" y="286"/>
                  <a:pt x="946" y="286"/>
                  <a:pt x="946" y="286"/>
                </a:cubicBezTo>
                <a:cubicBezTo>
                  <a:pt x="945" y="286"/>
                  <a:pt x="945" y="286"/>
                  <a:pt x="945" y="286"/>
                </a:cubicBezTo>
                <a:cubicBezTo>
                  <a:pt x="945" y="286"/>
                  <a:pt x="945" y="287"/>
                  <a:pt x="945" y="287"/>
                </a:cubicBezTo>
                <a:cubicBezTo>
                  <a:pt x="946" y="287"/>
                  <a:pt x="946" y="287"/>
                  <a:pt x="946" y="287"/>
                </a:cubicBezTo>
                <a:cubicBezTo>
                  <a:pt x="946" y="287"/>
                  <a:pt x="946" y="287"/>
                  <a:pt x="946" y="287"/>
                </a:cubicBezTo>
                <a:cubicBezTo>
                  <a:pt x="946" y="287"/>
                  <a:pt x="946" y="287"/>
                  <a:pt x="947" y="287"/>
                </a:cubicBezTo>
                <a:cubicBezTo>
                  <a:pt x="947" y="288"/>
                  <a:pt x="947" y="288"/>
                  <a:pt x="947" y="288"/>
                </a:cubicBezTo>
                <a:cubicBezTo>
                  <a:pt x="947" y="288"/>
                  <a:pt x="947" y="288"/>
                  <a:pt x="946" y="288"/>
                </a:cubicBezTo>
                <a:cubicBezTo>
                  <a:pt x="946" y="288"/>
                  <a:pt x="946" y="288"/>
                  <a:pt x="946" y="288"/>
                </a:cubicBezTo>
                <a:cubicBezTo>
                  <a:pt x="946" y="288"/>
                  <a:pt x="946" y="288"/>
                  <a:pt x="946" y="288"/>
                </a:cubicBezTo>
                <a:cubicBezTo>
                  <a:pt x="947" y="289"/>
                  <a:pt x="947" y="289"/>
                  <a:pt x="948" y="289"/>
                </a:cubicBezTo>
                <a:cubicBezTo>
                  <a:pt x="948" y="289"/>
                  <a:pt x="949" y="289"/>
                  <a:pt x="949" y="289"/>
                </a:cubicBezTo>
                <a:cubicBezTo>
                  <a:pt x="949" y="288"/>
                  <a:pt x="949" y="288"/>
                  <a:pt x="950" y="287"/>
                </a:cubicBezTo>
                <a:cubicBezTo>
                  <a:pt x="950" y="287"/>
                  <a:pt x="950" y="287"/>
                  <a:pt x="949" y="286"/>
                </a:cubicBezTo>
                <a:cubicBezTo>
                  <a:pt x="950" y="286"/>
                  <a:pt x="950" y="285"/>
                  <a:pt x="950" y="285"/>
                </a:cubicBezTo>
                <a:cubicBezTo>
                  <a:pt x="950" y="284"/>
                  <a:pt x="950" y="284"/>
                  <a:pt x="950" y="283"/>
                </a:cubicBezTo>
                <a:cubicBezTo>
                  <a:pt x="950" y="283"/>
                  <a:pt x="950" y="283"/>
                  <a:pt x="950" y="282"/>
                </a:cubicBezTo>
                <a:cubicBezTo>
                  <a:pt x="950" y="282"/>
                  <a:pt x="950" y="282"/>
                  <a:pt x="949" y="281"/>
                </a:cubicBezTo>
                <a:cubicBezTo>
                  <a:pt x="949" y="281"/>
                  <a:pt x="949" y="281"/>
                  <a:pt x="949" y="281"/>
                </a:cubicBezTo>
                <a:cubicBezTo>
                  <a:pt x="949" y="281"/>
                  <a:pt x="949" y="282"/>
                  <a:pt x="949" y="282"/>
                </a:cubicBezTo>
                <a:cubicBezTo>
                  <a:pt x="949" y="282"/>
                  <a:pt x="949" y="282"/>
                  <a:pt x="949" y="282"/>
                </a:cubicBezTo>
                <a:cubicBezTo>
                  <a:pt x="949" y="283"/>
                  <a:pt x="949" y="283"/>
                  <a:pt x="949" y="283"/>
                </a:cubicBezTo>
                <a:cubicBezTo>
                  <a:pt x="949" y="283"/>
                  <a:pt x="949" y="283"/>
                  <a:pt x="948" y="283"/>
                </a:cubicBezTo>
                <a:cubicBezTo>
                  <a:pt x="948" y="283"/>
                  <a:pt x="948" y="283"/>
                  <a:pt x="948" y="283"/>
                </a:cubicBezTo>
                <a:cubicBezTo>
                  <a:pt x="948" y="283"/>
                  <a:pt x="947" y="283"/>
                  <a:pt x="947" y="283"/>
                </a:cubicBezTo>
                <a:cubicBezTo>
                  <a:pt x="947" y="283"/>
                  <a:pt x="946" y="283"/>
                  <a:pt x="946" y="283"/>
                </a:cubicBezTo>
                <a:cubicBezTo>
                  <a:pt x="945" y="284"/>
                  <a:pt x="945" y="284"/>
                  <a:pt x="945" y="284"/>
                </a:cubicBezTo>
                <a:cubicBezTo>
                  <a:pt x="945" y="284"/>
                  <a:pt x="945" y="285"/>
                  <a:pt x="945" y="285"/>
                </a:cubicBezTo>
                <a:cubicBezTo>
                  <a:pt x="945" y="285"/>
                  <a:pt x="945" y="285"/>
                  <a:pt x="945" y="285"/>
                </a:cubicBezTo>
                <a:cubicBezTo>
                  <a:pt x="945" y="285"/>
                  <a:pt x="945" y="285"/>
                  <a:pt x="945" y="285"/>
                </a:cubicBezTo>
                <a:close/>
                <a:moveTo>
                  <a:pt x="976" y="314"/>
                </a:moveTo>
                <a:cubicBezTo>
                  <a:pt x="976" y="314"/>
                  <a:pt x="976" y="315"/>
                  <a:pt x="977" y="315"/>
                </a:cubicBezTo>
                <a:cubicBezTo>
                  <a:pt x="977" y="315"/>
                  <a:pt x="977" y="314"/>
                  <a:pt x="977" y="314"/>
                </a:cubicBezTo>
                <a:cubicBezTo>
                  <a:pt x="977" y="314"/>
                  <a:pt x="977" y="314"/>
                  <a:pt x="977" y="314"/>
                </a:cubicBezTo>
                <a:cubicBezTo>
                  <a:pt x="977" y="314"/>
                  <a:pt x="976" y="314"/>
                  <a:pt x="976" y="314"/>
                </a:cubicBezTo>
                <a:cubicBezTo>
                  <a:pt x="976" y="314"/>
                  <a:pt x="976" y="314"/>
                  <a:pt x="976" y="314"/>
                </a:cubicBezTo>
                <a:close/>
                <a:moveTo>
                  <a:pt x="944" y="290"/>
                </a:move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4" y="289"/>
                </a:cubicBez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3" y="290"/>
                </a:cubicBezTo>
                <a:cubicBezTo>
                  <a:pt x="943" y="290"/>
                  <a:pt x="943" y="290"/>
                  <a:pt x="944" y="290"/>
                </a:cubicBezTo>
                <a:cubicBezTo>
                  <a:pt x="944" y="290"/>
                  <a:pt x="944" y="290"/>
                  <a:pt x="944" y="290"/>
                </a:cubicBezTo>
                <a:close/>
                <a:moveTo>
                  <a:pt x="944" y="293"/>
                </a:moveTo>
                <a:cubicBezTo>
                  <a:pt x="944" y="293"/>
                  <a:pt x="944" y="293"/>
                  <a:pt x="944" y="293"/>
                </a:cubicBezTo>
                <a:cubicBezTo>
                  <a:pt x="945" y="294"/>
                  <a:pt x="945" y="294"/>
                  <a:pt x="945" y="294"/>
                </a:cubicBezTo>
                <a:cubicBezTo>
                  <a:pt x="945" y="294"/>
                  <a:pt x="945" y="294"/>
                  <a:pt x="945" y="295"/>
                </a:cubicBezTo>
                <a:cubicBezTo>
                  <a:pt x="945" y="295"/>
                  <a:pt x="945" y="295"/>
                  <a:pt x="944" y="295"/>
                </a:cubicBezTo>
                <a:cubicBezTo>
                  <a:pt x="944" y="295"/>
                  <a:pt x="944" y="296"/>
                  <a:pt x="945" y="296"/>
                </a:cubicBezTo>
                <a:cubicBezTo>
                  <a:pt x="945" y="296"/>
                  <a:pt x="945" y="296"/>
                  <a:pt x="946" y="296"/>
                </a:cubicBezTo>
                <a:cubicBezTo>
                  <a:pt x="946" y="296"/>
                  <a:pt x="946" y="296"/>
                  <a:pt x="946" y="296"/>
                </a:cubicBezTo>
                <a:cubicBezTo>
                  <a:pt x="945" y="296"/>
                  <a:pt x="945" y="296"/>
                  <a:pt x="945" y="297"/>
                </a:cubicBezTo>
                <a:cubicBezTo>
                  <a:pt x="945" y="297"/>
                  <a:pt x="945" y="297"/>
                  <a:pt x="945" y="298"/>
                </a:cubicBezTo>
                <a:cubicBezTo>
                  <a:pt x="945" y="298"/>
                  <a:pt x="945" y="298"/>
                  <a:pt x="945" y="298"/>
                </a:cubicBezTo>
                <a:cubicBezTo>
                  <a:pt x="945" y="299"/>
                  <a:pt x="945" y="299"/>
                  <a:pt x="945" y="300"/>
                </a:cubicBezTo>
                <a:cubicBezTo>
                  <a:pt x="946" y="300"/>
                  <a:pt x="946" y="300"/>
                  <a:pt x="946" y="300"/>
                </a:cubicBezTo>
                <a:cubicBezTo>
                  <a:pt x="946" y="300"/>
                  <a:pt x="947" y="300"/>
                  <a:pt x="947" y="300"/>
                </a:cubicBezTo>
                <a:cubicBezTo>
                  <a:pt x="947" y="300"/>
                  <a:pt x="947" y="300"/>
                  <a:pt x="947" y="300"/>
                </a:cubicBezTo>
                <a:cubicBezTo>
                  <a:pt x="947" y="300"/>
                  <a:pt x="948" y="300"/>
                  <a:pt x="948" y="300"/>
                </a:cubicBezTo>
                <a:cubicBezTo>
                  <a:pt x="948" y="300"/>
                  <a:pt x="948" y="300"/>
                  <a:pt x="948" y="299"/>
                </a:cubicBezTo>
                <a:cubicBezTo>
                  <a:pt x="948" y="299"/>
                  <a:pt x="948" y="299"/>
                  <a:pt x="948" y="299"/>
                </a:cubicBezTo>
                <a:cubicBezTo>
                  <a:pt x="949" y="299"/>
                  <a:pt x="949" y="299"/>
                  <a:pt x="949" y="299"/>
                </a:cubicBezTo>
                <a:cubicBezTo>
                  <a:pt x="950" y="299"/>
                  <a:pt x="950" y="299"/>
                  <a:pt x="950" y="299"/>
                </a:cubicBezTo>
                <a:cubicBezTo>
                  <a:pt x="950" y="299"/>
                  <a:pt x="950" y="299"/>
                  <a:pt x="951" y="299"/>
                </a:cubicBezTo>
                <a:cubicBezTo>
                  <a:pt x="951" y="299"/>
                  <a:pt x="951" y="299"/>
                  <a:pt x="951" y="299"/>
                </a:cubicBezTo>
                <a:cubicBezTo>
                  <a:pt x="951" y="298"/>
                  <a:pt x="951" y="298"/>
                  <a:pt x="951" y="297"/>
                </a:cubicBezTo>
                <a:cubicBezTo>
                  <a:pt x="951" y="297"/>
                  <a:pt x="951" y="297"/>
                  <a:pt x="951" y="297"/>
                </a:cubicBezTo>
                <a:cubicBezTo>
                  <a:pt x="951" y="297"/>
                  <a:pt x="951" y="296"/>
                  <a:pt x="951" y="296"/>
                </a:cubicBezTo>
                <a:cubicBezTo>
                  <a:pt x="951" y="295"/>
                  <a:pt x="951" y="295"/>
                  <a:pt x="951" y="294"/>
                </a:cubicBezTo>
                <a:cubicBezTo>
                  <a:pt x="951" y="294"/>
                  <a:pt x="950" y="294"/>
                  <a:pt x="950" y="293"/>
                </a:cubicBezTo>
                <a:cubicBezTo>
                  <a:pt x="950" y="293"/>
                  <a:pt x="951" y="293"/>
                  <a:pt x="951" y="293"/>
                </a:cubicBezTo>
                <a:cubicBezTo>
                  <a:pt x="951" y="293"/>
                  <a:pt x="951" y="293"/>
                  <a:pt x="951" y="292"/>
                </a:cubicBezTo>
                <a:cubicBezTo>
                  <a:pt x="951" y="292"/>
                  <a:pt x="951" y="292"/>
                  <a:pt x="951" y="291"/>
                </a:cubicBezTo>
                <a:cubicBezTo>
                  <a:pt x="951" y="291"/>
                  <a:pt x="951" y="291"/>
                  <a:pt x="950" y="291"/>
                </a:cubicBezTo>
                <a:cubicBezTo>
                  <a:pt x="950" y="291"/>
                  <a:pt x="950" y="290"/>
                  <a:pt x="950" y="290"/>
                </a:cubicBezTo>
                <a:cubicBezTo>
                  <a:pt x="950" y="290"/>
                  <a:pt x="949" y="290"/>
                  <a:pt x="949" y="290"/>
                </a:cubicBezTo>
                <a:cubicBezTo>
                  <a:pt x="949" y="290"/>
                  <a:pt x="949" y="290"/>
                  <a:pt x="948" y="290"/>
                </a:cubicBezTo>
                <a:cubicBezTo>
                  <a:pt x="948" y="290"/>
                  <a:pt x="948" y="290"/>
                  <a:pt x="948" y="290"/>
                </a:cubicBezTo>
                <a:cubicBezTo>
                  <a:pt x="947" y="290"/>
                  <a:pt x="946" y="291"/>
                  <a:pt x="946" y="291"/>
                </a:cubicBezTo>
                <a:cubicBezTo>
                  <a:pt x="945" y="291"/>
                  <a:pt x="945" y="291"/>
                  <a:pt x="945" y="291"/>
                </a:cubicBezTo>
                <a:cubicBezTo>
                  <a:pt x="944" y="291"/>
                  <a:pt x="944" y="291"/>
                  <a:pt x="943" y="291"/>
                </a:cubicBezTo>
                <a:cubicBezTo>
                  <a:pt x="943" y="291"/>
                  <a:pt x="943" y="291"/>
                  <a:pt x="943" y="292"/>
                </a:cubicBezTo>
                <a:cubicBezTo>
                  <a:pt x="943" y="292"/>
                  <a:pt x="943" y="292"/>
                  <a:pt x="943" y="292"/>
                </a:cubicBezTo>
                <a:cubicBezTo>
                  <a:pt x="944" y="292"/>
                  <a:pt x="944" y="293"/>
                  <a:pt x="944" y="293"/>
                </a:cubicBezTo>
                <a:close/>
                <a:moveTo>
                  <a:pt x="955" y="283"/>
                </a:moveTo>
                <a:cubicBezTo>
                  <a:pt x="955" y="282"/>
                  <a:pt x="955" y="282"/>
                  <a:pt x="955" y="282"/>
                </a:cubicBezTo>
                <a:cubicBezTo>
                  <a:pt x="955" y="282"/>
                  <a:pt x="955" y="282"/>
                  <a:pt x="954" y="282"/>
                </a:cubicBezTo>
                <a:cubicBezTo>
                  <a:pt x="954" y="282"/>
                  <a:pt x="954" y="282"/>
                  <a:pt x="954" y="282"/>
                </a:cubicBezTo>
                <a:cubicBezTo>
                  <a:pt x="954" y="282"/>
                  <a:pt x="953" y="282"/>
                  <a:pt x="953" y="282"/>
                </a:cubicBezTo>
                <a:cubicBezTo>
                  <a:pt x="953" y="282"/>
                  <a:pt x="953" y="283"/>
                  <a:pt x="952" y="283"/>
                </a:cubicBezTo>
                <a:cubicBezTo>
                  <a:pt x="953" y="283"/>
                  <a:pt x="953" y="283"/>
                  <a:pt x="953" y="283"/>
                </a:cubicBezTo>
                <a:cubicBezTo>
                  <a:pt x="953" y="283"/>
                  <a:pt x="954" y="283"/>
                  <a:pt x="954" y="283"/>
                </a:cubicBezTo>
                <a:cubicBezTo>
                  <a:pt x="954" y="283"/>
                  <a:pt x="955" y="283"/>
                  <a:pt x="955" y="283"/>
                </a:cubicBezTo>
                <a:close/>
                <a:moveTo>
                  <a:pt x="957" y="284"/>
                </a:moveTo>
                <a:cubicBezTo>
                  <a:pt x="957" y="285"/>
                  <a:pt x="958" y="285"/>
                  <a:pt x="958" y="285"/>
                </a:cubicBezTo>
                <a:cubicBezTo>
                  <a:pt x="958" y="285"/>
                  <a:pt x="958" y="284"/>
                  <a:pt x="958" y="284"/>
                </a:cubicBezTo>
                <a:cubicBezTo>
                  <a:pt x="957" y="284"/>
                  <a:pt x="957" y="284"/>
                  <a:pt x="957" y="284"/>
                </a:cubicBezTo>
                <a:close/>
                <a:moveTo>
                  <a:pt x="981" y="305"/>
                </a:moveTo>
                <a:cubicBezTo>
                  <a:pt x="981" y="305"/>
                  <a:pt x="981" y="304"/>
                  <a:pt x="981" y="304"/>
                </a:cubicBezTo>
                <a:cubicBezTo>
                  <a:pt x="981" y="304"/>
                  <a:pt x="981" y="304"/>
                  <a:pt x="981" y="303"/>
                </a:cubicBezTo>
                <a:cubicBezTo>
                  <a:pt x="980" y="304"/>
                  <a:pt x="980" y="304"/>
                  <a:pt x="979" y="304"/>
                </a:cubicBezTo>
                <a:cubicBezTo>
                  <a:pt x="979" y="304"/>
                  <a:pt x="979" y="304"/>
                  <a:pt x="979" y="304"/>
                </a:cubicBezTo>
                <a:cubicBezTo>
                  <a:pt x="978" y="304"/>
                  <a:pt x="978" y="304"/>
                  <a:pt x="978" y="304"/>
                </a:cubicBezTo>
                <a:cubicBezTo>
                  <a:pt x="977" y="304"/>
                  <a:pt x="977" y="304"/>
                  <a:pt x="976" y="305"/>
                </a:cubicBezTo>
                <a:cubicBezTo>
                  <a:pt x="976" y="304"/>
                  <a:pt x="975" y="304"/>
                  <a:pt x="974" y="304"/>
                </a:cubicBezTo>
                <a:cubicBezTo>
                  <a:pt x="973" y="304"/>
                  <a:pt x="973" y="305"/>
                  <a:pt x="972" y="305"/>
                </a:cubicBezTo>
                <a:cubicBezTo>
                  <a:pt x="972" y="305"/>
                  <a:pt x="971" y="305"/>
                  <a:pt x="971" y="305"/>
                </a:cubicBezTo>
                <a:cubicBezTo>
                  <a:pt x="970" y="304"/>
                  <a:pt x="970" y="304"/>
                  <a:pt x="970" y="304"/>
                </a:cubicBezTo>
                <a:cubicBezTo>
                  <a:pt x="969" y="304"/>
                  <a:pt x="969" y="304"/>
                  <a:pt x="968" y="304"/>
                </a:cubicBezTo>
                <a:cubicBezTo>
                  <a:pt x="968" y="304"/>
                  <a:pt x="968" y="304"/>
                  <a:pt x="968" y="304"/>
                </a:cubicBezTo>
                <a:cubicBezTo>
                  <a:pt x="968" y="304"/>
                  <a:pt x="968" y="304"/>
                  <a:pt x="967" y="304"/>
                </a:cubicBezTo>
                <a:cubicBezTo>
                  <a:pt x="967" y="304"/>
                  <a:pt x="967" y="304"/>
                  <a:pt x="966" y="305"/>
                </a:cubicBezTo>
                <a:cubicBezTo>
                  <a:pt x="966" y="305"/>
                  <a:pt x="966" y="305"/>
                  <a:pt x="966" y="306"/>
                </a:cubicBezTo>
                <a:cubicBezTo>
                  <a:pt x="966" y="306"/>
                  <a:pt x="967" y="306"/>
                  <a:pt x="967" y="306"/>
                </a:cubicBezTo>
                <a:cubicBezTo>
                  <a:pt x="967" y="306"/>
                  <a:pt x="968" y="306"/>
                  <a:pt x="968" y="306"/>
                </a:cubicBezTo>
                <a:cubicBezTo>
                  <a:pt x="969" y="307"/>
                  <a:pt x="970" y="307"/>
                  <a:pt x="970" y="307"/>
                </a:cubicBezTo>
                <a:cubicBezTo>
                  <a:pt x="971" y="307"/>
                  <a:pt x="971" y="307"/>
                  <a:pt x="971" y="308"/>
                </a:cubicBezTo>
                <a:cubicBezTo>
                  <a:pt x="972" y="308"/>
                  <a:pt x="972" y="308"/>
                  <a:pt x="972" y="308"/>
                </a:cubicBezTo>
                <a:cubicBezTo>
                  <a:pt x="973" y="309"/>
                  <a:pt x="974" y="309"/>
                  <a:pt x="975" y="309"/>
                </a:cubicBezTo>
                <a:cubicBezTo>
                  <a:pt x="975" y="309"/>
                  <a:pt x="975" y="309"/>
                  <a:pt x="975" y="309"/>
                </a:cubicBezTo>
                <a:cubicBezTo>
                  <a:pt x="975" y="309"/>
                  <a:pt x="976" y="309"/>
                  <a:pt x="976" y="309"/>
                </a:cubicBezTo>
                <a:cubicBezTo>
                  <a:pt x="976" y="309"/>
                  <a:pt x="976" y="310"/>
                  <a:pt x="976" y="310"/>
                </a:cubicBezTo>
                <a:cubicBezTo>
                  <a:pt x="977" y="310"/>
                  <a:pt x="978" y="310"/>
                  <a:pt x="979" y="311"/>
                </a:cubicBezTo>
                <a:cubicBezTo>
                  <a:pt x="979" y="311"/>
                  <a:pt x="979" y="311"/>
                  <a:pt x="980" y="311"/>
                </a:cubicBezTo>
                <a:cubicBezTo>
                  <a:pt x="980" y="310"/>
                  <a:pt x="980" y="310"/>
                  <a:pt x="980" y="310"/>
                </a:cubicBezTo>
                <a:cubicBezTo>
                  <a:pt x="980" y="309"/>
                  <a:pt x="980" y="309"/>
                  <a:pt x="980" y="309"/>
                </a:cubicBezTo>
                <a:cubicBezTo>
                  <a:pt x="980" y="309"/>
                  <a:pt x="980" y="309"/>
                  <a:pt x="980" y="308"/>
                </a:cubicBezTo>
                <a:cubicBezTo>
                  <a:pt x="980" y="308"/>
                  <a:pt x="980" y="308"/>
                  <a:pt x="979" y="307"/>
                </a:cubicBezTo>
                <a:cubicBezTo>
                  <a:pt x="980" y="307"/>
                  <a:pt x="980" y="306"/>
                  <a:pt x="980" y="306"/>
                </a:cubicBezTo>
                <a:cubicBezTo>
                  <a:pt x="981" y="305"/>
                  <a:pt x="981" y="305"/>
                  <a:pt x="981" y="305"/>
                </a:cubicBezTo>
                <a:close/>
                <a:moveTo>
                  <a:pt x="912" y="301"/>
                </a:moveTo>
                <a:cubicBezTo>
                  <a:pt x="913" y="300"/>
                  <a:pt x="913" y="300"/>
                  <a:pt x="913" y="300"/>
                </a:cubicBezTo>
                <a:cubicBezTo>
                  <a:pt x="913" y="300"/>
                  <a:pt x="913" y="300"/>
                  <a:pt x="912" y="300"/>
                </a:cubicBezTo>
                <a:cubicBezTo>
                  <a:pt x="912" y="300"/>
                  <a:pt x="912" y="300"/>
                  <a:pt x="911" y="300"/>
                </a:cubicBezTo>
                <a:cubicBezTo>
                  <a:pt x="911" y="300"/>
                  <a:pt x="911" y="300"/>
                  <a:pt x="911" y="301"/>
                </a:cubicBezTo>
                <a:cubicBezTo>
                  <a:pt x="911" y="301"/>
                  <a:pt x="911" y="301"/>
                  <a:pt x="912" y="301"/>
                </a:cubicBezTo>
                <a:cubicBezTo>
                  <a:pt x="912" y="301"/>
                  <a:pt x="912" y="301"/>
                  <a:pt x="912" y="301"/>
                </a:cubicBezTo>
                <a:close/>
                <a:moveTo>
                  <a:pt x="924" y="296"/>
                </a:moveTo>
                <a:cubicBezTo>
                  <a:pt x="924" y="296"/>
                  <a:pt x="924" y="296"/>
                  <a:pt x="924" y="296"/>
                </a:cubicBezTo>
                <a:cubicBezTo>
                  <a:pt x="924" y="296"/>
                  <a:pt x="923" y="296"/>
                  <a:pt x="923" y="295"/>
                </a:cubicBezTo>
                <a:cubicBezTo>
                  <a:pt x="922" y="295"/>
                  <a:pt x="922" y="295"/>
                  <a:pt x="921" y="296"/>
                </a:cubicBezTo>
                <a:cubicBezTo>
                  <a:pt x="921" y="296"/>
                  <a:pt x="921" y="296"/>
                  <a:pt x="921" y="296"/>
                </a:cubicBezTo>
                <a:cubicBezTo>
                  <a:pt x="922" y="296"/>
                  <a:pt x="922" y="296"/>
                  <a:pt x="923" y="296"/>
                </a:cubicBezTo>
                <a:cubicBezTo>
                  <a:pt x="923" y="296"/>
                  <a:pt x="923" y="296"/>
                  <a:pt x="924" y="296"/>
                </a:cubicBezTo>
                <a:close/>
                <a:moveTo>
                  <a:pt x="918" y="299"/>
                </a:moveTo>
                <a:cubicBezTo>
                  <a:pt x="918" y="298"/>
                  <a:pt x="918" y="298"/>
                  <a:pt x="919" y="298"/>
                </a:cubicBezTo>
                <a:cubicBezTo>
                  <a:pt x="919" y="297"/>
                  <a:pt x="919" y="297"/>
                  <a:pt x="920" y="297"/>
                </a:cubicBezTo>
                <a:cubicBezTo>
                  <a:pt x="919" y="297"/>
                  <a:pt x="919" y="297"/>
                  <a:pt x="919" y="297"/>
                </a:cubicBezTo>
                <a:cubicBezTo>
                  <a:pt x="918" y="297"/>
                  <a:pt x="918" y="297"/>
                  <a:pt x="917" y="297"/>
                </a:cubicBezTo>
                <a:cubicBezTo>
                  <a:pt x="917" y="297"/>
                  <a:pt x="917" y="297"/>
                  <a:pt x="916" y="297"/>
                </a:cubicBezTo>
                <a:cubicBezTo>
                  <a:pt x="916" y="297"/>
                  <a:pt x="916" y="298"/>
                  <a:pt x="916" y="298"/>
                </a:cubicBezTo>
                <a:cubicBezTo>
                  <a:pt x="917" y="298"/>
                  <a:pt x="917" y="298"/>
                  <a:pt x="917" y="298"/>
                </a:cubicBezTo>
                <a:cubicBezTo>
                  <a:pt x="918" y="298"/>
                  <a:pt x="918" y="298"/>
                  <a:pt x="918" y="299"/>
                </a:cubicBezTo>
                <a:close/>
                <a:moveTo>
                  <a:pt x="1037" y="313"/>
                </a:moveTo>
                <a:cubicBezTo>
                  <a:pt x="1037" y="313"/>
                  <a:pt x="1037" y="313"/>
                  <a:pt x="1037" y="313"/>
                </a:cubicBezTo>
                <a:cubicBezTo>
                  <a:pt x="1037" y="313"/>
                  <a:pt x="1038" y="313"/>
                  <a:pt x="1038" y="313"/>
                </a:cubicBezTo>
                <a:cubicBezTo>
                  <a:pt x="1038" y="313"/>
                  <a:pt x="1038" y="313"/>
                  <a:pt x="1038" y="313"/>
                </a:cubicBezTo>
                <a:cubicBezTo>
                  <a:pt x="1038" y="313"/>
                  <a:pt x="1038" y="313"/>
                  <a:pt x="1038" y="312"/>
                </a:cubicBezTo>
                <a:cubicBezTo>
                  <a:pt x="1037" y="313"/>
                  <a:pt x="1037" y="313"/>
                  <a:pt x="1037" y="313"/>
                </a:cubicBezTo>
                <a:cubicBezTo>
                  <a:pt x="1037" y="313"/>
                  <a:pt x="1037" y="313"/>
                  <a:pt x="1037" y="313"/>
                </a:cubicBezTo>
                <a:close/>
                <a:moveTo>
                  <a:pt x="1028" y="293"/>
                </a:moveTo>
                <a:cubicBezTo>
                  <a:pt x="1027" y="293"/>
                  <a:pt x="1027" y="293"/>
                  <a:pt x="1027" y="293"/>
                </a:cubicBezTo>
                <a:cubicBezTo>
                  <a:pt x="1027" y="294"/>
                  <a:pt x="1027" y="294"/>
                  <a:pt x="1027" y="294"/>
                </a:cubicBezTo>
                <a:cubicBezTo>
                  <a:pt x="1027" y="294"/>
                  <a:pt x="1027" y="294"/>
                  <a:pt x="1027" y="294"/>
                </a:cubicBezTo>
                <a:cubicBezTo>
                  <a:pt x="1027" y="294"/>
                  <a:pt x="1028" y="294"/>
                  <a:pt x="1028" y="294"/>
                </a:cubicBezTo>
                <a:cubicBezTo>
                  <a:pt x="1028" y="294"/>
                  <a:pt x="1028" y="294"/>
                  <a:pt x="1028" y="294"/>
                </a:cubicBezTo>
                <a:cubicBezTo>
                  <a:pt x="1028" y="294"/>
                  <a:pt x="1028" y="294"/>
                  <a:pt x="1028" y="294"/>
                </a:cubicBezTo>
                <a:cubicBezTo>
                  <a:pt x="1028" y="293"/>
                  <a:pt x="1028" y="293"/>
                  <a:pt x="1028" y="293"/>
                </a:cubicBezTo>
                <a:close/>
                <a:moveTo>
                  <a:pt x="1038" y="308"/>
                </a:moveTo>
                <a:cubicBezTo>
                  <a:pt x="1039" y="308"/>
                  <a:pt x="1039" y="309"/>
                  <a:pt x="1039" y="309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9" y="308"/>
                  <a:pt x="1040" y="308"/>
                  <a:pt x="1040" y="308"/>
                </a:cubicBezTo>
                <a:cubicBezTo>
                  <a:pt x="1040" y="308"/>
                  <a:pt x="1040" y="308"/>
                  <a:pt x="1040" y="308"/>
                </a:cubicBezTo>
                <a:cubicBezTo>
                  <a:pt x="1040" y="308"/>
                  <a:pt x="1040" y="308"/>
                  <a:pt x="1039" y="308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8" y="308"/>
                  <a:pt x="1038" y="308"/>
                  <a:pt x="1038" y="307"/>
                </a:cubicBezTo>
                <a:cubicBezTo>
                  <a:pt x="1038" y="308"/>
                  <a:pt x="1037" y="308"/>
                  <a:pt x="1037" y="308"/>
                </a:cubicBezTo>
                <a:cubicBezTo>
                  <a:pt x="1037" y="308"/>
                  <a:pt x="1037" y="308"/>
                  <a:pt x="1037" y="308"/>
                </a:cubicBezTo>
                <a:cubicBezTo>
                  <a:pt x="1037" y="308"/>
                  <a:pt x="1037" y="308"/>
                  <a:pt x="1037" y="308"/>
                </a:cubicBezTo>
                <a:cubicBezTo>
                  <a:pt x="1038" y="308"/>
                  <a:pt x="1038" y="308"/>
                  <a:pt x="1038" y="308"/>
                </a:cubicBezTo>
                <a:cubicBezTo>
                  <a:pt x="1038" y="308"/>
                  <a:pt x="1038" y="308"/>
                  <a:pt x="1038" y="308"/>
                </a:cubicBezTo>
                <a:close/>
                <a:moveTo>
                  <a:pt x="1027" y="309"/>
                </a:move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lose/>
                <a:moveTo>
                  <a:pt x="1027" y="312"/>
                </a:moveTo>
                <a:cubicBezTo>
                  <a:pt x="1027" y="312"/>
                  <a:pt x="1027" y="312"/>
                  <a:pt x="1028" y="312"/>
                </a:cubicBezTo>
                <a:cubicBezTo>
                  <a:pt x="1027" y="312"/>
                  <a:pt x="1027" y="312"/>
                  <a:pt x="1027" y="312"/>
                </a:cubicBezTo>
                <a:cubicBezTo>
                  <a:pt x="1027" y="312"/>
                  <a:pt x="1027" y="312"/>
                  <a:pt x="1026" y="312"/>
                </a:cubicBezTo>
                <a:cubicBezTo>
                  <a:pt x="1026" y="312"/>
                  <a:pt x="1027" y="312"/>
                  <a:pt x="1027" y="312"/>
                </a:cubicBezTo>
                <a:cubicBezTo>
                  <a:pt x="1027" y="312"/>
                  <a:pt x="1027" y="312"/>
                  <a:pt x="1027" y="312"/>
                </a:cubicBezTo>
                <a:close/>
                <a:moveTo>
                  <a:pt x="1027" y="310"/>
                </a:moveTo>
                <a:cubicBezTo>
                  <a:pt x="1027" y="310"/>
                  <a:pt x="1027" y="310"/>
                  <a:pt x="1027" y="310"/>
                </a:cubicBezTo>
                <a:cubicBezTo>
                  <a:pt x="1027" y="310"/>
                  <a:pt x="1027" y="310"/>
                  <a:pt x="1027" y="310"/>
                </a:cubicBezTo>
                <a:cubicBezTo>
                  <a:pt x="1027" y="310"/>
                  <a:pt x="1027" y="310"/>
                  <a:pt x="1027" y="310"/>
                </a:cubicBezTo>
                <a:close/>
                <a:moveTo>
                  <a:pt x="1026" y="308"/>
                </a:moveTo>
                <a:cubicBezTo>
                  <a:pt x="1026" y="308"/>
                  <a:pt x="1026" y="309"/>
                  <a:pt x="1026" y="309"/>
                </a:cubicBezTo>
                <a:cubicBezTo>
                  <a:pt x="1026" y="309"/>
                  <a:pt x="1027" y="308"/>
                  <a:pt x="1027" y="308"/>
                </a:cubicBezTo>
                <a:cubicBezTo>
                  <a:pt x="1027" y="308"/>
                  <a:pt x="1027" y="308"/>
                  <a:pt x="1026" y="308"/>
                </a:cubicBezTo>
                <a:cubicBezTo>
                  <a:pt x="1026" y="308"/>
                  <a:pt x="1026" y="308"/>
                  <a:pt x="1026" y="308"/>
                </a:cubicBezTo>
                <a:close/>
                <a:moveTo>
                  <a:pt x="1044" y="316"/>
                </a:moveTo>
                <a:cubicBezTo>
                  <a:pt x="1044" y="316"/>
                  <a:pt x="1044" y="316"/>
                  <a:pt x="1044" y="316"/>
                </a:cubicBezTo>
                <a:cubicBezTo>
                  <a:pt x="1045" y="316"/>
                  <a:pt x="1045" y="316"/>
                  <a:pt x="1045" y="316"/>
                </a:cubicBezTo>
                <a:cubicBezTo>
                  <a:pt x="1045" y="315"/>
                  <a:pt x="1045" y="315"/>
                  <a:pt x="1045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4"/>
                  <a:pt x="1046" y="314"/>
                </a:cubicBezTo>
                <a:cubicBezTo>
                  <a:pt x="1047" y="314"/>
                  <a:pt x="1047" y="314"/>
                  <a:pt x="1047" y="314"/>
                </a:cubicBezTo>
                <a:cubicBezTo>
                  <a:pt x="1047" y="314"/>
                  <a:pt x="1047" y="314"/>
                  <a:pt x="1047" y="314"/>
                </a:cubicBezTo>
                <a:cubicBezTo>
                  <a:pt x="1047" y="314"/>
                  <a:pt x="1046" y="314"/>
                  <a:pt x="1046" y="314"/>
                </a:cubicBezTo>
                <a:cubicBezTo>
                  <a:pt x="1046" y="314"/>
                  <a:pt x="1045" y="314"/>
                  <a:pt x="1045" y="314"/>
                </a:cubicBezTo>
                <a:cubicBezTo>
                  <a:pt x="1045" y="314"/>
                  <a:pt x="1044" y="315"/>
                  <a:pt x="1044" y="315"/>
                </a:cubicBezTo>
                <a:cubicBezTo>
                  <a:pt x="1044" y="315"/>
                  <a:pt x="1044" y="315"/>
                  <a:pt x="1044" y="315"/>
                </a:cubicBezTo>
                <a:cubicBezTo>
                  <a:pt x="1044" y="315"/>
                  <a:pt x="1044" y="315"/>
                  <a:pt x="1044" y="315"/>
                </a:cubicBezTo>
                <a:cubicBezTo>
                  <a:pt x="1044" y="315"/>
                  <a:pt x="1044" y="316"/>
                  <a:pt x="1044" y="316"/>
                </a:cubicBezTo>
                <a:cubicBezTo>
                  <a:pt x="1044" y="316"/>
                  <a:pt x="1044" y="316"/>
                  <a:pt x="1044" y="316"/>
                </a:cubicBezTo>
                <a:close/>
                <a:moveTo>
                  <a:pt x="1020" y="314"/>
                </a:moveTo>
                <a:cubicBezTo>
                  <a:pt x="1020" y="314"/>
                  <a:pt x="1020" y="314"/>
                  <a:pt x="1020" y="314"/>
                </a:cubicBezTo>
                <a:cubicBezTo>
                  <a:pt x="1020" y="314"/>
                  <a:pt x="1020" y="314"/>
                  <a:pt x="1020" y="314"/>
                </a:cubicBezTo>
                <a:cubicBezTo>
                  <a:pt x="1020" y="314"/>
                  <a:pt x="1020" y="314"/>
                  <a:pt x="1020" y="314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19" y="313"/>
                  <a:pt x="1019" y="313"/>
                  <a:pt x="1019" y="313"/>
                </a:cubicBezTo>
                <a:cubicBezTo>
                  <a:pt x="1019" y="313"/>
                  <a:pt x="1019" y="313"/>
                  <a:pt x="1020" y="314"/>
                </a:cubicBezTo>
                <a:close/>
                <a:moveTo>
                  <a:pt x="1020" y="312"/>
                </a:moveTo>
                <a:cubicBezTo>
                  <a:pt x="1020" y="312"/>
                  <a:pt x="1019" y="312"/>
                  <a:pt x="1019" y="312"/>
                </a:cubicBezTo>
                <a:cubicBezTo>
                  <a:pt x="1020" y="312"/>
                  <a:pt x="1020" y="312"/>
                  <a:pt x="1020" y="312"/>
                </a:cubicBezTo>
                <a:cubicBezTo>
                  <a:pt x="1020" y="312"/>
                  <a:pt x="1020" y="312"/>
                  <a:pt x="1020" y="312"/>
                </a:cubicBezTo>
                <a:close/>
                <a:moveTo>
                  <a:pt x="1007" y="306"/>
                </a:moveTo>
                <a:cubicBezTo>
                  <a:pt x="1007" y="306"/>
                  <a:pt x="1007" y="306"/>
                  <a:pt x="1007" y="306"/>
                </a:cubicBezTo>
                <a:cubicBezTo>
                  <a:pt x="1007" y="307"/>
                  <a:pt x="1008" y="307"/>
                  <a:pt x="1008" y="307"/>
                </a:cubicBezTo>
                <a:cubicBezTo>
                  <a:pt x="1008" y="307"/>
                  <a:pt x="1008" y="307"/>
                  <a:pt x="1008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6"/>
                  <a:pt x="1009" y="306"/>
                  <a:pt x="1008" y="306"/>
                </a:cubicBezTo>
                <a:cubicBezTo>
                  <a:pt x="1008" y="306"/>
                  <a:pt x="1008" y="306"/>
                  <a:pt x="1008" y="306"/>
                </a:cubicBezTo>
                <a:cubicBezTo>
                  <a:pt x="1008" y="306"/>
                  <a:pt x="1008" y="306"/>
                  <a:pt x="1007" y="306"/>
                </a:cubicBezTo>
                <a:close/>
                <a:moveTo>
                  <a:pt x="1041" y="317"/>
                </a:moveTo>
                <a:cubicBezTo>
                  <a:pt x="1041" y="317"/>
                  <a:pt x="1041" y="317"/>
                  <a:pt x="1041" y="317"/>
                </a:cubicBezTo>
                <a:cubicBezTo>
                  <a:pt x="1041" y="318"/>
                  <a:pt x="1041" y="318"/>
                  <a:pt x="1041" y="318"/>
                </a:cubicBezTo>
                <a:cubicBezTo>
                  <a:pt x="1041" y="318"/>
                  <a:pt x="1041" y="318"/>
                  <a:pt x="1041" y="318"/>
                </a:cubicBezTo>
                <a:cubicBezTo>
                  <a:pt x="1042" y="318"/>
                  <a:pt x="1042" y="317"/>
                  <a:pt x="1042" y="317"/>
                </a:cubicBezTo>
                <a:cubicBezTo>
                  <a:pt x="1042" y="317"/>
                  <a:pt x="1041" y="317"/>
                  <a:pt x="1041" y="317"/>
                </a:cubicBezTo>
                <a:cubicBezTo>
                  <a:pt x="1041" y="317"/>
                  <a:pt x="1041" y="316"/>
                  <a:pt x="1041" y="316"/>
                </a:cubicBezTo>
                <a:cubicBezTo>
                  <a:pt x="1041" y="316"/>
                  <a:pt x="1041" y="317"/>
                  <a:pt x="1041" y="317"/>
                </a:cubicBezTo>
                <a:close/>
                <a:moveTo>
                  <a:pt x="1042" y="316"/>
                </a:moveTo>
                <a:cubicBezTo>
                  <a:pt x="1042" y="316"/>
                  <a:pt x="1042" y="316"/>
                  <a:pt x="1042" y="316"/>
                </a:cubicBezTo>
                <a:cubicBezTo>
                  <a:pt x="1041" y="316"/>
                  <a:pt x="1041" y="316"/>
                  <a:pt x="1041" y="316"/>
                </a:cubicBezTo>
                <a:cubicBezTo>
                  <a:pt x="1041" y="316"/>
                  <a:pt x="1041" y="316"/>
                  <a:pt x="1041" y="316"/>
                </a:cubicBezTo>
                <a:cubicBezTo>
                  <a:pt x="1041" y="316"/>
                  <a:pt x="1041" y="316"/>
                  <a:pt x="1042" y="316"/>
                </a:cubicBezTo>
                <a:close/>
                <a:moveTo>
                  <a:pt x="1019" y="301"/>
                </a:moveTo>
                <a:cubicBezTo>
                  <a:pt x="1019" y="302"/>
                  <a:pt x="1019" y="302"/>
                  <a:pt x="1019" y="302"/>
                </a:cubicBezTo>
                <a:cubicBezTo>
                  <a:pt x="1019" y="302"/>
                  <a:pt x="1019" y="302"/>
                  <a:pt x="1019" y="302"/>
                </a:cubicBezTo>
                <a:cubicBezTo>
                  <a:pt x="1019" y="302"/>
                  <a:pt x="1020" y="302"/>
                  <a:pt x="1020" y="302"/>
                </a:cubicBezTo>
                <a:cubicBezTo>
                  <a:pt x="1020" y="302"/>
                  <a:pt x="1020" y="302"/>
                  <a:pt x="1020" y="302"/>
                </a:cubicBezTo>
                <a:cubicBezTo>
                  <a:pt x="1020" y="302"/>
                  <a:pt x="1021" y="302"/>
                  <a:pt x="1021" y="302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2" y="303"/>
                  <a:pt x="1022" y="303"/>
                  <a:pt x="1022" y="303"/>
                </a:cubicBezTo>
                <a:cubicBezTo>
                  <a:pt x="1022" y="303"/>
                  <a:pt x="1022" y="303"/>
                  <a:pt x="1023" y="304"/>
                </a:cubicBezTo>
                <a:cubicBezTo>
                  <a:pt x="1023" y="304"/>
                  <a:pt x="1023" y="304"/>
                  <a:pt x="1023" y="304"/>
                </a:cubicBezTo>
                <a:cubicBezTo>
                  <a:pt x="1024" y="304"/>
                  <a:pt x="1024" y="304"/>
                  <a:pt x="1024" y="304"/>
                </a:cubicBezTo>
                <a:cubicBezTo>
                  <a:pt x="1024" y="304"/>
                  <a:pt x="1024" y="304"/>
                  <a:pt x="1024" y="304"/>
                </a:cubicBezTo>
                <a:cubicBezTo>
                  <a:pt x="1025" y="305"/>
                  <a:pt x="1025" y="305"/>
                  <a:pt x="1025" y="305"/>
                </a:cubicBezTo>
                <a:cubicBezTo>
                  <a:pt x="1025" y="305"/>
                  <a:pt x="1025" y="305"/>
                  <a:pt x="1025" y="305"/>
                </a:cubicBezTo>
                <a:cubicBezTo>
                  <a:pt x="1025" y="306"/>
                  <a:pt x="1025" y="306"/>
                  <a:pt x="1025" y="306"/>
                </a:cubicBezTo>
                <a:cubicBezTo>
                  <a:pt x="1025" y="306"/>
                  <a:pt x="1026" y="306"/>
                  <a:pt x="1026" y="306"/>
                </a:cubicBezTo>
                <a:cubicBezTo>
                  <a:pt x="1026" y="306"/>
                  <a:pt x="1026" y="306"/>
                  <a:pt x="1026" y="307"/>
                </a:cubicBezTo>
                <a:cubicBezTo>
                  <a:pt x="1027" y="307"/>
                  <a:pt x="1027" y="306"/>
                  <a:pt x="1027" y="306"/>
                </a:cubicBezTo>
                <a:cubicBezTo>
                  <a:pt x="1027" y="306"/>
                  <a:pt x="1027" y="307"/>
                  <a:pt x="1027" y="307"/>
                </a:cubicBezTo>
                <a:cubicBezTo>
                  <a:pt x="1027" y="306"/>
                  <a:pt x="1028" y="306"/>
                  <a:pt x="1028" y="306"/>
                </a:cubicBezTo>
                <a:cubicBezTo>
                  <a:pt x="1027" y="306"/>
                  <a:pt x="1027" y="306"/>
                  <a:pt x="1027" y="306"/>
                </a:cubicBezTo>
                <a:cubicBezTo>
                  <a:pt x="1027" y="306"/>
                  <a:pt x="1027" y="306"/>
                  <a:pt x="1027" y="306"/>
                </a:cubicBezTo>
                <a:cubicBezTo>
                  <a:pt x="1026" y="306"/>
                  <a:pt x="1026" y="306"/>
                  <a:pt x="1026" y="305"/>
                </a:cubicBezTo>
                <a:cubicBezTo>
                  <a:pt x="1026" y="305"/>
                  <a:pt x="1026" y="305"/>
                  <a:pt x="1026" y="305"/>
                </a:cubicBezTo>
                <a:cubicBezTo>
                  <a:pt x="1026" y="305"/>
                  <a:pt x="1026" y="305"/>
                  <a:pt x="1026" y="305"/>
                </a:cubicBezTo>
                <a:cubicBezTo>
                  <a:pt x="1026" y="304"/>
                  <a:pt x="1026" y="304"/>
                  <a:pt x="1026" y="304"/>
                </a:cubicBezTo>
                <a:cubicBezTo>
                  <a:pt x="1026" y="304"/>
                  <a:pt x="1026" y="304"/>
                  <a:pt x="1025" y="304"/>
                </a:cubicBezTo>
                <a:cubicBezTo>
                  <a:pt x="1025" y="303"/>
                  <a:pt x="1025" y="303"/>
                  <a:pt x="1024" y="303"/>
                </a:cubicBezTo>
                <a:cubicBezTo>
                  <a:pt x="1024" y="303"/>
                  <a:pt x="1024" y="303"/>
                  <a:pt x="1024" y="303"/>
                </a:cubicBezTo>
                <a:cubicBezTo>
                  <a:pt x="1024" y="303"/>
                  <a:pt x="1024" y="303"/>
                  <a:pt x="1023" y="303"/>
                </a:cubicBezTo>
                <a:cubicBezTo>
                  <a:pt x="1023" y="303"/>
                  <a:pt x="1023" y="303"/>
                  <a:pt x="1023" y="303"/>
                </a:cubicBezTo>
                <a:cubicBezTo>
                  <a:pt x="1023" y="302"/>
                  <a:pt x="1023" y="302"/>
                  <a:pt x="1022" y="302"/>
                </a:cubicBezTo>
                <a:cubicBezTo>
                  <a:pt x="1022" y="302"/>
                  <a:pt x="1022" y="302"/>
                  <a:pt x="1021" y="302"/>
                </a:cubicBezTo>
                <a:cubicBezTo>
                  <a:pt x="1021" y="302"/>
                  <a:pt x="1021" y="301"/>
                  <a:pt x="1021" y="301"/>
                </a:cubicBezTo>
                <a:cubicBezTo>
                  <a:pt x="1020" y="301"/>
                  <a:pt x="1020" y="301"/>
                  <a:pt x="1019" y="301"/>
                </a:cubicBezTo>
                <a:close/>
                <a:moveTo>
                  <a:pt x="1037" y="300"/>
                </a:moveTo>
                <a:cubicBezTo>
                  <a:pt x="1037" y="300"/>
                  <a:pt x="1036" y="300"/>
                  <a:pt x="1036" y="300"/>
                </a:cubicBezTo>
                <a:cubicBezTo>
                  <a:pt x="1036" y="300"/>
                  <a:pt x="1035" y="300"/>
                  <a:pt x="1035" y="300"/>
                </a:cubicBezTo>
                <a:cubicBezTo>
                  <a:pt x="1035" y="301"/>
                  <a:pt x="1034" y="301"/>
                  <a:pt x="1034" y="301"/>
                </a:cubicBezTo>
                <a:cubicBezTo>
                  <a:pt x="1034" y="301"/>
                  <a:pt x="1034" y="301"/>
                  <a:pt x="1034" y="301"/>
                </a:cubicBezTo>
                <a:cubicBezTo>
                  <a:pt x="1034" y="301"/>
                  <a:pt x="1034" y="302"/>
                  <a:pt x="1034" y="302"/>
                </a:cubicBezTo>
                <a:cubicBezTo>
                  <a:pt x="1034" y="302"/>
                  <a:pt x="1034" y="302"/>
                  <a:pt x="1035" y="302"/>
                </a:cubicBezTo>
                <a:cubicBezTo>
                  <a:pt x="1035" y="302"/>
                  <a:pt x="1035" y="302"/>
                  <a:pt x="1035" y="302"/>
                </a:cubicBezTo>
                <a:cubicBezTo>
                  <a:pt x="1035" y="302"/>
                  <a:pt x="1035" y="301"/>
                  <a:pt x="1035" y="301"/>
                </a:cubicBezTo>
                <a:cubicBezTo>
                  <a:pt x="1035" y="301"/>
                  <a:pt x="1035" y="301"/>
                  <a:pt x="1036" y="301"/>
                </a:cubicBezTo>
                <a:cubicBezTo>
                  <a:pt x="1036" y="301"/>
                  <a:pt x="1036" y="301"/>
                  <a:pt x="1036" y="301"/>
                </a:cubicBezTo>
                <a:cubicBezTo>
                  <a:pt x="1036" y="301"/>
                  <a:pt x="1036" y="301"/>
                  <a:pt x="1036" y="301"/>
                </a:cubicBezTo>
                <a:cubicBezTo>
                  <a:pt x="1036" y="301"/>
                  <a:pt x="1036" y="301"/>
                  <a:pt x="1036" y="302"/>
                </a:cubicBezTo>
                <a:cubicBezTo>
                  <a:pt x="1036" y="302"/>
                  <a:pt x="1036" y="302"/>
                  <a:pt x="1035" y="302"/>
                </a:cubicBezTo>
                <a:cubicBezTo>
                  <a:pt x="1036" y="302"/>
                  <a:pt x="1036" y="302"/>
                  <a:pt x="1036" y="302"/>
                </a:cubicBezTo>
                <a:cubicBezTo>
                  <a:pt x="1036" y="302"/>
                  <a:pt x="1037" y="302"/>
                  <a:pt x="1037" y="302"/>
                </a:cubicBezTo>
                <a:cubicBezTo>
                  <a:pt x="1037" y="302"/>
                  <a:pt x="1037" y="302"/>
                  <a:pt x="1037" y="301"/>
                </a:cubicBezTo>
                <a:cubicBezTo>
                  <a:pt x="1037" y="301"/>
                  <a:pt x="1037" y="301"/>
                  <a:pt x="1037" y="301"/>
                </a:cubicBezTo>
                <a:cubicBezTo>
                  <a:pt x="1037" y="301"/>
                  <a:pt x="1037" y="301"/>
                  <a:pt x="1037" y="301"/>
                </a:cubicBezTo>
                <a:cubicBezTo>
                  <a:pt x="1037" y="301"/>
                  <a:pt x="1037" y="301"/>
                  <a:pt x="1037" y="300"/>
                </a:cubicBezTo>
                <a:cubicBezTo>
                  <a:pt x="1037" y="300"/>
                  <a:pt x="1037" y="300"/>
                  <a:pt x="1037" y="300"/>
                </a:cubicBezTo>
                <a:close/>
                <a:moveTo>
                  <a:pt x="1034" y="305"/>
                </a:moveTo>
                <a:cubicBezTo>
                  <a:pt x="1034" y="305"/>
                  <a:pt x="1034" y="305"/>
                  <a:pt x="1034" y="305"/>
                </a:cubicBezTo>
                <a:cubicBezTo>
                  <a:pt x="1034" y="305"/>
                  <a:pt x="1035" y="306"/>
                  <a:pt x="1035" y="306"/>
                </a:cubicBezTo>
                <a:cubicBezTo>
                  <a:pt x="1035" y="306"/>
                  <a:pt x="1035" y="306"/>
                  <a:pt x="1036" y="305"/>
                </a:cubicBezTo>
                <a:cubicBezTo>
                  <a:pt x="1036" y="305"/>
                  <a:pt x="1036" y="305"/>
                  <a:pt x="1036" y="305"/>
                </a:cubicBezTo>
                <a:cubicBezTo>
                  <a:pt x="1036" y="305"/>
                  <a:pt x="1036" y="304"/>
                  <a:pt x="1036" y="304"/>
                </a:cubicBezTo>
                <a:cubicBezTo>
                  <a:pt x="1036" y="304"/>
                  <a:pt x="1035" y="304"/>
                  <a:pt x="1035" y="304"/>
                </a:cubicBezTo>
                <a:cubicBezTo>
                  <a:pt x="1035" y="304"/>
                  <a:pt x="1035" y="304"/>
                  <a:pt x="1035" y="304"/>
                </a:cubicBezTo>
                <a:cubicBezTo>
                  <a:pt x="1035" y="304"/>
                  <a:pt x="1034" y="304"/>
                  <a:pt x="1034" y="304"/>
                </a:cubicBezTo>
                <a:cubicBezTo>
                  <a:pt x="1034" y="304"/>
                  <a:pt x="1034" y="304"/>
                  <a:pt x="1034" y="304"/>
                </a:cubicBezTo>
                <a:cubicBezTo>
                  <a:pt x="1034" y="304"/>
                  <a:pt x="1035" y="304"/>
                  <a:pt x="1035" y="304"/>
                </a:cubicBezTo>
                <a:cubicBezTo>
                  <a:pt x="1035" y="305"/>
                  <a:pt x="1035" y="305"/>
                  <a:pt x="1035" y="305"/>
                </a:cubicBezTo>
                <a:cubicBezTo>
                  <a:pt x="1035" y="305"/>
                  <a:pt x="1034" y="305"/>
                  <a:pt x="1034" y="305"/>
                </a:cubicBezTo>
                <a:close/>
                <a:moveTo>
                  <a:pt x="1023" y="301"/>
                </a:moveTo>
                <a:cubicBezTo>
                  <a:pt x="1023" y="301"/>
                  <a:pt x="1023" y="301"/>
                  <a:pt x="1023" y="301"/>
                </a:cubicBezTo>
                <a:cubicBezTo>
                  <a:pt x="1023" y="301"/>
                  <a:pt x="1022" y="301"/>
                  <a:pt x="1022" y="301"/>
                </a:cubicBezTo>
                <a:cubicBezTo>
                  <a:pt x="1022" y="301"/>
                  <a:pt x="1022" y="301"/>
                  <a:pt x="1022" y="301"/>
                </a:cubicBezTo>
                <a:cubicBezTo>
                  <a:pt x="1022" y="301"/>
                  <a:pt x="1023" y="301"/>
                  <a:pt x="1023" y="301"/>
                </a:cubicBezTo>
                <a:cubicBezTo>
                  <a:pt x="1023" y="301"/>
                  <a:pt x="1023" y="301"/>
                  <a:pt x="1023" y="301"/>
                </a:cubicBezTo>
                <a:close/>
                <a:moveTo>
                  <a:pt x="1032" y="311"/>
                </a:moveTo>
                <a:cubicBezTo>
                  <a:pt x="1032" y="311"/>
                  <a:pt x="1033" y="311"/>
                  <a:pt x="1033" y="311"/>
                </a:cubicBezTo>
                <a:cubicBezTo>
                  <a:pt x="1033" y="311"/>
                  <a:pt x="1033" y="311"/>
                  <a:pt x="1033" y="311"/>
                </a:cubicBezTo>
                <a:cubicBezTo>
                  <a:pt x="1033" y="310"/>
                  <a:pt x="1033" y="310"/>
                  <a:pt x="1033" y="310"/>
                </a:cubicBezTo>
                <a:cubicBezTo>
                  <a:pt x="1033" y="310"/>
                  <a:pt x="1033" y="310"/>
                  <a:pt x="1033" y="310"/>
                </a:cubicBezTo>
                <a:cubicBezTo>
                  <a:pt x="1032" y="310"/>
                  <a:pt x="1032" y="310"/>
                  <a:pt x="1032" y="310"/>
                </a:cubicBezTo>
                <a:cubicBezTo>
                  <a:pt x="1032" y="311"/>
                  <a:pt x="1032" y="311"/>
                  <a:pt x="1032" y="311"/>
                </a:cubicBezTo>
                <a:close/>
                <a:moveTo>
                  <a:pt x="1008" y="303"/>
                </a:moveTo>
                <a:cubicBezTo>
                  <a:pt x="1008" y="303"/>
                  <a:pt x="1008" y="303"/>
                  <a:pt x="1008" y="302"/>
                </a:cubicBezTo>
                <a:cubicBezTo>
                  <a:pt x="1008" y="302"/>
                  <a:pt x="1008" y="302"/>
                  <a:pt x="1008" y="302"/>
                </a:cubicBezTo>
                <a:cubicBezTo>
                  <a:pt x="1008" y="302"/>
                  <a:pt x="1008" y="302"/>
                  <a:pt x="1007" y="302"/>
                </a:cubicBezTo>
                <a:cubicBezTo>
                  <a:pt x="1007" y="302"/>
                  <a:pt x="1007" y="302"/>
                  <a:pt x="1007" y="302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8" y="303"/>
                  <a:pt x="1008" y="303"/>
                </a:cubicBezTo>
                <a:close/>
                <a:moveTo>
                  <a:pt x="1021" y="300"/>
                </a:moveTo>
                <a:cubicBezTo>
                  <a:pt x="1021" y="300"/>
                  <a:pt x="1021" y="301"/>
                  <a:pt x="1021" y="301"/>
                </a:cubicBezTo>
                <a:cubicBezTo>
                  <a:pt x="1021" y="301"/>
                  <a:pt x="1021" y="301"/>
                  <a:pt x="1021" y="301"/>
                </a:cubicBezTo>
                <a:cubicBezTo>
                  <a:pt x="1021" y="301"/>
                  <a:pt x="1022" y="301"/>
                  <a:pt x="1022" y="301"/>
                </a:cubicBezTo>
                <a:cubicBezTo>
                  <a:pt x="1022" y="301"/>
                  <a:pt x="1021" y="300"/>
                  <a:pt x="1021" y="300"/>
                </a:cubicBezTo>
                <a:close/>
                <a:moveTo>
                  <a:pt x="1006" y="304"/>
                </a:moveTo>
                <a:cubicBezTo>
                  <a:pt x="1006" y="304"/>
                  <a:pt x="1006" y="304"/>
                  <a:pt x="1006" y="305"/>
                </a:cubicBezTo>
                <a:cubicBezTo>
                  <a:pt x="1006" y="305"/>
                  <a:pt x="1006" y="305"/>
                  <a:pt x="1006" y="305"/>
                </a:cubicBezTo>
                <a:cubicBezTo>
                  <a:pt x="1006" y="305"/>
                  <a:pt x="1007" y="305"/>
                  <a:pt x="1007" y="305"/>
                </a:cubicBezTo>
                <a:cubicBezTo>
                  <a:pt x="1007" y="305"/>
                  <a:pt x="1007" y="305"/>
                  <a:pt x="1007" y="304"/>
                </a:cubicBezTo>
                <a:cubicBezTo>
                  <a:pt x="1007" y="305"/>
                  <a:pt x="1007" y="305"/>
                  <a:pt x="1007" y="305"/>
                </a:cubicBezTo>
                <a:cubicBezTo>
                  <a:pt x="1007" y="305"/>
                  <a:pt x="1007" y="305"/>
                  <a:pt x="1007" y="305"/>
                </a:cubicBezTo>
                <a:cubicBezTo>
                  <a:pt x="1007" y="305"/>
                  <a:pt x="1007" y="305"/>
                  <a:pt x="1008" y="305"/>
                </a:cubicBezTo>
                <a:cubicBezTo>
                  <a:pt x="1008" y="305"/>
                  <a:pt x="1008" y="305"/>
                  <a:pt x="1008" y="305"/>
                </a:cubicBezTo>
                <a:cubicBezTo>
                  <a:pt x="1008" y="305"/>
                  <a:pt x="1008" y="305"/>
                  <a:pt x="1009" y="305"/>
                </a:cubicBezTo>
                <a:cubicBezTo>
                  <a:pt x="1009" y="305"/>
                  <a:pt x="1008" y="305"/>
                  <a:pt x="1008" y="305"/>
                </a:cubicBezTo>
                <a:cubicBezTo>
                  <a:pt x="1008" y="305"/>
                  <a:pt x="1008" y="305"/>
                  <a:pt x="1008" y="305"/>
                </a:cubicBezTo>
                <a:cubicBezTo>
                  <a:pt x="1008" y="304"/>
                  <a:pt x="1008" y="304"/>
                  <a:pt x="1008" y="304"/>
                </a:cubicBezTo>
                <a:cubicBezTo>
                  <a:pt x="1008" y="304"/>
                  <a:pt x="1008" y="304"/>
                  <a:pt x="1008" y="304"/>
                </a:cubicBezTo>
                <a:cubicBezTo>
                  <a:pt x="1008" y="304"/>
                  <a:pt x="1008" y="304"/>
                  <a:pt x="1008" y="303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7" y="304"/>
                  <a:pt x="1007" y="304"/>
                </a:cubicBezTo>
                <a:cubicBezTo>
                  <a:pt x="1007" y="304"/>
                  <a:pt x="1007" y="304"/>
                  <a:pt x="1007" y="304"/>
                </a:cubicBezTo>
                <a:cubicBezTo>
                  <a:pt x="1006" y="304"/>
                  <a:pt x="1006" y="304"/>
                  <a:pt x="1006" y="304"/>
                </a:cubicBezTo>
                <a:close/>
                <a:moveTo>
                  <a:pt x="1003" y="297"/>
                </a:moveTo>
                <a:cubicBezTo>
                  <a:pt x="1002" y="297"/>
                  <a:pt x="1002" y="297"/>
                  <a:pt x="1002" y="297"/>
                </a:cubicBezTo>
                <a:cubicBezTo>
                  <a:pt x="1002" y="297"/>
                  <a:pt x="1002" y="298"/>
                  <a:pt x="1002" y="298"/>
                </a:cubicBezTo>
                <a:cubicBezTo>
                  <a:pt x="1002" y="298"/>
                  <a:pt x="1002" y="298"/>
                  <a:pt x="1002" y="298"/>
                </a:cubicBezTo>
                <a:cubicBezTo>
                  <a:pt x="1002" y="298"/>
                  <a:pt x="1002" y="298"/>
                  <a:pt x="1002" y="298"/>
                </a:cubicBezTo>
                <a:cubicBezTo>
                  <a:pt x="1003" y="298"/>
                  <a:pt x="1003" y="299"/>
                  <a:pt x="1003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8"/>
                </a:cubicBezTo>
                <a:cubicBezTo>
                  <a:pt x="1003" y="298"/>
                  <a:pt x="1003" y="298"/>
                  <a:pt x="1003" y="298"/>
                </a:cubicBezTo>
                <a:cubicBezTo>
                  <a:pt x="1003" y="298"/>
                  <a:pt x="1003" y="298"/>
                  <a:pt x="1003" y="297"/>
                </a:cubicBezTo>
                <a:cubicBezTo>
                  <a:pt x="1003" y="297"/>
                  <a:pt x="1003" y="297"/>
                  <a:pt x="1003" y="297"/>
                </a:cubicBezTo>
                <a:close/>
                <a:moveTo>
                  <a:pt x="1036" y="309"/>
                </a:moveTo>
                <a:cubicBezTo>
                  <a:pt x="1036" y="309"/>
                  <a:pt x="1036" y="308"/>
                  <a:pt x="1036" y="308"/>
                </a:cubicBezTo>
                <a:cubicBezTo>
                  <a:pt x="1036" y="308"/>
                  <a:pt x="1035" y="308"/>
                  <a:pt x="1035" y="308"/>
                </a:cubicBezTo>
                <a:cubicBezTo>
                  <a:pt x="1035" y="309"/>
                  <a:pt x="1035" y="309"/>
                  <a:pt x="1035" y="309"/>
                </a:cubicBezTo>
                <a:cubicBezTo>
                  <a:pt x="1035" y="309"/>
                  <a:pt x="1035" y="309"/>
                  <a:pt x="1035" y="309"/>
                </a:cubicBezTo>
                <a:cubicBezTo>
                  <a:pt x="1036" y="309"/>
                  <a:pt x="1036" y="309"/>
                  <a:pt x="1036" y="309"/>
                </a:cubicBezTo>
                <a:close/>
                <a:moveTo>
                  <a:pt x="1030" y="311"/>
                </a:moveTo>
                <a:cubicBezTo>
                  <a:pt x="1031" y="311"/>
                  <a:pt x="1031" y="311"/>
                  <a:pt x="1031" y="311"/>
                </a:cubicBezTo>
                <a:cubicBezTo>
                  <a:pt x="1031" y="311"/>
                  <a:pt x="1031" y="311"/>
                  <a:pt x="1031" y="311"/>
                </a:cubicBezTo>
                <a:cubicBezTo>
                  <a:pt x="1031" y="310"/>
                  <a:pt x="1031" y="310"/>
                  <a:pt x="1031" y="310"/>
                </a:cubicBezTo>
                <a:cubicBezTo>
                  <a:pt x="1031" y="310"/>
                  <a:pt x="1031" y="310"/>
                  <a:pt x="1031" y="310"/>
                </a:cubicBezTo>
                <a:cubicBezTo>
                  <a:pt x="1031" y="310"/>
                  <a:pt x="1031" y="311"/>
                  <a:pt x="1030" y="311"/>
                </a:cubicBezTo>
                <a:close/>
                <a:moveTo>
                  <a:pt x="1031" y="297"/>
                </a:moveTo>
                <a:cubicBezTo>
                  <a:pt x="1031" y="297"/>
                  <a:pt x="1031" y="297"/>
                  <a:pt x="1031" y="297"/>
                </a:cubicBezTo>
                <a:cubicBezTo>
                  <a:pt x="1031" y="297"/>
                  <a:pt x="1031" y="297"/>
                  <a:pt x="1030" y="297"/>
                </a:cubicBezTo>
                <a:cubicBezTo>
                  <a:pt x="1030" y="297"/>
                  <a:pt x="1030" y="297"/>
                  <a:pt x="1030" y="297"/>
                </a:cubicBezTo>
                <a:cubicBezTo>
                  <a:pt x="1029" y="297"/>
                  <a:pt x="1029" y="297"/>
                  <a:pt x="1029" y="297"/>
                </a:cubicBezTo>
                <a:cubicBezTo>
                  <a:pt x="1029" y="297"/>
                  <a:pt x="1029" y="297"/>
                  <a:pt x="1029" y="298"/>
                </a:cubicBezTo>
                <a:cubicBezTo>
                  <a:pt x="1030" y="298"/>
                  <a:pt x="1030" y="298"/>
                  <a:pt x="1030" y="298"/>
                </a:cubicBezTo>
                <a:cubicBezTo>
                  <a:pt x="1030" y="298"/>
                  <a:pt x="1030" y="298"/>
                  <a:pt x="1030" y="298"/>
                </a:cubicBezTo>
                <a:cubicBezTo>
                  <a:pt x="1031" y="298"/>
                  <a:pt x="1031" y="298"/>
                  <a:pt x="1031" y="298"/>
                </a:cubicBezTo>
                <a:cubicBezTo>
                  <a:pt x="1031" y="298"/>
                  <a:pt x="1031" y="298"/>
                  <a:pt x="1031" y="297"/>
                </a:cubicBezTo>
                <a:cubicBezTo>
                  <a:pt x="1031" y="297"/>
                  <a:pt x="1032" y="297"/>
                  <a:pt x="1032" y="297"/>
                </a:cubicBezTo>
                <a:cubicBezTo>
                  <a:pt x="1032" y="297"/>
                  <a:pt x="1031" y="297"/>
                  <a:pt x="1031" y="297"/>
                </a:cubicBezTo>
                <a:close/>
                <a:moveTo>
                  <a:pt x="1028" y="302"/>
                </a:moveTo>
                <a:cubicBezTo>
                  <a:pt x="1028" y="302"/>
                  <a:pt x="1027" y="302"/>
                  <a:pt x="1027" y="302"/>
                </a:cubicBezTo>
                <a:cubicBezTo>
                  <a:pt x="1027" y="302"/>
                  <a:pt x="1027" y="302"/>
                  <a:pt x="1027" y="302"/>
                </a:cubicBezTo>
                <a:cubicBezTo>
                  <a:pt x="1027" y="302"/>
                  <a:pt x="1027" y="302"/>
                  <a:pt x="1027" y="302"/>
                </a:cubicBezTo>
                <a:cubicBezTo>
                  <a:pt x="1028" y="302"/>
                  <a:pt x="1028" y="302"/>
                  <a:pt x="1028" y="302"/>
                </a:cubicBezTo>
                <a:cubicBezTo>
                  <a:pt x="1028" y="303"/>
                  <a:pt x="1028" y="303"/>
                  <a:pt x="1028" y="303"/>
                </a:cubicBezTo>
                <a:cubicBezTo>
                  <a:pt x="1028" y="303"/>
                  <a:pt x="1028" y="303"/>
                  <a:pt x="1028" y="303"/>
                </a:cubicBezTo>
                <a:cubicBezTo>
                  <a:pt x="1028" y="303"/>
                  <a:pt x="1028" y="302"/>
                  <a:pt x="1028" y="302"/>
                </a:cubicBezTo>
                <a:cubicBezTo>
                  <a:pt x="1028" y="302"/>
                  <a:pt x="1028" y="302"/>
                  <a:pt x="1028" y="302"/>
                </a:cubicBezTo>
                <a:close/>
                <a:moveTo>
                  <a:pt x="1032" y="309"/>
                </a:moveTo>
                <a:cubicBezTo>
                  <a:pt x="1032" y="309"/>
                  <a:pt x="1032" y="309"/>
                  <a:pt x="1032" y="309"/>
                </a:cubicBezTo>
                <a:cubicBezTo>
                  <a:pt x="1032" y="309"/>
                  <a:pt x="1032" y="309"/>
                  <a:pt x="1032" y="309"/>
                </a:cubicBezTo>
                <a:cubicBezTo>
                  <a:pt x="1032" y="309"/>
                  <a:pt x="1032" y="309"/>
                  <a:pt x="1032" y="309"/>
                </a:cubicBezTo>
                <a:close/>
                <a:moveTo>
                  <a:pt x="1031" y="309"/>
                </a:moveTo>
                <a:cubicBezTo>
                  <a:pt x="1031" y="308"/>
                  <a:pt x="1031" y="308"/>
                  <a:pt x="1031" y="308"/>
                </a:cubicBezTo>
                <a:cubicBezTo>
                  <a:pt x="1031" y="308"/>
                  <a:pt x="1031" y="308"/>
                  <a:pt x="1031" y="308"/>
                </a:cubicBezTo>
                <a:cubicBezTo>
                  <a:pt x="1031" y="308"/>
                  <a:pt x="1031" y="309"/>
                  <a:pt x="1031" y="309"/>
                </a:cubicBezTo>
                <a:cubicBezTo>
                  <a:pt x="1031" y="309"/>
                  <a:pt x="1031" y="309"/>
                  <a:pt x="1032" y="309"/>
                </a:cubicBezTo>
                <a:cubicBezTo>
                  <a:pt x="1032" y="309"/>
                  <a:pt x="1031" y="309"/>
                  <a:pt x="1031" y="309"/>
                </a:cubicBezTo>
                <a:close/>
                <a:moveTo>
                  <a:pt x="1029" y="307"/>
                </a:moveTo>
                <a:cubicBezTo>
                  <a:pt x="1029" y="307"/>
                  <a:pt x="1028" y="307"/>
                  <a:pt x="1028" y="307"/>
                </a:cubicBezTo>
                <a:cubicBezTo>
                  <a:pt x="1028" y="307"/>
                  <a:pt x="1028" y="307"/>
                  <a:pt x="1028" y="307"/>
                </a:cubicBezTo>
                <a:cubicBezTo>
                  <a:pt x="1028" y="307"/>
                  <a:pt x="1028" y="307"/>
                  <a:pt x="1028" y="307"/>
                </a:cubicBezTo>
                <a:cubicBezTo>
                  <a:pt x="1029" y="308"/>
                  <a:pt x="1029" y="308"/>
                  <a:pt x="1030" y="308"/>
                </a:cubicBezTo>
                <a:cubicBezTo>
                  <a:pt x="1030" y="308"/>
                  <a:pt x="1030" y="308"/>
                  <a:pt x="1030" y="308"/>
                </a:cubicBezTo>
                <a:cubicBezTo>
                  <a:pt x="1030" y="308"/>
                  <a:pt x="1030" y="308"/>
                  <a:pt x="1030" y="308"/>
                </a:cubicBezTo>
                <a:cubicBezTo>
                  <a:pt x="1030" y="308"/>
                  <a:pt x="1029" y="307"/>
                  <a:pt x="1029" y="307"/>
                </a:cubicBezTo>
                <a:cubicBezTo>
                  <a:pt x="1029" y="307"/>
                  <a:pt x="1029" y="307"/>
                  <a:pt x="1029" y="307"/>
                </a:cubicBezTo>
                <a:close/>
                <a:moveTo>
                  <a:pt x="1032" y="295"/>
                </a:moveTo>
                <a:cubicBezTo>
                  <a:pt x="1032" y="295"/>
                  <a:pt x="1032" y="295"/>
                  <a:pt x="1032" y="295"/>
                </a:cubicBezTo>
                <a:cubicBezTo>
                  <a:pt x="1032" y="295"/>
                  <a:pt x="1033" y="295"/>
                  <a:pt x="1033" y="295"/>
                </a:cubicBezTo>
                <a:cubicBezTo>
                  <a:pt x="1033" y="295"/>
                  <a:pt x="1033" y="295"/>
                  <a:pt x="1034" y="295"/>
                </a:cubicBezTo>
                <a:cubicBezTo>
                  <a:pt x="1034" y="295"/>
                  <a:pt x="1034" y="295"/>
                  <a:pt x="1034" y="295"/>
                </a:cubicBezTo>
                <a:cubicBezTo>
                  <a:pt x="1033" y="295"/>
                  <a:pt x="1033" y="295"/>
                  <a:pt x="1033" y="295"/>
                </a:cubicBezTo>
                <a:cubicBezTo>
                  <a:pt x="1033" y="295"/>
                  <a:pt x="1032" y="295"/>
                  <a:pt x="1032" y="295"/>
                </a:cubicBezTo>
                <a:close/>
                <a:moveTo>
                  <a:pt x="1023" y="316"/>
                </a:moveTo>
                <a:cubicBezTo>
                  <a:pt x="1023" y="316"/>
                  <a:pt x="1023" y="317"/>
                  <a:pt x="1023" y="317"/>
                </a:cubicBezTo>
                <a:cubicBezTo>
                  <a:pt x="1023" y="317"/>
                  <a:pt x="1023" y="317"/>
                  <a:pt x="1023" y="317"/>
                </a:cubicBezTo>
                <a:cubicBezTo>
                  <a:pt x="1023" y="317"/>
                  <a:pt x="1023" y="318"/>
                  <a:pt x="1023" y="318"/>
                </a:cubicBezTo>
                <a:cubicBezTo>
                  <a:pt x="1023" y="318"/>
                  <a:pt x="1023" y="318"/>
                  <a:pt x="1024" y="318"/>
                </a:cubicBezTo>
                <a:cubicBezTo>
                  <a:pt x="1024" y="318"/>
                  <a:pt x="1025" y="318"/>
                  <a:pt x="1025" y="318"/>
                </a:cubicBezTo>
                <a:cubicBezTo>
                  <a:pt x="1026" y="318"/>
                  <a:pt x="1026" y="318"/>
                  <a:pt x="1026" y="318"/>
                </a:cubicBezTo>
                <a:cubicBezTo>
                  <a:pt x="1026" y="318"/>
                  <a:pt x="1027" y="318"/>
                  <a:pt x="1027" y="318"/>
                </a:cubicBezTo>
                <a:cubicBezTo>
                  <a:pt x="1027" y="318"/>
                  <a:pt x="1027" y="318"/>
                  <a:pt x="1028" y="318"/>
                </a:cubicBezTo>
                <a:cubicBezTo>
                  <a:pt x="1028" y="318"/>
                  <a:pt x="1029" y="319"/>
                  <a:pt x="1029" y="319"/>
                </a:cubicBezTo>
                <a:cubicBezTo>
                  <a:pt x="1029" y="319"/>
                  <a:pt x="1029" y="319"/>
                  <a:pt x="1029" y="319"/>
                </a:cubicBezTo>
                <a:cubicBezTo>
                  <a:pt x="1029" y="319"/>
                  <a:pt x="1030" y="319"/>
                  <a:pt x="1030" y="319"/>
                </a:cubicBezTo>
                <a:cubicBezTo>
                  <a:pt x="1031" y="319"/>
                  <a:pt x="1031" y="319"/>
                  <a:pt x="1031" y="319"/>
                </a:cubicBezTo>
                <a:cubicBezTo>
                  <a:pt x="1032" y="319"/>
                  <a:pt x="1032" y="319"/>
                  <a:pt x="1033" y="319"/>
                </a:cubicBezTo>
                <a:cubicBezTo>
                  <a:pt x="1033" y="319"/>
                  <a:pt x="1034" y="319"/>
                  <a:pt x="1035" y="319"/>
                </a:cubicBezTo>
                <a:cubicBezTo>
                  <a:pt x="1035" y="319"/>
                  <a:pt x="1035" y="319"/>
                  <a:pt x="1036" y="319"/>
                </a:cubicBezTo>
                <a:cubicBezTo>
                  <a:pt x="1036" y="319"/>
                  <a:pt x="1036" y="319"/>
                  <a:pt x="1037" y="319"/>
                </a:cubicBezTo>
                <a:cubicBezTo>
                  <a:pt x="1037" y="319"/>
                  <a:pt x="1037" y="319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6" y="318"/>
                  <a:pt x="1036" y="318"/>
                  <a:pt x="1036" y="319"/>
                </a:cubicBezTo>
                <a:cubicBezTo>
                  <a:pt x="1036" y="318"/>
                  <a:pt x="1036" y="318"/>
                  <a:pt x="1035" y="318"/>
                </a:cubicBezTo>
                <a:cubicBezTo>
                  <a:pt x="1035" y="318"/>
                  <a:pt x="1035" y="318"/>
                  <a:pt x="1035" y="318"/>
                </a:cubicBezTo>
                <a:cubicBezTo>
                  <a:pt x="1035" y="318"/>
                  <a:pt x="1035" y="318"/>
                  <a:pt x="1034" y="318"/>
                </a:cubicBezTo>
                <a:cubicBezTo>
                  <a:pt x="1034" y="318"/>
                  <a:pt x="1034" y="318"/>
                  <a:pt x="1034" y="318"/>
                </a:cubicBezTo>
                <a:cubicBezTo>
                  <a:pt x="1034" y="318"/>
                  <a:pt x="1034" y="318"/>
                  <a:pt x="1034" y="317"/>
                </a:cubicBezTo>
                <a:cubicBezTo>
                  <a:pt x="1034" y="317"/>
                  <a:pt x="1034" y="317"/>
                  <a:pt x="1034" y="317"/>
                </a:cubicBezTo>
                <a:cubicBezTo>
                  <a:pt x="1033" y="317"/>
                  <a:pt x="1033" y="317"/>
                  <a:pt x="1032" y="317"/>
                </a:cubicBezTo>
                <a:cubicBezTo>
                  <a:pt x="1032" y="317"/>
                  <a:pt x="1032" y="317"/>
                  <a:pt x="1031" y="317"/>
                </a:cubicBezTo>
                <a:cubicBezTo>
                  <a:pt x="1031" y="317"/>
                  <a:pt x="1030" y="317"/>
                  <a:pt x="1030" y="317"/>
                </a:cubicBezTo>
                <a:cubicBezTo>
                  <a:pt x="1029" y="317"/>
                  <a:pt x="1029" y="317"/>
                  <a:pt x="1028" y="317"/>
                </a:cubicBezTo>
                <a:cubicBezTo>
                  <a:pt x="1028" y="317"/>
                  <a:pt x="1028" y="317"/>
                  <a:pt x="1028" y="317"/>
                </a:cubicBezTo>
                <a:cubicBezTo>
                  <a:pt x="1027" y="317"/>
                  <a:pt x="1027" y="317"/>
                  <a:pt x="1027" y="317"/>
                </a:cubicBezTo>
                <a:cubicBezTo>
                  <a:pt x="1027" y="317"/>
                  <a:pt x="1026" y="317"/>
                  <a:pt x="1026" y="317"/>
                </a:cubicBezTo>
                <a:cubicBezTo>
                  <a:pt x="1026" y="317"/>
                  <a:pt x="1026" y="317"/>
                  <a:pt x="1026" y="317"/>
                </a:cubicBezTo>
                <a:cubicBezTo>
                  <a:pt x="1026" y="317"/>
                  <a:pt x="1026" y="317"/>
                  <a:pt x="1026" y="317"/>
                </a:cubicBezTo>
                <a:cubicBezTo>
                  <a:pt x="1026" y="316"/>
                  <a:pt x="1026" y="316"/>
                  <a:pt x="1026" y="316"/>
                </a:cubicBezTo>
                <a:cubicBezTo>
                  <a:pt x="1026" y="316"/>
                  <a:pt x="1025" y="316"/>
                  <a:pt x="1025" y="316"/>
                </a:cubicBezTo>
                <a:cubicBezTo>
                  <a:pt x="1025" y="316"/>
                  <a:pt x="1025" y="316"/>
                  <a:pt x="1025" y="316"/>
                </a:cubicBezTo>
                <a:cubicBezTo>
                  <a:pt x="1025" y="316"/>
                  <a:pt x="1025" y="316"/>
                  <a:pt x="1025" y="316"/>
                </a:cubicBezTo>
                <a:cubicBezTo>
                  <a:pt x="1025" y="316"/>
                  <a:pt x="1025" y="317"/>
                  <a:pt x="1025" y="317"/>
                </a:cubicBezTo>
                <a:cubicBezTo>
                  <a:pt x="1025" y="317"/>
                  <a:pt x="1025" y="317"/>
                  <a:pt x="1024" y="317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7"/>
                  <a:pt x="1024" y="317"/>
                </a:cubicBezTo>
                <a:cubicBezTo>
                  <a:pt x="1024" y="317"/>
                  <a:pt x="1024" y="317"/>
                  <a:pt x="1024" y="317"/>
                </a:cubicBezTo>
                <a:cubicBezTo>
                  <a:pt x="1023" y="317"/>
                  <a:pt x="1023" y="316"/>
                  <a:pt x="1023" y="316"/>
                </a:cubicBezTo>
                <a:close/>
                <a:moveTo>
                  <a:pt x="1044" y="313"/>
                </a:move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lose/>
                <a:moveTo>
                  <a:pt x="1034" y="296"/>
                </a:moveTo>
                <a:cubicBezTo>
                  <a:pt x="1033" y="296"/>
                  <a:pt x="1033" y="296"/>
                  <a:pt x="1033" y="296"/>
                </a:cubicBezTo>
                <a:cubicBezTo>
                  <a:pt x="1033" y="296"/>
                  <a:pt x="1033" y="296"/>
                  <a:pt x="1033" y="296"/>
                </a:cubicBezTo>
                <a:cubicBezTo>
                  <a:pt x="1033" y="296"/>
                  <a:pt x="1033" y="296"/>
                  <a:pt x="1034" y="296"/>
                </a:cubicBezTo>
                <a:cubicBezTo>
                  <a:pt x="1034" y="296"/>
                  <a:pt x="1034" y="296"/>
                  <a:pt x="1035" y="296"/>
                </a:cubicBezTo>
                <a:cubicBezTo>
                  <a:pt x="1035" y="296"/>
                  <a:pt x="1035" y="296"/>
                  <a:pt x="1035" y="296"/>
                </a:cubicBezTo>
                <a:cubicBezTo>
                  <a:pt x="1035" y="296"/>
                  <a:pt x="1034" y="296"/>
                  <a:pt x="1034" y="296"/>
                </a:cubicBezTo>
                <a:cubicBezTo>
                  <a:pt x="1034" y="296"/>
                  <a:pt x="1034" y="296"/>
                  <a:pt x="1034" y="296"/>
                </a:cubicBezTo>
                <a:close/>
                <a:moveTo>
                  <a:pt x="1079" y="319"/>
                </a:moveTo>
                <a:cubicBezTo>
                  <a:pt x="1079" y="319"/>
                  <a:pt x="1079" y="319"/>
                  <a:pt x="1080" y="319"/>
                </a:cubicBezTo>
                <a:cubicBezTo>
                  <a:pt x="1079" y="319"/>
                  <a:pt x="1079" y="319"/>
                  <a:pt x="1079" y="319"/>
                </a:cubicBezTo>
                <a:cubicBezTo>
                  <a:pt x="1079" y="319"/>
                  <a:pt x="1079" y="319"/>
                  <a:pt x="1079" y="319"/>
                </a:cubicBezTo>
                <a:cubicBezTo>
                  <a:pt x="1078" y="319"/>
                  <a:pt x="1077" y="319"/>
                  <a:pt x="1077" y="319"/>
                </a:cubicBezTo>
                <a:cubicBezTo>
                  <a:pt x="1076" y="320"/>
                  <a:pt x="1075" y="320"/>
                  <a:pt x="1075" y="320"/>
                </a:cubicBezTo>
                <a:cubicBezTo>
                  <a:pt x="1074" y="320"/>
                  <a:pt x="1074" y="320"/>
                  <a:pt x="1073" y="320"/>
                </a:cubicBezTo>
                <a:cubicBezTo>
                  <a:pt x="1073" y="320"/>
                  <a:pt x="1072" y="320"/>
                  <a:pt x="1072" y="319"/>
                </a:cubicBezTo>
                <a:cubicBezTo>
                  <a:pt x="1072" y="319"/>
                  <a:pt x="1071" y="319"/>
                  <a:pt x="1071" y="319"/>
                </a:cubicBezTo>
                <a:cubicBezTo>
                  <a:pt x="1071" y="319"/>
                  <a:pt x="1071" y="320"/>
                  <a:pt x="1071" y="320"/>
                </a:cubicBezTo>
                <a:cubicBezTo>
                  <a:pt x="1071" y="320"/>
                  <a:pt x="1071" y="320"/>
                  <a:pt x="1071" y="320"/>
                </a:cubicBezTo>
                <a:cubicBezTo>
                  <a:pt x="1070" y="320"/>
                  <a:pt x="1070" y="320"/>
                  <a:pt x="1070" y="320"/>
                </a:cubicBezTo>
                <a:cubicBezTo>
                  <a:pt x="1070" y="320"/>
                  <a:pt x="1069" y="320"/>
                  <a:pt x="1069" y="320"/>
                </a:cubicBezTo>
                <a:cubicBezTo>
                  <a:pt x="1069" y="320"/>
                  <a:pt x="1068" y="320"/>
                  <a:pt x="1068" y="320"/>
                </a:cubicBezTo>
                <a:cubicBezTo>
                  <a:pt x="1068" y="321"/>
                  <a:pt x="1068" y="321"/>
                  <a:pt x="1068" y="321"/>
                </a:cubicBezTo>
                <a:cubicBezTo>
                  <a:pt x="1068" y="321"/>
                  <a:pt x="1068" y="321"/>
                  <a:pt x="1068" y="321"/>
                </a:cubicBezTo>
                <a:cubicBezTo>
                  <a:pt x="1068" y="322"/>
                  <a:pt x="1068" y="322"/>
                  <a:pt x="1068" y="322"/>
                </a:cubicBezTo>
                <a:cubicBezTo>
                  <a:pt x="1069" y="322"/>
                  <a:pt x="1069" y="323"/>
                  <a:pt x="1069" y="323"/>
                </a:cubicBezTo>
                <a:cubicBezTo>
                  <a:pt x="1070" y="323"/>
                  <a:pt x="1070" y="323"/>
                  <a:pt x="1071" y="323"/>
                </a:cubicBezTo>
                <a:cubicBezTo>
                  <a:pt x="1071" y="323"/>
                  <a:pt x="1071" y="323"/>
                  <a:pt x="1071" y="323"/>
                </a:cubicBezTo>
                <a:cubicBezTo>
                  <a:pt x="1072" y="323"/>
                  <a:pt x="1072" y="323"/>
                  <a:pt x="1072" y="323"/>
                </a:cubicBezTo>
                <a:cubicBezTo>
                  <a:pt x="1072" y="323"/>
                  <a:pt x="1073" y="323"/>
                  <a:pt x="1073" y="323"/>
                </a:cubicBezTo>
                <a:cubicBezTo>
                  <a:pt x="1074" y="322"/>
                  <a:pt x="1074" y="322"/>
                  <a:pt x="1074" y="322"/>
                </a:cubicBezTo>
                <a:cubicBezTo>
                  <a:pt x="1075" y="322"/>
                  <a:pt x="1075" y="322"/>
                  <a:pt x="1075" y="322"/>
                </a:cubicBezTo>
                <a:cubicBezTo>
                  <a:pt x="1076" y="322"/>
                  <a:pt x="1076" y="322"/>
                  <a:pt x="1077" y="322"/>
                </a:cubicBezTo>
                <a:cubicBezTo>
                  <a:pt x="1077" y="322"/>
                  <a:pt x="1077" y="322"/>
                  <a:pt x="1077" y="321"/>
                </a:cubicBezTo>
                <a:cubicBezTo>
                  <a:pt x="1077" y="321"/>
                  <a:pt x="1077" y="321"/>
                  <a:pt x="1076" y="321"/>
                </a:cubicBezTo>
                <a:cubicBezTo>
                  <a:pt x="1077" y="320"/>
                  <a:pt x="1077" y="320"/>
                  <a:pt x="1078" y="320"/>
                </a:cubicBezTo>
                <a:cubicBezTo>
                  <a:pt x="1078" y="320"/>
                  <a:pt x="1078" y="319"/>
                  <a:pt x="1079" y="319"/>
                </a:cubicBezTo>
                <a:close/>
                <a:moveTo>
                  <a:pt x="775" y="312"/>
                </a:moveTo>
                <a:cubicBezTo>
                  <a:pt x="774" y="312"/>
                  <a:pt x="774" y="312"/>
                  <a:pt x="774" y="312"/>
                </a:cubicBezTo>
                <a:cubicBezTo>
                  <a:pt x="774" y="313"/>
                  <a:pt x="774" y="313"/>
                  <a:pt x="774" y="313"/>
                </a:cubicBezTo>
                <a:cubicBezTo>
                  <a:pt x="774" y="313"/>
                  <a:pt x="775" y="313"/>
                  <a:pt x="775" y="313"/>
                </a:cubicBezTo>
                <a:cubicBezTo>
                  <a:pt x="775" y="313"/>
                  <a:pt x="775" y="313"/>
                  <a:pt x="776" y="313"/>
                </a:cubicBezTo>
                <a:cubicBezTo>
                  <a:pt x="775" y="312"/>
                  <a:pt x="775" y="312"/>
                  <a:pt x="775" y="312"/>
                </a:cubicBezTo>
                <a:cubicBezTo>
                  <a:pt x="775" y="312"/>
                  <a:pt x="775" y="312"/>
                  <a:pt x="775" y="312"/>
                </a:cubicBezTo>
                <a:close/>
                <a:moveTo>
                  <a:pt x="762" y="309"/>
                </a:moveTo>
                <a:cubicBezTo>
                  <a:pt x="762" y="310"/>
                  <a:pt x="762" y="310"/>
                  <a:pt x="763" y="310"/>
                </a:cubicBezTo>
                <a:cubicBezTo>
                  <a:pt x="762" y="310"/>
                  <a:pt x="762" y="310"/>
                  <a:pt x="762" y="309"/>
                </a:cubicBezTo>
                <a:cubicBezTo>
                  <a:pt x="762" y="309"/>
                  <a:pt x="762" y="309"/>
                  <a:pt x="762" y="309"/>
                </a:cubicBezTo>
                <a:close/>
                <a:moveTo>
                  <a:pt x="760" y="310"/>
                </a:moveTo>
                <a:cubicBezTo>
                  <a:pt x="760" y="310"/>
                  <a:pt x="760" y="311"/>
                  <a:pt x="760" y="311"/>
                </a:cubicBezTo>
                <a:cubicBezTo>
                  <a:pt x="760" y="311"/>
                  <a:pt x="761" y="311"/>
                  <a:pt x="761" y="311"/>
                </a:cubicBezTo>
                <a:cubicBezTo>
                  <a:pt x="761" y="311"/>
                  <a:pt x="761" y="311"/>
                  <a:pt x="762" y="311"/>
                </a:cubicBezTo>
                <a:cubicBezTo>
                  <a:pt x="761" y="311"/>
                  <a:pt x="761" y="310"/>
                  <a:pt x="761" y="310"/>
                </a:cubicBezTo>
                <a:cubicBezTo>
                  <a:pt x="760" y="310"/>
                  <a:pt x="760" y="310"/>
                  <a:pt x="760" y="310"/>
                </a:cubicBezTo>
                <a:close/>
                <a:moveTo>
                  <a:pt x="766" y="309"/>
                </a:moveTo>
                <a:cubicBezTo>
                  <a:pt x="766" y="309"/>
                  <a:pt x="767" y="309"/>
                  <a:pt x="767" y="309"/>
                </a:cubicBezTo>
                <a:cubicBezTo>
                  <a:pt x="767" y="309"/>
                  <a:pt x="767" y="309"/>
                  <a:pt x="767" y="309"/>
                </a:cubicBezTo>
                <a:cubicBezTo>
                  <a:pt x="767" y="309"/>
                  <a:pt x="766" y="309"/>
                  <a:pt x="766" y="309"/>
                </a:cubicBezTo>
                <a:cubicBezTo>
                  <a:pt x="766" y="309"/>
                  <a:pt x="766" y="309"/>
                  <a:pt x="766" y="309"/>
                </a:cubicBezTo>
                <a:close/>
                <a:moveTo>
                  <a:pt x="820" y="330"/>
                </a:moveTo>
                <a:cubicBezTo>
                  <a:pt x="819" y="330"/>
                  <a:pt x="819" y="330"/>
                  <a:pt x="818" y="330"/>
                </a:cubicBezTo>
                <a:cubicBezTo>
                  <a:pt x="819" y="331"/>
                  <a:pt x="819" y="331"/>
                  <a:pt x="819" y="331"/>
                </a:cubicBezTo>
                <a:cubicBezTo>
                  <a:pt x="819" y="331"/>
                  <a:pt x="819" y="331"/>
                  <a:pt x="820" y="331"/>
                </a:cubicBezTo>
                <a:cubicBezTo>
                  <a:pt x="820" y="331"/>
                  <a:pt x="820" y="331"/>
                  <a:pt x="820" y="331"/>
                </a:cubicBezTo>
                <a:cubicBezTo>
                  <a:pt x="820" y="331"/>
                  <a:pt x="820" y="330"/>
                  <a:pt x="820" y="330"/>
                </a:cubicBezTo>
                <a:close/>
                <a:moveTo>
                  <a:pt x="834" y="348"/>
                </a:moveTo>
                <a:cubicBezTo>
                  <a:pt x="834" y="348"/>
                  <a:pt x="833" y="349"/>
                  <a:pt x="833" y="349"/>
                </a:cubicBezTo>
                <a:cubicBezTo>
                  <a:pt x="833" y="349"/>
                  <a:pt x="833" y="349"/>
                  <a:pt x="833" y="349"/>
                </a:cubicBezTo>
                <a:cubicBezTo>
                  <a:pt x="834" y="349"/>
                  <a:pt x="834" y="349"/>
                  <a:pt x="835" y="349"/>
                </a:cubicBezTo>
                <a:cubicBezTo>
                  <a:pt x="835" y="348"/>
                  <a:pt x="835" y="348"/>
                  <a:pt x="836" y="348"/>
                </a:cubicBezTo>
                <a:cubicBezTo>
                  <a:pt x="836" y="347"/>
                  <a:pt x="836" y="347"/>
                  <a:pt x="835" y="347"/>
                </a:cubicBezTo>
                <a:cubicBezTo>
                  <a:pt x="835" y="347"/>
                  <a:pt x="834" y="347"/>
                  <a:pt x="834" y="347"/>
                </a:cubicBezTo>
                <a:cubicBezTo>
                  <a:pt x="834" y="348"/>
                  <a:pt x="834" y="348"/>
                  <a:pt x="834" y="348"/>
                </a:cubicBezTo>
                <a:close/>
                <a:moveTo>
                  <a:pt x="816" y="347"/>
                </a:moveTo>
                <a:cubicBezTo>
                  <a:pt x="816" y="347"/>
                  <a:pt x="816" y="347"/>
                  <a:pt x="816" y="347"/>
                </a:cubicBezTo>
                <a:cubicBezTo>
                  <a:pt x="816" y="348"/>
                  <a:pt x="816" y="348"/>
                  <a:pt x="816" y="348"/>
                </a:cubicBezTo>
                <a:cubicBezTo>
                  <a:pt x="816" y="348"/>
                  <a:pt x="816" y="348"/>
                  <a:pt x="816" y="349"/>
                </a:cubicBezTo>
                <a:cubicBezTo>
                  <a:pt x="816" y="349"/>
                  <a:pt x="817" y="348"/>
                  <a:pt x="817" y="348"/>
                </a:cubicBezTo>
                <a:cubicBezTo>
                  <a:pt x="817" y="348"/>
                  <a:pt x="817" y="348"/>
                  <a:pt x="817" y="347"/>
                </a:cubicBezTo>
                <a:cubicBezTo>
                  <a:pt x="817" y="347"/>
                  <a:pt x="816" y="347"/>
                  <a:pt x="816" y="347"/>
                </a:cubicBezTo>
                <a:close/>
                <a:moveTo>
                  <a:pt x="826" y="349"/>
                </a:moveTo>
                <a:cubicBezTo>
                  <a:pt x="826" y="349"/>
                  <a:pt x="826" y="350"/>
                  <a:pt x="826" y="350"/>
                </a:cubicBezTo>
                <a:cubicBezTo>
                  <a:pt x="826" y="350"/>
                  <a:pt x="827" y="351"/>
                  <a:pt x="827" y="351"/>
                </a:cubicBezTo>
                <a:cubicBezTo>
                  <a:pt x="827" y="351"/>
                  <a:pt x="827" y="350"/>
                  <a:pt x="828" y="350"/>
                </a:cubicBezTo>
                <a:cubicBezTo>
                  <a:pt x="828" y="350"/>
                  <a:pt x="828" y="350"/>
                  <a:pt x="828" y="350"/>
                </a:cubicBezTo>
                <a:cubicBezTo>
                  <a:pt x="828" y="350"/>
                  <a:pt x="828" y="349"/>
                  <a:pt x="828" y="349"/>
                </a:cubicBezTo>
                <a:cubicBezTo>
                  <a:pt x="828" y="349"/>
                  <a:pt x="827" y="349"/>
                  <a:pt x="827" y="349"/>
                </a:cubicBezTo>
                <a:cubicBezTo>
                  <a:pt x="827" y="349"/>
                  <a:pt x="827" y="349"/>
                  <a:pt x="826" y="349"/>
                </a:cubicBezTo>
                <a:close/>
                <a:moveTo>
                  <a:pt x="836" y="345"/>
                </a:moveTo>
                <a:cubicBezTo>
                  <a:pt x="836" y="345"/>
                  <a:pt x="836" y="345"/>
                  <a:pt x="836" y="346"/>
                </a:cubicBezTo>
                <a:cubicBezTo>
                  <a:pt x="836" y="346"/>
                  <a:pt x="836" y="345"/>
                  <a:pt x="837" y="345"/>
                </a:cubicBezTo>
                <a:cubicBezTo>
                  <a:pt x="837" y="345"/>
                  <a:pt x="838" y="345"/>
                  <a:pt x="838" y="345"/>
                </a:cubicBezTo>
                <a:cubicBezTo>
                  <a:pt x="838" y="345"/>
                  <a:pt x="837" y="345"/>
                  <a:pt x="837" y="345"/>
                </a:cubicBezTo>
                <a:cubicBezTo>
                  <a:pt x="837" y="345"/>
                  <a:pt x="836" y="345"/>
                  <a:pt x="836" y="345"/>
                </a:cubicBezTo>
                <a:close/>
                <a:moveTo>
                  <a:pt x="821" y="350"/>
                </a:moveTo>
                <a:cubicBezTo>
                  <a:pt x="822" y="350"/>
                  <a:pt x="822" y="349"/>
                  <a:pt x="823" y="349"/>
                </a:cubicBezTo>
                <a:cubicBezTo>
                  <a:pt x="823" y="349"/>
                  <a:pt x="824" y="349"/>
                  <a:pt x="824" y="349"/>
                </a:cubicBezTo>
                <a:cubicBezTo>
                  <a:pt x="824" y="349"/>
                  <a:pt x="824" y="348"/>
                  <a:pt x="824" y="348"/>
                </a:cubicBezTo>
                <a:cubicBezTo>
                  <a:pt x="824" y="348"/>
                  <a:pt x="824" y="348"/>
                  <a:pt x="823" y="348"/>
                </a:cubicBezTo>
                <a:cubicBezTo>
                  <a:pt x="823" y="348"/>
                  <a:pt x="823" y="348"/>
                  <a:pt x="823" y="348"/>
                </a:cubicBezTo>
                <a:cubicBezTo>
                  <a:pt x="822" y="348"/>
                  <a:pt x="822" y="349"/>
                  <a:pt x="822" y="349"/>
                </a:cubicBezTo>
                <a:cubicBezTo>
                  <a:pt x="821" y="349"/>
                  <a:pt x="821" y="349"/>
                  <a:pt x="821" y="349"/>
                </a:cubicBezTo>
                <a:cubicBezTo>
                  <a:pt x="821" y="349"/>
                  <a:pt x="820" y="349"/>
                  <a:pt x="820" y="349"/>
                </a:cubicBezTo>
                <a:cubicBezTo>
                  <a:pt x="820" y="349"/>
                  <a:pt x="820" y="350"/>
                  <a:pt x="821" y="350"/>
                </a:cubicBezTo>
                <a:cubicBezTo>
                  <a:pt x="821" y="350"/>
                  <a:pt x="821" y="350"/>
                  <a:pt x="821" y="350"/>
                </a:cubicBezTo>
                <a:close/>
                <a:moveTo>
                  <a:pt x="815" y="351"/>
                </a:moveTo>
                <a:cubicBezTo>
                  <a:pt x="815" y="351"/>
                  <a:pt x="815" y="351"/>
                  <a:pt x="815" y="352"/>
                </a:cubicBezTo>
                <a:cubicBezTo>
                  <a:pt x="815" y="352"/>
                  <a:pt x="815" y="352"/>
                  <a:pt x="815" y="352"/>
                </a:cubicBezTo>
                <a:cubicBezTo>
                  <a:pt x="815" y="352"/>
                  <a:pt x="815" y="352"/>
                  <a:pt x="815" y="352"/>
                </a:cubicBezTo>
                <a:cubicBezTo>
                  <a:pt x="816" y="352"/>
                  <a:pt x="816" y="352"/>
                  <a:pt x="816" y="352"/>
                </a:cubicBezTo>
                <a:cubicBezTo>
                  <a:pt x="816" y="352"/>
                  <a:pt x="816" y="351"/>
                  <a:pt x="816" y="351"/>
                </a:cubicBezTo>
                <a:cubicBezTo>
                  <a:pt x="816" y="351"/>
                  <a:pt x="816" y="351"/>
                  <a:pt x="815" y="351"/>
                </a:cubicBezTo>
                <a:close/>
                <a:moveTo>
                  <a:pt x="819" y="350"/>
                </a:move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lose/>
                <a:moveTo>
                  <a:pt x="782" y="395"/>
                </a:moveTo>
                <a:cubicBezTo>
                  <a:pt x="781" y="395"/>
                  <a:pt x="781" y="395"/>
                  <a:pt x="781" y="395"/>
                </a:cubicBezTo>
                <a:cubicBezTo>
                  <a:pt x="781" y="395"/>
                  <a:pt x="781" y="395"/>
                  <a:pt x="781" y="395"/>
                </a:cubicBezTo>
                <a:cubicBezTo>
                  <a:pt x="781" y="396"/>
                  <a:pt x="781" y="396"/>
                  <a:pt x="781" y="396"/>
                </a:cubicBezTo>
                <a:cubicBezTo>
                  <a:pt x="781" y="396"/>
                  <a:pt x="781" y="396"/>
                  <a:pt x="782" y="396"/>
                </a:cubicBezTo>
                <a:cubicBezTo>
                  <a:pt x="782" y="396"/>
                  <a:pt x="782" y="395"/>
                  <a:pt x="783" y="395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2" y="395"/>
                  <a:pt x="782" y="395"/>
                </a:cubicBezTo>
                <a:close/>
                <a:moveTo>
                  <a:pt x="786" y="396"/>
                </a:moveTo>
                <a:cubicBezTo>
                  <a:pt x="786" y="396"/>
                  <a:pt x="786" y="396"/>
                  <a:pt x="786" y="396"/>
                </a:cubicBezTo>
                <a:cubicBezTo>
                  <a:pt x="786" y="397"/>
                  <a:pt x="786" y="397"/>
                  <a:pt x="786" y="397"/>
                </a:cubicBezTo>
                <a:cubicBezTo>
                  <a:pt x="786" y="397"/>
                  <a:pt x="786" y="397"/>
                  <a:pt x="786" y="397"/>
                </a:cubicBezTo>
                <a:cubicBezTo>
                  <a:pt x="786" y="397"/>
                  <a:pt x="786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6"/>
                  <a:pt x="787" y="396"/>
                  <a:pt x="786" y="396"/>
                </a:cubicBezTo>
                <a:close/>
                <a:moveTo>
                  <a:pt x="793" y="395"/>
                </a:moveTo>
                <a:cubicBezTo>
                  <a:pt x="793" y="395"/>
                  <a:pt x="793" y="395"/>
                  <a:pt x="793" y="395"/>
                </a:cubicBezTo>
                <a:cubicBezTo>
                  <a:pt x="793" y="396"/>
                  <a:pt x="793" y="396"/>
                  <a:pt x="793" y="396"/>
                </a:cubicBezTo>
                <a:cubicBezTo>
                  <a:pt x="793" y="396"/>
                  <a:pt x="793" y="396"/>
                  <a:pt x="793" y="396"/>
                </a:cubicBezTo>
                <a:cubicBezTo>
                  <a:pt x="793" y="395"/>
                  <a:pt x="793" y="395"/>
                  <a:pt x="793" y="395"/>
                </a:cubicBezTo>
                <a:close/>
                <a:moveTo>
                  <a:pt x="793" y="397"/>
                </a:moveTo>
                <a:cubicBezTo>
                  <a:pt x="793" y="398"/>
                  <a:pt x="792" y="398"/>
                  <a:pt x="792" y="398"/>
                </a:cubicBezTo>
                <a:cubicBezTo>
                  <a:pt x="792" y="398"/>
                  <a:pt x="793" y="398"/>
                  <a:pt x="793" y="398"/>
                </a:cubicBezTo>
                <a:cubicBezTo>
                  <a:pt x="793" y="398"/>
                  <a:pt x="793" y="398"/>
                  <a:pt x="793" y="398"/>
                </a:cubicBezTo>
                <a:cubicBezTo>
                  <a:pt x="793" y="398"/>
                  <a:pt x="794" y="398"/>
                  <a:pt x="794" y="398"/>
                </a:cubicBezTo>
                <a:cubicBezTo>
                  <a:pt x="794" y="398"/>
                  <a:pt x="794" y="398"/>
                  <a:pt x="793" y="398"/>
                </a:cubicBezTo>
                <a:cubicBezTo>
                  <a:pt x="793" y="398"/>
                  <a:pt x="793" y="398"/>
                  <a:pt x="793" y="397"/>
                </a:cubicBezTo>
                <a:close/>
                <a:moveTo>
                  <a:pt x="783" y="396"/>
                </a:move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lose/>
                <a:moveTo>
                  <a:pt x="792" y="402"/>
                </a:moveTo>
                <a:cubicBezTo>
                  <a:pt x="792" y="402"/>
                  <a:pt x="792" y="402"/>
                  <a:pt x="792" y="402"/>
                </a:cubicBezTo>
                <a:cubicBezTo>
                  <a:pt x="792" y="402"/>
                  <a:pt x="792" y="402"/>
                  <a:pt x="792" y="402"/>
                </a:cubicBezTo>
                <a:cubicBezTo>
                  <a:pt x="792" y="402"/>
                  <a:pt x="792" y="401"/>
                  <a:pt x="792" y="401"/>
                </a:cubicBezTo>
                <a:cubicBezTo>
                  <a:pt x="792" y="401"/>
                  <a:pt x="792" y="402"/>
                  <a:pt x="792" y="402"/>
                </a:cubicBezTo>
                <a:close/>
                <a:moveTo>
                  <a:pt x="789" y="402"/>
                </a:moveTo>
                <a:cubicBezTo>
                  <a:pt x="789" y="402"/>
                  <a:pt x="789" y="402"/>
                  <a:pt x="789" y="402"/>
                </a:cubicBezTo>
                <a:cubicBezTo>
                  <a:pt x="789" y="402"/>
                  <a:pt x="789" y="403"/>
                  <a:pt x="789" y="403"/>
                </a:cubicBezTo>
                <a:cubicBezTo>
                  <a:pt x="790" y="403"/>
                  <a:pt x="790" y="403"/>
                  <a:pt x="791" y="403"/>
                </a:cubicBezTo>
                <a:cubicBezTo>
                  <a:pt x="791" y="403"/>
                  <a:pt x="791" y="403"/>
                  <a:pt x="791" y="402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789" y="402"/>
                  <a:pt x="789" y="402"/>
                  <a:pt x="789" y="402"/>
                </a:cubicBezTo>
                <a:close/>
                <a:moveTo>
                  <a:pt x="788" y="397"/>
                </a:moveTo>
                <a:cubicBezTo>
                  <a:pt x="788" y="397"/>
                  <a:pt x="788" y="397"/>
                  <a:pt x="788" y="397"/>
                </a:cubicBezTo>
                <a:cubicBezTo>
                  <a:pt x="788" y="397"/>
                  <a:pt x="788" y="397"/>
                  <a:pt x="789" y="397"/>
                </a:cubicBezTo>
                <a:cubicBezTo>
                  <a:pt x="788" y="397"/>
                  <a:pt x="788" y="396"/>
                  <a:pt x="788" y="396"/>
                </a:cubicBezTo>
                <a:cubicBezTo>
                  <a:pt x="788" y="396"/>
                  <a:pt x="788" y="396"/>
                  <a:pt x="788" y="397"/>
                </a:cubicBezTo>
                <a:close/>
                <a:moveTo>
                  <a:pt x="1178" y="422"/>
                </a:moveTo>
                <a:cubicBezTo>
                  <a:pt x="1178" y="422"/>
                  <a:pt x="1178" y="421"/>
                  <a:pt x="1178" y="421"/>
                </a:cubicBezTo>
                <a:cubicBezTo>
                  <a:pt x="1178" y="421"/>
                  <a:pt x="1177" y="421"/>
                  <a:pt x="1177" y="421"/>
                </a:cubicBezTo>
                <a:cubicBezTo>
                  <a:pt x="1177" y="421"/>
                  <a:pt x="1177" y="421"/>
                  <a:pt x="1176" y="421"/>
                </a:cubicBezTo>
                <a:cubicBezTo>
                  <a:pt x="1176" y="421"/>
                  <a:pt x="1176" y="421"/>
                  <a:pt x="1175" y="421"/>
                </a:cubicBezTo>
                <a:cubicBezTo>
                  <a:pt x="1175" y="421"/>
                  <a:pt x="1175" y="421"/>
                  <a:pt x="1175" y="421"/>
                </a:cubicBezTo>
                <a:cubicBezTo>
                  <a:pt x="1175" y="421"/>
                  <a:pt x="1174" y="421"/>
                  <a:pt x="1174" y="421"/>
                </a:cubicBezTo>
                <a:cubicBezTo>
                  <a:pt x="1174" y="421"/>
                  <a:pt x="1174" y="420"/>
                  <a:pt x="1174" y="420"/>
                </a:cubicBezTo>
                <a:cubicBezTo>
                  <a:pt x="1174" y="420"/>
                  <a:pt x="1174" y="420"/>
                  <a:pt x="1173" y="420"/>
                </a:cubicBezTo>
                <a:cubicBezTo>
                  <a:pt x="1173" y="420"/>
                  <a:pt x="1173" y="420"/>
                  <a:pt x="1173" y="420"/>
                </a:cubicBezTo>
                <a:cubicBezTo>
                  <a:pt x="1173" y="421"/>
                  <a:pt x="1173" y="421"/>
                  <a:pt x="1173" y="421"/>
                </a:cubicBezTo>
                <a:cubicBezTo>
                  <a:pt x="1172" y="421"/>
                  <a:pt x="1172" y="421"/>
                  <a:pt x="1172" y="421"/>
                </a:cubicBezTo>
                <a:cubicBezTo>
                  <a:pt x="1172" y="421"/>
                  <a:pt x="1172" y="421"/>
                  <a:pt x="1172" y="421"/>
                </a:cubicBezTo>
                <a:cubicBezTo>
                  <a:pt x="1173" y="422"/>
                  <a:pt x="1173" y="422"/>
                  <a:pt x="1173" y="422"/>
                </a:cubicBezTo>
                <a:cubicBezTo>
                  <a:pt x="1173" y="422"/>
                  <a:pt x="1174" y="422"/>
                  <a:pt x="1174" y="422"/>
                </a:cubicBezTo>
                <a:cubicBezTo>
                  <a:pt x="1175" y="422"/>
                  <a:pt x="1175" y="422"/>
                  <a:pt x="1176" y="422"/>
                </a:cubicBezTo>
                <a:cubicBezTo>
                  <a:pt x="1176" y="422"/>
                  <a:pt x="1176" y="422"/>
                  <a:pt x="1177" y="422"/>
                </a:cubicBezTo>
                <a:cubicBezTo>
                  <a:pt x="1177" y="422"/>
                  <a:pt x="1177" y="422"/>
                  <a:pt x="1177" y="422"/>
                </a:cubicBezTo>
                <a:cubicBezTo>
                  <a:pt x="1178" y="422"/>
                  <a:pt x="1178" y="422"/>
                  <a:pt x="1178" y="422"/>
                </a:cubicBezTo>
                <a:close/>
                <a:moveTo>
                  <a:pt x="1166" y="421"/>
                </a:moveTo>
                <a:cubicBezTo>
                  <a:pt x="1166" y="422"/>
                  <a:pt x="1166" y="422"/>
                  <a:pt x="1167" y="422"/>
                </a:cubicBezTo>
                <a:cubicBezTo>
                  <a:pt x="1167" y="422"/>
                  <a:pt x="1168" y="422"/>
                  <a:pt x="1168" y="422"/>
                </a:cubicBezTo>
                <a:cubicBezTo>
                  <a:pt x="1167" y="422"/>
                  <a:pt x="1167" y="421"/>
                  <a:pt x="1167" y="421"/>
                </a:cubicBezTo>
                <a:cubicBezTo>
                  <a:pt x="1166" y="421"/>
                  <a:pt x="1166" y="421"/>
                  <a:pt x="1166" y="421"/>
                </a:cubicBezTo>
                <a:close/>
                <a:moveTo>
                  <a:pt x="958" y="322"/>
                </a:moveTo>
                <a:cubicBezTo>
                  <a:pt x="958" y="322"/>
                  <a:pt x="958" y="322"/>
                  <a:pt x="958" y="322"/>
                </a:cubicBezTo>
                <a:cubicBezTo>
                  <a:pt x="958" y="322"/>
                  <a:pt x="958" y="323"/>
                  <a:pt x="959" y="323"/>
                </a:cubicBezTo>
                <a:cubicBezTo>
                  <a:pt x="959" y="323"/>
                  <a:pt x="959" y="323"/>
                  <a:pt x="959" y="322"/>
                </a:cubicBezTo>
                <a:cubicBezTo>
                  <a:pt x="959" y="322"/>
                  <a:pt x="959" y="322"/>
                  <a:pt x="959" y="322"/>
                </a:cubicBezTo>
                <a:cubicBezTo>
                  <a:pt x="959" y="322"/>
                  <a:pt x="958" y="322"/>
                  <a:pt x="958" y="322"/>
                </a:cubicBezTo>
                <a:close/>
                <a:moveTo>
                  <a:pt x="847" y="427"/>
                </a:moveTo>
                <a:cubicBezTo>
                  <a:pt x="846" y="427"/>
                  <a:pt x="846" y="427"/>
                  <a:pt x="846" y="427"/>
                </a:cubicBezTo>
                <a:cubicBezTo>
                  <a:pt x="846" y="427"/>
                  <a:pt x="846" y="427"/>
                  <a:pt x="846" y="427"/>
                </a:cubicBezTo>
                <a:cubicBezTo>
                  <a:pt x="846" y="427"/>
                  <a:pt x="846" y="428"/>
                  <a:pt x="846" y="428"/>
                </a:cubicBezTo>
                <a:cubicBezTo>
                  <a:pt x="846" y="428"/>
                  <a:pt x="846" y="428"/>
                  <a:pt x="847" y="428"/>
                </a:cubicBezTo>
                <a:cubicBezTo>
                  <a:pt x="847" y="428"/>
                  <a:pt x="847" y="428"/>
                  <a:pt x="847" y="428"/>
                </a:cubicBezTo>
                <a:cubicBezTo>
                  <a:pt x="847" y="428"/>
                  <a:pt x="847" y="428"/>
                  <a:pt x="847" y="427"/>
                </a:cubicBezTo>
                <a:cubicBezTo>
                  <a:pt x="847" y="427"/>
                  <a:pt x="847" y="427"/>
                  <a:pt x="847" y="427"/>
                </a:cubicBezTo>
                <a:close/>
                <a:moveTo>
                  <a:pt x="939" y="452"/>
                </a:moveTo>
                <a:cubicBezTo>
                  <a:pt x="939" y="452"/>
                  <a:pt x="939" y="452"/>
                  <a:pt x="939" y="452"/>
                </a:cubicBezTo>
                <a:cubicBezTo>
                  <a:pt x="939" y="452"/>
                  <a:pt x="939" y="452"/>
                  <a:pt x="939" y="452"/>
                </a:cubicBezTo>
                <a:cubicBezTo>
                  <a:pt x="939" y="452"/>
                  <a:pt x="939" y="452"/>
                  <a:pt x="940" y="452"/>
                </a:cubicBezTo>
                <a:cubicBezTo>
                  <a:pt x="940" y="452"/>
                  <a:pt x="940" y="452"/>
                  <a:pt x="940" y="452"/>
                </a:cubicBezTo>
                <a:cubicBezTo>
                  <a:pt x="940" y="451"/>
                  <a:pt x="939" y="451"/>
                  <a:pt x="939" y="451"/>
                </a:cubicBezTo>
                <a:cubicBezTo>
                  <a:pt x="939" y="451"/>
                  <a:pt x="939" y="451"/>
                  <a:pt x="939" y="452"/>
                </a:cubicBezTo>
                <a:close/>
                <a:moveTo>
                  <a:pt x="950" y="439"/>
                </a:moveTo>
                <a:cubicBezTo>
                  <a:pt x="950" y="439"/>
                  <a:pt x="950" y="439"/>
                  <a:pt x="950" y="438"/>
                </a:cubicBezTo>
                <a:cubicBezTo>
                  <a:pt x="950" y="438"/>
                  <a:pt x="950" y="438"/>
                  <a:pt x="950" y="438"/>
                </a:cubicBezTo>
                <a:cubicBezTo>
                  <a:pt x="950" y="438"/>
                  <a:pt x="949" y="439"/>
                  <a:pt x="949" y="439"/>
                </a:cubicBezTo>
                <a:cubicBezTo>
                  <a:pt x="949" y="439"/>
                  <a:pt x="949" y="439"/>
                  <a:pt x="948" y="440"/>
                </a:cubicBezTo>
                <a:cubicBezTo>
                  <a:pt x="948" y="440"/>
                  <a:pt x="948" y="440"/>
                  <a:pt x="948" y="440"/>
                </a:cubicBezTo>
                <a:cubicBezTo>
                  <a:pt x="948" y="440"/>
                  <a:pt x="948" y="440"/>
                  <a:pt x="948" y="440"/>
                </a:cubicBezTo>
                <a:cubicBezTo>
                  <a:pt x="948" y="440"/>
                  <a:pt x="948" y="441"/>
                  <a:pt x="949" y="441"/>
                </a:cubicBezTo>
                <a:cubicBezTo>
                  <a:pt x="949" y="441"/>
                  <a:pt x="949" y="441"/>
                  <a:pt x="950" y="441"/>
                </a:cubicBezTo>
                <a:cubicBezTo>
                  <a:pt x="950" y="440"/>
                  <a:pt x="950" y="440"/>
                  <a:pt x="950" y="439"/>
                </a:cubicBezTo>
                <a:close/>
                <a:moveTo>
                  <a:pt x="1646" y="707"/>
                </a:moveTo>
                <a:cubicBezTo>
                  <a:pt x="1646" y="707"/>
                  <a:pt x="1646" y="707"/>
                  <a:pt x="1645" y="707"/>
                </a:cubicBezTo>
                <a:cubicBezTo>
                  <a:pt x="1646" y="707"/>
                  <a:pt x="1646" y="707"/>
                  <a:pt x="1646" y="707"/>
                </a:cubicBezTo>
                <a:cubicBezTo>
                  <a:pt x="1646" y="707"/>
                  <a:pt x="1647" y="707"/>
                  <a:pt x="1647" y="707"/>
                </a:cubicBezTo>
                <a:cubicBezTo>
                  <a:pt x="1647" y="707"/>
                  <a:pt x="1647" y="707"/>
                  <a:pt x="1647" y="706"/>
                </a:cubicBezTo>
                <a:cubicBezTo>
                  <a:pt x="1647" y="706"/>
                  <a:pt x="1647" y="706"/>
                  <a:pt x="1646" y="706"/>
                </a:cubicBezTo>
                <a:cubicBezTo>
                  <a:pt x="1646" y="706"/>
                  <a:pt x="1646" y="706"/>
                  <a:pt x="1646" y="707"/>
                </a:cubicBezTo>
                <a:close/>
                <a:moveTo>
                  <a:pt x="1648" y="710"/>
                </a:moveTo>
                <a:cubicBezTo>
                  <a:pt x="1648" y="710"/>
                  <a:pt x="1648" y="709"/>
                  <a:pt x="1649" y="709"/>
                </a:cubicBezTo>
                <a:cubicBezTo>
                  <a:pt x="1649" y="709"/>
                  <a:pt x="1649" y="709"/>
                  <a:pt x="1649" y="709"/>
                </a:cubicBezTo>
                <a:cubicBezTo>
                  <a:pt x="1649" y="708"/>
                  <a:pt x="1649" y="708"/>
                  <a:pt x="1649" y="708"/>
                </a:cubicBezTo>
                <a:cubicBezTo>
                  <a:pt x="1648" y="708"/>
                  <a:pt x="1648" y="708"/>
                  <a:pt x="1648" y="708"/>
                </a:cubicBezTo>
                <a:cubicBezTo>
                  <a:pt x="1648" y="708"/>
                  <a:pt x="1648" y="709"/>
                  <a:pt x="1648" y="709"/>
                </a:cubicBezTo>
                <a:cubicBezTo>
                  <a:pt x="1648" y="709"/>
                  <a:pt x="1647" y="709"/>
                  <a:pt x="1647" y="709"/>
                </a:cubicBezTo>
                <a:cubicBezTo>
                  <a:pt x="1647" y="709"/>
                  <a:pt x="1647" y="710"/>
                  <a:pt x="1647" y="710"/>
                </a:cubicBezTo>
                <a:cubicBezTo>
                  <a:pt x="1648" y="710"/>
                  <a:pt x="1648" y="710"/>
                  <a:pt x="1648" y="711"/>
                </a:cubicBezTo>
                <a:cubicBezTo>
                  <a:pt x="1648" y="711"/>
                  <a:pt x="1648" y="711"/>
                  <a:pt x="1649" y="711"/>
                </a:cubicBezTo>
                <a:cubicBezTo>
                  <a:pt x="1648" y="710"/>
                  <a:pt x="1648" y="710"/>
                  <a:pt x="1648" y="710"/>
                </a:cubicBezTo>
                <a:close/>
                <a:moveTo>
                  <a:pt x="1642" y="711"/>
                </a:moveTo>
                <a:cubicBezTo>
                  <a:pt x="1642" y="711"/>
                  <a:pt x="1642" y="710"/>
                  <a:pt x="1642" y="709"/>
                </a:cubicBezTo>
                <a:cubicBezTo>
                  <a:pt x="1641" y="709"/>
                  <a:pt x="1641" y="709"/>
                  <a:pt x="1641" y="708"/>
                </a:cubicBezTo>
                <a:cubicBezTo>
                  <a:pt x="1641" y="708"/>
                  <a:pt x="1641" y="708"/>
                  <a:pt x="1640" y="708"/>
                </a:cubicBezTo>
                <a:cubicBezTo>
                  <a:pt x="1640" y="708"/>
                  <a:pt x="1640" y="707"/>
                  <a:pt x="1640" y="707"/>
                </a:cubicBezTo>
                <a:cubicBezTo>
                  <a:pt x="1640" y="706"/>
                  <a:pt x="1640" y="705"/>
                  <a:pt x="1640" y="704"/>
                </a:cubicBezTo>
                <a:cubicBezTo>
                  <a:pt x="1639" y="704"/>
                  <a:pt x="1639" y="704"/>
                  <a:pt x="1639" y="704"/>
                </a:cubicBezTo>
                <a:cubicBezTo>
                  <a:pt x="1639" y="704"/>
                  <a:pt x="1639" y="703"/>
                  <a:pt x="1639" y="703"/>
                </a:cubicBezTo>
                <a:cubicBezTo>
                  <a:pt x="1639" y="703"/>
                  <a:pt x="1639" y="702"/>
                  <a:pt x="1638" y="702"/>
                </a:cubicBezTo>
                <a:cubicBezTo>
                  <a:pt x="1638" y="702"/>
                  <a:pt x="1638" y="702"/>
                  <a:pt x="1638" y="701"/>
                </a:cubicBezTo>
                <a:cubicBezTo>
                  <a:pt x="1638" y="701"/>
                  <a:pt x="1638" y="701"/>
                  <a:pt x="1638" y="701"/>
                </a:cubicBezTo>
                <a:cubicBezTo>
                  <a:pt x="1638" y="701"/>
                  <a:pt x="1638" y="701"/>
                  <a:pt x="1638" y="701"/>
                </a:cubicBezTo>
                <a:cubicBezTo>
                  <a:pt x="1637" y="700"/>
                  <a:pt x="1637" y="700"/>
                  <a:pt x="1637" y="699"/>
                </a:cubicBezTo>
                <a:cubicBezTo>
                  <a:pt x="1637" y="699"/>
                  <a:pt x="1637" y="700"/>
                  <a:pt x="1637" y="700"/>
                </a:cubicBezTo>
                <a:cubicBezTo>
                  <a:pt x="1637" y="700"/>
                  <a:pt x="1637" y="700"/>
                  <a:pt x="1637" y="700"/>
                </a:cubicBezTo>
                <a:cubicBezTo>
                  <a:pt x="1637" y="701"/>
                  <a:pt x="1637" y="701"/>
                  <a:pt x="1637" y="701"/>
                </a:cubicBezTo>
                <a:cubicBezTo>
                  <a:pt x="1637" y="702"/>
                  <a:pt x="1637" y="703"/>
                  <a:pt x="1637" y="703"/>
                </a:cubicBezTo>
                <a:cubicBezTo>
                  <a:pt x="1637" y="704"/>
                  <a:pt x="1637" y="704"/>
                  <a:pt x="1637" y="704"/>
                </a:cubicBezTo>
                <a:cubicBezTo>
                  <a:pt x="1637" y="704"/>
                  <a:pt x="1637" y="705"/>
                  <a:pt x="1637" y="705"/>
                </a:cubicBezTo>
                <a:cubicBezTo>
                  <a:pt x="1637" y="705"/>
                  <a:pt x="1637" y="705"/>
                  <a:pt x="1637" y="706"/>
                </a:cubicBezTo>
                <a:cubicBezTo>
                  <a:pt x="1637" y="706"/>
                  <a:pt x="1638" y="706"/>
                  <a:pt x="1638" y="706"/>
                </a:cubicBezTo>
                <a:cubicBezTo>
                  <a:pt x="1638" y="706"/>
                  <a:pt x="1638" y="706"/>
                  <a:pt x="1638" y="706"/>
                </a:cubicBezTo>
                <a:cubicBezTo>
                  <a:pt x="1638" y="707"/>
                  <a:pt x="1638" y="707"/>
                  <a:pt x="1638" y="708"/>
                </a:cubicBezTo>
                <a:cubicBezTo>
                  <a:pt x="1638" y="708"/>
                  <a:pt x="1638" y="708"/>
                  <a:pt x="1638" y="709"/>
                </a:cubicBezTo>
                <a:cubicBezTo>
                  <a:pt x="1639" y="709"/>
                  <a:pt x="1639" y="709"/>
                  <a:pt x="1639" y="709"/>
                </a:cubicBezTo>
                <a:cubicBezTo>
                  <a:pt x="1639" y="709"/>
                  <a:pt x="1639" y="709"/>
                  <a:pt x="1639" y="709"/>
                </a:cubicBezTo>
                <a:cubicBezTo>
                  <a:pt x="1639" y="709"/>
                  <a:pt x="1639" y="710"/>
                  <a:pt x="1639" y="710"/>
                </a:cubicBezTo>
                <a:cubicBezTo>
                  <a:pt x="1639" y="710"/>
                  <a:pt x="1640" y="711"/>
                  <a:pt x="1640" y="711"/>
                </a:cubicBezTo>
                <a:cubicBezTo>
                  <a:pt x="1640" y="711"/>
                  <a:pt x="1640" y="711"/>
                  <a:pt x="1640" y="712"/>
                </a:cubicBezTo>
                <a:cubicBezTo>
                  <a:pt x="1640" y="712"/>
                  <a:pt x="1640" y="712"/>
                  <a:pt x="1640" y="712"/>
                </a:cubicBezTo>
                <a:cubicBezTo>
                  <a:pt x="1641" y="712"/>
                  <a:pt x="1641" y="713"/>
                  <a:pt x="1641" y="713"/>
                </a:cubicBezTo>
                <a:cubicBezTo>
                  <a:pt x="1642" y="713"/>
                  <a:pt x="1642" y="713"/>
                  <a:pt x="1642" y="713"/>
                </a:cubicBezTo>
                <a:cubicBezTo>
                  <a:pt x="1642" y="714"/>
                  <a:pt x="1642" y="714"/>
                  <a:pt x="1642" y="714"/>
                </a:cubicBezTo>
                <a:cubicBezTo>
                  <a:pt x="1642" y="714"/>
                  <a:pt x="1643" y="714"/>
                  <a:pt x="1643" y="714"/>
                </a:cubicBezTo>
                <a:cubicBezTo>
                  <a:pt x="1643" y="714"/>
                  <a:pt x="1643" y="714"/>
                  <a:pt x="1643" y="713"/>
                </a:cubicBezTo>
                <a:cubicBezTo>
                  <a:pt x="1643" y="713"/>
                  <a:pt x="1643" y="713"/>
                  <a:pt x="1643" y="713"/>
                </a:cubicBezTo>
                <a:cubicBezTo>
                  <a:pt x="1642" y="712"/>
                  <a:pt x="1642" y="712"/>
                  <a:pt x="1642" y="711"/>
                </a:cubicBezTo>
                <a:close/>
                <a:moveTo>
                  <a:pt x="1649" y="712"/>
                </a:moveTo>
                <a:cubicBezTo>
                  <a:pt x="1649" y="713"/>
                  <a:pt x="1648" y="713"/>
                  <a:pt x="1648" y="713"/>
                </a:cubicBezTo>
                <a:cubicBezTo>
                  <a:pt x="1648" y="713"/>
                  <a:pt x="1649" y="714"/>
                  <a:pt x="1649" y="714"/>
                </a:cubicBezTo>
                <a:cubicBezTo>
                  <a:pt x="1649" y="714"/>
                  <a:pt x="1649" y="714"/>
                  <a:pt x="1649" y="714"/>
                </a:cubicBezTo>
                <a:cubicBezTo>
                  <a:pt x="1650" y="714"/>
                  <a:pt x="1650" y="714"/>
                  <a:pt x="1650" y="714"/>
                </a:cubicBezTo>
                <a:cubicBezTo>
                  <a:pt x="1650" y="714"/>
                  <a:pt x="1650" y="714"/>
                  <a:pt x="1650" y="713"/>
                </a:cubicBezTo>
                <a:cubicBezTo>
                  <a:pt x="1650" y="713"/>
                  <a:pt x="1650" y="713"/>
                  <a:pt x="1650" y="713"/>
                </a:cubicBezTo>
                <a:cubicBezTo>
                  <a:pt x="1649" y="713"/>
                  <a:pt x="1649" y="713"/>
                  <a:pt x="1649" y="712"/>
                </a:cubicBezTo>
                <a:close/>
                <a:moveTo>
                  <a:pt x="1182" y="700"/>
                </a:moveTo>
                <a:cubicBezTo>
                  <a:pt x="1182" y="700"/>
                  <a:pt x="1182" y="700"/>
                  <a:pt x="1182" y="700"/>
                </a:cubicBezTo>
                <a:cubicBezTo>
                  <a:pt x="1182" y="700"/>
                  <a:pt x="1182" y="701"/>
                  <a:pt x="1182" y="701"/>
                </a:cubicBezTo>
                <a:cubicBezTo>
                  <a:pt x="1182" y="701"/>
                  <a:pt x="1182" y="701"/>
                  <a:pt x="1182" y="701"/>
                </a:cubicBezTo>
                <a:cubicBezTo>
                  <a:pt x="1182" y="701"/>
                  <a:pt x="1183" y="701"/>
                  <a:pt x="1183" y="701"/>
                </a:cubicBezTo>
                <a:cubicBezTo>
                  <a:pt x="1183" y="701"/>
                  <a:pt x="1183" y="702"/>
                  <a:pt x="1183" y="702"/>
                </a:cubicBezTo>
                <a:cubicBezTo>
                  <a:pt x="1183" y="702"/>
                  <a:pt x="1183" y="702"/>
                  <a:pt x="1183" y="702"/>
                </a:cubicBezTo>
                <a:cubicBezTo>
                  <a:pt x="1183" y="701"/>
                  <a:pt x="1183" y="701"/>
                  <a:pt x="1183" y="701"/>
                </a:cubicBezTo>
                <a:cubicBezTo>
                  <a:pt x="1183" y="700"/>
                  <a:pt x="1183" y="700"/>
                  <a:pt x="1182" y="700"/>
                </a:cubicBezTo>
                <a:close/>
                <a:moveTo>
                  <a:pt x="1176" y="677"/>
                </a:moveTo>
                <a:cubicBezTo>
                  <a:pt x="1176" y="677"/>
                  <a:pt x="1176" y="677"/>
                  <a:pt x="1176" y="677"/>
                </a:cubicBezTo>
                <a:cubicBezTo>
                  <a:pt x="1176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6" y="677"/>
                  <a:pt x="1176" y="677"/>
                </a:cubicBezTo>
                <a:close/>
                <a:moveTo>
                  <a:pt x="1180" y="678"/>
                </a:moveTo>
                <a:cubicBezTo>
                  <a:pt x="1180" y="678"/>
                  <a:pt x="1179" y="678"/>
                  <a:pt x="1179" y="678"/>
                </a:cubicBezTo>
                <a:cubicBezTo>
                  <a:pt x="1179" y="678"/>
                  <a:pt x="1179" y="679"/>
                  <a:pt x="1178" y="679"/>
                </a:cubicBezTo>
                <a:cubicBezTo>
                  <a:pt x="1178" y="679"/>
                  <a:pt x="1178" y="679"/>
                  <a:pt x="1178" y="679"/>
                </a:cubicBezTo>
                <a:cubicBezTo>
                  <a:pt x="1178" y="678"/>
                  <a:pt x="1178" y="678"/>
                  <a:pt x="1178" y="678"/>
                </a:cubicBezTo>
                <a:cubicBezTo>
                  <a:pt x="1178" y="678"/>
                  <a:pt x="1178" y="678"/>
                  <a:pt x="1178" y="678"/>
                </a:cubicBezTo>
                <a:cubicBezTo>
                  <a:pt x="1178" y="677"/>
                  <a:pt x="1178" y="677"/>
                  <a:pt x="1178" y="677"/>
                </a:cubicBezTo>
                <a:cubicBezTo>
                  <a:pt x="1178" y="677"/>
                  <a:pt x="1178" y="677"/>
                  <a:pt x="1178" y="677"/>
                </a:cubicBezTo>
                <a:cubicBezTo>
                  <a:pt x="1178" y="677"/>
                  <a:pt x="1178" y="678"/>
                  <a:pt x="1177" y="678"/>
                </a:cubicBezTo>
                <a:cubicBezTo>
                  <a:pt x="1177" y="678"/>
                  <a:pt x="1177" y="678"/>
                  <a:pt x="1177" y="678"/>
                </a:cubicBezTo>
                <a:cubicBezTo>
                  <a:pt x="1177" y="678"/>
                  <a:pt x="1177" y="678"/>
                  <a:pt x="1176" y="678"/>
                </a:cubicBezTo>
                <a:cubicBezTo>
                  <a:pt x="1176" y="678"/>
                  <a:pt x="1176" y="677"/>
                  <a:pt x="1176" y="677"/>
                </a:cubicBezTo>
                <a:cubicBezTo>
                  <a:pt x="1176" y="677"/>
                  <a:pt x="1175" y="677"/>
                  <a:pt x="1175" y="677"/>
                </a:cubicBezTo>
                <a:cubicBezTo>
                  <a:pt x="1175" y="677"/>
                  <a:pt x="1176" y="676"/>
                  <a:pt x="1176" y="676"/>
                </a:cubicBezTo>
                <a:cubicBezTo>
                  <a:pt x="1176" y="676"/>
                  <a:pt x="1176" y="676"/>
                  <a:pt x="1176" y="676"/>
                </a:cubicBezTo>
                <a:cubicBezTo>
                  <a:pt x="1176" y="676"/>
                  <a:pt x="1176" y="676"/>
                  <a:pt x="1176" y="676"/>
                </a:cubicBezTo>
                <a:cubicBezTo>
                  <a:pt x="1176" y="676"/>
                  <a:pt x="1176" y="676"/>
                  <a:pt x="1176" y="675"/>
                </a:cubicBezTo>
                <a:cubicBezTo>
                  <a:pt x="1176" y="676"/>
                  <a:pt x="1176" y="676"/>
                  <a:pt x="1175" y="676"/>
                </a:cubicBezTo>
                <a:cubicBezTo>
                  <a:pt x="1175" y="676"/>
                  <a:pt x="1175" y="676"/>
                  <a:pt x="1175" y="676"/>
                </a:cubicBezTo>
                <a:cubicBezTo>
                  <a:pt x="1175" y="676"/>
                  <a:pt x="1175" y="676"/>
                  <a:pt x="1175" y="677"/>
                </a:cubicBezTo>
                <a:cubicBezTo>
                  <a:pt x="1175" y="677"/>
                  <a:pt x="1175" y="677"/>
                  <a:pt x="1175" y="677"/>
                </a:cubicBezTo>
                <a:cubicBezTo>
                  <a:pt x="1175" y="677"/>
                  <a:pt x="1175" y="677"/>
                  <a:pt x="1175" y="677"/>
                </a:cubicBezTo>
                <a:cubicBezTo>
                  <a:pt x="1175" y="678"/>
                  <a:pt x="1175" y="678"/>
                  <a:pt x="1175" y="678"/>
                </a:cubicBezTo>
                <a:cubicBezTo>
                  <a:pt x="1175" y="678"/>
                  <a:pt x="1175" y="678"/>
                  <a:pt x="1174" y="678"/>
                </a:cubicBezTo>
                <a:cubicBezTo>
                  <a:pt x="1174" y="679"/>
                  <a:pt x="1174" y="679"/>
                  <a:pt x="1174" y="679"/>
                </a:cubicBezTo>
                <a:cubicBezTo>
                  <a:pt x="1174" y="679"/>
                  <a:pt x="1174" y="679"/>
                  <a:pt x="1174" y="680"/>
                </a:cubicBezTo>
                <a:cubicBezTo>
                  <a:pt x="1174" y="680"/>
                  <a:pt x="1174" y="680"/>
                  <a:pt x="1174" y="680"/>
                </a:cubicBezTo>
                <a:cubicBezTo>
                  <a:pt x="1175" y="679"/>
                  <a:pt x="1175" y="679"/>
                  <a:pt x="1175" y="679"/>
                </a:cubicBezTo>
                <a:cubicBezTo>
                  <a:pt x="1175" y="679"/>
                  <a:pt x="1176" y="679"/>
                  <a:pt x="1176" y="679"/>
                </a:cubicBezTo>
                <a:cubicBezTo>
                  <a:pt x="1176" y="679"/>
                  <a:pt x="1176" y="679"/>
                  <a:pt x="1176" y="680"/>
                </a:cubicBezTo>
                <a:cubicBezTo>
                  <a:pt x="1176" y="680"/>
                  <a:pt x="1176" y="680"/>
                  <a:pt x="1176" y="680"/>
                </a:cubicBezTo>
                <a:cubicBezTo>
                  <a:pt x="1177" y="680"/>
                  <a:pt x="1177" y="680"/>
                  <a:pt x="1177" y="680"/>
                </a:cubicBezTo>
                <a:cubicBezTo>
                  <a:pt x="1177" y="680"/>
                  <a:pt x="1177" y="680"/>
                  <a:pt x="1177" y="679"/>
                </a:cubicBezTo>
                <a:cubicBezTo>
                  <a:pt x="1177" y="680"/>
                  <a:pt x="1178" y="680"/>
                  <a:pt x="1178" y="680"/>
                </a:cubicBezTo>
                <a:cubicBezTo>
                  <a:pt x="1178" y="680"/>
                  <a:pt x="1178" y="680"/>
                  <a:pt x="1178" y="680"/>
                </a:cubicBezTo>
                <a:cubicBezTo>
                  <a:pt x="1178" y="680"/>
                  <a:pt x="1178" y="681"/>
                  <a:pt x="1178" y="681"/>
                </a:cubicBezTo>
                <a:cubicBezTo>
                  <a:pt x="1178" y="681"/>
                  <a:pt x="1179" y="681"/>
                  <a:pt x="1179" y="681"/>
                </a:cubicBezTo>
                <a:cubicBezTo>
                  <a:pt x="1179" y="681"/>
                  <a:pt x="1179" y="681"/>
                  <a:pt x="1180" y="680"/>
                </a:cubicBezTo>
                <a:cubicBezTo>
                  <a:pt x="1180" y="680"/>
                  <a:pt x="1180" y="680"/>
                  <a:pt x="1180" y="680"/>
                </a:cubicBezTo>
                <a:cubicBezTo>
                  <a:pt x="1179" y="680"/>
                  <a:pt x="1179" y="680"/>
                  <a:pt x="1179" y="680"/>
                </a:cubicBezTo>
                <a:cubicBezTo>
                  <a:pt x="1178" y="680"/>
                  <a:pt x="1178" y="680"/>
                  <a:pt x="1178" y="680"/>
                </a:cubicBezTo>
                <a:cubicBezTo>
                  <a:pt x="1178" y="679"/>
                  <a:pt x="1179" y="679"/>
                  <a:pt x="1179" y="679"/>
                </a:cubicBezTo>
                <a:cubicBezTo>
                  <a:pt x="1179" y="679"/>
                  <a:pt x="1179" y="679"/>
                  <a:pt x="1179" y="679"/>
                </a:cubicBezTo>
                <a:cubicBezTo>
                  <a:pt x="1180" y="679"/>
                  <a:pt x="1180" y="679"/>
                  <a:pt x="1180" y="679"/>
                </a:cubicBezTo>
                <a:cubicBezTo>
                  <a:pt x="1180" y="679"/>
                  <a:pt x="1180" y="679"/>
                  <a:pt x="1180" y="679"/>
                </a:cubicBezTo>
                <a:cubicBezTo>
                  <a:pt x="1180" y="679"/>
                  <a:pt x="1180" y="679"/>
                  <a:pt x="1180" y="678"/>
                </a:cubicBezTo>
                <a:cubicBezTo>
                  <a:pt x="1180" y="678"/>
                  <a:pt x="1180" y="678"/>
                  <a:pt x="1180" y="678"/>
                </a:cubicBezTo>
                <a:close/>
                <a:moveTo>
                  <a:pt x="1172" y="545"/>
                </a:moveTo>
                <a:cubicBezTo>
                  <a:pt x="1172" y="545"/>
                  <a:pt x="1171" y="545"/>
                  <a:pt x="1171" y="545"/>
                </a:cubicBezTo>
                <a:cubicBezTo>
                  <a:pt x="1171" y="545"/>
                  <a:pt x="1171" y="545"/>
                  <a:pt x="1171" y="545"/>
                </a:cubicBezTo>
                <a:cubicBezTo>
                  <a:pt x="1170" y="545"/>
                  <a:pt x="1170" y="546"/>
                  <a:pt x="1170" y="546"/>
                </a:cubicBezTo>
                <a:cubicBezTo>
                  <a:pt x="1170" y="546"/>
                  <a:pt x="1170" y="546"/>
                  <a:pt x="1170" y="546"/>
                </a:cubicBezTo>
                <a:cubicBezTo>
                  <a:pt x="1170" y="546"/>
                  <a:pt x="1170" y="547"/>
                  <a:pt x="1171" y="547"/>
                </a:cubicBezTo>
                <a:cubicBezTo>
                  <a:pt x="1171" y="547"/>
                  <a:pt x="1171" y="547"/>
                  <a:pt x="1172" y="547"/>
                </a:cubicBezTo>
                <a:cubicBezTo>
                  <a:pt x="1172" y="547"/>
                  <a:pt x="1172" y="546"/>
                  <a:pt x="1172" y="546"/>
                </a:cubicBezTo>
                <a:cubicBezTo>
                  <a:pt x="1172" y="546"/>
                  <a:pt x="1172" y="546"/>
                  <a:pt x="1172" y="546"/>
                </a:cubicBezTo>
                <a:cubicBezTo>
                  <a:pt x="1172" y="546"/>
                  <a:pt x="1172" y="545"/>
                  <a:pt x="1172" y="545"/>
                </a:cubicBezTo>
                <a:cubicBezTo>
                  <a:pt x="1172" y="545"/>
                  <a:pt x="1172" y="545"/>
                  <a:pt x="1172" y="545"/>
                </a:cubicBezTo>
                <a:close/>
                <a:moveTo>
                  <a:pt x="1162" y="547"/>
                </a:moveTo>
                <a:cubicBezTo>
                  <a:pt x="1161" y="547"/>
                  <a:pt x="1161" y="546"/>
                  <a:pt x="1161" y="546"/>
                </a:cubicBezTo>
                <a:cubicBezTo>
                  <a:pt x="1161" y="546"/>
                  <a:pt x="1160" y="546"/>
                  <a:pt x="1160" y="546"/>
                </a:cubicBezTo>
                <a:cubicBezTo>
                  <a:pt x="1160" y="547"/>
                  <a:pt x="1160" y="547"/>
                  <a:pt x="1160" y="547"/>
                </a:cubicBezTo>
                <a:cubicBezTo>
                  <a:pt x="1160" y="548"/>
                  <a:pt x="1161" y="548"/>
                  <a:pt x="1161" y="549"/>
                </a:cubicBezTo>
                <a:cubicBezTo>
                  <a:pt x="1161" y="549"/>
                  <a:pt x="1161" y="549"/>
                  <a:pt x="1161" y="549"/>
                </a:cubicBezTo>
                <a:cubicBezTo>
                  <a:pt x="1162" y="549"/>
                  <a:pt x="1162" y="548"/>
                  <a:pt x="1163" y="548"/>
                </a:cubicBezTo>
                <a:cubicBezTo>
                  <a:pt x="1162" y="548"/>
                  <a:pt x="1162" y="548"/>
                  <a:pt x="1162" y="548"/>
                </a:cubicBezTo>
                <a:cubicBezTo>
                  <a:pt x="1162" y="548"/>
                  <a:pt x="1162" y="547"/>
                  <a:pt x="1162" y="547"/>
                </a:cubicBezTo>
                <a:close/>
                <a:moveTo>
                  <a:pt x="1135" y="514"/>
                </a:move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lose/>
                <a:moveTo>
                  <a:pt x="1138" y="528"/>
                </a:moveTo>
                <a:cubicBezTo>
                  <a:pt x="1138" y="528"/>
                  <a:pt x="1138" y="528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ubicBezTo>
                  <a:pt x="1138" y="529"/>
                  <a:pt x="1138" y="529"/>
                  <a:pt x="1138" y="529"/>
                </a:cubicBezTo>
                <a:cubicBezTo>
                  <a:pt x="1138" y="529"/>
                  <a:pt x="1138" y="528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ubicBezTo>
                  <a:pt x="1138" y="528"/>
                  <a:pt x="1139" y="527"/>
                  <a:pt x="1139" y="527"/>
                </a:cubicBezTo>
                <a:cubicBezTo>
                  <a:pt x="1139" y="527"/>
                  <a:pt x="1138" y="527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lose/>
                <a:moveTo>
                  <a:pt x="1141" y="520"/>
                </a:moveTo>
                <a:cubicBezTo>
                  <a:pt x="1141" y="520"/>
                  <a:pt x="1141" y="520"/>
                  <a:pt x="1141" y="520"/>
                </a:cubicBezTo>
                <a:cubicBezTo>
                  <a:pt x="1141" y="520"/>
                  <a:pt x="1141" y="519"/>
                  <a:pt x="1141" y="519"/>
                </a:cubicBezTo>
                <a:cubicBezTo>
                  <a:pt x="1141" y="519"/>
                  <a:pt x="1141" y="518"/>
                  <a:pt x="1141" y="518"/>
                </a:cubicBezTo>
                <a:cubicBezTo>
                  <a:pt x="1141" y="518"/>
                  <a:pt x="1141" y="518"/>
                  <a:pt x="1141" y="518"/>
                </a:cubicBezTo>
                <a:cubicBezTo>
                  <a:pt x="1141" y="517"/>
                  <a:pt x="1141" y="516"/>
                  <a:pt x="1142" y="516"/>
                </a:cubicBezTo>
                <a:cubicBezTo>
                  <a:pt x="1141" y="516"/>
                  <a:pt x="1141" y="515"/>
                  <a:pt x="1141" y="515"/>
                </a:cubicBezTo>
                <a:cubicBezTo>
                  <a:pt x="1141" y="515"/>
                  <a:pt x="1141" y="514"/>
                  <a:pt x="1141" y="513"/>
                </a:cubicBezTo>
                <a:cubicBezTo>
                  <a:pt x="1141" y="513"/>
                  <a:pt x="1141" y="513"/>
                  <a:pt x="1141" y="513"/>
                </a:cubicBezTo>
                <a:cubicBezTo>
                  <a:pt x="1141" y="513"/>
                  <a:pt x="1141" y="513"/>
                  <a:pt x="1140" y="513"/>
                </a:cubicBezTo>
                <a:cubicBezTo>
                  <a:pt x="1140" y="513"/>
                  <a:pt x="1140" y="512"/>
                  <a:pt x="1140" y="512"/>
                </a:cubicBezTo>
                <a:cubicBezTo>
                  <a:pt x="1140" y="512"/>
                  <a:pt x="1140" y="511"/>
                  <a:pt x="1140" y="511"/>
                </a:cubicBezTo>
                <a:cubicBezTo>
                  <a:pt x="1139" y="511"/>
                  <a:pt x="1139" y="511"/>
                  <a:pt x="1139" y="511"/>
                </a:cubicBezTo>
                <a:cubicBezTo>
                  <a:pt x="1139" y="511"/>
                  <a:pt x="1139" y="510"/>
                  <a:pt x="1139" y="510"/>
                </a:cubicBezTo>
                <a:cubicBezTo>
                  <a:pt x="1139" y="510"/>
                  <a:pt x="1139" y="510"/>
                  <a:pt x="1139" y="509"/>
                </a:cubicBezTo>
                <a:cubicBezTo>
                  <a:pt x="1139" y="510"/>
                  <a:pt x="1138" y="510"/>
                  <a:pt x="1138" y="510"/>
                </a:cubicBezTo>
                <a:cubicBezTo>
                  <a:pt x="1138" y="510"/>
                  <a:pt x="1138" y="510"/>
                  <a:pt x="1138" y="511"/>
                </a:cubicBezTo>
                <a:cubicBezTo>
                  <a:pt x="1138" y="511"/>
                  <a:pt x="1138" y="511"/>
                  <a:pt x="1137" y="511"/>
                </a:cubicBezTo>
                <a:cubicBezTo>
                  <a:pt x="1137" y="511"/>
                  <a:pt x="1137" y="511"/>
                  <a:pt x="1137" y="510"/>
                </a:cubicBezTo>
                <a:cubicBezTo>
                  <a:pt x="1136" y="510"/>
                  <a:pt x="1136" y="510"/>
                  <a:pt x="1136" y="510"/>
                </a:cubicBezTo>
                <a:cubicBezTo>
                  <a:pt x="1136" y="511"/>
                  <a:pt x="1136" y="511"/>
                  <a:pt x="1137" y="511"/>
                </a:cubicBezTo>
                <a:cubicBezTo>
                  <a:pt x="1137" y="511"/>
                  <a:pt x="1137" y="512"/>
                  <a:pt x="1137" y="512"/>
                </a:cubicBezTo>
                <a:cubicBezTo>
                  <a:pt x="1137" y="512"/>
                  <a:pt x="1137" y="512"/>
                  <a:pt x="1137" y="512"/>
                </a:cubicBezTo>
                <a:cubicBezTo>
                  <a:pt x="1137" y="512"/>
                  <a:pt x="1137" y="512"/>
                  <a:pt x="1137" y="512"/>
                </a:cubicBezTo>
                <a:cubicBezTo>
                  <a:pt x="1137" y="513"/>
                  <a:pt x="1136" y="513"/>
                  <a:pt x="1136" y="513"/>
                </a:cubicBezTo>
                <a:cubicBezTo>
                  <a:pt x="1136" y="513"/>
                  <a:pt x="1136" y="514"/>
                  <a:pt x="1136" y="514"/>
                </a:cubicBezTo>
                <a:cubicBezTo>
                  <a:pt x="1136" y="514"/>
                  <a:pt x="1136" y="515"/>
                  <a:pt x="1135" y="515"/>
                </a:cubicBezTo>
                <a:cubicBezTo>
                  <a:pt x="1135" y="515"/>
                  <a:pt x="1135" y="515"/>
                  <a:pt x="1135" y="515"/>
                </a:cubicBezTo>
                <a:cubicBezTo>
                  <a:pt x="1134" y="515"/>
                  <a:pt x="1134" y="515"/>
                  <a:pt x="1134" y="515"/>
                </a:cubicBezTo>
                <a:cubicBezTo>
                  <a:pt x="1134" y="515"/>
                  <a:pt x="1134" y="516"/>
                  <a:pt x="1134" y="516"/>
                </a:cubicBezTo>
                <a:cubicBezTo>
                  <a:pt x="1133" y="516"/>
                  <a:pt x="1133" y="516"/>
                  <a:pt x="1133" y="516"/>
                </a:cubicBezTo>
                <a:cubicBezTo>
                  <a:pt x="1133" y="516"/>
                  <a:pt x="1133" y="516"/>
                  <a:pt x="1133" y="516"/>
                </a:cubicBezTo>
                <a:cubicBezTo>
                  <a:pt x="1133" y="515"/>
                  <a:pt x="1133" y="515"/>
                  <a:pt x="1133" y="515"/>
                </a:cubicBezTo>
                <a:cubicBezTo>
                  <a:pt x="1132" y="515"/>
                  <a:pt x="1132" y="515"/>
                  <a:pt x="1132" y="515"/>
                </a:cubicBezTo>
                <a:cubicBezTo>
                  <a:pt x="1132" y="515"/>
                  <a:pt x="1132" y="515"/>
                  <a:pt x="1132" y="515"/>
                </a:cubicBezTo>
                <a:cubicBezTo>
                  <a:pt x="1131" y="515"/>
                  <a:pt x="1131" y="516"/>
                  <a:pt x="1131" y="516"/>
                </a:cubicBezTo>
                <a:cubicBezTo>
                  <a:pt x="1132" y="516"/>
                  <a:pt x="1132" y="517"/>
                  <a:pt x="1132" y="517"/>
                </a:cubicBezTo>
                <a:cubicBezTo>
                  <a:pt x="1132" y="517"/>
                  <a:pt x="1132" y="517"/>
                  <a:pt x="1132" y="517"/>
                </a:cubicBezTo>
                <a:cubicBezTo>
                  <a:pt x="1132" y="517"/>
                  <a:pt x="1132" y="517"/>
                  <a:pt x="1132" y="517"/>
                </a:cubicBezTo>
                <a:cubicBezTo>
                  <a:pt x="1132" y="517"/>
                  <a:pt x="1132" y="517"/>
                  <a:pt x="1131" y="517"/>
                </a:cubicBezTo>
                <a:cubicBezTo>
                  <a:pt x="1131" y="517"/>
                  <a:pt x="1131" y="517"/>
                  <a:pt x="1130" y="517"/>
                </a:cubicBezTo>
                <a:cubicBezTo>
                  <a:pt x="1130" y="517"/>
                  <a:pt x="1131" y="518"/>
                  <a:pt x="1131" y="518"/>
                </a:cubicBezTo>
                <a:cubicBezTo>
                  <a:pt x="1131" y="518"/>
                  <a:pt x="1131" y="518"/>
                  <a:pt x="1131" y="518"/>
                </a:cubicBezTo>
                <a:cubicBezTo>
                  <a:pt x="1131" y="518"/>
                  <a:pt x="1132" y="519"/>
                  <a:pt x="1132" y="519"/>
                </a:cubicBezTo>
                <a:cubicBezTo>
                  <a:pt x="1131" y="519"/>
                  <a:pt x="1131" y="519"/>
                  <a:pt x="1131" y="519"/>
                </a:cubicBezTo>
                <a:cubicBezTo>
                  <a:pt x="1131" y="519"/>
                  <a:pt x="1131" y="519"/>
                  <a:pt x="1131" y="519"/>
                </a:cubicBezTo>
                <a:cubicBezTo>
                  <a:pt x="1130" y="519"/>
                  <a:pt x="1130" y="519"/>
                  <a:pt x="1130" y="519"/>
                </a:cubicBezTo>
                <a:cubicBezTo>
                  <a:pt x="1130" y="519"/>
                  <a:pt x="1130" y="519"/>
                  <a:pt x="1130" y="519"/>
                </a:cubicBezTo>
                <a:cubicBezTo>
                  <a:pt x="1129" y="519"/>
                  <a:pt x="1129" y="520"/>
                  <a:pt x="1128" y="520"/>
                </a:cubicBezTo>
                <a:cubicBezTo>
                  <a:pt x="1128" y="520"/>
                  <a:pt x="1128" y="519"/>
                  <a:pt x="1128" y="519"/>
                </a:cubicBezTo>
                <a:cubicBezTo>
                  <a:pt x="1129" y="519"/>
                  <a:pt x="1129" y="519"/>
                  <a:pt x="1129" y="519"/>
                </a:cubicBezTo>
                <a:cubicBezTo>
                  <a:pt x="1129" y="519"/>
                  <a:pt x="1129" y="519"/>
                  <a:pt x="1128" y="518"/>
                </a:cubicBezTo>
                <a:cubicBezTo>
                  <a:pt x="1128" y="519"/>
                  <a:pt x="1128" y="519"/>
                  <a:pt x="1127" y="519"/>
                </a:cubicBezTo>
                <a:cubicBezTo>
                  <a:pt x="1128" y="519"/>
                  <a:pt x="1128" y="519"/>
                  <a:pt x="1128" y="519"/>
                </a:cubicBezTo>
                <a:cubicBezTo>
                  <a:pt x="1128" y="519"/>
                  <a:pt x="1128" y="519"/>
                  <a:pt x="1128" y="520"/>
                </a:cubicBezTo>
                <a:cubicBezTo>
                  <a:pt x="1127" y="520"/>
                  <a:pt x="1127" y="520"/>
                  <a:pt x="1127" y="520"/>
                </a:cubicBezTo>
                <a:cubicBezTo>
                  <a:pt x="1127" y="520"/>
                  <a:pt x="1127" y="520"/>
                  <a:pt x="1127" y="521"/>
                </a:cubicBezTo>
                <a:cubicBezTo>
                  <a:pt x="1127" y="521"/>
                  <a:pt x="1127" y="521"/>
                  <a:pt x="1128" y="521"/>
                </a:cubicBezTo>
                <a:cubicBezTo>
                  <a:pt x="1128" y="521"/>
                  <a:pt x="1127" y="521"/>
                  <a:pt x="1127" y="521"/>
                </a:cubicBezTo>
                <a:cubicBezTo>
                  <a:pt x="1127" y="521"/>
                  <a:pt x="1127" y="521"/>
                  <a:pt x="1127" y="521"/>
                </a:cubicBezTo>
                <a:cubicBezTo>
                  <a:pt x="1127" y="521"/>
                  <a:pt x="1126" y="521"/>
                  <a:pt x="1126" y="522"/>
                </a:cubicBezTo>
                <a:cubicBezTo>
                  <a:pt x="1126" y="521"/>
                  <a:pt x="1126" y="521"/>
                  <a:pt x="1126" y="521"/>
                </a:cubicBezTo>
                <a:cubicBezTo>
                  <a:pt x="1126" y="521"/>
                  <a:pt x="1126" y="521"/>
                  <a:pt x="1126" y="521"/>
                </a:cubicBezTo>
                <a:cubicBezTo>
                  <a:pt x="1126" y="521"/>
                  <a:pt x="1126" y="521"/>
                  <a:pt x="1126" y="520"/>
                </a:cubicBezTo>
                <a:cubicBezTo>
                  <a:pt x="1126" y="520"/>
                  <a:pt x="1126" y="520"/>
                  <a:pt x="1126" y="520"/>
                </a:cubicBezTo>
                <a:cubicBezTo>
                  <a:pt x="1125" y="520"/>
                  <a:pt x="1124" y="521"/>
                  <a:pt x="1124" y="521"/>
                </a:cubicBezTo>
                <a:cubicBezTo>
                  <a:pt x="1124" y="521"/>
                  <a:pt x="1124" y="522"/>
                  <a:pt x="1123" y="522"/>
                </a:cubicBezTo>
                <a:cubicBezTo>
                  <a:pt x="1124" y="522"/>
                  <a:pt x="1124" y="522"/>
                  <a:pt x="1124" y="523"/>
                </a:cubicBezTo>
                <a:cubicBezTo>
                  <a:pt x="1124" y="523"/>
                  <a:pt x="1123" y="523"/>
                  <a:pt x="1123" y="523"/>
                </a:cubicBezTo>
                <a:cubicBezTo>
                  <a:pt x="1123" y="523"/>
                  <a:pt x="1123" y="523"/>
                  <a:pt x="1123" y="523"/>
                </a:cubicBezTo>
                <a:cubicBezTo>
                  <a:pt x="1123" y="523"/>
                  <a:pt x="1123" y="523"/>
                  <a:pt x="1122" y="522"/>
                </a:cubicBezTo>
                <a:cubicBezTo>
                  <a:pt x="1122" y="522"/>
                  <a:pt x="1122" y="522"/>
                  <a:pt x="1123" y="522"/>
                </a:cubicBezTo>
                <a:cubicBezTo>
                  <a:pt x="1122" y="522"/>
                  <a:pt x="1122" y="521"/>
                  <a:pt x="1122" y="521"/>
                </a:cubicBezTo>
                <a:cubicBezTo>
                  <a:pt x="1122" y="522"/>
                  <a:pt x="1121" y="522"/>
                  <a:pt x="1121" y="522"/>
                </a:cubicBezTo>
                <a:cubicBezTo>
                  <a:pt x="1121" y="522"/>
                  <a:pt x="1120" y="522"/>
                  <a:pt x="1120" y="521"/>
                </a:cubicBezTo>
                <a:cubicBezTo>
                  <a:pt x="1120" y="521"/>
                  <a:pt x="1120" y="522"/>
                  <a:pt x="1120" y="522"/>
                </a:cubicBezTo>
                <a:cubicBezTo>
                  <a:pt x="1119" y="522"/>
                  <a:pt x="1119" y="522"/>
                  <a:pt x="1119" y="522"/>
                </a:cubicBezTo>
                <a:cubicBezTo>
                  <a:pt x="1119" y="522"/>
                  <a:pt x="1119" y="522"/>
                  <a:pt x="1119" y="523"/>
                </a:cubicBezTo>
                <a:cubicBezTo>
                  <a:pt x="1119" y="523"/>
                  <a:pt x="1119" y="523"/>
                  <a:pt x="1119" y="523"/>
                </a:cubicBezTo>
                <a:cubicBezTo>
                  <a:pt x="1119" y="523"/>
                  <a:pt x="1119" y="523"/>
                  <a:pt x="1118" y="523"/>
                </a:cubicBezTo>
                <a:cubicBezTo>
                  <a:pt x="1118" y="522"/>
                  <a:pt x="1118" y="522"/>
                  <a:pt x="1119" y="522"/>
                </a:cubicBezTo>
                <a:cubicBezTo>
                  <a:pt x="1118" y="522"/>
                  <a:pt x="1118" y="522"/>
                  <a:pt x="1118" y="522"/>
                </a:cubicBezTo>
                <a:cubicBezTo>
                  <a:pt x="1118" y="522"/>
                  <a:pt x="1118" y="522"/>
                  <a:pt x="1118" y="522"/>
                </a:cubicBezTo>
                <a:cubicBezTo>
                  <a:pt x="1117" y="522"/>
                  <a:pt x="1117" y="522"/>
                  <a:pt x="1117" y="522"/>
                </a:cubicBezTo>
                <a:cubicBezTo>
                  <a:pt x="1116" y="522"/>
                  <a:pt x="1116" y="523"/>
                  <a:pt x="1115" y="523"/>
                </a:cubicBezTo>
                <a:cubicBezTo>
                  <a:pt x="1115" y="523"/>
                  <a:pt x="1115" y="523"/>
                  <a:pt x="1115" y="523"/>
                </a:cubicBezTo>
                <a:cubicBezTo>
                  <a:pt x="1115" y="523"/>
                  <a:pt x="1114" y="523"/>
                  <a:pt x="1114" y="523"/>
                </a:cubicBezTo>
                <a:cubicBezTo>
                  <a:pt x="1114" y="523"/>
                  <a:pt x="1114" y="522"/>
                  <a:pt x="1113" y="522"/>
                </a:cubicBezTo>
                <a:cubicBezTo>
                  <a:pt x="1113" y="523"/>
                  <a:pt x="1113" y="523"/>
                  <a:pt x="1113" y="523"/>
                </a:cubicBezTo>
                <a:cubicBezTo>
                  <a:pt x="1113" y="523"/>
                  <a:pt x="1113" y="524"/>
                  <a:pt x="1113" y="524"/>
                </a:cubicBezTo>
                <a:cubicBezTo>
                  <a:pt x="1112" y="525"/>
                  <a:pt x="1112" y="525"/>
                  <a:pt x="1111" y="526"/>
                </a:cubicBezTo>
                <a:cubicBezTo>
                  <a:pt x="1111" y="526"/>
                  <a:pt x="1111" y="526"/>
                  <a:pt x="1111" y="526"/>
                </a:cubicBezTo>
                <a:cubicBezTo>
                  <a:pt x="1111" y="526"/>
                  <a:pt x="1110" y="527"/>
                  <a:pt x="1110" y="527"/>
                </a:cubicBezTo>
                <a:cubicBezTo>
                  <a:pt x="1110" y="527"/>
                  <a:pt x="1110" y="527"/>
                  <a:pt x="1110" y="527"/>
                </a:cubicBezTo>
                <a:cubicBezTo>
                  <a:pt x="1110" y="528"/>
                  <a:pt x="1110" y="528"/>
                  <a:pt x="1111" y="528"/>
                </a:cubicBezTo>
                <a:cubicBezTo>
                  <a:pt x="1110" y="528"/>
                  <a:pt x="1110" y="528"/>
                  <a:pt x="1110" y="529"/>
                </a:cubicBezTo>
                <a:cubicBezTo>
                  <a:pt x="1110" y="529"/>
                  <a:pt x="1110" y="529"/>
                  <a:pt x="1110" y="530"/>
                </a:cubicBezTo>
                <a:cubicBezTo>
                  <a:pt x="1110" y="530"/>
                  <a:pt x="1110" y="530"/>
                  <a:pt x="1110" y="531"/>
                </a:cubicBezTo>
                <a:cubicBezTo>
                  <a:pt x="1110" y="531"/>
                  <a:pt x="1111" y="532"/>
                  <a:pt x="1111" y="533"/>
                </a:cubicBezTo>
                <a:cubicBezTo>
                  <a:pt x="1111" y="533"/>
                  <a:pt x="1111" y="533"/>
                  <a:pt x="1111" y="533"/>
                </a:cubicBezTo>
                <a:cubicBezTo>
                  <a:pt x="1111" y="534"/>
                  <a:pt x="1111" y="534"/>
                  <a:pt x="1112" y="534"/>
                </a:cubicBezTo>
                <a:cubicBezTo>
                  <a:pt x="1112" y="534"/>
                  <a:pt x="1112" y="534"/>
                  <a:pt x="1112" y="534"/>
                </a:cubicBezTo>
                <a:cubicBezTo>
                  <a:pt x="1111" y="535"/>
                  <a:pt x="1111" y="535"/>
                  <a:pt x="1111" y="535"/>
                </a:cubicBezTo>
                <a:cubicBezTo>
                  <a:pt x="1111" y="535"/>
                  <a:pt x="1111" y="535"/>
                  <a:pt x="1111" y="535"/>
                </a:cubicBezTo>
                <a:cubicBezTo>
                  <a:pt x="1111" y="536"/>
                  <a:pt x="1111" y="536"/>
                  <a:pt x="1110" y="537"/>
                </a:cubicBezTo>
                <a:cubicBezTo>
                  <a:pt x="1110" y="537"/>
                  <a:pt x="1110" y="537"/>
                  <a:pt x="1109" y="537"/>
                </a:cubicBezTo>
                <a:cubicBezTo>
                  <a:pt x="1109" y="538"/>
                  <a:pt x="1109" y="538"/>
                  <a:pt x="1109" y="538"/>
                </a:cubicBezTo>
                <a:cubicBezTo>
                  <a:pt x="1109" y="538"/>
                  <a:pt x="1109" y="538"/>
                  <a:pt x="1109" y="538"/>
                </a:cubicBezTo>
                <a:cubicBezTo>
                  <a:pt x="1108" y="539"/>
                  <a:pt x="1108" y="539"/>
                  <a:pt x="1108" y="539"/>
                </a:cubicBezTo>
                <a:cubicBezTo>
                  <a:pt x="1108" y="539"/>
                  <a:pt x="1108" y="539"/>
                  <a:pt x="1107" y="539"/>
                </a:cubicBezTo>
                <a:cubicBezTo>
                  <a:pt x="1107" y="540"/>
                  <a:pt x="1107" y="540"/>
                  <a:pt x="1107" y="541"/>
                </a:cubicBezTo>
                <a:cubicBezTo>
                  <a:pt x="1107" y="541"/>
                  <a:pt x="1107" y="541"/>
                  <a:pt x="1106" y="541"/>
                </a:cubicBezTo>
                <a:cubicBezTo>
                  <a:pt x="1106" y="541"/>
                  <a:pt x="1106" y="541"/>
                  <a:pt x="1105" y="541"/>
                </a:cubicBezTo>
                <a:cubicBezTo>
                  <a:pt x="1105" y="541"/>
                  <a:pt x="1105" y="541"/>
                  <a:pt x="1105" y="542"/>
                </a:cubicBezTo>
                <a:cubicBezTo>
                  <a:pt x="1105" y="542"/>
                  <a:pt x="1105" y="542"/>
                  <a:pt x="1105" y="543"/>
                </a:cubicBezTo>
                <a:cubicBezTo>
                  <a:pt x="1104" y="543"/>
                  <a:pt x="1104" y="543"/>
                  <a:pt x="1104" y="544"/>
                </a:cubicBezTo>
                <a:cubicBezTo>
                  <a:pt x="1104" y="544"/>
                  <a:pt x="1104" y="544"/>
                  <a:pt x="1104" y="545"/>
                </a:cubicBezTo>
                <a:cubicBezTo>
                  <a:pt x="1104" y="545"/>
                  <a:pt x="1103" y="545"/>
                  <a:pt x="1103" y="545"/>
                </a:cubicBezTo>
                <a:cubicBezTo>
                  <a:pt x="1103" y="545"/>
                  <a:pt x="1103" y="545"/>
                  <a:pt x="1103" y="546"/>
                </a:cubicBezTo>
                <a:cubicBezTo>
                  <a:pt x="1103" y="546"/>
                  <a:pt x="1103" y="546"/>
                  <a:pt x="1103" y="547"/>
                </a:cubicBezTo>
                <a:cubicBezTo>
                  <a:pt x="1104" y="547"/>
                  <a:pt x="1104" y="548"/>
                  <a:pt x="1104" y="548"/>
                </a:cubicBezTo>
                <a:cubicBezTo>
                  <a:pt x="1104" y="548"/>
                  <a:pt x="1104" y="549"/>
                  <a:pt x="1104" y="549"/>
                </a:cubicBezTo>
                <a:cubicBezTo>
                  <a:pt x="1104" y="549"/>
                  <a:pt x="1104" y="549"/>
                  <a:pt x="1104" y="549"/>
                </a:cubicBezTo>
                <a:cubicBezTo>
                  <a:pt x="1104" y="549"/>
                  <a:pt x="1105" y="550"/>
                  <a:pt x="1105" y="550"/>
                </a:cubicBezTo>
                <a:cubicBezTo>
                  <a:pt x="1105" y="550"/>
                  <a:pt x="1105" y="550"/>
                  <a:pt x="1105" y="550"/>
                </a:cubicBezTo>
                <a:cubicBezTo>
                  <a:pt x="1105" y="550"/>
                  <a:pt x="1105" y="550"/>
                  <a:pt x="1105" y="550"/>
                </a:cubicBezTo>
                <a:cubicBezTo>
                  <a:pt x="1105" y="550"/>
                  <a:pt x="1104" y="550"/>
                  <a:pt x="1104" y="550"/>
                </a:cubicBezTo>
                <a:cubicBezTo>
                  <a:pt x="1104" y="550"/>
                  <a:pt x="1104" y="550"/>
                  <a:pt x="1104" y="551"/>
                </a:cubicBezTo>
                <a:cubicBezTo>
                  <a:pt x="1104" y="551"/>
                  <a:pt x="1104" y="552"/>
                  <a:pt x="1104" y="552"/>
                </a:cubicBezTo>
                <a:cubicBezTo>
                  <a:pt x="1104" y="552"/>
                  <a:pt x="1104" y="553"/>
                  <a:pt x="1104" y="553"/>
                </a:cubicBezTo>
                <a:cubicBezTo>
                  <a:pt x="1104" y="554"/>
                  <a:pt x="1104" y="554"/>
                  <a:pt x="1104" y="554"/>
                </a:cubicBezTo>
                <a:cubicBezTo>
                  <a:pt x="1104" y="554"/>
                  <a:pt x="1104" y="554"/>
                  <a:pt x="1104" y="554"/>
                </a:cubicBezTo>
                <a:cubicBezTo>
                  <a:pt x="1104" y="554"/>
                  <a:pt x="1104" y="554"/>
                  <a:pt x="1104" y="555"/>
                </a:cubicBezTo>
                <a:cubicBezTo>
                  <a:pt x="1104" y="555"/>
                  <a:pt x="1105" y="555"/>
                  <a:pt x="1105" y="555"/>
                </a:cubicBezTo>
                <a:cubicBezTo>
                  <a:pt x="1105" y="556"/>
                  <a:pt x="1105" y="556"/>
                  <a:pt x="1105" y="556"/>
                </a:cubicBezTo>
                <a:cubicBezTo>
                  <a:pt x="1105" y="556"/>
                  <a:pt x="1106" y="556"/>
                  <a:pt x="1106" y="556"/>
                </a:cubicBezTo>
                <a:cubicBezTo>
                  <a:pt x="1106" y="556"/>
                  <a:pt x="1106" y="557"/>
                  <a:pt x="1106" y="557"/>
                </a:cubicBezTo>
                <a:cubicBezTo>
                  <a:pt x="1106" y="557"/>
                  <a:pt x="1107" y="557"/>
                  <a:pt x="1107" y="557"/>
                </a:cubicBezTo>
                <a:cubicBezTo>
                  <a:pt x="1107" y="557"/>
                  <a:pt x="1107" y="557"/>
                  <a:pt x="1107" y="557"/>
                </a:cubicBezTo>
                <a:cubicBezTo>
                  <a:pt x="1107" y="557"/>
                  <a:pt x="1107" y="557"/>
                  <a:pt x="1108" y="557"/>
                </a:cubicBezTo>
                <a:cubicBezTo>
                  <a:pt x="1108" y="558"/>
                  <a:pt x="1108" y="558"/>
                  <a:pt x="1108" y="558"/>
                </a:cubicBezTo>
                <a:cubicBezTo>
                  <a:pt x="1109" y="558"/>
                  <a:pt x="1109" y="558"/>
                  <a:pt x="1109" y="558"/>
                </a:cubicBezTo>
                <a:cubicBezTo>
                  <a:pt x="1109" y="558"/>
                  <a:pt x="1109" y="558"/>
                  <a:pt x="1109" y="559"/>
                </a:cubicBezTo>
                <a:cubicBezTo>
                  <a:pt x="1109" y="559"/>
                  <a:pt x="1109" y="559"/>
                  <a:pt x="1109" y="559"/>
                </a:cubicBezTo>
                <a:cubicBezTo>
                  <a:pt x="1109" y="559"/>
                  <a:pt x="1110" y="559"/>
                  <a:pt x="1110" y="559"/>
                </a:cubicBezTo>
                <a:cubicBezTo>
                  <a:pt x="1110" y="559"/>
                  <a:pt x="1110" y="559"/>
                  <a:pt x="1111" y="559"/>
                </a:cubicBezTo>
                <a:cubicBezTo>
                  <a:pt x="1111" y="559"/>
                  <a:pt x="1111" y="558"/>
                  <a:pt x="1112" y="558"/>
                </a:cubicBezTo>
                <a:cubicBezTo>
                  <a:pt x="1112" y="558"/>
                  <a:pt x="1112" y="558"/>
                  <a:pt x="1113" y="558"/>
                </a:cubicBezTo>
                <a:cubicBezTo>
                  <a:pt x="1114" y="558"/>
                  <a:pt x="1115" y="558"/>
                  <a:pt x="1116" y="558"/>
                </a:cubicBezTo>
                <a:cubicBezTo>
                  <a:pt x="1116" y="558"/>
                  <a:pt x="1116" y="558"/>
                  <a:pt x="1116" y="558"/>
                </a:cubicBezTo>
                <a:cubicBezTo>
                  <a:pt x="1117" y="558"/>
                  <a:pt x="1117" y="558"/>
                  <a:pt x="1118" y="558"/>
                </a:cubicBezTo>
                <a:cubicBezTo>
                  <a:pt x="1118" y="557"/>
                  <a:pt x="1118" y="557"/>
                  <a:pt x="1119" y="557"/>
                </a:cubicBezTo>
                <a:cubicBezTo>
                  <a:pt x="1119" y="557"/>
                  <a:pt x="1119" y="557"/>
                  <a:pt x="1119" y="557"/>
                </a:cubicBezTo>
                <a:cubicBezTo>
                  <a:pt x="1119" y="557"/>
                  <a:pt x="1120" y="556"/>
                  <a:pt x="1120" y="556"/>
                </a:cubicBezTo>
                <a:cubicBezTo>
                  <a:pt x="1120" y="556"/>
                  <a:pt x="1120" y="555"/>
                  <a:pt x="1121" y="555"/>
                </a:cubicBezTo>
                <a:cubicBezTo>
                  <a:pt x="1121" y="555"/>
                  <a:pt x="1121" y="555"/>
                  <a:pt x="1121" y="554"/>
                </a:cubicBezTo>
                <a:cubicBezTo>
                  <a:pt x="1121" y="554"/>
                  <a:pt x="1121" y="554"/>
                  <a:pt x="1122" y="554"/>
                </a:cubicBezTo>
                <a:cubicBezTo>
                  <a:pt x="1122" y="554"/>
                  <a:pt x="1122" y="553"/>
                  <a:pt x="1122" y="553"/>
                </a:cubicBezTo>
                <a:cubicBezTo>
                  <a:pt x="1122" y="553"/>
                  <a:pt x="1122" y="553"/>
                  <a:pt x="1122" y="553"/>
                </a:cubicBezTo>
                <a:cubicBezTo>
                  <a:pt x="1122" y="553"/>
                  <a:pt x="1122" y="553"/>
                  <a:pt x="1122" y="552"/>
                </a:cubicBezTo>
                <a:cubicBezTo>
                  <a:pt x="1122" y="552"/>
                  <a:pt x="1123" y="552"/>
                  <a:pt x="1123" y="551"/>
                </a:cubicBezTo>
                <a:cubicBezTo>
                  <a:pt x="1123" y="551"/>
                  <a:pt x="1123" y="551"/>
                  <a:pt x="1123" y="551"/>
                </a:cubicBezTo>
                <a:cubicBezTo>
                  <a:pt x="1123" y="551"/>
                  <a:pt x="1123" y="551"/>
                  <a:pt x="1123" y="551"/>
                </a:cubicBezTo>
                <a:cubicBezTo>
                  <a:pt x="1123" y="551"/>
                  <a:pt x="1124" y="550"/>
                  <a:pt x="1124" y="550"/>
                </a:cubicBezTo>
                <a:cubicBezTo>
                  <a:pt x="1124" y="549"/>
                  <a:pt x="1125" y="549"/>
                  <a:pt x="1125" y="548"/>
                </a:cubicBezTo>
                <a:cubicBezTo>
                  <a:pt x="1125" y="547"/>
                  <a:pt x="1125" y="547"/>
                  <a:pt x="1126" y="546"/>
                </a:cubicBezTo>
                <a:cubicBezTo>
                  <a:pt x="1126" y="546"/>
                  <a:pt x="1126" y="546"/>
                  <a:pt x="1126" y="546"/>
                </a:cubicBezTo>
                <a:cubicBezTo>
                  <a:pt x="1127" y="546"/>
                  <a:pt x="1127" y="545"/>
                  <a:pt x="1127" y="545"/>
                </a:cubicBezTo>
                <a:cubicBezTo>
                  <a:pt x="1128" y="544"/>
                  <a:pt x="1128" y="543"/>
                  <a:pt x="1128" y="543"/>
                </a:cubicBezTo>
                <a:cubicBezTo>
                  <a:pt x="1129" y="542"/>
                  <a:pt x="1130" y="541"/>
                  <a:pt x="1130" y="540"/>
                </a:cubicBezTo>
                <a:cubicBezTo>
                  <a:pt x="1130" y="540"/>
                  <a:pt x="1131" y="539"/>
                  <a:pt x="1131" y="539"/>
                </a:cubicBezTo>
                <a:cubicBezTo>
                  <a:pt x="1131" y="539"/>
                  <a:pt x="1131" y="538"/>
                  <a:pt x="1131" y="538"/>
                </a:cubicBezTo>
                <a:cubicBezTo>
                  <a:pt x="1132" y="537"/>
                  <a:pt x="1132" y="537"/>
                  <a:pt x="1132" y="537"/>
                </a:cubicBezTo>
                <a:cubicBezTo>
                  <a:pt x="1132" y="536"/>
                  <a:pt x="1132" y="536"/>
                  <a:pt x="1132" y="536"/>
                </a:cubicBezTo>
                <a:cubicBezTo>
                  <a:pt x="1133" y="536"/>
                  <a:pt x="1133" y="535"/>
                  <a:pt x="1134" y="535"/>
                </a:cubicBezTo>
                <a:cubicBezTo>
                  <a:pt x="1134" y="534"/>
                  <a:pt x="1134" y="534"/>
                  <a:pt x="1135" y="533"/>
                </a:cubicBezTo>
                <a:cubicBezTo>
                  <a:pt x="1135" y="532"/>
                  <a:pt x="1135" y="532"/>
                  <a:pt x="1135" y="531"/>
                </a:cubicBezTo>
                <a:cubicBezTo>
                  <a:pt x="1135" y="531"/>
                  <a:pt x="1135" y="531"/>
                  <a:pt x="1136" y="531"/>
                </a:cubicBezTo>
                <a:cubicBezTo>
                  <a:pt x="1136" y="531"/>
                  <a:pt x="1136" y="530"/>
                  <a:pt x="1136" y="530"/>
                </a:cubicBezTo>
                <a:cubicBezTo>
                  <a:pt x="1136" y="530"/>
                  <a:pt x="1136" y="530"/>
                  <a:pt x="1136" y="530"/>
                </a:cubicBezTo>
                <a:cubicBezTo>
                  <a:pt x="1136" y="529"/>
                  <a:pt x="1136" y="529"/>
                  <a:pt x="1136" y="529"/>
                </a:cubicBezTo>
                <a:cubicBezTo>
                  <a:pt x="1136" y="528"/>
                  <a:pt x="1137" y="528"/>
                  <a:pt x="1137" y="528"/>
                </a:cubicBezTo>
                <a:cubicBezTo>
                  <a:pt x="1137" y="528"/>
                  <a:pt x="1137" y="527"/>
                  <a:pt x="1137" y="527"/>
                </a:cubicBezTo>
                <a:cubicBezTo>
                  <a:pt x="1137" y="527"/>
                  <a:pt x="1138" y="527"/>
                  <a:pt x="1138" y="527"/>
                </a:cubicBezTo>
                <a:cubicBezTo>
                  <a:pt x="1138" y="526"/>
                  <a:pt x="1138" y="526"/>
                  <a:pt x="1138" y="526"/>
                </a:cubicBezTo>
                <a:cubicBezTo>
                  <a:pt x="1138" y="526"/>
                  <a:pt x="1138" y="525"/>
                  <a:pt x="1137" y="525"/>
                </a:cubicBezTo>
                <a:cubicBezTo>
                  <a:pt x="1138" y="525"/>
                  <a:pt x="1138" y="525"/>
                  <a:pt x="1138" y="525"/>
                </a:cubicBezTo>
                <a:cubicBezTo>
                  <a:pt x="1138" y="525"/>
                  <a:pt x="1138" y="524"/>
                  <a:pt x="1138" y="524"/>
                </a:cubicBezTo>
                <a:cubicBezTo>
                  <a:pt x="1138" y="524"/>
                  <a:pt x="1138" y="524"/>
                  <a:pt x="1138" y="524"/>
                </a:cubicBezTo>
                <a:cubicBezTo>
                  <a:pt x="1138" y="523"/>
                  <a:pt x="1138" y="523"/>
                  <a:pt x="1138" y="523"/>
                </a:cubicBezTo>
                <a:cubicBezTo>
                  <a:pt x="1138" y="523"/>
                  <a:pt x="1138" y="523"/>
                  <a:pt x="1138" y="523"/>
                </a:cubicBezTo>
                <a:cubicBezTo>
                  <a:pt x="1139" y="523"/>
                  <a:pt x="1139" y="523"/>
                  <a:pt x="1139" y="523"/>
                </a:cubicBezTo>
                <a:cubicBezTo>
                  <a:pt x="1139" y="523"/>
                  <a:pt x="1139" y="523"/>
                  <a:pt x="1139" y="524"/>
                </a:cubicBezTo>
                <a:cubicBezTo>
                  <a:pt x="1139" y="524"/>
                  <a:pt x="1139" y="524"/>
                  <a:pt x="1140" y="525"/>
                </a:cubicBezTo>
                <a:cubicBezTo>
                  <a:pt x="1140" y="525"/>
                  <a:pt x="1140" y="525"/>
                  <a:pt x="1140" y="525"/>
                </a:cubicBezTo>
                <a:cubicBezTo>
                  <a:pt x="1140" y="525"/>
                  <a:pt x="1140" y="525"/>
                  <a:pt x="1141" y="524"/>
                </a:cubicBezTo>
                <a:cubicBezTo>
                  <a:pt x="1141" y="524"/>
                  <a:pt x="1141" y="524"/>
                  <a:pt x="1141" y="524"/>
                </a:cubicBezTo>
                <a:cubicBezTo>
                  <a:pt x="1141" y="524"/>
                  <a:pt x="1141" y="524"/>
                  <a:pt x="1141" y="524"/>
                </a:cubicBezTo>
                <a:cubicBezTo>
                  <a:pt x="1141" y="523"/>
                  <a:pt x="1141" y="523"/>
                  <a:pt x="1141" y="523"/>
                </a:cubicBezTo>
                <a:cubicBezTo>
                  <a:pt x="1141" y="523"/>
                  <a:pt x="1141" y="523"/>
                  <a:pt x="1142" y="523"/>
                </a:cubicBezTo>
                <a:cubicBezTo>
                  <a:pt x="1142" y="522"/>
                  <a:pt x="1142" y="522"/>
                  <a:pt x="1142" y="522"/>
                </a:cubicBezTo>
                <a:cubicBezTo>
                  <a:pt x="1141" y="522"/>
                  <a:pt x="1141" y="521"/>
                  <a:pt x="1141" y="521"/>
                </a:cubicBezTo>
                <a:cubicBezTo>
                  <a:pt x="1141" y="521"/>
                  <a:pt x="1141" y="520"/>
                  <a:pt x="1141" y="520"/>
                </a:cubicBezTo>
                <a:close/>
                <a:moveTo>
                  <a:pt x="1136" y="512"/>
                </a:moveTo>
                <a:cubicBezTo>
                  <a:pt x="1136" y="512"/>
                  <a:pt x="1136" y="512"/>
                  <a:pt x="1136" y="512"/>
                </a:cubicBezTo>
                <a:cubicBezTo>
                  <a:pt x="1135" y="512"/>
                  <a:pt x="1135" y="512"/>
                  <a:pt x="1135" y="512"/>
                </a:cubicBezTo>
                <a:cubicBezTo>
                  <a:pt x="1135" y="512"/>
                  <a:pt x="1135" y="513"/>
                  <a:pt x="1135" y="513"/>
                </a:cubicBezTo>
                <a:cubicBezTo>
                  <a:pt x="1135" y="512"/>
                  <a:pt x="1135" y="512"/>
                  <a:pt x="1136" y="512"/>
                </a:cubicBezTo>
                <a:close/>
                <a:moveTo>
                  <a:pt x="1134" y="514"/>
                </a:moveTo>
                <a:cubicBezTo>
                  <a:pt x="1134" y="514"/>
                  <a:pt x="1134" y="514"/>
                  <a:pt x="1134" y="514"/>
                </a:cubicBezTo>
                <a:cubicBezTo>
                  <a:pt x="1134" y="514"/>
                  <a:pt x="1134" y="514"/>
                  <a:pt x="1133" y="513"/>
                </a:cubicBezTo>
                <a:cubicBezTo>
                  <a:pt x="1133" y="513"/>
                  <a:pt x="1133" y="513"/>
                  <a:pt x="1133" y="513"/>
                </a:cubicBezTo>
                <a:cubicBezTo>
                  <a:pt x="1133" y="513"/>
                  <a:pt x="1133" y="513"/>
                  <a:pt x="1133" y="513"/>
                </a:cubicBezTo>
                <a:cubicBezTo>
                  <a:pt x="1133" y="514"/>
                  <a:pt x="1133" y="514"/>
                  <a:pt x="1133" y="514"/>
                </a:cubicBezTo>
                <a:cubicBezTo>
                  <a:pt x="1133" y="514"/>
                  <a:pt x="1133" y="514"/>
                  <a:pt x="1133" y="514"/>
                </a:cubicBezTo>
                <a:cubicBezTo>
                  <a:pt x="1133" y="514"/>
                  <a:pt x="1134" y="514"/>
                  <a:pt x="1134" y="514"/>
                </a:cubicBezTo>
                <a:close/>
                <a:moveTo>
                  <a:pt x="1536" y="623"/>
                </a:moveTo>
                <a:cubicBezTo>
                  <a:pt x="1536" y="623"/>
                  <a:pt x="1535" y="623"/>
                  <a:pt x="1535" y="623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3"/>
                  <a:pt x="1534" y="623"/>
                  <a:pt x="1534" y="623"/>
                </a:cubicBezTo>
                <a:cubicBezTo>
                  <a:pt x="1534" y="623"/>
                  <a:pt x="1533" y="623"/>
                  <a:pt x="1533" y="623"/>
                </a:cubicBezTo>
                <a:cubicBezTo>
                  <a:pt x="1533" y="623"/>
                  <a:pt x="1533" y="623"/>
                  <a:pt x="1533" y="623"/>
                </a:cubicBezTo>
                <a:cubicBezTo>
                  <a:pt x="1534" y="623"/>
                  <a:pt x="1534" y="623"/>
                  <a:pt x="1534" y="624"/>
                </a:cubicBezTo>
                <a:cubicBezTo>
                  <a:pt x="1535" y="624"/>
                  <a:pt x="1535" y="624"/>
                  <a:pt x="1535" y="624"/>
                </a:cubicBezTo>
                <a:cubicBezTo>
                  <a:pt x="1535" y="624"/>
                  <a:pt x="1536" y="624"/>
                  <a:pt x="1536" y="624"/>
                </a:cubicBezTo>
                <a:cubicBezTo>
                  <a:pt x="1536" y="624"/>
                  <a:pt x="1536" y="624"/>
                  <a:pt x="1536" y="623"/>
                </a:cubicBezTo>
                <a:cubicBezTo>
                  <a:pt x="1535" y="623"/>
                  <a:pt x="1535" y="623"/>
                  <a:pt x="1535" y="623"/>
                </a:cubicBezTo>
                <a:cubicBezTo>
                  <a:pt x="1535" y="623"/>
                  <a:pt x="1535" y="623"/>
                  <a:pt x="1535" y="623"/>
                </a:cubicBezTo>
                <a:cubicBezTo>
                  <a:pt x="1535" y="623"/>
                  <a:pt x="1536" y="623"/>
                  <a:pt x="1536" y="623"/>
                </a:cubicBezTo>
                <a:cubicBezTo>
                  <a:pt x="1536" y="623"/>
                  <a:pt x="1536" y="623"/>
                  <a:pt x="1536" y="623"/>
                </a:cubicBezTo>
                <a:close/>
                <a:moveTo>
                  <a:pt x="1541" y="726"/>
                </a:moveTo>
                <a:cubicBezTo>
                  <a:pt x="1542" y="726"/>
                  <a:pt x="1542" y="726"/>
                  <a:pt x="1542" y="726"/>
                </a:cubicBezTo>
                <a:cubicBezTo>
                  <a:pt x="1543" y="726"/>
                  <a:pt x="1543" y="726"/>
                  <a:pt x="1543" y="725"/>
                </a:cubicBezTo>
                <a:cubicBezTo>
                  <a:pt x="1543" y="725"/>
                  <a:pt x="1543" y="725"/>
                  <a:pt x="1543" y="725"/>
                </a:cubicBezTo>
                <a:cubicBezTo>
                  <a:pt x="1544" y="725"/>
                  <a:pt x="1544" y="725"/>
                  <a:pt x="1545" y="725"/>
                </a:cubicBezTo>
                <a:cubicBezTo>
                  <a:pt x="1545" y="725"/>
                  <a:pt x="1546" y="724"/>
                  <a:pt x="1546" y="724"/>
                </a:cubicBezTo>
                <a:cubicBezTo>
                  <a:pt x="1546" y="724"/>
                  <a:pt x="1546" y="724"/>
                  <a:pt x="1547" y="724"/>
                </a:cubicBezTo>
                <a:cubicBezTo>
                  <a:pt x="1547" y="724"/>
                  <a:pt x="1547" y="723"/>
                  <a:pt x="1548" y="723"/>
                </a:cubicBezTo>
                <a:cubicBezTo>
                  <a:pt x="1548" y="723"/>
                  <a:pt x="1549" y="723"/>
                  <a:pt x="1549" y="723"/>
                </a:cubicBezTo>
                <a:cubicBezTo>
                  <a:pt x="1549" y="723"/>
                  <a:pt x="1550" y="723"/>
                  <a:pt x="1550" y="723"/>
                </a:cubicBezTo>
                <a:cubicBezTo>
                  <a:pt x="1550" y="723"/>
                  <a:pt x="1549" y="723"/>
                  <a:pt x="1549" y="723"/>
                </a:cubicBezTo>
                <a:cubicBezTo>
                  <a:pt x="1549" y="723"/>
                  <a:pt x="1549" y="723"/>
                  <a:pt x="1549" y="723"/>
                </a:cubicBezTo>
                <a:cubicBezTo>
                  <a:pt x="1550" y="723"/>
                  <a:pt x="1550" y="723"/>
                  <a:pt x="1551" y="723"/>
                </a:cubicBezTo>
                <a:cubicBezTo>
                  <a:pt x="1551" y="723"/>
                  <a:pt x="1552" y="723"/>
                  <a:pt x="1552" y="723"/>
                </a:cubicBezTo>
                <a:cubicBezTo>
                  <a:pt x="1553" y="723"/>
                  <a:pt x="1553" y="723"/>
                  <a:pt x="1553" y="722"/>
                </a:cubicBezTo>
                <a:cubicBezTo>
                  <a:pt x="1553" y="722"/>
                  <a:pt x="1553" y="722"/>
                  <a:pt x="1553" y="722"/>
                </a:cubicBezTo>
                <a:cubicBezTo>
                  <a:pt x="1553" y="722"/>
                  <a:pt x="1553" y="722"/>
                  <a:pt x="1554" y="721"/>
                </a:cubicBezTo>
                <a:cubicBezTo>
                  <a:pt x="1554" y="721"/>
                  <a:pt x="1555" y="721"/>
                  <a:pt x="1555" y="721"/>
                </a:cubicBezTo>
                <a:cubicBezTo>
                  <a:pt x="1556" y="721"/>
                  <a:pt x="1556" y="721"/>
                  <a:pt x="1556" y="720"/>
                </a:cubicBezTo>
                <a:cubicBezTo>
                  <a:pt x="1556" y="720"/>
                  <a:pt x="1556" y="721"/>
                  <a:pt x="1557" y="721"/>
                </a:cubicBezTo>
                <a:cubicBezTo>
                  <a:pt x="1557" y="720"/>
                  <a:pt x="1558" y="720"/>
                  <a:pt x="1558" y="720"/>
                </a:cubicBezTo>
                <a:cubicBezTo>
                  <a:pt x="1558" y="719"/>
                  <a:pt x="1558" y="719"/>
                  <a:pt x="1559" y="719"/>
                </a:cubicBezTo>
                <a:cubicBezTo>
                  <a:pt x="1559" y="719"/>
                  <a:pt x="1559" y="718"/>
                  <a:pt x="1559" y="718"/>
                </a:cubicBezTo>
                <a:cubicBezTo>
                  <a:pt x="1559" y="718"/>
                  <a:pt x="1559" y="718"/>
                  <a:pt x="1559" y="718"/>
                </a:cubicBezTo>
                <a:cubicBezTo>
                  <a:pt x="1559" y="718"/>
                  <a:pt x="1560" y="717"/>
                  <a:pt x="1560" y="717"/>
                </a:cubicBezTo>
                <a:cubicBezTo>
                  <a:pt x="1560" y="717"/>
                  <a:pt x="1561" y="716"/>
                  <a:pt x="1562" y="716"/>
                </a:cubicBezTo>
                <a:cubicBezTo>
                  <a:pt x="1562" y="715"/>
                  <a:pt x="1562" y="715"/>
                  <a:pt x="1563" y="715"/>
                </a:cubicBezTo>
                <a:cubicBezTo>
                  <a:pt x="1564" y="714"/>
                  <a:pt x="1564" y="714"/>
                  <a:pt x="1565" y="713"/>
                </a:cubicBezTo>
                <a:cubicBezTo>
                  <a:pt x="1565" y="713"/>
                  <a:pt x="1566" y="713"/>
                  <a:pt x="1566" y="712"/>
                </a:cubicBezTo>
                <a:cubicBezTo>
                  <a:pt x="1566" y="712"/>
                  <a:pt x="1567" y="711"/>
                  <a:pt x="1567" y="711"/>
                </a:cubicBezTo>
                <a:cubicBezTo>
                  <a:pt x="1568" y="711"/>
                  <a:pt x="1568" y="711"/>
                  <a:pt x="1569" y="711"/>
                </a:cubicBezTo>
                <a:cubicBezTo>
                  <a:pt x="1569" y="711"/>
                  <a:pt x="1569" y="710"/>
                  <a:pt x="1570" y="710"/>
                </a:cubicBezTo>
                <a:cubicBezTo>
                  <a:pt x="1570" y="710"/>
                  <a:pt x="1570" y="709"/>
                  <a:pt x="1570" y="709"/>
                </a:cubicBezTo>
                <a:cubicBezTo>
                  <a:pt x="1570" y="709"/>
                  <a:pt x="1570" y="709"/>
                  <a:pt x="1571" y="709"/>
                </a:cubicBezTo>
                <a:cubicBezTo>
                  <a:pt x="1571" y="708"/>
                  <a:pt x="1571" y="707"/>
                  <a:pt x="1571" y="707"/>
                </a:cubicBezTo>
                <a:cubicBezTo>
                  <a:pt x="1571" y="707"/>
                  <a:pt x="1571" y="706"/>
                  <a:pt x="1571" y="706"/>
                </a:cubicBezTo>
                <a:cubicBezTo>
                  <a:pt x="1571" y="705"/>
                  <a:pt x="1571" y="705"/>
                  <a:pt x="1571" y="704"/>
                </a:cubicBezTo>
                <a:cubicBezTo>
                  <a:pt x="1571" y="704"/>
                  <a:pt x="1571" y="704"/>
                  <a:pt x="1571" y="704"/>
                </a:cubicBezTo>
                <a:cubicBezTo>
                  <a:pt x="1571" y="704"/>
                  <a:pt x="1572" y="703"/>
                  <a:pt x="1572" y="703"/>
                </a:cubicBezTo>
                <a:cubicBezTo>
                  <a:pt x="1572" y="703"/>
                  <a:pt x="1572" y="703"/>
                  <a:pt x="1572" y="703"/>
                </a:cubicBezTo>
                <a:cubicBezTo>
                  <a:pt x="1572" y="703"/>
                  <a:pt x="1572" y="703"/>
                  <a:pt x="1572" y="702"/>
                </a:cubicBezTo>
                <a:cubicBezTo>
                  <a:pt x="1573" y="702"/>
                  <a:pt x="1573" y="702"/>
                  <a:pt x="1574" y="702"/>
                </a:cubicBezTo>
                <a:cubicBezTo>
                  <a:pt x="1574" y="702"/>
                  <a:pt x="1574" y="701"/>
                  <a:pt x="1574" y="701"/>
                </a:cubicBezTo>
                <a:cubicBezTo>
                  <a:pt x="1574" y="701"/>
                  <a:pt x="1574" y="700"/>
                  <a:pt x="1575" y="699"/>
                </a:cubicBezTo>
                <a:cubicBezTo>
                  <a:pt x="1575" y="699"/>
                  <a:pt x="1575" y="699"/>
                  <a:pt x="1575" y="699"/>
                </a:cubicBezTo>
                <a:cubicBezTo>
                  <a:pt x="1575" y="699"/>
                  <a:pt x="1575" y="699"/>
                  <a:pt x="1575" y="698"/>
                </a:cubicBezTo>
                <a:cubicBezTo>
                  <a:pt x="1575" y="698"/>
                  <a:pt x="1575" y="698"/>
                  <a:pt x="1575" y="698"/>
                </a:cubicBezTo>
                <a:cubicBezTo>
                  <a:pt x="1576" y="697"/>
                  <a:pt x="1576" y="697"/>
                  <a:pt x="1576" y="696"/>
                </a:cubicBezTo>
                <a:cubicBezTo>
                  <a:pt x="1576" y="696"/>
                  <a:pt x="1576" y="696"/>
                  <a:pt x="1576" y="696"/>
                </a:cubicBezTo>
                <a:cubicBezTo>
                  <a:pt x="1576" y="696"/>
                  <a:pt x="1576" y="696"/>
                  <a:pt x="1577" y="695"/>
                </a:cubicBezTo>
                <a:cubicBezTo>
                  <a:pt x="1576" y="695"/>
                  <a:pt x="1576" y="695"/>
                  <a:pt x="1576" y="695"/>
                </a:cubicBezTo>
                <a:cubicBezTo>
                  <a:pt x="1576" y="695"/>
                  <a:pt x="1576" y="694"/>
                  <a:pt x="1576" y="694"/>
                </a:cubicBezTo>
                <a:cubicBezTo>
                  <a:pt x="1576" y="694"/>
                  <a:pt x="1576" y="693"/>
                  <a:pt x="1576" y="693"/>
                </a:cubicBezTo>
                <a:cubicBezTo>
                  <a:pt x="1576" y="693"/>
                  <a:pt x="1576" y="693"/>
                  <a:pt x="1576" y="692"/>
                </a:cubicBezTo>
                <a:cubicBezTo>
                  <a:pt x="1576" y="692"/>
                  <a:pt x="1576" y="691"/>
                  <a:pt x="1576" y="691"/>
                </a:cubicBezTo>
                <a:cubicBezTo>
                  <a:pt x="1576" y="691"/>
                  <a:pt x="1576" y="690"/>
                  <a:pt x="1576" y="690"/>
                </a:cubicBezTo>
                <a:cubicBezTo>
                  <a:pt x="1576" y="690"/>
                  <a:pt x="1576" y="689"/>
                  <a:pt x="1576" y="689"/>
                </a:cubicBezTo>
                <a:cubicBezTo>
                  <a:pt x="1575" y="689"/>
                  <a:pt x="1575" y="689"/>
                  <a:pt x="1575" y="689"/>
                </a:cubicBezTo>
                <a:cubicBezTo>
                  <a:pt x="1575" y="689"/>
                  <a:pt x="1575" y="688"/>
                  <a:pt x="1574" y="688"/>
                </a:cubicBezTo>
                <a:cubicBezTo>
                  <a:pt x="1574" y="688"/>
                  <a:pt x="1574" y="688"/>
                  <a:pt x="1574" y="688"/>
                </a:cubicBezTo>
                <a:cubicBezTo>
                  <a:pt x="1574" y="687"/>
                  <a:pt x="1574" y="687"/>
                  <a:pt x="1574" y="687"/>
                </a:cubicBezTo>
                <a:cubicBezTo>
                  <a:pt x="1574" y="687"/>
                  <a:pt x="1574" y="687"/>
                  <a:pt x="1574" y="687"/>
                </a:cubicBezTo>
                <a:cubicBezTo>
                  <a:pt x="1574" y="686"/>
                  <a:pt x="1574" y="686"/>
                  <a:pt x="1574" y="686"/>
                </a:cubicBezTo>
                <a:cubicBezTo>
                  <a:pt x="1574" y="686"/>
                  <a:pt x="1574" y="685"/>
                  <a:pt x="1573" y="685"/>
                </a:cubicBezTo>
                <a:cubicBezTo>
                  <a:pt x="1573" y="685"/>
                  <a:pt x="1573" y="684"/>
                  <a:pt x="1573" y="684"/>
                </a:cubicBezTo>
                <a:cubicBezTo>
                  <a:pt x="1573" y="684"/>
                  <a:pt x="1573" y="684"/>
                  <a:pt x="1574" y="684"/>
                </a:cubicBezTo>
                <a:cubicBezTo>
                  <a:pt x="1573" y="683"/>
                  <a:pt x="1573" y="683"/>
                  <a:pt x="1573" y="683"/>
                </a:cubicBezTo>
                <a:cubicBezTo>
                  <a:pt x="1574" y="683"/>
                  <a:pt x="1574" y="682"/>
                  <a:pt x="1575" y="682"/>
                </a:cubicBezTo>
                <a:cubicBezTo>
                  <a:pt x="1575" y="682"/>
                  <a:pt x="1575" y="682"/>
                  <a:pt x="1575" y="681"/>
                </a:cubicBezTo>
                <a:cubicBezTo>
                  <a:pt x="1575" y="681"/>
                  <a:pt x="1575" y="681"/>
                  <a:pt x="1575" y="681"/>
                </a:cubicBezTo>
                <a:cubicBezTo>
                  <a:pt x="1575" y="681"/>
                  <a:pt x="1576" y="680"/>
                  <a:pt x="1576" y="680"/>
                </a:cubicBezTo>
                <a:cubicBezTo>
                  <a:pt x="1576" y="680"/>
                  <a:pt x="1575" y="680"/>
                  <a:pt x="1575" y="680"/>
                </a:cubicBezTo>
                <a:cubicBezTo>
                  <a:pt x="1575" y="680"/>
                  <a:pt x="1575" y="680"/>
                  <a:pt x="1575" y="680"/>
                </a:cubicBezTo>
                <a:cubicBezTo>
                  <a:pt x="1575" y="680"/>
                  <a:pt x="1575" y="680"/>
                  <a:pt x="1575" y="680"/>
                </a:cubicBezTo>
                <a:cubicBezTo>
                  <a:pt x="1575" y="680"/>
                  <a:pt x="1575" y="681"/>
                  <a:pt x="1575" y="681"/>
                </a:cubicBezTo>
                <a:cubicBezTo>
                  <a:pt x="1574" y="680"/>
                  <a:pt x="1574" y="679"/>
                  <a:pt x="1573" y="678"/>
                </a:cubicBezTo>
                <a:cubicBezTo>
                  <a:pt x="1573" y="678"/>
                  <a:pt x="1573" y="678"/>
                  <a:pt x="1573" y="677"/>
                </a:cubicBezTo>
                <a:cubicBezTo>
                  <a:pt x="1573" y="677"/>
                  <a:pt x="1573" y="677"/>
                  <a:pt x="1573" y="677"/>
                </a:cubicBezTo>
                <a:cubicBezTo>
                  <a:pt x="1573" y="678"/>
                  <a:pt x="1573" y="678"/>
                  <a:pt x="1573" y="678"/>
                </a:cubicBezTo>
                <a:cubicBezTo>
                  <a:pt x="1572" y="678"/>
                  <a:pt x="1572" y="678"/>
                  <a:pt x="1572" y="678"/>
                </a:cubicBezTo>
                <a:cubicBezTo>
                  <a:pt x="1572" y="679"/>
                  <a:pt x="1572" y="679"/>
                  <a:pt x="1572" y="680"/>
                </a:cubicBezTo>
                <a:cubicBezTo>
                  <a:pt x="1572" y="679"/>
                  <a:pt x="1572" y="679"/>
                  <a:pt x="1572" y="678"/>
                </a:cubicBezTo>
                <a:cubicBezTo>
                  <a:pt x="1571" y="678"/>
                  <a:pt x="1571" y="678"/>
                  <a:pt x="1571" y="678"/>
                </a:cubicBezTo>
                <a:cubicBezTo>
                  <a:pt x="1571" y="678"/>
                  <a:pt x="1571" y="678"/>
                  <a:pt x="1571" y="678"/>
                </a:cubicBezTo>
                <a:cubicBezTo>
                  <a:pt x="1571" y="678"/>
                  <a:pt x="1571" y="677"/>
                  <a:pt x="1571" y="677"/>
                </a:cubicBezTo>
                <a:cubicBezTo>
                  <a:pt x="1571" y="676"/>
                  <a:pt x="1572" y="676"/>
                  <a:pt x="1572" y="675"/>
                </a:cubicBezTo>
                <a:cubicBezTo>
                  <a:pt x="1572" y="675"/>
                  <a:pt x="1572" y="675"/>
                  <a:pt x="1572" y="675"/>
                </a:cubicBezTo>
                <a:cubicBezTo>
                  <a:pt x="1572" y="675"/>
                  <a:pt x="1572" y="675"/>
                  <a:pt x="1572" y="675"/>
                </a:cubicBezTo>
                <a:cubicBezTo>
                  <a:pt x="1572" y="674"/>
                  <a:pt x="1572" y="674"/>
                  <a:pt x="1572" y="674"/>
                </a:cubicBezTo>
                <a:cubicBezTo>
                  <a:pt x="1572" y="674"/>
                  <a:pt x="1572" y="674"/>
                  <a:pt x="1572" y="673"/>
                </a:cubicBezTo>
                <a:cubicBezTo>
                  <a:pt x="1572" y="673"/>
                  <a:pt x="1572" y="673"/>
                  <a:pt x="1572" y="673"/>
                </a:cubicBezTo>
                <a:cubicBezTo>
                  <a:pt x="1572" y="673"/>
                  <a:pt x="1572" y="672"/>
                  <a:pt x="1573" y="672"/>
                </a:cubicBezTo>
                <a:cubicBezTo>
                  <a:pt x="1572" y="672"/>
                  <a:pt x="1572" y="671"/>
                  <a:pt x="1572" y="671"/>
                </a:cubicBezTo>
                <a:cubicBezTo>
                  <a:pt x="1572" y="670"/>
                  <a:pt x="1572" y="670"/>
                  <a:pt x="1572" y="670"/>
                </a:cubicBezTo>
                <a:cubicBezTo>
                  <a:pt x="1572" y="670"/>
                  <a:pt x="1572" y="669"/>
                  <a:pt x="1572" y="669"/>
                </a:cubicBezTo>
                <a:cubicBezTo>
                  <a:pt x="1572" y="669"/>
                  <a:pt x="1572" y="669"/>
                  <a:pt x="1573" y="670"/>
                </a:cubicBezTo>
                <a:cubicBezTo>
                  <a:pt x="1573" y="669"/>
                  <a:pt x="1573" y="669"/>
                  <a:pt x="1573" y="669"/>
                </a:cubicBezTo>
                <a:cubicBezTo>
                  <a:pt x="1573" y="668"/>
                  <a:pt x="1573" y="668"/>
                  <a:pt x="1573" y="668"/>
                </a:cubicBezTo>
                <a:cubicBezTo>
                  <a:pt x="1572" y="668"/>
                  <a:pt x="1572" y="668"/>
                  <a:pt x="1572" y="668"/>
                </a:cubicBezTo>
                <a:cubicBezTo>
                  <a:pt x="1572" y="667"/>
                  <a:pt x="1572" y="667"/>
                  <a:pt x="1572" y="667"/>
                </a:cubicBezTo>
                <a:cubicBezTo>
                  <a:pt x="1571" y="667"/>
                  <a:pt x="1571" y="666"/>
                  <a:pt x="1571" y="666"/>
                </a:cubicBezTo>
                <a:cubicBezTo>
                  <a:pt x="1571" y="666"/>
                  <a:pt x="1571" y="666"/>
                  <a:pt x="1570" y="666"/>
                </a:cubicBezTo>
                <a:cubicBezTo>
                  <a:pt x="1570" y="665"/>
                  <a:pt x="1570" y="665"/>
                  <a:pt x="1570" y="665"/>
                </a:cubicBezTo>
                <a:cubicBezTo>
                  <a:pt x="1570" y="665"/>
                  <a:pt x="1570" y="665"/>
                  <a:pt x="1569" y="665"/>
                </a:cubicBezTo>
                <a:cubicBezTo>
                  <a:pt x="1569" y="665"/>
                  <a:pt x="1569" y="665"/>
                  <a:pt x="1569" y="664"/>
                </a:cubicBezTo>
                <a:cubicBezTo>
                  <a:pt x="1569" y="664"/>
                  <a:pt x="1569" y="664"/>
                  <a:pt x="1568" y="664"/>
                </a:cubicBezTo>
                <a:cubicBezTo>
                  <a:pt x="1568" y="664"/>
                  <a:pt x="1568" y="664"/>
                  <a:pt x="1568" y="664"/>
                </a:cubicBezTo>
                <a:cubicBezTo>
                  <a:pt x="1568" y="664"/>
                  <a:pt x="1568" y="664"/>
                  <a:pt x="1568" y="663"/>
                </a:cubicBezTo>
                <a:cubicBezTo>
                  <a:pt x="1569" y="664"/>
                  <a:pt x="1569" y="664"/>
                  <a:pt x="1569" y="664"/>
                </a:cubicBezTo>
                <a:cubicBezTo>
                  <a:pt x="1569" y="664"/>
                  <a:pt x="1569" y="663"/>
                  <a:pt x="1570" y="663"/>
                </a:cubicBezTo>
                <a:cubicBezTo>
                  <a:pt x="1570" y="663"/>
                  <a:pt x="1570" y="663"/>
                  <a:pt x="1569" y="663"/>
                </a:cubicBezTo>
                <a:cubicBezTo>
                  <a:pt x="1569" y="663"/>
                  <a:pt x="1569" y="662"/>
                  <a:pt x="1568" y="662"/>
                </a:cubicBezTo>
                <a:cubicBezTo>
                  <a:pt x="1568" y="662"/>
                  <a:pt x="1568" y="662"/>
                  <a:pt x="1568" y="662"/>
                </a:cubicBezTo>
                <a:cubicBezTo>
                  <a:pt x="1568" y="662"/>
                  <a:pt x="1568" y="662"/>
                  <a:pt x="1568" y="661"/>
                </a:cubicBezTo>
                <a:cubicBezTo>
                  <a:pt x="1568" y="661"/>
                  <a:pt x="1567" y="661"/>
                  <a:pt x="1567" y="661"/>
                </a:cubicBezTo>
                <a:cubicBezTo>
                  <a:pt x="1567" y="661"/>
                  <a:pt x="1566" y="660"/>
                  <a:pt x="1566" y="660"/>
                </a:cubicBezTo>
                <a:cubicBezTo>
                  <a:pt x="1566" y="659"/>
                  <a:pt x="1566" y="659"/>
                  <a:pt x="1566" y="658"/>
                </a:cubicBezTo>
                <a:cubicBezTo>
                  <a:pt x="1566" y="658"/>
                  <a:pt x="1566" y="657"/>
                  <a:pt x="1566" y="657"/>
                </a:cubicBezTo>
                <a:cubicBezTo>
                  <a:pt x="1566" y="657"/>
                  <a:pt x="1566" y="656"/>
                  <a:pt x="1566" y="656"/>
                </a:cubicBezTo>
                <a:cubicBezTo>
                  <a:pt x="1566" y="656"/>
                  <a:pt x="1566" y="655"/>
                  <a:pt x="1566" y="655"/>
                </a:cubicBezTo>
                <a:cubicBezTo>
                  <a:pt x="1566" y="655"/>
                  <a:pt x="1567" y="655"/>
                  <a:pt x="1567" y="655"/>
                </a:cubicBezTo>
                <a:cubicBezTo>
                  <a:pt x="1567" y="655"/>
                  <a:pt x="1567" y="654"/>
                  <a:pt x="1568" y="654"/>
                </a:cubicBezTo>
                <a:cubicBezTo>
                  <a:pt x="1568" y="653"/>
                  <a:pt x="1568" y="653"/>
                  <a:pt x="1568" y="652"/>
                </a:cubicBezTo>
                <a:cubicBezTo>
                  <a:pt x="1568" y="652"/>
                  <a:pt x="1568" y="651"/>
                  <a:pt x="1568" y="651"/>
                </a:cubicBezTo>
                <a:cubicBezTo>
                  <a:pt x="1568" y="651"/>
                  <a:pt x="1568" y="651"/>
                  <a:pt x="1569" y="651"/>
                </a:cubicBezTo>
                <a:cubicBezTo>
                  <a:pt x="1568" y="651"/>
                  <a:pt x="1568" y="651"/>
                  <a:pt x="1568" y="650"/>
                </a:cubicBezTo>
                <a:cubicBezTo>
                  <a:pt x="1568" y="650"/>
                  <a:pt x="1568" y="650"/>
                  <a:pt x="1568" y="650"/>
                </a:cubicBezTo>
                <a:cubicBezTo>
                  <a:pt x="1567" y="650"/>
                  <a:pt x="1567" y="649"/>
                  <a:pt x="1567" y="648"/>
                </a:cubicBezTo>
                <a:cubicBezTo>
                  <a:pt x="1568" y="648"/>
                  <a:pt x="1568" y="647"/>
                  <a:pt x="1568" y="647"/>
                </a:cubicBezTo>
                <a:cubicBezTo>
                  <a:pt x="1568" y="647"/>
                  <a:pt x="1568" y="647"/>
                  <a:pt x="1568" y="647"/>
                </a:cubicBezTo>
                <a:cubicBezTo>
                  <a:pt x="1569" y="647"/>
                  <a:pt x="1569" y="647"/>
                  <a:pt x="1569" y="646"/>
                </a:cubicBezTo>
                <a:cubicBezTo>
                  <a:pt x="1569" y="646"/>
                  <a:pt x="1569" y="646"/>
                  <a:pt x="1568" y="646"/>
                </a:cubicBezTo>
                <a:cubicBezTo>
                  <a:pt x="1569" y="645"/>
                  <a:pt x="1569" y="644"/>
                  <a:pt x="1569" y="644"/>
                </a:cubicBezTo>
                <a:cubicBezTo>
                  <a:pt x="1569" y="644"/>
                  <a:pt x="1570" y="643"/>
                  <a:pt x="1570" y="643"/>
                </a:cubicBezTo>
                <a:cubicBezTo>
                  <a:pt x="1570" y="643"/>
                  <a:pt x="1570" y="643"/>
                  <a:pt x="1570" y="642"/>
                </a:cubicBezTo>
                <a:cubicBezTo>
                  <a:pt x="1570" y="642"/>
                  <a:pt x="1570" y="642"/>
                  <a:pt x="1570" y="642"/>
                </a:cubicBezTo>
                <a:cubicBezTo>
                  <a:pt x="1570" y="642"/>
                  <a:pt x="1570" y="642"/>
                  <a:pt x="1571" y="642"/>
                </a:cubicBezTo>
                <a:cubicBezTo>
                  <a:pt x="1570" y="641"/>
                  <a:pt x="1570" y="641"/>
                  <a:pt x="1570" y="640"/>
                </a:cubicBezTo>
                <a:cubicBezTo>
                  <a:pt x="1569" y="640"/>
                  <a:pt x="1569" y="640"/>
                  <a:pt x="1569" y="639"/>
                </a:cubicBezTo>
                <a:cubicBezTo>
                  <a:pt x="1569" y="639"/>
                  <a:pt x="1569" y="639"/>
                  <a:pt x="1569" y="639"/>
                </a:cubicBezTo>
                <a:cubicBezTo>
                  <a:pt x="1569" y="639"/>
                  <a:pt x="1569" y="638"/>
                  <a:pt x="1569" y="638"/>
                </a:cubicBezTo>
                <a:cubicBezTo>
                  <a:pt x="1568" y="638"/>
                  <a:pt x="1568" y="638"/>
                  <a:pt x="1568" y="638"/>
                </a:cubicBezTo>
                <a:cubicBezTo>
                  <a:pt x="1567" y="638"/>
                  <a:pt x="1567" y="638"/>
                  <a:pt x="1567" y="638"/>
                </a:cubicBezTo>
                <a:cubicBezTo>
                  <a:pt x="1567" y="638"/>
                  <a:pt x="1567" y="638"/>
                  <a:pt x="1566" y="638"/>
                </a:cubicBezTo>
                <a:cubicBezTo>
                  <a:pt x="1566" y="638"/>
                  <a:pt x="1566" y="638"/>
                  <a:pt x="1566" y="638"/>
                </a:cubicBezTo>
                <a:cubicBezTo>
                  <a:pt x="1566" y="637"/>
                  <a:pt x="1565" y="637"/>
                  <a:pt x="1565" y="636"/>
                </a:cubicBezTo>
                <a:cubicBezTo>
                  <a:pt x="1565" y="636"/>
                  <a:pt x="1565" y="636"/>
                  <a:pt x="1566" y="636"/>
                </a:cubicBezTo>
                <a:cubicBezTo>
                  <a:pt x="1566" y="635"/>
                  <a:pt x="1566" y="635"/>
                  <a:pt x="1565" y="635"/>
                </a:cubicBezTo>
                <a:cubicBezTo>
                  <a:pt x="1566" y="634"/>
                  <a:pt x="1566" y="634"/>
                  <a:pt x="1566" y="634"/>
                </a:cubicBezTo>
                <a:cubicBezTo>
                  <a:pt x="1567" y="633"/>
                  <a:pt x="1567" y="633"/>
                  <a:pt x="1567" y="632"/>
                </a:cubicBezTo>
                <a:cubicBezTo>
                  <a:pt x="1567" y="632"/>
                  <a:pt x="1567" y="632"/>
                  <a:pt x="1566" y="632"/>
                </a:cubicBezTo>
                <a:cubicBezTo>
                  <a:pt x="1566" y="632"/>
                  <a:pt x="1566" y="631"/>
                  <a:pt x="1566" y="631"/>
                </a:cubicBezTo>
                <a:cubicBezTo>
                  <a:pt x="1567" y="631"/>
                  <a:pt x="1567" y="631"/>
                  <a:pt x="1567" y="631"/>
                </a:cubicBezTo>
                <a:cubicBezTo>
                  <a:pt x="1567" y="630"/>
                  <a:pt x="1567" y="630"/>
                  <a:pt x="1567" y="630"/>
                </a:cubicBezTo>
                <a:cubicBezTo>
                  <a:pt x="1567" y="630"/>
                  <a:pt x="1567" y="629"/>
                  <a:pt x="1567" y="629"/>
                </a:cubicBezTo>
                <a:cubicBezTo>
                  <a:pt x="1567" y="629"/>
                  <a:pt x="1567" y="629"/>
                  <a:pt x="1567" y="629"/>
                </a:cubicBezTo>
                <a:cubicBezTo>
                  <a:pt x="1567" y="629"/>
                  <a:pt x="1567" y="628"/>
                  <a:pt x="1567" y="628"/>
                </a:cubicBezTo>
                <a:cubicBezTo>
                  <a:pt x="1567" y="628"/>
                  <a:pt x="1568" y="628"/>
                  <a:pt x="1568" y="628"/>
                </a:cubicBezTo>
                <a:cubicBezTo>
                  <a:pt x="1568" y="628"/>
                  <a:pt x="1567" y="627"/>
                  <a:pt x="1567" y="627"/>
                </a:cubicBezTo>
                <a:cubicBezTo>
                  <a:pt x="1567" y="627"/>
                  <a:pt x="1567" y="627"/>
                  <a:pt x="1567" y="627"/>
                </a:cubicBezTo>
                <a:cubicBezTo>
                  <a:pt x="1566" y="627"/>
                  <a:pt x="1566" y="627"/>
                  <a:pt x="1566" y="626"/>
                </a:cubicBezTo>
                <a:cubicBezTo>
                  <a:pt x="1567" y="626"/>
                  <a:pt x="1567" y="625"/>
                  <a:pt x="1567" y="625"/>
                </a:cubicBezTo>
                <a:cubicBezTo>
                  <a:pt x="1567" y="625"/>
                  <a:pt x="1567" y="625"/>
                  <a:pt x="1567" y="624"/>
                </a:cubicBezTo>
                <a:cubicBezTo>
                  <a:pt x="1567" y="624"/>
                  <a:pt x="1567" y="624"/>
                  <a:pt x="1567" y="623"/>
                </a:cubicBezTo>
                <a:cubicBezTo>
                  <a:pt x="1567" y="623"/>
                  <a:pt x="1567" y="623"/>
                  <a:pt x="1566" y="623"/>
                </a:cubicBezTo>
                <a:cubicBezTo>
                  <a:pt x="1567" y="623"/>
                  <a:pt x="1567" y="623"/>
                  <a:pt x="1567" y="622"/>
                </a:cubicBezTo>
                <a:cubicBezTo>
                  <a:pt x="1566" y="622"/>
                  <a:pt x="1566" y="622"/>
                  <a:pt x="1565" y="622"/>
                </a:cubicBezTo>
                <a:cubicBezTo>
                  <a:pt x="1565" y="622"/>
                  <a:pt x="1565" y="623"/>
                  <a:pt x="1565" y="623"/>
                </a:cubicBezTo>
                <a:cubicBezTo>
                  <a:pt x="1565" y="623"/>
                  <a:pt x="1564" y="623"/>
                  <a:pt x="1564" y="624"/>
                </a:cubicBezTo>
                <a:cubicBezTo>
                  <a:pt x="1564" y="624"/>
                  <a:pt x="1564" y="624"/>
                  <a:pt x="1563" y="625"/>
                </a:cubicBezTo>
                <a:cubicBezTo>
                  <a:pt x="1563" y="625"/>
                  <a:pt x="1563" y="625"/>
                  <a:pt x="1563" y="625"/>
                </a:cubicBezTo>
                <a:cubicBezTo>
                  <a:pt x="1563" y="625"/>
                  <a:pt x="1563" y="625"/>
                  <a:pt x="1563" y="626"/>
                </a:cubicBezTo>
                <a:cubicBezTo>
                  <a:pt x="1562" y="625"/>
                  <a:pt x="1562" y="625"/>
                  <a:pt x="1562" y="625"/>
                </a:cubicBezTo>
                <a:cubicBezTo>
                  <a:pt x="1562" y="626"/>
                  <a:pt x="1561" y="626"/>
                  <a:pt x="1561" y="626"/>
                </a:cubicBezTo>
                <a:cubicBezTo>
                  <a:pt x="1561" y="626"/>
                  <a:pt x="1560" y="626"/>
                  <a:pt x="1560" y="627"/>
                </a:cubicBezTo>
                <a:cubicBezTo>
                  <a:pt x="1560" y="627"/>
                  <a:pt x="1560" y="627"/>
                  <a:pt x="1560" y="627"/>
                </a:cubicBezTo>
                <a:cubicBezTo>
                  <a:pt x="1561" y="628"/>
                  <a:pt x="1561" y="628"/>
                  <a:pt x="1561" y="628"/>
                </a:cubicBezTo>
                <a:cubicBezTo>
                  <a:pt x="1561" y="628"/>
                  <a:pt x="1561" y="628"/>
                  <a:pt x="1560" y="628"/>
                </a:cubicBezTo>
                <a:cubicBezTo>
                  <a:pt x="1560" y="628"/>
                  <a:pt x="1560" y="628"/>
                  <a:pt x="1560" y="628"/>
                </a:cubicBezTo>
                <a:cubicBezTo>
                  <a:pt x="1560" y="628"/>
                  <a:pt x="1559" y="628"/>
                  <a:pt x="1559" y="629"/>
                </a:cubicBezTo>
                <a:cubicBezTo>
                  <a:pt x="1559" y="629"/>
                  <a:pt x="1559" y="629"/>
                  <a:pt x="1558" y="629"/>
                </a:cubicBezTo>
                <a:cubicBezTo>
                  <a:pt x="1558" y="629"/>
                  <a:pt x="1559" y="630"/>
                  <a:pt x="1559" y="630"/>
                </a:cubicBezTo>
                <a:cubicBezTo>
                  <a:pt x="1559" y="630"/>
                  <a:pt x="1559" y="630"/>
                  <a:pt x="1558" y="631"/>
                </a:cubicBezTo>
                <a:cubicBezTo>
                  <a:pt x="1558" y="631"/>
                  <a:pt x="1558" y="630"/>
                  <a:pt x="1558" y="630"/>
                </a:cubicBezTo>
                <a:cubicBezTo>
                  <a:pt x="1558" y="630"/>
                  <a:pt x="1557" y="630"/>
                  <a:pt x="1557" y="630"/>
                </a:cubicBezTo>
                <a:cubicBezTo>
                  <a:pt x="1557" y="631"/>
                  <a:pt x="1557" y="631"/>
                  <a:pt x="1556" y="632"/>
                </a:cubicBezTo>
                <a:cubicBezTo>
                  <a:pt x="1556" y="632"/>
                  <a:pt x="1556" y="633"/>
                  <a:pt x="1556" y="633"/>
                </a:cubicBezTo>
                <a:cubicBezTo>
                  <a:pt x="1556" y="633"/>
                  <a:pt x="1555" y="634"/>
                  <a:pt x="1555" y="634"/>
                </a:cubicBezTo>
                <a:cubicBezTo>
                  <a:pt x="1555" y="635"/>
                  <a:pt x="1555" y="635"/>
                  <a:pt x="1555" y="635"/>
                </a:cubicBezTo>
                <a:cubicBezTo>
                  <a:pt x="1555" y="636"/>
                  <a:pt x="1555" y="636"/>
                  <a:pt x="1555" y="636"/>
                </a:cubicBezTo>
                <a:cubicBezTo>
                  <a:pt x="1554" y="636"/>
                  <a:pt x="1554" y="636"/>
                  <a:pt x="1554" y="636"/>
                </a:cubicBezTo>
                <a:cubicBezTo>
                  <a:pt x="1553" y="637"/>
                  <a:pt x="1553" y="637"/>
                  <a:pt x="1553" y="637"/>
                </a:cubicBezTo>
                <a:cubicBezTo>
                  <a:pt x="1553" y="637"/>
                  <a:pt x="1552" y="638"/>
                  <a:pt x="1552" y="638"/>
                </a:cubicBezTo>
                <a:cubicBezTo>
                  <a:pt x="1551" y="639"/>
                  <a:pt x="1551" y="639"/>
                  <a:pt x="1551" y="640"/>
                </a:cubicBezTo>
                <a:cubicBezTo>
                  <a:pt x="1550" y="640"/>
                  <a:pt x="1550" y="640"/>
                  <a:pt x="1550" y="640"/>
                </a:cubicBezTo>
                <a:cubicBezTo>
                  <a:pt x="1550" y="640"/>
                  <a:pt x="1550" y="641"/>
                  <a:pt x="1550" y="641"/>
                </a:cubicBezTo>
                <a:cubicBezTo>
                  <a:pt x="1549" y="641"/>
                  <a:pt x="1549" y="641"/>
                  <a:pt x="1549" y="642"/>
                </a:cubicBezTo>
                <a:cubicBezTo>
                  <a:pt x="1548" y="642"/>
                  <a:pt x="1548" y="642"/>
                  <a:pt x="1548" y="642"/>
                </a:cubicBezTo>
                <a:cubicBezTo>
                  <a:pt x="1547" y="642"/>
                  <a:pt x="1547" y="643"/>
                  <a:pt x="1547" y="643"/>
                </a:cubicBezTo>
                <a:cubicBezTo>
                  <a:pt x="1546" y="643"/>
                  <a:pt x="1546" y="643"/>
                  <a:pt x="1545" y="644"/>
                </a:cubicBezTo>
                <a:cubicBezTo>
                  <a:pt x="1544" y="643"/>
                  <a:pt x="1543" y="643"/>
                  <a:pt x="1542" y="643"/>
                </a:cubicBezTo>
                <a:cubicBezTo>
                  <a:pt x="1542" y="643"/>
                  <a:pt x="1542" y="642"/>
                  <a:pt x="1541" y="642"/>
                </a:cubicBezTo>
                <a:cubicBezTo>
                  <a:pt x="1541" y="642"/>
                  <a:pt x="1541" y="642"/>
                  <a:pt x="1540" y="642"/>
                </a:cubicBezTo>
                <a:cubicBezTo>
                  <a:pt x="1540" y="641"/>
                  <a:pt x="1540" y="641"/>
                  <a:pt x="1540" y="641"/>
                </a:cubicBezTo>
                <a:cubicBezTo>
                  <a:pt x="1540" y="640"/>
                  <a:pt x="1539" y="640"/>
                  <a:pt x="1539" y="640"/>
                </a:cubicBezTo>
                <a:cubicBezTo>
                  <a:pt x="1539" y="640"/>
                  <a:pt x="1539" y="639"/>
                  <a:pt x="1539" y="639"/>
                </a:cubicBezTo>
                <a:cubicBezTo>
                  <a:pt x="1539" y="639"/>
                  <a:pt x="1539" y="639"/>
                  <a:pt x="1539" y="639"/>
                </a:cubicBezTo>
                <a:cubicBezTo>
                  <a:pt x="1539" y="639"/>
                  <a:pt x="1539" y="638"/>
                  <a:pt x="1539" y="638"/>
                </a:cubicBezTo>
                <a:cubicBezTo>
                  <a:pt x="1539" y="638"/>
                  <a:pt x="1539" y="638"/>
                  <a:pt x="1538" y="637"/>
                </a:cubicBezTo>
                <a:cubicBezTo>
                  <a:pt x="1538" y="637"/>
                  <a:pt x="1538" y="637"/>
                  <a:pt x="1537" y="637"/>
                </a:cubicBezTo>
                <a:cubicBezTo>
                  <a:pt x="1537" y="637"/>
                  <a:pt x="1537" y="636"/>
                  <a:pt x="1536" y="636"/>
                </a:cubicBezTo>
                <a:cubicBezTo>
                  <a:pt x="1536" y="636"/>
                  <a:pt x="1536" y="635"/>
                  <a:pt x="1535" y="635"/>
                </a:cubicBezTo>
                <a:cubicBezTo>
                  <a:pt x="1535" y="635"/>
                  <a:pt x="1535" y="635"/>
                  <a:pt x="1535" y="634"/>
                </a:cubicBezTo>
                <a:cubicBezTo>
                  <a:pt x="1535" y="634"/>
                  <a:pt x="1535" y="633"/>
                  <a:pt x="1535" y="633"/>
                </a:cubicBezTo>
                <a:cubicBezTo>
                  <a:pt x="1534" y="633"/>
                  <a:pt x="1534" y="633"/>
                  <a:pt x="1534" y="632"/>
                </a:cubicBezTo>
                <a:cubicBezTo>
                  <a:pt x="1533" y="632"/>
                  <a:pt x="1533" y="632"/>
                  <a:pt x="1533" y="632"/>
                </a:cubicBezTo>
                <a:cubicBezTo>
                  <a:pt x="1533" y="631"/>
                  <a:pt x="1533" y="631"/>
                  <a:pt x="1533" y="631"/>
                </a:cubicBezTo>
                <a:cubicBezTo>
                  <a:pt x="1533" y="631"/>
                  <a:pt x="1533" y="631"/>
                  <a:pt x="1532" y="631"/>
                </a:cubicBezTo>
                <a:cubicBezTo>
                  <a:pt x="1532" y="631"/>
                  <a:pt x="1532" y="630"/>
                  <a:pt x="1532" y="630"/>
                </a:cubicBezTo>
                <a:cubicBezTo>
                  <a:pt x="1532" y="630"/>
                  <a:pt x="1531" y="630"/>
                  <a:pt x="1531" y="630"/>
                </a:cubicBezTo>
                <a:cubicBezTo>
                  <a:pt x="1531" y="630"/>
                  <a:pt x="1531" y="630"/>
                  <a:pt x="1530" y="629"/>
                </a:cubicBezTo>
                <a:cubicBezTo>
                  <a:pt x="1530" y="629"/>
                  <a:pt x="1531" y="629"/>
                  <a:pt x="1531" y="629"/>
                </a:cubicBezTo>
                <a:cubicBezTo>
                  <a:pt x="1530" y="629"/>
                  <a:pt x="1530" y="628"/>
                  <a:pt x="1530" y="628"/>
                </a:cubicBezTo>
                <a:cubicBezTo>
                  <a:pt x="1530" y="628"/>
                  <a:pt x="1530" y="628"/>
                  <a:pt x="1530" y="627"/>
                </a:cubicBezTo>
                <a:cubicBezTo>
                  <a:pt x="1530" y="627"/>
                  <a:pt x="1529" y="626"/>
                  <a:pt x="1529" y="626"/>
                </a:cubicBezTo>
                <a:cubicBezTo>
                  <a:pt x="1529" y="626"/>
                  <a:pt x="1529" y="626"/>
                  <a:pt x="1529" y="626"/>
                </a:cubicBezTo>
                <a:cubicBezTo>
                  <a:pt x="1528" y="625"/>
                  <a:pt x="1528" y="625"/>
                  <a:pt x="1528" y="624"/>
                </a:cubicBezTo>
                <a:cubicBezTo>
                  <a:pt x="1528" y="624"/>
                  <a:pt x="1528" y="624"/>
                  <a:pt x="1528" y="623"/>
                </a:cubicBezTo>
                <a:cubicBezTo>
                  <a:pt x="1529" y="623"/>
                  <a:pt x="1529" y="623"/>
                  <a:pt x="1530" y="623"/>
                </a:cubicBezTo>
                <a:cubicBezTo>
                  <a:pt x="1530" y="623"/>
                  <a:pt x="1530" y="622"/>
                  <a:pt x="1530" y="622"/>
                </a:cubicBezTo>
                <a:cubicBezTo>
                  <a:pt x="1530" y="622"/>
                  <a:pt x="1531" y="622"/>
                  <a:pt x="1531" y="622"/>
                </a:cubicBezTo>
                <a:cubicBezTo>
                  <a:pt x="1531" y="622"/>
                  <a:pt x="1532" y="621"/>
                  <a:pt x="1532" y="621"/>
                </a:cubicBezTo>
                <a:cubicBezTo>
                  <a:pt x="1532" y="621"/>
                  <a:pt x="1532" y="621"/>
                  <a:pt x="1533" y="621"/>
                </a:cubicBezTo>
                <a:cubicBezTo>
                  <a:pt x="1532" y="621"/>
                  <a:pt x="1532" y="621"/>
                  <a:pt x="1532" y="621"/>
                </a:cubicBezTo>
                <a:cubicBezTo>
                  <a:pt x="1531" y="620"/>
                  <a:pt x="1531" y="620"/>
                  <a:pt x="1531" y="620"/>
                </a:cubicBezTo>
                <a:cubicBezTo>
                  <a:pt x="1532" y="620"/>
                  <a:pt x="1532" y="619"/>
                  <a:pt x="1532" y="619"/>
                </a:cubicBezTo>
                <a:cubicBezTo>
                  <a:pt x="1532" y="619"/>
                  <a:pt x="1533" y="619"/>
                  <a:pt x="1533" y="619"/>
                </a:cubicBezTo>
                <a:cubicBezTo>
                  <a:pt x="1533" y="619"/>
                  <a:pt x="1533" y="619"/>
                  <a:pt x="1533" y="619"/>
                </a:cubicBezTo>
                <a:cubicBezTo>
                  <a:pt x="1533" y="619"/>
                  <a:pt x="1533" y="619"/>
                  <a:pt x="1534" y="619"/>
                </a:cubicBezTo>
                <a:cubicBezTo>
                  <a:pt x="1534" y="619"/>
                  <a:pt x="1534" y="619"/>
                  <a:pt x="1534" y="619"/>
                </a:cubicBezTo>
                <a:cubicBezTo>
                  <a:pt x="1534" y="619"/>
                  <a:pt x="1534" y="620"/>
                  <a:pt x="1535" y="620"/>
                </a:cubicBezTo>
                <a:cubicBezTo>
                  <a:pt x="1535" y="620"/>
                  <a:pt x="1535" y="620"/>
                  <a:pt x="1536" y="620"/>
                </a:cubicBezTo>
                <a:cubicBezTo>
                  <a:pt x="1536" y="620"/>
                  <a:pt x="1536" y="619"/>
                  <a:pt x="1536" y="619"/>
                </a:cubicBezTo>
                <a:cubicBezTo>
                  <a:pt x="1536" y="619"/>
                  <a:pt x="1536" y="619"/>
                  <a:pt x="1536" y="618"/>
                </a:cubicBezTo>
                <a:cubicBezTo>
                  <a:pt x="1536" y="618"/>
                  <a:pt x="1536" y="618"/>
                  <a:pt x="1537" y="618"/>
                </a:cubicBezTo>
                <a:cubicBezTo>
                  <a:pt x="1537" y="618"/>
                  <a:pt x="1537" y="618"/>
                  <a:pt x="1537" y="619"/>
                </a:cubicBezTo>
                <a:cubicBezTo>
                  <a:pt x="1538" y="618"/>
                  <a:pt x="1538" y="618"/>
                  <a:pt x="1538" y="618"/>
                </a:cubicBezTo>
                <a:cubicBezTo>
                  <a:pt x="1538" y="618"/>
                  <a:pt x="1539" y="618"/>
                  <a:pt x="1539" y="618"/>
                </a:cubicBezTo>
                <a:cubicBezTo>
                  <a:pt x="1539" y="617"/>
                  <a:pt x="1539" y="617"/>
                  <a:pt x="1540" y="617"/>
                </a:cubicBezTo>
                <a:cubicBezTo>
                  <a:pt x="1540" y="617"/>
                  <a:pt x="1540" y="617"/>
                  <a:pt x="1540" y="617"/>
                </a:cubicBezTo>
                <a:cubicBezTo>
                  <a:pt x="1540" y="617"/>
                  <a:pt x="1539" y="616"/>
                  <a:pt x="1539" y="616"/>
                </a:cubicBezTo>
                <a:cubicBezTo>
                  <a:pt x="1539" y="616"/>
                  <a:pt x="1539" y="616"/>
                  <a:pt x="1538" y="617"/>
                </a:cubicBezTo>
                <a:cubicBezTo>
                  <a:pt x="1538" y="616"/>
                  <a:pt x="1538" y="616"/>
                  <a:pt x="1538" y="616"/>
                </a:cubicBezTo>
                <a:cubicBezTo>
                  <a:pt x="1538" y="616"/>
                  <a:pt x="1538" y="615"/>
                  <a:pt x="1538" y="615"/>
                </a:cubicBezTo>
                <a:cubicBezTo>
                  <a:pt x="1538" y="615"/>
                  <a:pt x="1538" y="615"/>
                  <a:pt x="1537" y="615"/>
                </a:cubicBezTo>
                <a:cubicBezTo>
                  <a:pt x="1537" y="615"/>
                  <a:pt x="1536" y="615"/>
                  <a:pt x="1536" y="615"/>
                </a:cubicBezTo>
                <a:cubicBezTo>
                  <a:pt x="1536" y="616"/>
                  <a:pt x="1536" y="616"/>
                  <a:pt x="1536" y="616"/>
                </a:cubicBezTo>
                <a:cubicBezTo>
                  <a:pt x="1536" y="616"/>
                  <a:pt x="1536" y="616"/>
                  <a:pt x="1536" y="616"/>
                </a:cubicBezTo>
                <a:cubicBezTo>
                  <a:pt x="1536" y="616"/>
                  <a:pt x="1536" y="616"/>
                  <a:pt x="1535" y="616"/>
                </a:cubicBezTo>
                <a:cubicBezTo>
                  <a:pt x="1535" y="616"/>
                  <a:pt x="1535" y="616"/>
                  <a:pt x="1535" y="616"/>
                </a:cubicBezTo>
                <a:cubicBezTo>
                  <a:pt x="1535" y="615"/>
                  <a:pt x="1535" y="615"/>
                  <a:pt x="1535" y="615"/>
                </a:cubicBezTo>
                <a:cubicBezTo>
                  <a:pt x="1535" y="615"/>
                  <a:pt x="1535" y="615"/>
                  <a:pt x="1535" y="615"/>
                </a:cubicBezTo>
                <a:cubicBezTo>
                  <a:pt x="1534" y="615"/>
                  <a:pt x="1534" y="615"/>
                  <a:pt x="1534" y="615"/>
                </a:cubicBezTo>
                <a:cubicBezTo>
                  <a:pt x="1534" y="615"/>
                  <a:pt x="1534" y="615"/>
                  <a:pt x="1533" y="615"/>
                </a:cubicBezTo>
                <a:cubicBezTo>
                  <a:pt x="1534" y="615"/>
                  <a:pt x="1534" y="615"/>
                  <a:pt x="1534" y="614"/>
                </a:cubicBezTo>
                <a:cubicBezTo>
                  <a:pt x="1534" y="614"/>
                  <a:pt x="1534" y="614"/>
                  <a:pt x="1534" y="614"/>
                </a:cubicBezTo>
                <a:cubicBezTo>
                  <a:pt x="1534" y="614"/>
                  <a:pt x="1535" y="614"/>
                  <a:pt x="1535" y="614"/>
                </a:cubicBezTo>
                <a:cubicBezTo>
                  <a:pt x="1534" y="614"/>
                  <a:pt x="1534" y="614"/>
                  <a:pt x="1534" y="614"/>
                </a:cubicBezTo>
                <a:cubicBezTo>
                  <a:pt x="1534" y="614"/>
                  <a:pt x="1534" y="614"/>
                  <a:pt x="1533" y="614"/>
                </a:cubicBezTo>
                <a:cubicBezTo>
                  <a:pt x="1533" y="614"/>
                  <a:pt x="1533" y="614"/>
                  <a:pt x="1532" y="614"/>
                </a:cubicBezTo>
                <a:cubicBezTo>
                  <a:pt x="1532" y="614"/>
                  <a:pt x="1532" y="614"/>
                  <a:pt x="1532" y="614"/>
                </a:cubicBezTo>
                <a:cubicBezTo>
                  <a:pt x="1532" y="614"/>
                  <a:pt x="1532" y="614"/>
                  <a:pt x="1531" y="614"/>
                </a:cubicBezTo>
                <a:cubicBezTo>
                  <a:pt x="1531" y="614"/>
                  <a:pt x="1531" y="614"/>
                  <a:pt x="1531" y="614"/>
                </a:cubicBezTo>
                <a:cubicBezTo>
                  <a:pt x="1531" y="614"/>
                  <a:pt x="1531" y="613"/>
                  <a:pt x="1530" y="613"/>
                </a:cubicBezTo>
                <a:cubicBezTo>
                  <a:pt x="1530" y="613"/>
                  <a:pt x="1531" y="613"/>
                  <a:pt x="1531" y="613"/>
                </a:cubicBezTo>
                <a:cubicBezTo>
                  <a:pt x="1530" y="613"/>
                  <a:pt x="1530" y="612"/>
                  <a:pt x="1530" y="612"/>
                </a:cubicBezTo>
                <a:cubicBezTo>
                  <a:pt x="1530" y="612"/>
                  <a:pt x="1530" y="612"/>
                  <a:pt x="1530" y="612"/>
                </a:cubicBezTo>
                <a:cubicBezTo>
                  <a:pt x="1529" y="612"/>
                  <a:pt x="1529" y="612"/>
                  <a:pt x="1529" y="612"/>
                </a:cubicBezTo>
                <a:cubicBezTo>
                  <a:pt x="1528" y="612"/>
                  <a:pt x="1528" y="611"/>
                  <a:pt x="1528" y="611"/>
                </a:cubicBezTo>
                <a:cubicBezTo>
                  <a:pt x="1528" y="611"/>
                  <a:pt x="1528" y="611"/>
                  <a:pt x="1527" y="611"/>
                </a:cubicBezTo>
                <a:cubicBezTo>
                  <a:pt x="1527" y="611"/>
                  <a:pt x="1527" y="611"/>
                  <a:pt x="1527" y="611"/>
                </a:cubicBezTo>
                <a:cubicBezTo>
                  <a:pt x="1527" y="611"/>
                  <a:pt x="1527" y="610"/>
                  <a:pt x="1527" y="610"/>
                </a:cubicBezTo>
                <a:cubicBezTo>
                  <a:pt x="1527" y="610"/>
                  <a:pt x="1527" y="610"/>
                  <a:pt x="1527" y="609"/>
                </a:cubicBezTo>
                <a:cubicBezTo>
                  <a:pt x="1526" y="609"/>
                  <a:pt x="1526" y="609"/>
                  <a:pt x="1526" y="609"/>
                </a:cubicBezTo>
                <a:cubicBezTo>
                  <a:pt x="1525" y="609"/>
                  <a:pt x="1525" y="609"/>
                  <a:pt x="1525" y="609"/>
                </a:cubicBezTo>
                <a:cubicBezTo>
                  <a:pt x="1524" y="609"/>
                  <a:pt x="1524" y="608"/>
                  <a:pt x="1524" y="608"/>
                </a:cubicBezTo>
                <a:cubicBezTo>
                  <a:pt x="1524" y="608"/>
                  <a:pt x="1524" y="608"/>
                  <a:pt x="1524" y="608"/>
                </a:cubicBezTo>
                <a:cubicBezTo>
                  <a:pt x="1524" y="607"/>
                  <a:pt x="1524" y="607"/>
                  <a:pt x="1524" y="607"/>
                </a:cubicBezTo>
                <a:cubicBezTo>
                  <a:pt x="1524" y="607"/>
                  <a:pt x="1523" y="607"/>
                  <a:pt x="1523" y="607"/>
                </a:cubicBezTo>
                <a:cubicBezTo>
                  <a:pt x="1523" y="607"/>
                  <a:pt x="1523" y="607"/>
                  <a:pt x="1523" y="607"/>
                </a:cubicBezTo>
                <a:cubicBezTo>
                  <a:pt x="1523" y="607"/>
                  <a:pt x="1522" y="607"/>
                  <a:pt x="1522" y="607"/>
                </a:cubicBezTo>
                <a:cubicBezTo>
                  <a:pt x="1522" y="607"/>
                  <a:pt x="1522" y="606"/>
                  <a:pt x="1522" y="606"/>
                </a:cubicBezTo>
                <a:cubicBezTo>
                  <a:pt x="1521" y="606"/>
                  <a:pt x="1521" y="606"/>
                  <a:pt x="1521" y="606"/>
                </a:cubicBezTo>
                <a:cubicBezTo>
                  <a:pt x="1521" y="605"/>
                  <a:pt x="1520" y="605"/>
                  <a:pt x="1520" y="605"/>
                </a:cubicBezTo>
                <a:cubicBezTo>
                  <a:pt x="1520" y="605"/>
                  <a:pt x="1520" y="605"/>
                  <a:pt x="1520" y="605"/>
                </a:cubicBezTo>
                <a:cubicBezTo>
                  <a:pt x="1520" y="605"/>
                  <a:pt x="1520" y="604"/>
                  <a:pt x="1519" y="604"/>
                </a:cubicBezTo>
                <a:cubicBezTo>
                  <a:pt x="1519" y="604"/>
                  <a:pt x="1519" y="604"/>
                  <a:pt x="1518" y="604"/>
                </a:cubicBezTo>
                <a:cubicBezTo>
                  <a:pt x="1519" y="605"/>
                  <a:pt x="1519" y="605"/>
                  <a:pt x="1519" y="605"/>
                </a:cubicBezTo>
                <a:cubicBezTo>
                  <a:pt x="1519" y="605"/>
                  <a:pt x="1519" y="605"/>
                  <a:pt x="1519" y="605"/>
                </a:cubicBezTo>
                <a:cubicBezTo>
                  <a:pt x="1519" y="605"/>
                  <a:pt x="1519" y="606"/>
                  <a:pt x="1520" y="606"/>
                </a:cubicBezTo>
                <a:cubicBezTo>
                  <a:pt x="1520" y="606"/>
                  <a:pt x="1520" y="606"/>
                  <a:pt x="1520" y="606"/>
                </a:cubicBezTo>
                <a:cubicBezTo>
                  <a:pt x="1521" y="606"/>
                  <a:pt x="1521" y="607"/>
                  <a:pt x="1521" y="607"/>
                </a:cubicBezTo>
                <a:cubicBezTo>
                  <a:pt x="1521" y="607"/>
                  <a:pt x="1521" y="607"/>
                  <a:pt x="1521" y="608"/>
                </a:cubicBezTo>
                <a:cubicBezTo>
                  <a:pt x="1521" y="608"/>
                  <a:pt x="1521" y="608"/>
                  <a:pt x="1521" y="609"/>
                </a:cubicBezTo>
                <a:cubicBezTo>
                  <a:pt x="1520" y="609"/>
                  <a:pt x="1520" y="609"/>
                  <a:pt x="1520" y="608"/>
                </a:cubicBezTo>
                <a:cubicBezTo>
                  <a:pt x="1520" y="609"/>
                  <a:pt x="1519" y="609"/>
                  <a:pt x="1519" y="609"/>
                </a:cubicBezTo>
                <a:cubicBezTo>
                  <a:pt x="1519" y="609"/>
                  <a:pt x="1519" y="609"/>
                  <a:pt x="1519" y="609"/>
                </a:cubicBezTo>
                <a:cubicBezTo>
                  <a:pt x="1519" y="608"/>
                  <a:pt x="1519" y="608"/>
                  <a:pt x="1518" y="608"/>
                </a:cubicBezTo>
                <a:cubicBezTo>
                  <a:pt x="1518" y="608"/>
                  <a:pt x="1518" y="608"/>
                  <a:pt x="1518" y="608"/>
                </a:cubicBezTo>
                <a:cubicBezTo>
                  <a:pt x="1517" y="608"/>
                  <a:pt x="1516" y="608"/>
                  <a:pt x="1515" y="607"/>
                </a:cubicBezTo>
                <a:cubicBezTo>
                  <a:pt x="1515" y="607"/>
                  <a:pt x="1515" y="607"/>
                  <a:pt x="1514" y="606"/>
                </a:cubicBezTo>
                <a:cubicBezTo>
                  <a:pt x="1514" y="606"/>
                  <a:pt x="1514" y="606"/>
                  <a:pt x="1514" y="607"/>
                </a:cubicBezTo>
                <a:cubicBezTo>
                  <a:pt x="1514" y="606"/>
                  <a:pt x="1513" y="606"/>
                  <a:pt x="1513" y="606"/>
                </a:cubicBezTo>
                <a:cubicBezTo>
                  <a:pt x="1513" y="607"/>
                  <a:pt x="1513" y="607"/>
                  <a:pt x="1513" y="607"/>
                </a:cubicBezTo>
                <a:cubicBezTo>
                  <a:pt x="1513" y="607"/>
                  <a:pt x="1512" y="607"/>
                  <a:pt x="1512" y="607"/>
                </a:cubicBezTo>
                <a:cubicBezTo>
                  <a:pt x="1512" y="607"/>
                  <a:pt x="1512" y="607"/>
                  <a:pt x="1512" y="608"/>
                </a:cubicBezTo>
                <a:cubicBezTo>
                  <a:pt x="1512" y="608"/>
                  <a:pt x="1512" y="607"/>
                  <a:pt x="1512" y="607"/>
                </a:cubicBezTo>
                <a:cubicBezTo>
                  <a:pt x="1511" y="607"/>
                  <a:pt x="1511" y="607"/>
                  <a:pt x="1511" y="607"/>
                </a:cubicBezTo>
                <a:cubicBezTo>
                  <a:pt x="1511" y="607"/>
                  <a:pt x="1510" y="607"/>
                  <a:pt x="1510" y="607"/>
                </a:cubicBezTo>
                <a:cubicBezTo>
                  <a:pt x="1510" y="607"/>
                  <a:pt x="1510" y="607"/>
                  <a:pt x="1510" y="607"/>
                </a:cubicBezTo>
                <a:cubicBezTo>
                  <a:pt x="1510" y="608"/>
                  <a:pt x="1510" y="608"/>
                  <a:pt x="1510" y="608"/>
                </a:cubicBezTo>
                <a:cubicBezTo>
                  <a:pt x="1510" y="607"/>
                  <a:pt x="1510" y="607"/>
                  <a:pt x="1509" y="607"/>
                </a:cubicBezTo>
                <a:cubicBezTo>
                  <a:pt x="1509" y="607"/>
                  <a:pt x="1509" y="607"/>
                  <a:pt x="1509" y="607"/>
                </a:cubicBezTo>
                <a:cubicBezTo>
                  <a:pt x="1509" y="607"/>
                  <a:pt x="1509" y="608"/>
                  <a:pt x="1509" y="608"/>
                </a:cubicBezTo>
                <a:cubicBezTo>
                  <a:pt x="1509" y="608"/>
                  <a:pt x="1508" y="608"/>
                  <a:pt x="1508" y="608"/>
                </a:cubicBezTo>
                <a:cubicBezTo>
                  <a:pt x="1508" y="608"/>
                  <a:pt x="1508" y="608"/>
                  <a:pt x="1507" y="608"/>
                </a:cubicBezTo>
                <a:cubicBezTo>
                  <a:pt x="1507" y="608"/>
                  <a:pt x="1507" y="608"/>
                  <a:pt x="1507" y="608"/>
                </a:cubicBezTo>
                <a:cubicBezTo>
                  <a:pt x="1507" y="609"/>
                  <a:pt x="1508" y="609"/>
                  <a:pt x="1508" y="609"/>
                </a:cubicBezTo>
                <a:cubicBezTo>
                  <a:pt x="1508" y="609"/>
                  <a:pt x="1508" y="609"/>
                  <a:pt x="1508" y="610"/>
                </a:cubicBezTo>
                <a:cubicBezTo>
                  <a:pt x="1508" y="609"/>
                  <a:pt x="1507" y="609"/>
                  <a:pt x="1507" y="609"/>
                </a:cubicBezTo>
                <a:cubicBezTo>
                  <a:pt x="1507" y="609"/>
                  <a:pt x="1507" y="609"/>
                  <a:pt x="1506" y="609"/>
                </a:cubicBezTo>
                <a:cubicBezTo>
                  <a:pt x="1506" y="609"/>
                  <a:pt x="1506" y="609"/>
                  <a:pt x="1506" y="609"/>
                </a:cubicBezTo>
                <a:cubicBezTo>
                  <a:pt x="1505" y="609"/>
                  <a:pt x="1505" y="609"/>
                  <a:pt x="1504" y="609"/>
                </a:cubicBezTo>
                <a:cubicBezTo>
                  <a:pt x="1504" y="610"/>
                  <a:pt x="1504" y="610"/>
                  <a:pt x="1503" y="610"/>
                </a:cubicBezTo>
                <a:cubicBezTo>
                  <a:pt x="1503" y="610"/>
                  <a:pt x="1503" y="610"/>
                  <a:pt x="1503" y="610"/>
                </a:cubicBezTo>
                <a:cubicBezTo>
                  <a:pt x="1502" y="610"/>
                  <a:pt x="1502" y="611"/>
                  <a:pt x="1502" y="611"/>
                </a:cubicBezTo>
                <a:cubicBezTo>
                  <a:pt x="1502" y="611"/>
                  <a:pt x="1501" y="611"/>
                  <a:pt x="1501" y="611"/>
                </a:cubicBezTo>
                <a:cubicBezTo>
                  <a:pt x="1501" y="611"/>
                  <a:pt x="1501" y="612"/>
                  <a:pt x="1502" y="612"/>
                </a:cubicBezTo>
                <a:cubicBezTo>
                  <a:pt x="1502" y="612"/>
                  <a:pt x="1502" y="612"/>
                  <a:pt x="1503" y="613"/>
                </a:cubicBezTo>
                <a:cubicBezTo>
                  <a:pt x="1503" y="613"/>
                  <a:pt x="1503" y="613"/>
                  <a:pt x="1502" y="612"/>
                </a:cubicBezTo>
                <a:cubicBezTo>
                  <a:pt x="1502" y="613"/>
                  <a:pt x="1502" y="613"/>
                  <a:pt x="1502" y="613"/>
                </a:cubicBezTo>
                <a:cubicBezTo>
                  <a:pt x="1502" y="613"/>
                  <a:pt x="1503" y="614"/>
                  <a:pt x="1503" y="614"/>
                </a:cubicBezTo>
                <a:cubicBezTo>
                  <a:pt x="1503" y="614"/>
                  <a:pt x="1503" y="614"/>
                  <a:pt x="1503" y="614"/>
                </a:cubicBezTo>
                <a:cubicBezTo>
                  <a:pt x="1502" y="614"/>
                  <a:pt x="1502" y="614"/>
                  <a:pt x="1502" y="613"/>
                </a:cubicBezTo>
                <a:cubicBezTo>
                  <a:pt x="1501" y="613"/>
                  <a:pt x="1501" y="613"/>
                  <a:pt x="1501" y="613"/>
                </a:cubicBezTo>
                <a:cubicBezTo>
                  <a:pt x="1501" y="613"/>
                  <a:pt x="1501" y="613"/>
                  <a:pt x="1501" y="613"/>
                </a:cubicBezTo>
                <a:cubicBezTo>
                  <a:pt x="1501" y="614"/>
                  <a:pt x="1502" y="614"/>
                  <a:pt x="1502" y="614"/>
                </a:cubicBezTo>
                <a:cubicBezTo>
                  <a:pt x="1502" y="614"/>
                  <a:pt x="1501" y="615"/>
                  <a:pt x="1501" y="615"/>
                </a:cubicBezTo>
                <a:cubicBezTo>
                  <a:pt x="1502" y="615"/>
                  <a:pt x="1502" y="616"/>
                  <a:pt x="1502" y="616"/>
                </a:cubicBezTo>
                <a:cubicBezTo>
                  <a:pt x="1502" y="615"/>
                  <a:pt x="1501" y="615"/>
                  <a:pt x="1501" y="615"/>
                </a:cubicBezTo>
                <a:cubicBezTo>
                  <a:pt x="1501" y="614"/>
                  <a:pt x="1501" y="614"/>
                  <a:pt x="1501" y="613"/>
                </a:cubicBezTo>
                <a:cubicBezTo>
                  <a:pt x="1500" y="613"/>
                  <a:pt x="1500" y="613"/>
                  <a:pt x="1500" y="613"/>
                </a:cubicBezTo>
                <a:cubicBezTo>
                  <a:pt x="1500" y="613"/>
                  <a:pt x="1500" y="613"/>
                  <a:pt x="1500" y="613"/>
                </a:cubicBezTo>
                <a:cubicBezTo>
                  <a:pt x="1500" y="614"/>
                  <a:pt x="1499" y="614"/>
                  <a:pt x="1499" y="614"/>
                </a:cubicBezTo>
                <a:cubicBezTo>
                  <a:pt x="1499" y="614"/>
                  <a:pt x="1499" y="613"/>
                  <a:pt x="1499" y="613"/>
                </a:cubicBezTo>
                <a:cubicBezTo>
                  <a:pt x="1499" y="613"/>
                  <a:pt x="1498" y="612"/>
                  <a:pt x="1498" y="612"/>
                </a:cubicBezTo>
                <a:cubicBezTo>
                  <a:pt x="1497" y="611"/>
                  <a:pt x="1497" y="611"/>
                  <a:pt x="1496" y="611"/>
                </a:cubicBezTo>
                <a:cubicBezTo>
                  <a:pt x="1496" y="611"/>
                  <a:pt x="1497" y="612"/>
                  <a:pt x="1497" y="612"/>
                </a:cubicBezTo>
                <a:cubicBezTo>
                  <a:pt x="1496" y="612"/>
                  <a:pt x="1496" y="612"/>
                  <a:pt x="1496" y="612"/>
                </a:cubicBezTo>
                <a:cubicBezTo>
                  <a:pt x="1496" y="612"/>
                  <a:pt x="1496" y="612"/>
                  <a:pt x="1496" y="612"/>
                </a:cubicBezTo>
                <a:cubicBezTo>
                  <a:pt x="1496" y="611"/>
                  <a:pt x="1495" y="611"/>
                  <a:pt x="1495" y="611"/>
                </a:cubicBezTo>
                <a:cubicBezTo>
                  <a:pt x="1495" y="611"/>
                  <a:pt x="1495" y="612"/>
                  <a:pt x="1495" y="612"/>
                </a:cubicBezTo>
                <a:cubicBezTo>
                  <a:pt x="1495" y="612"/>
                  <a:pt x="1495" y="612"/>
                  <a:pt x="1495" y="613"/>
                </a:cubicBezTo>
                <a:cubicBezTo>
                  <a:pt x="1495" y="613"/>
                  <a:pt x="1495" y="613"/>
                  <a:pt x="1495" y="613"/>
                </a:cubicBezTo>
                <a:cubicBezTo>
                  <a:pt x="1495" y="613"/>
                  <a:pt x="1495" y="613"/>
                  <a:pt x="1495" y="613"/>
                </a:cubicBezTo>
                <a:cubicBezTo>
                  <a:pt x="1495" y="613"/>
                  <a:pt x="1494" y="612"/>
                  <a:pt x="1494" y="612"/>
                </a:cubicBezTo>
                <a:cubicBezTo>
                  <a:pt x="1494" y="613"/>
                  <a:pt x="1494" y="613"/>
                  <a:pt x="1494" y="613"/>
                </a:cubicBezTo>
                <a:cubicBezTo>
                  <a:pt x="1494" y="613"/>
                  <a:pt x="1493" y="613"/>
                  <a:pt x="1493" y="613"/>
                </a:cubicBezTo>
                <a:cubicBezTo>
                  <a:pt x="1493" y="613"/>
                  <a:pt x="1492" y="613"/>
                  <a:pt x="1492" y="613"/>
                </a:cubicBezTo>
                <a:cubicBezTo>
                  <a:pt x="1492" y="613"/>
                  <a:pt x="1493" y="613"/>
                  <a:pt x="1493" y="613"/>
                </a:cubicBezTo>
                <a:cubicBezTo>
                  <a:pt x="1493" y="612"/>
                  <a:pt x="1494" y="612"/>
                  <a:pt x="1494" y="612"/>
                </a:cubicBezTo>
                <a:cubicBezTo>
                  <a:pt x="1494" y="612"/>
                  <a:pt x="1494" y="611"/>
                  <a:pt x="1494" y="611"/>
                </a:cubicBezTo>
                <a:cubicBezTo>
                  <a:pt x="1495" y="611"/>
                  <a:pt x="1495" y="611"/>
                  <a:pt x="1495" y="611"/>
                </a:cubicBezTo>
                <a:cubicBezTo>
                  <a:pt x="1495" y="610"/>
                  <a:pt x="1495" y="610"/>
                  <a:pt x="1495" y="610"/>
                </a:cubicBezTo>
                <a:cubicBezTo>
                  <a:pt x="1495" y="610"/>
                  <a:pt x="1495" y="610"/>
                  <a:pt x="1494" y="610"/>
                </a:cubicBezTo>
                <a:cubicBezTo>
                  <a:pt x="1494" y="609"/>
                  <a:pt x="1494" y="608"/>
                  <a:pt x="1494" y="607"/>
                </a:cubicBezTo>
                <a:cubicBezTo>
                  <a:pt x="1494" y="607"/>
                  <a:pt x="1494" y="607"/>
                  <a:pt x="1493" y="606"/>
                </a:cubicBezTo>
                <a:cubicBezTo>
                  <a:pt x="1493" y="606"/>
                  <a:pt x="1493" y="606"/>
                  <a:pt x="1492" y="606"/>
                </a:cubicBezTo>
                <a:cubicBezTo>
                  <a:pt x="1492" y="605"/>
                  <a:pt x="1492" y="605"/>
                  <a:pt x="1492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0" y="606"/>
                  <a:pt x="1490" y="606"/>
                  <a:pt x="1490" y="606"/>
                </a:cubicBezTo>
                <a:cubicBezTo>
                  <a:pt x="1490" y="606"/>
                  <a:pt x="1489" y="606"/>
                  <a:pt x="1489" y="606"/>
                </a:cubicBezTo>
                <a:cubicBezTo>
                  <a:pt x="1489" y="606"/>
                  <a:pt x="1489" y="605"/>
                  <a:pt x="1490" y="605"/>
                </a:cubicBezTo>
                <a:cubicBezTo>
                  <a:pt x="1489" y="605"/>
                  <a:pt x="1489" y="605"/>
                  <a:pt x="1489" y="605"/>
                </a:cubicBezTo>
                <a:cubicBezTo>
                  <a:pt x="1489" y="605"/>
                  <a:pt x="1488" y="605"/>
                  <a:pt x="1488" y="606"/>
                </a:cubicBezTo>
                <a:cubicBezTo>
                  <a:pt x="1488" y="605"/>
                  <a:pt x="1488" y="605"/>
                  <a:pt x="1488" y="604"/>
                </a:cubicBezTo>
                <a:cubicBezTo>
                  <a:pt x="1488" y="604"/>
                  <a:pt x="1488" y="604"/>
                  <a:pt x="1488" y="604"/>
                </a:cubicBezTo>
                <a:cubicBezTo>
                  <a:pt x="1488" y="604"/>
                  <a:pt x="1487" y="604"/>
                  <a:pt x="1487" y="605"/>
                </a:cubicBezTo>
                <a:cubicBezTo>
                  <a:pt x="1487" y="605"/>
                  <a:pt x="1488" y="605"/>
                  <a:pt x="1488" y="605"/>
                </a:cubicBezTo>
                <a:cubicBezTo>
                  <a:pt x="1487" y="605"/>
                  <a:pt x="1487" y="605"/>
                  <a:pt x="1487" y="605"/>
                </a:cubicBezTo>
                <a:cubicBezTo>
                  <a:pt x="1487" y="605"/>
                  <a:pt x="1486" y="606"/>
                  <a:pt x="1486" y="606"/>
                </a:cubicBezTo>
                <a:cubicBezTo>
                  <a:pt x="1486" y="606"/>
                  <a:pt x="1486" y="606"/>
                  <a:pt x="1486" y="606"/>
                </a:cubicBezTo>
                <a:cubicBezTo>
                  <a:pt x="1486" y="606"/>
                  <a:pt x="1486" y="606"/>
                  <a:pt x="1485" y="606"/>
                </a:cubicBezTo>
                <a:cubicBezTo>
                  <a:pt x="1485" y="606"/>
                  <a:pt x="1485" y="606"/>
                  <a:pt x="1485" y="606"/>
                </a:cubicBezTo>
                <a:cubicBezTo>
                  <a:pt x="1485" y="606"/>
                  <a:pt x="1485" y="606"/>
                  <a:pt x="1485" y="606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4" y="605"/>
                  <a:pt x="1484" y="605"/>
                </a:cubicBezTo>
                <a:cubicBezTo>
                  <a:pt x="1484" y="605"/>
                  <a:pt x="1483" y="605"/>
                  <a:pt x="1483" y="605"/>
                </a:cubicBezTo>
                <a:cubicBezTo>
                  <a:pt x="1483" y="605"/>
                  <a:pt x="1483" y="605"/>
                  <a:pt x="1483" y="605"/>
                </a:cubicBezTo>
                <a:cubicBezTo>
                  <a:pt x="1482" y="606"/>
                  <a:pt x="1482" y="606"/>
                  <a:pt x="1482" y="606"/>
                </a:cubicBezTo>
                <a:cubicBezTo>
                  <a:pt x="1482" y="606"/>
                  <a:pt x="1483" y="607"/>
                  <a:pt x="1483" y="607"/>
                </a:cubicBezTo>
                <a:cubicBezTo>
                  <a:pt x="1483" y="607"/>
                  <a:pt x="1482" y="607"/>
                  <a:pt x="1482" y="607"/>
                </a:cubicBezTo>
                <a:cubicBezTo>
                  <a:pt x="1482" y="607"/>
                  <a:pt x="1481" y="607"/>
                  <a:pt x="1481" y="606"/>
                </a:cubicBezTo>
                <a:cubicBezTo>
                  <a:pt x="1481" y="607"/>
                  <a:pt x="1480" y="607"/>
                  <a:pt x="1480" y="607"/>
                </a:cubicBezTo>
                <a:cubicBezTo>
                  <a:pt x="1480" y="607"/>
                  <a:pt x="1480" y="607"/>
                  <a:pt x="1480" y="607"/>
                </a:cubicBezTo>
                <a:cubicBezTo>
                  <a:pt x="1480" y="607"/>
                  <a:pt x="1481" y="608"/>
                  <a:pt x="1481" y="608"/>
                </a:cubicBezTo>
                <a:cubicBezTo>
                  <a:pt x="1481" y="608"/>
                  <a:pt x="1481" y="608"/>
                  <a:pt x="1480" y="608"/>
                </a:cubicBezTo>
                <a:cubicBezTo>
                  <a:pt x="1480" y="608"/>
                  <a:pt x="1480" y="608"/>
                  <a:pt x="1480" y="608"/>
                </a:cubicBezTo>
                <a:cubicBezTo>
                  <a:pt x="1480" y="608"/>
                  <a:pt x="1479" y="607"/>
                  <a:pt x="1479" y="607"/>
                </a:cubicBezTo>
                <a:cubicBezTo>
                  <a:pt x="1479" y="607"/>
                  <a:pt x="1479" y="607"/>
                  <a:pt x="1478" y="607"/>
                </a:cubicBezTo>
                <a:cubicBezTo>
                  <a:pt x="1478" y="607"/>
                  <a:pt x="1478" y="607"/>
                  <a:pt x="1477" y="607"/>
                </a:cubicBezTo>
                <a:cubicBezTo>
                  <a:pt x="1477" y="607"/>
                  <a:pt x="1477" y="608"/>
                  <a:pt x="1477" y="608"/>
                </a:cubicBezTo>
                <a:cubicBezTo>
                  <a:pt x="1477" y="608"/>
                  <a:pt x="1477" y="608"/>
                  <a:pt x="1477" y="608"/>
                </a:cubicBezTo>
                <a:cubicBezTo>
                  <a:pt x="1477" y="608"/>
                  <a:pt x="1477" y="609"/>
                  <a:pt x="1477" y="609"/>
                </a:cubicBezTo>
                <a:cubicBezTo>
                  <a:pt x="1477" y="609"/>
                  <a:pt x="1478" y="609"/>
                  <a:pt x="1478" y="609"/>
                </a:cubicBezTo>
                <a:cubicBezTo>
                  <a:pt x="1477" y="609"/>
                  <a:pt x="1477" y="609"/>
                  <a:pt x="1477" y="609"/>
                </a:cubicBezTo>
                <a:cubicBezTo>
                  <a:pt x="1477" y="609"/>
                  <a:pt x="1477" y="610"/>
                  <a:pt x="1477" y="610"/>
                </a:cubicBezTo>
                <a:cubicBezTo>
                  <a:pt x="1477" y="610"/>
                  <a:pt x="1477" y="610"/>
                  <a:pt x="1476" y="610"/>
                </a:cubicBezTo>
                <a:cubicBezTo>
                  <a:pt x="1476" y="610"/>
                  <a:pt x="1476" y="610"/>
                  <a:pt x="1476" y="610"/>
                </a:cubicBezTo>
                <a:cubicBezTo>
                  <a:pt x="1476" y="610"/>
                  <a:pt x="1477" y="611"/>
                  <a:pt x="1477" y="611"/>
                </a:cubicBezTo>
                <a:cubicBezTo>
                  <a:pt x="1477" y="611"/>
                  <a:pt x="1476" y="611"/>
                  <a:pt x="1476" y="611"/>
                </a:cubicBezTo>
                <a:cubicBezTo>
                  <a:pt x="1476" y="611"/>
                  <a:pt x="1476" y="611"/>
                  <a:pt x="1476" y="611"/>
                </a:cubicBezTo>
                <a:cubicBezTo>
                  <a:pt x="1475" y="611"/>
                  <a:pt x="1475" y="611"/>
                  <a:pt x="1475" y="611"/>
                </a:cubicBezTo>
                <a:cubicBezTo>
                  <a:pt x="1475" y="611"/>
                  <a:pt x="1475" y="610"/>
                  <a:pt x="1475" y="610"/>
                </a:cubicBezTo>
                <a:cubicBezTo>
                  <a:pt x="1474" y="610"/>
                  <a:pt x="1474" y="610"/>
                  <a:pt x="1474" y="609"/>
                </a:cubicBezTo>
                <a:cubicBezTo>
                  <a:pt x="1474" y="610"/>
                  <a:pt x="1473" y="610"/>
                  <a:pt x="1473" y="610"/>
                </a:cubicBezTo>
                <a:cubicBezTo>
                  <a:pt x="1473" y="610"/>
                  <a:pt x="1473" y="609"/>
                  <a:pt x="1473" y="609"/>
                </a:cubicBezTo>
                <a:cubicBezTo>
                  <a:pt x="1473" y="609"/>
                  <a:pt x="1473" y="609"/>
                  <a:pt x="1472" y="608"/>
                </a:cubicBezTo>
                <a:cubicBezTo>
                  <a:pt x="1472" y="608"/>
                  <a:pt x="1472" y="609"/>
                  <a:pt x="1472" y="609"/>
                </a:cubicBezTo>
                <a:cubicBezTo>
                  <a:pt x="1472" y="609"/>
                  <a:pt x="1472" y="609"/>
                  <a:pt x="1473" y="610"/>
                </a:cubicBezTo>
                <a:cubicBezTo>
                  <a:pt x="1472" y="610"/>
                  <a:pt x="1472" y="610"/>
                  <a:pt x="1472" y="610"/>
                </a:cubicBezTo>
                <a:cubicBezTo>
                  <a:pt x="1472" y="610"/>
                  <a:pt x="1472" y="610"/>
                  <a:pt x="1471" y="610"/>
                </a:cubicBezTo>
                <a:cubicBezTo>
                  <a:pt x="1472" y="610"/>
                  <a:pt x="1472" y="611"/>
                  <a:pt x="1472" y="611"/>
                </a:cubicBezTo>
                <a:cubicBezTo>
                  <a:pt x="1472" y="611"/>
                  <a:pt x="1473" y="611"/>
                  <a:pt x="1473" y="611"/>
                </a:cubicBezTo>
                <a:cubicBezTo>
                  <a:pt x="1473" y="611"/>
                  <a:pt x="1472" y="612"/>
                  <a:pt x="1472" y="612"/>
                </a:cubicBezTo>
                <a:cubicBezTo>
                  <a:pt x="1472" y="612"/>
                  <a:pt x="1472" y="612"/>
                  <a:pt x="1472" y="612"/>
                </a:cubicBezTo>
                <a:cubicBezTo>
                  <a:pt x="1472" y="612"/>
                  <a:pt x="1472" y="612"/>
                  <a:pt x="1472" y="612"/>
                </a:cubicBezTo>
                <a:cubicBezTo>
                  <a:pt x="1472" y="612"/>
                  <a:pt x="1471" y="612"/>
                  <a:pt x="1471" y="612"/>
                </a:cubicBezTo>
                <a:cubicBezTo>
                  <a:pt x="1471" y="612"/>
                  <a:pt x="1471" y="612"/>
                  <a:pt x="1471" y="613"/>
                </a:cubicBezTo>
                <a:cubicBezTo>
                  <a:pt x="1471" y="613"/>
                  <a:pt x="1471" y="613"/>
                  <a:pt x="1470" y="613"/>
                </a:cubicBezTo>
                <a:cubicBezTo>
                  <a:pt x="1470" y="614"/>
                  <a:pt x="1470" y="614"/>
                  <a:pt x="1470" y="614"/>
                </a:cubicBezTo>
                <a:cubicBezTo>
                  <a:pt x="1470" y="613"/>
                  <a:pt x="1470" y="612"/>
                  <a:pt x="1470" y="611"/>
                </a:cubicBezTo>
                <a:cubicBezTo>
                  <a:pt x="1469" y="611"/>
                  <a:pt x="1469" y="610"/>
                  <a:pt x="1469" y="609"/>
                </a:cubicBezTo>
                <a:cubicBezTo>
                  <a:pt x="1469" y="609"/>
                  <a:pt x="1469" y="609"/>
                  <a:pt x="1469" y="609"/>
                </a:cubicBezTo>
                <a:cubicBezTo>
                  <a:pt x="1469" y="608"/>
                  <a:pt x="1469" y="608"/>
                  <a:pt x="1469" y="608"/>
                </a:cubicBezTo>
                <a:cubicBezTo>
                  <a:pt x="1469" y="608"/>
                  <a:pt x="1469" y="608"/>
                  <a:pt x="1469" y="608"/>
                </a:cubicBezTo>
                <a:cubicBezTo>
                  <a:pt x="1469" y="608"/>
                  <a:pt x="1468" y="608"/>
                  <a:pt x="1468" y="608"/>
                </a:cubicBezTo>
                <a:cubicBezTo>
                  <a:pt x="1468" y="609"/>
                  <a:pt x="1467" y="609"/>
                  <a:pt x="1467" y="609"/>
                </a:cubicBezTo>
                <a:cubicBezTo>
                  <a:pt x="1467" y="609"/>
                  <a:pt x="1467" y="609"/>
                  <a:pt x="1466" y="609"/>
                </a:cubicBezTo>
                <a:cubicBezTo>
                  <a:pt x="1466" y="609"/>
                  <a:pt x="1466" y="609"/>
                  <a:pt x="1466" y="610"/>
                </a:cubicBezTo>
                <a:cubicBezTo>
                  <a:pt x="1466" y="609"/>
                  <a:pt x="1466" y="609"/>
                  <a:pt x="1465" y="609"/>
                </a:cubicBezTo>
                <a:cubicBezTo>
                  <a:pt x="1465" y="609"/>
                  <a:pt x="1465" y="609"/>
                  <a:pt x="1465" y="610"/>
                </a:cubicBezTo>
                <a:cubicBezTo>
                  <a:pt x="1464" y="610"/>
                  <a:pt x="1464" y="610"/>
                  <a:pt x="1464" y="610"/>
                </a:cubicBezTo>
                <a:cubicBezTo>
                  <a:pt x="1464" y="610"/>
                  <a:pt x="1464" y="610"/>
                  <a:pt x="1464" y="611"/>
                </a:cubicBezTo>
                <a:cubicBezTo>
                  <a:pt x="1463" y="611"/>
                  <a:pt x="1463" y="612"/>
                  <a:pt x="1463" y="613"/>
                </a:cubicBezTo>
                <a:cubicBezTo>
                  <a:pt x="1463" y="613"/>
                  <a:pt x="1463" y="613"/>
                  <a:pt x="1463" y="613"/>
                </a:cubicBezTo>
                <a:cubicBezTo>
                  <a:pt x="1463" y="613"/>
                  <a:pt x="1463" y="613"/>
                  <a:pt x="1463" y="613"/>
                </a:cubicBezTo>
                <a:cubicBezTo>
                  <a:pt x="1463" y="614"/>
                  <a:pt x="1462" y="614"/>
                  <a:pt x="1462" y="614"/>
                </a:cubicBezTo>
                <a:cubicBezTo>
                  <a:pt x="1462" y="614"/>
                  <a:pt x="1462" y="614"/>
                  <a:pt x="1461" y="614"/>
                </a:cubicBezTo>
                <a:cubicBezTo>
                  <a:pt x="1461" y="614"/>
                  <a:pt x="1460" y="614"/>
                  <a:pt x="1460" y="614"/>
                </a:cubicBezTo>
                <a:cubicBezTo>
                  <a:pt x="1460" y="614"/>
                  <a:pt x="1460" y="614"/>
                  <a:pt x="1460" y="614"/>
                </a:cubicBezTo>
                <a:cubicBezTo>
                  <a:pt x="1460" y="614"/>
                  <a:pt x="1459" y="614"/>
                  <a:pt x="1459" y="615"/>
                </a:cubicBezTo>
                <a:cubicBezTo>
                  <a:pt x="1459" y="615"/>
                  <a:pt x="1459" y="615"/>
                  <a:pt x="1458" y="615"/>
                </a:cubicBezTo>
                <a:cubicBezTo>
                  <a:pt x="1458" y="615"/>
                  <a:pt x="1458" y="616"/>
                  <a:pt x="1458" y="616"/>
                </a:cubicBezTo>
                <a:cubicBezTo>
                  <a:pt x="1457" y="616"/>
                  <a:pt x="1456" y="616"/>
                  <a:pt x="1456" y="617"/>
                </a:cubicBezTo>
                <a:cubicBezTo>
                  <a:pt x="1455" y="617"/>
                  <a:pt x="1454" y="617"/>
                  <a:pt x="1453" y="617"/>
                </a:cubicBezTo>
                <a:cubicBezTo>
                  <a:pt x="1452" y="617"/>
                  <a:pt x="1451" y="617"/>
                  <a:pt x="1450" y="616"/>
                </a:cubicBezTo>
                <a:cubicBezTo>
                  <a:pt x="1450" y="616"/>
                  <a:pt x="1450" y="616"/>
                  <a:pt x="1449" y="616"/>
                </a:cubicBezTo>
                <a:cubicBezTo>
                  <a:pt x="1449" y="616"/>
                  <a:pt x="1449" y="616"/>
                  <a:pt x="1448" y="616"/>
                </a:cubicBezTo>
                <a:cubicBezTo>
                  <a:pt x="1448" y="616"/>
                  <a:pt x="1447" y="616"/>
                  <a:pt x="1447" y="616"/>
                </a:cubicBezTo>
                <a:cubicBezTo>
                  <a:pt x="1447" y="616"/>
                  <a:pt x="1446" y="615"/>
                  <a:pt x="1446" y="615"/>
                </a:cubicBezTo>
                <a:cubicBezTo>
                  <a:pt x="1445" y="615"/>
                  <a:pt x="1445" y="615"/>
                  <a:pt x="1444" y="615"/>
                </a:cubicBezTo>
                <a:cubicBezTo>
                  <a:pt x="1444" y="615"/>
                  <a:pt x="1444" y="616"/>
                  <a:pt x="1444" y="616"/>
                </a:cubicBezTo>
                <a:cubicBezTo>
                  <a:pt x="1444" y="616"/>
                  <a:pt x="1443" y="616"/>
                  <a:pt x="1443" y="616"/>
                </a:cubicBezTo>
                <a:cubicBezTo>
                  <a:pt x="1442" y="615"/>
                  <a:pt x="1441" y="615"/>
                  <a:pt x="1440" y="615"/>
                </a:cubicBezTo>
                <a:cubicBezTo>
                  <a:pt x="1440" y="615"/>
                  <a:pt x="1440" y="615"/>
                  <a:pt x="1439" y="615"/>
                </a:cubicBezTo>
                <a:cubicBezTo>
                  <a:pt x="1439" y="615"/>
                  <a:pt x="1439" y="615"/>
                  <a:pt x="1439" y="615"/>
                </a:cubicBezTo>
                <a:cubicBezTo>
                  <a:pt x="1438" y="615"/>
                  <a:pt x="1438" y="615"/>
                  <a:pt x="1437" y="615"/>
                </a:cubicBezTo>
                <a:cubicBezTo>
                  <a:pt x="1436" y="615"/>
                  <a:pt x="1436" y="615"/>
                  <a:pt x="1436" y="615"/>
                </a:cubicBezTo>
                <a:cubicBezTo>
                  <a:pt x="1435" y="615"/>
                  <a:pt x="1435" y="615"/>
                  <a:pt x="1435" y="614"/>
                </a:cubicBezTo>
                <a:cubicBezTo>
                  <a:pt x="1435" y="614"/>
                  <a:pt x="1434" y="614"/>
                  <a:pt x="1434" y="614"/>
                </a:cubicBezTo>
                <a:cubicBezTo>
                  <a:pt x="1434" y="614"/>
                  <a:pt x="1434" y="614"/>
                  <a:pt x="1434" y="614"/>
                </a:cubicBezTo>
                <a:cubicBezTo>
                  <a:pt x="1434" y="614"/>
                  <a:pt x="1433" y="614"/>
                  <a:pt x="1433" y="614"/>
                </a:cubicBezTo>
                <a:cubicBezTo>
                  <a:pt x="1433" y="614"/>
                  <a:pt x="1433" y="614"/>
                  <a:pt x="1432" y="614"/>
                </a:cubicBezTo>
                <a:cubicBezTo>
                  <a:pt x="1432" y="614"/>
                  <a:pt x="1431" y="614"/>
                  <a:pt x="1430" y="614"/>
                </a:cubicBezTo>
                <a:cubicBezTo>
                  <a:pt x="1430" y="614"/>
                  <a:pt x="1430" y="614"/>
                  <a:pt x="1430" y="614"/>
                </a:cubicBezTo>
                <a:cubicBezTo>
                  <a:pt x="1430" y="614"/>
                  <a:pt x="1430" y="614"/>
                  <a:pt x="1429" y="614"/>
                </a:cubicBezTo>
                <a:cubicBezTo>
                  <a:pt x="1429" y="614"/>
                  <a:pt x="1428" y="614"/>
                  <a:pt x="1428" y="615"/>
                </a:cubicBezTo>
                <a:cubicBezTo>
                  <a:pt x="1427" y="615"/>
                  <a:pt x="1426" y="615"/>
                  <a:pt x="1426" y="615"/>
                </a:cubicBezTo>
                <a:cubicBezTo>
                  <a:pt x="1425" y="615"/>
                  <a:pt x="1424" y="615"/>
                  <a:pt x="1423" y="615"/>
                </a:cubicBezTo>
                <a:cubicBezTo>
                  <a:pt x="1422" y="615"/>
                  <a:pt x="1422" y="615"/>
                  <a:pt x="1421" y="615"/>
                </a:cubicBezTo>
                <a:cubicBezTo>
                  <a:pt x="1421" y="616"/>
                  <a:pt x="1421" y="616"/>
                  <a:pt x="1421" y="617"/>
                </a:cubicBezTo>
                <a:cubicBezTo>
                  <a:pt x="1420" y="617"/>
                  <a:pt x="1420" y="617"/>
                  <a:pt x="1420" y="617"/>
                </a:cubicBezTo>
                <a:cubicBezTo>
                  <a:pt x="1419" y="617"/>
                  <a:pt x="1419" y="617"/>
                  <a:pt x="1419" y="616"/>
                </a:cubicBezTo>
                <a:cubicBezTo>
                  <a:pt x="1419" y="616"/>
                  <a:pt x="1419" y="616"/>
                  <a:pt x="1420" y="616"/>
                </a:cubicBezTo>
                <a:cubicBezTo>
                  <a:pt x="1420" y="616"/>
                  <a:pt x="1420" y="616"/>
                  <a:pt x="1420" y="615"/>
                </a:cubicBezTo>
                <a:cubicBezTo>
                  <a:pt x="1420" y="615"/>
                  <a:pt x="1420" y="615"/>
                  <a:pt x="1420" y="615"/>
                </a:cubicBezTo>
                <a:cubicBezTo>
                  <a:pt x="1420" y="614"/>
                  <a:pt x="1421" y="614"/>
                  <a:pt x="1421" y="614"/>
                </a:cubicBezTo>
                <a:cubicBezTo>
                  <a:pt x="1420" y="614"/>
                  <a:pt x="1419" y="614"/>
                  <a:pt x="1419" y="614"/>
                </a:cubicBezTo>
                <a:cubicBezTo>
                  <a:pt x="1419" y="615"/>
                  <a:pt x="1418" y="615"/>
                  <a:pt x="1418" y="615"/>
                </a:cubicBezTo>
                <a:cubicBezTo>
                  <a:pt x="1418" y="616"/>
                  <a:pt x="1417" y="616"/>
                  <a:pt x="1417" y="617"/>
                </a:cubicBezTo>
                <a:cubicBezTo>
                  <a:pt x="1417" y="617"/>
                  <a:pt x="1417" y="617"/>
                  <a:pt x="1417" y="618"/>
                </a:cubicBezTo>
                <a:cubicBezTo>
                  <a:pt x="1417" y="618"/>
                  <a:pt x="1416" y="618"/>
                  <a:pt x="1416" y="619"/>
                </a:cubicBezTo>
                <a:cubicBezTo>
                  <a:pt x="1416" y="619"/>
                  <a:pt x="1416" y="620"/>
                  <a:pt x="1416" y="620"/>
                </a:cubicBezTo>
                <a:cubicBezTo>
                  <a:pt x="1415" y="621"/>
                  <a:pt x="1414" y="621"/>
                  <a:pt x="1413" y="621"/>
                </a:cubicBezTo>
                <a:cubicBezTo>
                  <a:pt x="1413" y="622"/>
                  <a:pt x="1412" y="623"/>
                  <a:pt x="1412" y="623"/>
                </a:cubicBezTo>
                <a:cubicBezTo>
                  <a:pt x="1412" y="624"/>
                  <a:pt x="1412" y="624"/>
                  <a:pt x="1412" y="625"/>
                </a:cubicBezTo>
                <a:cubicBezTo>
                  <a:pt x="1412" y="625"/>
                  <a:pt x="1411" y="626"/>
                  <a:pt x="1411" y="626"/>
                </a:cubicBezTo>
                <a:cubicBezTo>
                  <a:pt x="1411" y="627"/>
                  <a:pt x="1412" y="628"/>
                  <a:pt x="1412" y="629"/>
                </a:cubicBezTo>
                <a:cubicBezTo>
                  <a:pt x="1412" y="629"/>
                  <a:pt x="1412" y="629"/>
                  <a:pt x="1412" y="630"/>
                </a:cubicBezTo>
                <a:cubicBezTo>
                  <a:pt x="1412" y="630"/>
                  <a:pt x="1412" y="630"/>
                  <a:pt x="1412" y="631"/>
                </a:cubicBezTo>
                <a:cubicBezTo>
                  <a:pt x="1412" y="631"/>
                  <a:pt x="1412" y="631"/>
                  <a:pt x="1411" y="631"/>
                </a:cubicBezTo>
                <a:cubicBezTo>
                  <a:pt x="1411" y="632"/>
                  <a:pt x="1411" y="632"/>
                  <a:pt x="1411" y="632"/>
                </a:cubicBezTo>
                <a:cubicBezTo>
                  <a:pt x="1411" y="632"/>
                  <a:pt x="1411" y="632"/>
                  <a:pt x="1410" y="632"/>
                </a:cubicBezTo>
                <a:cubicBezTo>
                  <a:pt x="1410" y="632"/>
                  <a:pt x="1410" y="632"/>
                  <a:pt x="1410" y="632"/>
                </a:cubicBezTo>
                <a:cubicBezTo>
                  <a:pt x="1410" y="631"/>
                  <a:pt x="1410" y="631"/>
                  <a:pt x="1410" y="631"/>
                </a:cubicBezTo>
                <a:cubicBezTo>
                  <a:pt x="1410" y="631"/>
                  <a:pt x="1410" y="631"/>
                  <a:pt x="1410" y="631"/>
                </a:cubicBezTo>
                <a:cubicBezTo>
                  <a:pt x="1410" y="631"/>
                  <a:pt x="1410" y="631"/>
                  <a:pt x="1409" y="631"/>
                </a:cubicBezTo>
                <a:cubicBezTo>
                  <a:pt x="1410" y="630"/>
                  <a:pt x="1410" y="630"/>
                  <a:pt x="1410" y="630"/>
                </a:cubicBezTo>
                <a:cubicBezTo>
                  <a:pt x="1410" y="629"/>
                  <a:pt x="1410" y="628"/>
                  <a:pt x="1410" y="628"/>
                </a:cubicBezTo>
                <a:cubicBezTo>
                  <a:pt x="1409" y="628"/>
                  <a:pt x="1409" y="628"/>
                  <a:pt x="1409" y="628"/>
                </a:cubicBezTo>
                <a:cubicBezTo>
                  <a:pt x="1409" y="629"/>
                  <a:pt x="1409" y="629"/>
                  <a:pt x="1408" y="630"/>
                </a:cubicBezTo>
                <a:cubicBezTo>
                  <a:pt x="1409" y="630"/>
                  <a:pt x="1409" y="631"/>
                  <a:pt x="1409" y="631"/>
                </a:cubicBezTo>
                <a:cubicBezTo>
                  <a:pt x="1409" y="632"/>
                  <a:pt x="1410" y="632"/>
                  <a:pt x="1410" y="633"/>
                </a:cubicBezTo>
                <a:cubicBezTo>
                  <a:pt x="1409" y="633"/>
                  <a:pt x="1409" y="633"/>
                  <a:pt x="1408" y="633"/>
                </a:cubicBezTo>
                <a:cubicBezTo>
                  <a:pt x="1408" y="632"/>
                  <a:pt x="1408" y="632"/>
                  <a:pt x="1408" y="631"/>
                </a:cubicBezTo>
                <a:cubicBezTo>
                  <a:pt x="1408" y="631"/>
                  <a:pt x="1408" y="630"/>
                  <a:pt x="1408" y="630"/>
                </a:cubicBezTo>
                <a:cubicBezTo>
                  <a:pt x="1408" y="630"/>
                  <a:pt x="1408" y="630"/>
                  <a:pt x="1407" y="630"/>
                </a:cubicBezTo>
                <a:cubicBezTo>
                  <a:pt x="1407" y="630"/>
                  <a:pt x="1407" y="630"/>
                  <a:pt x="1407" y="630"/>
                </a:cubicBezTo>
                <a:cubicBezTo>
                  <a:pt x="1407" y="631"/>
                  <a:pt x="1407" y="631"/>
                  <a:pt x="1407" y="632"/>
                </a:cubicBezTo>
                <a:cubicBezTo>
                  <a:pt x="1407" y="632"/>
                  <a:pt x="1408" y="633"/>
                  <a:pt x="1408" y="634"/>
                </a:cubicBezTo>
                <a:cubicBezTo>
                  <a:pt x="1408" y="635"/>
                  <a:pt x="1408" y="635"/>
                  <a:pt x="1408" y="636"/>
                </a:cubicBezTo>
                <a:cubicBezTo>
                  <a:pt x="1408" y="637"/>
                  <a:pt x="1407" y="638"/>
                  <a:pt x="1407" y="640"/>
                </a:cubicBezTo>
                <a:cubicBezTo>
                  <a:pt x="1407" y="640"/>
                  <a:pt x="1407" y="640"/>
                  <a:pt x="1407" y="640"/>
                </a:cubicBezTo>
                <a:cubicBezTo>
                  <a:pt x="1407" y="641"/>
                  <a:pt x="1407" y="642"/>
                  <a:pt x="1407" y="643"/>
                </a:cubicBezTo>
                <a:cubicBezTo>
                  <a:pt x="1407" y="644"/>
                  <a:pt x="1407" y="645"/>
                  <a:pt x="1407" y="646"/>
                </a:cubicBezTo>
                <a:cubicBezTo>
                  <a:pt x="1407" y="646"/>
                  <a:pt x="1407" y="646"/>
                  <a:pt x="1407" y="646"/>
                </a:cubicBezTo>
                <a:cubicBezTo>
                  <a:pt x="1406" y="648"/>
                  <a:pt x="1406" y="649"/>
                  <a:pt x="1405" y="650"/>
                </a:cubicBezTo>
                <a:cubicBezTo>
                  <a:pt x="1405" y="651"/>
                  <a:pt x="1405" y="651"/>
                  <a:pt x="1405" y="651"/>
                </a:cubicBezTo>
                <a:cubicBezTo>
                  <a:pt x="1405" y="651"/>
                  <a:pt x="1405" y="652"/>
                  <a:pt x="1405" y="652"/>
                </a:cubicBezTo>
                <a:cubicBezTo>
                  <a:pt x="1405" y="652"/>
                  <a:pt x="1405" y="653"/>
                  <a:pt x="1405" y="653"/>
                </a:cubicBezTo>
                <a:cubicBezTo>
                  <a:pt x="1405" y="654"/>
                  <a:pt x="1405" y="655"/>
                  <a:pt x="1405" y="655"/>
                </a:cubicBezTo>
                <a:cubicBezTo>
                  <a:pt x="1405" y="656"/>
                  <a:pt x="1405" y="656"/>
                  <a:pt x="1405" y="656"/>
                </a:cubicBezTo>
                <a:cubicBezTo>
                  <a:pt x="1404" y="656"/>
                  <a:pt x="1404" y="656"/>
                  <a:pt x="1404" y="656"/>
                </a:cubicBezTo>
                <a:cubicBezTo>
                  <a:pt x="1404" y="657"/>
                  <a:pt x="1404" y="657"/>
                  <a:pt x="1404" y="657"/>
                </a:cubicBezTo>
                <a:cubicBezTo>
                  <a:pt x="1404" y="657"/>
                  <a:pt x="1404" y="657"/>
                  <a:pt x="1403" y="658"/>
                </a:cubicBezTo>
                <a:cubicBezTo>
                  <a:pt x="1403" y="658"/>
                  <a:pt x="1403" y="659"/>
                  <a:pt x="1403" y="659"/>
                </a:cubicBezTo>
                <a:cubicBezTo>
                  <a:pt x="1402" y="659"/>
                  <a:pt x="1402" y="659"/>
                  <a:pt x="1402" y="660"/>
                </a:cubicBezTo>
                <a:cubicBezTo>
                  <a:pt x="1402" y="660"/>
                  <a:pt x="1402" y="660"/>
                  <a:pt x="1402" y="660"/>
                </a:cubicBezTo>
                <a:cubicBezTo>
                  <a:pt x="1402" y="660"/>
                  <a:pt x="1402" y="661"/>
                  <a:pt x="1401" y="661"/>
                </a:cubicBezTo>
                <a:cubicBezTo>
                  <a:pt x="1401" y="661"/>
                  <a:pt x="1401" y="661"/>
                  <a:pt x="1400" y="661"/>
                </a:cubicBezTo>
                <a:cubicBezTo>
                  <a:pt x="1400" y="661"/>
                  <a:pt x="1400" y="662"/>
                  <a:pt x="1400" y="662"/>
                </a:cubicBezTo>
                <a:cubicBezTo>
                  <a:pt x="1400" y="662"/>
                  <a:pt x="1399" y="662"/>
                  <a:pt x="1399" y="663"/>
                </a:cubicBezTo>
                <a:cubicBezTo>
                  <a:pt x="1398" y="662"/>
                  <a:pt x="1398" y="662"/>
                  <a:pt x="1398" y="662"/>
                </a:cubicBezTo>
                <a:cubicBezTo>
                  <a:pt x="1398" y="662"/>
                  <a:pt x="1397" y="663"/>
                  <a:pt x="1397" y="663"/>
                </a:cubicBezTo>
                <a:cubicBezTo>
                  <a:pt x="1396" y="664"/>
                  <a:pt x="1396" y="664"/>
                  <a:pt x="1396" y="665"/>
                </a:cubicBezTo>
                <a:cubicBezTo>
                  <a:pt x="1396" y="665"/>
                  <a:pt x="1396" y="665"/>
                  <a:pt x="1396" y="666"/>
                </a:cubicBezTo>
                <a:cubicBezTo>
                  <a:pt x="1397" y="666"/>
                  <a:pt x="1397" y="666"/>
                  <a:pt x="1397" y="666"/>
                </a:cubicBezTo>
                <a:cubicBezTo>
                  <a:pt x="1397" y="667"/>
                  <a:pt x="1398" y="667"/>
                  <a:pt x="1398" y="668"/>
                </a:cubicBezTo>
                <a:cubicBezTo>
                  <a:pt x="1398" y="668"/>
                  <a:pt x="1398" y="668"/>
                  <a:pt x="1398" y="669"/>
                </a:cubicBezTo>
                <a:cubicBezTo>
                  <a:pt x="1398" y="669"/>
                  <a:pt x="1398" y="669"/>
                  <a:pt x="1398" y="669"/>
                </a:cubicBezTo>
                <a:cubicBezTo>
                  <a:pt x="1399" y="669"/>
                  <a:pt x="1399" y="669"/>
                  <a:pt x="1399" y="669"/>
                </a:cubicBezTo>
                <a:cubicBezTo>
                  <a:pt x="1399" y="670"/>
                  <a:pt x="1399" y="670"/>
                  <a:pt x="1399" y="670"/>
                </a:cubicBezTo>
                <a:cubicBezTo>
                  <a:pt x="1400" y="670"/>
                  <a:pt x="1400" y="670"/>
                  <a:pt x="1401" y="670"/>
                </a:cubicBezTo>
                <a:cubicBezTo>
                  <a:pt x="1401" y="671"/>
                  <a:pt x="1401" y="671"/>
                  <a:pt x="1401" y="671"/>
                </a:cubicBezTo>
                <a:cubicBezTo>
                  <a:pt x="1401" y="671"/>
                  <a:pt x="1401" y="671"/>
                  <a:pt x="1401" y="671"/>
                </a:cubicBezTo>
                <a:cubicBezTo>
                  <a:pt x="1402" y="671"/>
                  <a:pt x="1402" y="671"/>
                  <a:pt x="1402" y="671"/>
                </a:cubicBezTo>
                <a:cubicBezTo>
                  <a:pt x="1402" y="671"/>
                  <a:pt x="1403" y="671"/>
                  <a:pt x="1403" y="672"/>
                </a:cubicBezTo>
                <a:cubicBezTo>
                  <a:pt x="1403" y="672"/>
                  <a:pt x="1403" y="672"/>
                  <a:pt x="1403" y="672"/>
                </a:cubicBezTo>
                <a:cubicBezTo>
                  <a:pt x="1404" y="672"/>
                  <a:pt x="1404" y="672"/>
                  <a:pt x="1404" y="672"/>
                </a:cubicBezTo>
                <a:cubicBezTo>
                  <a:pt x="1404" y="672"/>
                  <a:pt x="1404" y="672"/>
                  <a:pt x="1404" y="672"/>
                </a:cubicBezTo>
                <a:cubicBezTo>
                  <a:pt x="1405" y="672"/>
                  <a:pt x="1405" y="672"/>
                  <a:pt x="1405" y="672"/>
                </a:cubicBezTo>
                <a:cubicBezTo>
                  <a:pt x="1406" y="672"/>
                  <a:pt x="1406" y="673"/>
                  <a:pt x="1406" y="673"/>
                </a:cubicBezTo>
                <a:cubicBezTo>
                  <a:pt x="1407" y="673"/>
                  <a:pt x="1407" y="672"/>
                  <a:pt x="1407" y="672"/>
                </a:cubicBezTo>
                <a:cubicBezTo>
                  <a:pt x="1407" y="672"/>
                  <a:pt x="1407" y="672"/>
                  <a:pt x="1407" y="672"/>
                </a:cubicBezTo>
                <a:cubicBezTo>
                  <a:pt x="1408" y="672"/>
                  <a:pt x="1408" y="672"/>
                  <a:pt x="1408" y="672"/>
                </a:cubicBezTo>
                <a:cubicBezTo>
                  <a:pt x="1409" y="672"/>
                  <a:pt x="1409" y="672"/>
                  <a:pt x="1410" y="672"/>
                </a:cubicBezTo>
                <a:cubicBezTo>
                  <a:pt x="1410" y="672"/>
                  <a:pt x="1410" y="672"/>
                  <a:pt x="1410" y="672"/>
                </a:cubicBezTo>
                <a:cubicBezTo>
                  <a:pt x="1410" y="672"/>
                  <a:pt x="1410" y="672"/>
                  <a:pt x="1411" y="672"/>
                </a:cubicBezTo>
                <a:cubicBezTo>
                  <a:pt x="1411" y="672"/>
                  <a:pt x="1411" y="672"/>
                  <a:pt x="1411" y="672"/>
                </a:cubicBezTo>
                <a:cubicBezTo>
                  <a:pt x="1412" y="672"/>
                  <a:pt x="1412" y="672"/>
                  <a:pt x="1412" y="673"/>
                </a:cubicBezTo>
                <a:cubicBezTo>
                  <a:pt x="1412" y="672"/>
                  <a:pt x="1412" y="672"/>
                  <a:pt x="1413" y="672"/>
                </a:cubicBezTo>
                <a:cubicBezTo>
                  <a:pt x="1413" y="672"/>
                  <a:pt x="1413" y="672"/>
                  <a:pt x="1413" y="672"/>
                </a:cubicBezTo>
                <a:cubicBezTo>
                  <a:pt x="1413" y="672"/>
                  <a:pt x="1413" y="672"/>
                  <a:pt x="1414" y="672"/>
                </a:cubicBezTo>
                <a:cubicBezTo>
                  <a:pt x="1414" y="672"/>
                  <a:pt x="1414" y="672"/>
                  <a:pt x="1414" y="671"/>
                </a:cubicBezTo>
                <a:cubicBezTo>
                  <a:pt x="1415" y="671"/>
                  <a:pt x="1416" y="671"/>
                  <a:pt x="1417" y="671"/>
                </a:cubicBezTo>
                <a:cubicBezTo>
                  <a:pt x="1417" y="671"/>
                  <a:pt x="1417" y="671"/>
                  <a:pt x="1418" y="671"/>
                </a:cubicBezTo>
                <a:cubicBezTo>
                  <a:pt x="1418" y="672"/>
                  <a:pt x="1418" y="672"/>
                  <a:pt x="1418" y="672"/>
                </a:cubicBezTo>
                <a:cubicBezTo>
                  <a:pt x="1418" y="672"/>
                  <a:pt x="1419" y="672"/>
                  <a:pt x="1419" y="672"/>
                </a:cubicBezTo>
                <a:cubicBezTo>
                  <a:pt x="1420" y="672"/>
                  <a:pt x="1421" y="672"/>
                  <a:pt x="1421" y="672"/>
                </a:cubicBezTo>
                <a:cubicBezTo>
                  <a:pt x="1421" y="672"/>
                  <a:pt x="1422" y="672"/>
                  <a:pt x="1422" y="673"/>
                </a:cubicBezTo>
                <a:cubicBezTo>
                  <a:pt x="1422" y="673"/>
                  <a:pt x="1423" y="673"/>
                  <a:pt x="1423" y="673"/>
                </a:cubicBezTo>
                <a:cubicBezTo>
                  <a:pt x="1423" y="673"/>
                  <a:pt x="1423" y="673"/>
                  <a:pt x="1423" y="673"/>
                </a:cubicBezTo>
                <a:cubicBezTo>
                  <a:pt x="1424" y="673"/>
                  <a:pt x="1424" y="673"/>
                  <a:pt x="1424" y="673"/>
                </a:cubicBezTo>
                <a:cubicBezTo>
                  <a:pt x="1424" y="673"/>
                  <a:pt x="1425" y="673"/>
                  <a:pt x="1425" y="673"/>
                </a:cubicBezTo>
                <a:cubicBezTo>
                  <a:pt x="1425" y="674"/>
                  <a:pt x="1425" y="674"/>
                  <a:pt x="1425" y="674"/>
                </a:cubicBezTo>
                <a:cubicBezTo>
                  <a:pt x="1425" y="674"/>
                  <a:pt x="1425" y="674"/>
                  <a:pt x="1426" y="675"/>
                </a:cubicBezTo>
                <a:cubicBezTo>
                  <a:pt x="1426" y="674"/>
                  <a:pt x="1426" y="674"/>
                  <a:pt x="1426" y="674"/>
                </a:cubicBezTo>
                <a:cubicBezTo>
                  <a:pt x="1426" y="675"/>
                  <a:pt x="1427" y="675"/>
                  <a:pt x="1427" y="675"/>
                </a:cubicBezTo>
                <a:cubicBezTo>
                  <a:pt x="1427" y="675"/>
                  <a:pt x="1427" y="675"/>
                  <a:pt x="1427" y="675"/>
                </a:cubicBezTo>
                <a:cubicBezTo>
                  <a:pt x="1428" y="675"/>
                  <a:pt x="1429" y="675"/>
                  <a:pt x="1429" y="675"/>
                </a:cubicBezTo>
                <a:cubicBezTo>
                  <a:pt x="1429" y="676"/>
                  <a:pt x="1429" y="676"/>
                  <a:pt x="1429" y="676"/>
                </a:cubicBezTo>
                <a:cubicBezTo>
                  <a:pt x="1429" y="676"/>
                  <a:pt x="1429" y="676"/>
                  <a:pt x="1429" y="676"/>
                </a:cubicBezTo>
                <a:cubicBezTo>
                  <a:pt x="1429" y="676"/>
                  <a:pt x="1430" y="676"/>
                  <a:pt x="1430" y="676"/>
                </a:cubicBezTo>
                <a:cubicBezTo>
                  <a:pt x="1430" y="676"/>
                  <a:pt x="1431" y="676"/>
                  <a:pt x="1431" y="676"/>
                </a:cubicBezTo>
                <a:cubicBezTo>
                  <a:pt x="1431" y="676"/>
                  <a:pt x="1432" y="676"/>
                  <a:pt x="1432" y="676"/>
                </a:cubicBezTo>
                <a:cubicBezTo>
                  <a:pt x="1433" y="676"/>
                  <a:pt x="1433" y="676"/>
                  <a:pt x="1433" y="675"/>
                </a:cubicBezTo>
                <a:cubicBezTo>
                  <a:pt x="1433" y="675"/>
                  <a:pt x="1433" y="675"/>
                  <a:pt x="1434" y="675"/>
                </a:cubicBezTo>
                <a:cubicBezTo>
                  <a:pt x="1434" y="675"/>
                  <a:pt x="1434" y="675"/>
                  <a:pt x="1435" y="675"/>
                </a:cubicBezTo>
                <a:cubicBezTo>
                  <a:pt x="1435" y="675"/>
                  <a:pt x="1435" y="674"/>
                  <a:pt x="1436" y="674"/>
                </a:cubicBezTo>
                <a:cubicBezTo>
                  <a:pt x="1436" y="674"/>
                  <a:pt x="1437" y="674"/>
                  <a:pt x="1437" y="674"/>
                </a:cubicBezTo>
                <a:cubicBezTo>
                  <a:pt x="1437" y="674"/>
                  <a:pt x="1438" y="674"/>
                  <a:pt x="1438" y="674"/>
                </a:cubicBezTo>
                <a:cubicBezTo>
                  <a:pt x="1438" y="674"/>
                  <a:pt x="1438" y="674"/>
                  <a:pt x="1439" y="674"/>
                </a:cubicBezTo>
                <a:cubicBezTo>
                  <a:pt x="1439" y="674"/>
                  <a:pt x="1440" y="674"/>
                  <a:pt x="1441" y="674"/>
                </a:cubicBezTo>
                <a:cubicBezTo>
                  <a:pt x="1441" y="674"/>
                  <a:pt x="1442" y="674"/>
                  <a:pt x="1443" y="674"/>
                </a:cubicBezTo>
                <a:cubicBezTo>
                  <a:pt x="1444" y="674"/>
                  <a:pt x="1444" y="673"/>
                  <a:pt x="1445" y="673"/>
                </a:cubicBezTo>
                <a:cubicBezTo>
                  <a:pt x="1445" y="673"/>
                  <a:pt x="1445" y="673"/>
                  <a:pt x="1446" y="673"/>
                </a:cubicBezTo>
                <a:cubicBezTo>
                  <a:pt x="1446" y="673"/>
                  <a:pt x="1446" y="673"/>
                  <a:pt x="1446" y="674"/>
                </a:cubicBezTo>
                <a:cubicBezTo>
                  <a:pt x="1447" y="674"/>
                  <a:pt x="1447" y="674"/>
                  <a:pt x="1447" y="674"/>
                </a:cubicBezTo>
                <a:cubicBezTo>
                  <a:pt x="1447" y="674"/>
                  <a:pt x="1448" y="674"/>
                  <a:pt x="1448" y="675"/>
                </a:cubicBezTo>
                <a:cubicBezTo>
                  <a:pt x="1448" y="675"/>
                  <a:pt x="1449" y="675"/>
                  <a:pt x="1449" y="675"/>
                </a:cubicBezTo>
                <a:cubicBezTo>
                  <a:pt x="1450" y="675"/>
                  <a:pt x="1450" y="675"/>
                  <a:pt x="1450" y="675"/>
                </a:cubicBezTo>
                <a:cubicBezTo>
                  <a:pt x="1451" y="675"/>
                  <a:pt x="1451" y="676"/>
                  <a:pt x="1452" y="676"/>
                </a:cubicBezTo>
                <a:cubicBezTo>
                  <a:pt x="1453" y="676"/>
                  <a:pt x="1453" y="676"/>
                  <a:pt x="1454" y="676"/>
                </a:cubicBezTo>
                <a:cubicBezTo>
                  <a:pt x="1455" y="676"/>
                  <a:pt x="1455" y="676"/>
                  <a:pt x="1456" y="676"/>
                </a:cubicBezTo>
                <a:cubicBezTo>
                  <a:pt x="1456" y="676"/>
                  <a:pt x="1457" y="676"/>
                  <a:pt x="1457" y="676"/>
                </a:cubicBezTo>
                <a:cubicBezTo>
                  <a:pt x="1457" y="676"/>
                  <a:pt x="1457" y="676"/>
                  <a:pt x="1458" y="676"/>
                </a:cubicBezTo>
                <a:cubicBezTo>
                  <a:pt x="1458" y="676"/>
                  <a:pt x="1459" y="676"/>
                  <a:pt x="1459" y="676"/>
                </a:cubicBezTo>
                <a:cubicBezTo>
                  <a:pt x="1460" y="676"/>
                  <a:pt x="1460" y="676"/>
                  <a:pt x="1461" y="677"/>
                </a:cubicBezTo>
                <a:cubicBezTo>
                  <a:pt x="1462" y="677"/>
                  <a:pt x="1464" y="677"/>
                  <a:pt x="1466" y="678"/>
                </a:cubicBezTo>
                <a:cubicBezTo>
                  <a:pt x="1466" y="678"/>
                  <a:pt x="1467" y="679"/>
                  <a:pt x="1467" y="679"/>
                </a:cubicBezTo>
                <a:cubicBezTo>
                  <a:pt x="1467" y="679"/>
                  <a:pt x="1468" y="679"/>
                  <a:pt x="1468" y="679"/>
                </a:cubicBezTo>
                <a:cubicBezTo>
                  <a:pt x="1468" y="679"/>
                  <a:pt x="1469" y="679"/>
                  <a:pt x="1469" y="679"/>
                </a:cubicBezTo>
                <a:cubicBezTo>
                  <a:pt x="1470" y="680"/>
                  <a:pt x="1470" y="680"/>
                  <a:pt x="1470" y="680"/>
                </a:cubicBezTo>
                <a:cubicBezTo>
                  <a:pt x="1471" y="680"/>
                  <a:pt x="1471" y="681"/>
                  <a:pt x="1471" y="681"/>
                </a:cubicBezTo>
                <a:cubicBezTo>
                  <a:pt x="1471" y="682"/>
                  <a:pt x="1472" y="682"/>
                  <a:pt x="1472" y="683"/>
                </a:cubicBezTo>
                <a:cubicBezTo>
                  <a:pt x="1472" y="683"/>
                  <a:pt x="1472" y="683"/>
                  <a:pt x="1472" y="684"/>
                </a:cubicBezTo>
                <a:cubicBezTo>
                  <a:pt x="1473" y="684"/>
                  <a:pt x="1473" y="683"/>
                  <a:pt x="1473" y="683"/>
                </a:cubicBezTo>
                <a:cubicBezTo>
                  <a:pt x="1473" y="683"/>
                  <a:pt x="1473" y="683"/>
                  <a:pt x="1474" y="683"/>
                </a:cubicBezTo>
                <a:cubicBezTo>
                  <a:pt x="1474" y="684"/>
                  <a:pt x="1474" y="684"/>
                  <a:pt x="1474" y="684"/>
                </a:cubicBezTo>
                <a:cubicBezTo>
                  <a:pt x="1474" y="684"/>
                  <a:pt x="1474" y="684"/>
                  <a:pt x="1474" y="684"/>
                </a:cubicBezTo>
                <a:cubicBezTo>
                  <a:pt x="1475" y="684"/>
                  <a:pt x="1475" y="684"/>
                  <a:pt x="1475" y="684"/>
                </a:cubicBezTo>
                <a:cubicBezTo>
                  <a:pt x="1475" y="685"/>
                  <a:pt x="1475" y="685"/>
                  <a:pt x="1476" y="686"/>
                </a:cubicBezTo>
                <a:cubicBezTo>
                  <a:pt x="1476" y="686"/>
                  <a:pt x="1476" y="686"/>
                  <a:pt x="1477" y="686"/>
                </a:cubicBezTo>
                <a:cubicBezTo>
                  <a:pt x="1477" y="686"/>
                  <a:pt x="1477" y="686"/>
                  <a:pt x="1477" y="686"/>
                </a:cubicBezTo>
                <a:cubicBezTo>
                  <a:pt x="1478" y="687"/>
                  <a:pt x="1478" y="687"/>
                  <a:pt x="1479" y="688"/>
                </a:cubicBezTo>
                <a:cubicBezTo>
                  <a:pt x="1478" y="688"/>
                  <a:pt x="1478" y="688"/>
                  <a:pt x="1478" y="688"/>
                </a:cubicBezTo>
                <a:cubicBezTo>
                  <a:pt x="1478" y="689"/>
                  <a:pt x="1478" y="689"/>
                  <a:pt x="1479" y="689"/>
                </a:cubicBezTo>
                <a:cubicBezTo>
                  <a:pt x="1479" y="689"/>
                  <a:pt x="1479" y="689"/>
                  <a:pt x="1479" y="689"/>
                </a:cubicBezTo>
                <a:cubicBezTo>
                  <a:pt x="1479" y="690"/>
                  <a:pt x="1479" y="690"/>
                  <a:pt x="1479" y="690"/>
                </a:cubicBezTo>
                <a:cubicBezTo>
                  <a:pt x="1478" y="690"/>
                  <a:pt x="1478" y="690"/>
                  <a:pt x="1478" y="690"/>
                </a:cubicBezTo>
                <a:cubicBezTo>
                  <a:pt x="1478" y="690"/>
                  <a:pt x="1478" y="690"/>
                  <a:pt x="1478" y="690"/>
                </a:cubicBezTo>
                <a:cubicBezTo>
                  <a:pt x="1478" y="691"/>
                  <a:pt x="1478" y="691"/>
                  <a:pt x="1478" y="692"/>
                </a:cubicBezTo>
                <a:cubicBezTo>
                  <a:pt x="1478" y="692"/>
                  <a:pt x="1478" y="692"/>
                  <a:pt x="1478" y="692"/>
                </a:cubicBezTo>
                <a:cubicBezTo>
                  <a:pt x="1479" y="692"/>
                  <a:pt x="1479" y="693"/>
                  <a:pt x="1479" y="693"/>
                </a:cubicBezTo>
                <a:cubicBezTo>
                  <a:pt x="1479" y="693"/>
                  <a:pt x="1479" y="694"/>
                  <a:pt x="1479" y="694"/>
                </a:cubicBezTo>
                <a:cubicBezTo>
                  <a:pt x="1479" y="694"/>
                  <a:pt x="1479" y="695"/>
                  <a:pt x="1478" y="695"/>
                </a:cubicBezTo>
                <a:cubicBezTo>
                  <a:pt x="1478" y="695"/>
                  <a:pt x="1479" y="696"/>
                  <a:pt x="1479" y="697"/>
                </a:cubicBezTo>
                <a:cubicBezTo>
                  <a:pt x="1478" y="697"/>
                  <a:pt x="1478" y="697"/>
                  <a:pt x="1478" y="697"/>
                </a:cubicBezTo>
                <a:cubicBezTo>
                  <a:pt x="1478" y="698"/>
                  <a:pt x="1478" y="698"/>
                  <a:pt x="1478" y="698"/>
                </a:cubicBezTo>
                <a:cubicBezTo>
                  <a:pt x="1478" y="698"/>
                  <a:pt x="1478" y="699"/>
                  <a:pt x="1478" y="699"/>
                </a:cubicBezTo>
                <a:cubicBezTo>
                  <a:pt x="1478" y="699"/>
                  <a:pt x="1477" y="699"/>
                  <a:pt x="1477" y="699"/>
                </a:cubicBezTo>
                <a:cubicBezTo>
                  <a:pt x="1477" y="699"/>
                  <a:pt x="1477" y="699"/>
                  <a:pt x="1477" y="699"/>
                </a:cubicBezTo>
                <a:cubicBezTo>
                  <a:pt x="1477" y="699"/>
                  <a:pt x="1477" y="699"/>
                  <a:pt x="1476" y="699"/>
                </a:cubicBezTo>
                <a:cubicBezTo>
                  <a:pt x="1477" y="699"/>
                  <a:pt x="1477" y="700"/>
                  <a:pt x="1477" y="700"/>
                </a:cubicBezTo>
                <a:cubicBezTo>
                  <a:pt x="1477" y="700"/>
                  <a:pt x="1477" y="700"/>
                  <a:pt x="1477" y="700"/>
                </a:cubicBezTo>
                <a:cubicBezTo>
                  <a:pt x="1477" y="701"/>
                  <a:pt x="1477" y="701"/>
                  <a:pt x="1477" y="701"/>
                </a:cubicBezTo>
                <a:cubicBezTo>
                  <a:pt x="1478" y="701"/>
                  <a:pt x="1478" y="701"/>
                  <a:pt x="1478" y="701"/>
                </a:cubicBezTo>
                <a:cubicBezTo>
                  <a:pt x="1478" y="701"/>
                  <a:pt x="1478" y="702"/>
                  <a:pt x="1479" y="702"/>
                </a:cubicBezTo>
                <a:cubicBezTo>
                  <a:pt x="1479" y="702"/>
                  <a:pt x="1479" y="702"/>
                  <a:pt x="1479" y="701"/>
                </a:cubicBezTo>
                <a:cubicBezTo>
                  <a:pt x="1479" y="701"/>
                  <a:pt x="1479" y="701"/>
                  <a:pt x="1479" y="701"/>
                </a:cubicBezTo>
                <a:cubicBezTo>
                  <a:pt x="1479" y="701"/>
                  <a:pt x="1479" y="701"/>
                  <a:pt x="1479" y="700"/>
                </a:cubicBezTo>
                <a:cubicBezTo>
                  <a:pt x="1480" y="700"/>
                  <a:pt x="1480" y="700"/>
                  <a:pt x="1480" y="700"/>
                </a:cubicBezTo>
                <a:cubicBezTo>
                  <a:pt x="1480" y="700"/>
                  <a:pt x="1480" y="700"/>
                  <a:pt x="1481" y="700"/>
                </a:cubicBezTo>
                <a:cubicBezTo>
                  <a:pt x="1481" y="700"/>
                  <a:pt x="1481" y="700"/>
                  <a:pt x="1481" y="700"/>
                </a:cubicBezTo>
                <a:cubicBezTo>
                  <a:pt x="1482" y="700"/>
                  <a:pt x="1482" y="700"/>
                  <a:pt x="1482" y="700"/>
                </a:cubicBezTo>
                <a:cubicBezTo>
                  <a:pt x="1482" y="700"/>
                  <a:pt x="1482" y="699"/>
                  <a:pt x="1483" y="699"/>
                </a:cubicBezTo>
                <a:cubicBezTo>
                  <a:pt x="1483" y="699"/>
                  <a:pt x="1483" y="699"/>
                  <a:pt x="1484" y="699"/>
                </a:cubicBezTo>
                <a:cubicBezTo>
                  <a:pt x="1484" y="699"/>
                  <a:pt x="1485" y="699"/>
                  <a:pt x="1486" y="699"/>
                </a:cubicBezTo>
                <a:cubicBezTo>
                  <a:pt x="1486" y="699"/>
                  <a:pt x="1486" y="698"/>
                  <a:pt x="1486" y="698"/>
                </a:cubicBezTo>
                <a:cubicBezTo>
                  <a:pt x="1486" y="698"/>
                  <a:pt x="1486" y="698"/>
                  <a:pt x="1486" y="698"/>
                </a:cubicBezTo>
                <a:cubicBezTo>
                  <a:pt x="1487" y="698"/>
                  <a:pt x="1488" y="698"/>
                  <a:pt x="1488" y="698"/>
                </a:cubicBezTo>
                <a:cubicBezTo>
                  <a:pt x="1488" y="698"/>
                  <a:pt x="1489" y="698"/>
                  <a:pt x="1489" y="698"/>
                </a:cubicBezTo>
                <a:cubicBezTo>
                  <a:pt x="1489" y="697"/>
                  <a:pt x="1490" y="697"/>
                  <a:pt x="1491" y="697"/>
                </a:cubicBezTo>
                <a:cubicBezTo>
                  <a:pt x="1491" y="697"/>
                  <a:pt x="1491" y="697"/>
                  <a:pt x="1492" y="697"/>
                </a:cubicBezTo>
                <a:cubicBezTo>
                  <a:pt x="1492" y="697"/>
                  <a:pt x="1492" y="697"/>
                  <a:pt x="1493" y="697"/>
                </a:cubicBezTo>
                <a:cubicBezTo>
                  <a:pt x="1493" y="696"/>
                  <a:pt x="1493" y="696"/>
                  <a:pt x="1493" y="696"/>
                </a:cubicBezTo>
                <a:cubicBezTo>
                  <a:pt x="1493" y="695"/>
                  <a:pt x="1493" y="695"/>
                  <a:pt x="1493" y="695"/>
                </a:cubicBezTo>
                <a:cubicBezTo>
                  <a:pt x="1493" y="695"/>
                  <a:pt x="1493" y="696"/>
                  <a:pt x="1493" y="696"/>
                </a:cubicBezTo>
                <a:cubicBezTo>
                  <a:pt x="1493" y="696"/>
                  <a:pt x="1493" y="697"/>
                  <a:pt x="1493" y="697"/>
                </a:cubicBezTo>
                <a:cubicBezTo>
                  <a:pt x="1493" y="697"/>
                  <a:pt x="1493" y="698"/>
                  <a:pt x="1492" y="698"/>
                </a:cubicBezTo>
                <a:cubicBezTo>
                  <a:pt x="1492" y="698"/>
                  <a:pt x="1492" y="698"/>
                  <a:pt x="1492" y="698"/>
                </a:cubicBezTo>
                <a:cubicBezTo>
                  <a:pt x="1491" y="699"/>
                  <a:pt x="1491" y="699"/>
                  <a:pt x="1491" y="700"/>
                </a:cubicBezTo>
                <a:cubicBezTo>
                  <a:pt x="1490" y="700"/>
                  <a:pt x="1489" y="700"/>
                  <a:pt x="1489" y="700"/>
                </a:cubicBezTo>
                <a:cubicBezTo>
                  <a:pt x="1488" y="700"/>
                  <a:pt x="1488" y="700"/>
                  <a:pt x="1488" y="701"/>
                </a:cubicBezTo>
                <a:cubicBezTo>
                  <a:pt x="1488" y="701"/>
                  <a:pt x="1488" y="701"/>
                  <a:pt x="1487" y="701"/>
                </a:cubicBezTo>
                <a:cubicBezTo>
                  <a:pt x="1487" y="701"/>
                  <a:pt x="1487" y="702"/>
                  <a:pt x="1487" y="702"/>
                </a:cubicBezTo>
                <a:cubicBezTo>
                  <a:pt x="1487" y="702"/>
                  <a:pt x="1486" y="702"/>
                  <a:pt x="1486" y="703"/>
                </a:cubicBezTo>
                <a:cubicBezTo>
                  <a:pt x="1486" y="703"/>
                  <a:pt x="1486" y="703"/>
                  <a:pt x="1486" y="703"/>
                </a:cubicBezTo>
                <a:cubicBezTo>
                  <a:pt x="1485" y="704"/>
                  <a:pt x="1485" y="704"/>
                  <a:pt x="1484" y="704"/>
                </a:cubicBezTo>
                <a:cubicBezTo>
                  <a:pt x="1484" y="704"/>
                  <a:pt x="1483" y="704"/>
                  <a:pt x="1482" y="703"/>
                </a:cubicBezTo>
                <a:cubicBezTo>
                  <a:pt x="1482" y="704"/>
                  <a:pt x="1482" y="704"/>
                  <a:pt x="1482" y="704"/>
                </a:cubicBezTo>
                <a:cubicBezTo>
                  <a:pt x="1481" y="704"/>
                  <a:pt x="1481" y="705"/>
                  <a:pt x="1481" y="705"/>
                </a:cubicBezTo>
                <a:cubicBezTo>
                  <a:pt x="1481" y="705"/>
                  <a:pt x="1481" y="705"/>
                  <a:pt x="1481" y="705"/>
                </a:cubicBezTo>
                <a:cubicBezTo>
                  <a:pt x="1481" y="705"/>
                  <a:pt x="1482" y="705"/>
                  <a:pt x="1482" y="705"/>
                </a:cubicBezTo>
                <a:cubicBezTo>
                  <a:pt x="1482" y="705"/>
                  <a:pt x="1483" y="705"/>
                  <a:pt x="1483" y="705"/>
                </a:cubicBezTo>
                <a:cubicBezTo>
                  <a:pt x="1484" y="706"/>
                  <a:pt x="1484" y="706"/>
                  <a:pt x="1485" y="706"/>
                </a:cubicBezTo>
                <a:cubicBezTo>
                  <a:pt x="1485" y="706"/>
                  <a:pt x="1486" y="705"/>
                  <a:pt x="1487" y="705"/>
                </a:cubicBezTo>
                <a:cubicBezTo>
                  <a:pt x="1487" y="704"/>
                  <a:pt x="1488" y="704"/>
                  <a:pt x="1488" y="703"/>
                </a:cubicBezTo>
                <a:cubicBezTo>
                  <a:pt x="1488" y="703"/>
                  <a:pt x="1489" y="703"/>
                  <a:pt x="1489" y="703"/>
                </a:cubicBezTo>
                <a:cubicBezTo>
                  <a:pt x="1490" y="703"/>
                  <a:pt x="1490" y="703"/>
                  <a:pt x="1490" y="703"/>
                </a:cubicBezTo>
                <a:cubicBezTo>
                  <a:pt x="1489" y="704"/>
                  <a:pt x="1489" y="704"/>
                  <a:pt x="1489" y="705"/>
                </a:cubicBezTo>
                <a:cubicBezTo>
                  <a:pt x="1489" y="705"/>
                  <a:pt x="1489" y="706"/>
                  <a:pt x="1489" y="706"/>
                </a:cubicBezTo>
                <a:cubicBezTo>
                  <a:pt x="1489" y="706"/>
                  <a:pt x="1489" y="706"/>
                  <a:pt x="1489" y="706"/>
                </a:cubicBezTo>
                <a:cubicBezTo>
                  <a:pt x="1488" y="706"/>
                  <a:pt x="1488" y="707"/>
                  <a:pt x="1488" y="708"/>
                </a:cubicBezTo>
                <a:cubicBezTo>
                  <a:pt x="1488" y="708"/>
                  <a:pt x="1487" y="708"/>
                  <a:pt x="1487" y="709"/>
                </a:cubicBezTo>
                <a:cubicBezTo>
                  <a:pt x="1486" y="709"/>
                  <a:pt x="1485" y="709"/>
                  <a:pt x="1485" y="708"/>
                </a:cubicBezTo>
                <a:cubicBezTo>
                  <a:pt x="1485" y="709"/>
                  <a:pt x="1485" y="709"/>
                  <a:pt x="1485" y="709"/>
                </a:cubicBezTo>
                <a:cubicBezTo>
                  <a:pt x="1485" y="709"/>
                  <a:pt x="1486" y="709"/>
                  <a:pt x="1486" y="709"/>
                </a:cubicBezTo>
                <a:cubicBezTo>
                  <a:pt x="1486" y="709"/>
                  <a:pt x="1487" y="710"/>
                  <a:pt x="1487" y="710"/>
                </a:cubicBezTo>
                <a:cubicBezTo>
                  <a:pt x="1487" y="710"/>
                  <a:pt x="1487" y="710"/>
                  <a:pt x="1488" y="710"/>
                </a:cubicBezTo>
                <a:cubicBezTo>
                  <a:pt x="1488" y="710"/>
                  <a:pt x="1488" y="710"/>
                  <a:pt x="1488" y="710"/>
                </a:cubicBezTo>
                <a:cubicBezTo>
                  <a:pt x="1489" y="710"/>
                  <a:pt x="1489" y="710"/>
                  <a:pt x="1489" y="709"/>
                </a:cubicBezTo>
                <a:cubicBezTo>
                  <a:pt x="1490" y="710"/>
                  <a:pt x="1490" y="710"/>
                  <a:pt x="1490" y="710"/>
                </a:cubicBezTo>
                <a:cubicBezTo>
                  <a:pt x="1490" y="710"/>
                  <a:pt x="1490" y="710"/>
                  <a:pt x="1491" y="710"/>
                </a:cubicBezTo>
                <a:cubicBezTo>
                  <a:pt x="1490" y="710"/>
                  <a:pt x="1490" y="710"/>
                  <a:pt x="1490" y="710"/>
                </a:cubicBezTo>
                <a:cubicBezTo>
                  <a:pt x="1490" y="711"/>
                  <a:pt x="1490" y="711"/>
                  <a:pt x="1489" y="711"/>
                </a:cubicBezTo>
                <a:cubicBezTo>
                  <a:pt x="1489" y="711"/>
                  <a:pt x="1489" y="711"/>
                  <a:pt x="1489" y="711"/>
                </a:cubicBezTo>
                <a:cubicBezTo>
                  <a:pt x="1488" y="711"/>
                  <a:pt x="1488" y="711"/>
                  <a:pt x="1488" y="711"/>
                </a:cubicBezTo>
                <a:cubicBezTo>
                  <a:pt x="1488" y="711"/>
                  <a:pt x="1488" y="712"/>
                  <a:pt x="1489" y="712"/>
                </a:cubicBezTo>
                <a:cubicBezTo>
                  <a:pt x="1489" y="712"/>
                  <a:pt x="1489" y="713"/>
                  <a:pt x="1489" y="713"/>
                </a:cubicBezTo>
                <a:cubicBezTo>
                  <a:pt x="1489" y="713"/>
                  <a:pt x="1489" y="714"/>
                  <a:pt x="1489" y="714"/>
                </a:cubicBezTo>
                <a:cubicBezTo>
                  <a:pt x="1488" y="715"/>
                  <a:pt x="1488" y="715"/>
                  <a:pt x="1488" y="715"/>
                </a:cubicBezTo>
                <a:cubicBezTo>
                  <a:pt x="1488" y="716"/>
                  <a:pt x="1488" y="716"/>
                  <a:pt x="1487" y="717"/>
                </a:cubicBezTo>
                <a:cubicBezTo>
                  <a:pt x="1487" y="717"/>
                  <a:pt x="1486" y="717"/>
                  <a:pt x="1486" y="717"/>
                </a:cubicBezTo>
                <a:cubicBezTo>
                  <a:pt x="1486" y="718"/>
                  <a:pt x="1486" y="718"/>
                  <a:pt x="1486" y="718"/>
                </a:cubicBezTo>
                <a:cubicBezTo>
                  <a:pt x="1486" y="718"/>
                  <a:pt x="1485" y="719"/>
                  <a:pt x="1485" y="719"/>
                </a:cubicBezTo>
                <a:cubicBezTo>
                  <a:pt x="1485" y="719"/>
                  <a:pt x="1486" y="720"/>
                  <a:pt x="1486" y="720"/>
                </a:cubicBezTo>
                <a:cubicBezTo>
                  <a:pt x="1486" y="720"/>
                  <a:pt x="1486" y="721"/>
                  <a:pt x="1486" y="721"/>
                </a:cubicBezTo>
                <a:cubicBezTo>
                  <a:pt x="1486" y="721"/>
                  <a:pt x="1486" y="722"/>
                  <a:pt x="1486" y="722"/>
                </a:cubicBezTo>
                <a:cubicBezTo>
                  <a:pt x="1486" y="723"/>
                  <a:pt x="1486" y="724"/>
                  <a:pt x="1486" y="724"/>
                </a:cubicBezTo>
                <a:cubicBezTo>
                  <a:pt x="1487" y="725"/>
                  <a:pt x="1487" y="725"/>
                  <a:pt x="1487" y="725"/>
                </a:cubicBezTo>
                <a:cubicBezTo>
                  <a:pt x="1488" y="725"/>
                  <a:pt x="1488" y="726"/>
                  <a:pt x="1488" y="726"/>
                </a:cubicBezTo>
                <a:cubicBezTo>
                  <a:pt x="1488" y="726"/>
                  <a:pt x="1488" y="727"/>
                  <a:pt x="1488" y="727"/>
                </a:cubicBezTo>
                <a:cubicBezTo>
                  <a:pt x="1488" y="727"/>
                  <a:pt x="1488" y="727"/>
                  <a:pt x="1489" y="727"/>
                </a:cubicBezTo>
                <a:cubicBezTo>
                  <a:pt x="1489" y="727"/>
                  <a:pt x="1489" y="727"/>
                  <a:pt x="1489" y="727"/>
                </a:cubicBezTo>
                <a:cubicBezTo>
                  <a:pt x="1489" y="727"/>
                  <a:pt x="1489" y="727"/>
                  <a:pt x="1490" y="727"/>
                </a:cubicBezTo>
                <a:cubicBezTo>
                  <a:pt x="1490" y="727"/>
                  <a:pt x="1490" y="728"/>
                  <a:pt x="1491" y="728"/>
                </a:cubicBezTo>
                <a:cubicBezTo>
                  <a:pt x="1491" y="728"/>
                  <a:pt x="1491" y="729"/>
                  <a:pt x="1491" y="729"/>
                </a:cubicBezTo>
                <a:cubicBezTo>
                  <a:pt x="1491" y="729"/>
                  <a:pt x="1492" y="729"/>
                  <a:pt x="1492" y="729"/>
                </a:cubicBezTo>
                <a:cubicBezTo>
                  <a:pt x="1492" y="730"/>
                  <a:pt x="1492" y="730"/>
                  <a:pt x="1493" y="731"/>
                </a:cubicBezTo>
                <a:cubicBezTo>
                  <a:pt x="1493" y="731"/>
                  <a:pt x="1492" y="731"/>
                  <a:pt x="1492" y="731"/>
                </a:cubicBezTo>
                <a:cubicBezTo>
                  <a:pt x="1493" y="732"/>
                  <a:pt x="1493" y="732"/>
                  <a:pt x="1493" y="732"/>
                </a:cubicBezTo>
                <a:cubicBezTo>
                  <a:pt x="1493" y="732"/>
                  <a:pt x="1493" y="733"/>
                  <a:pt x="1494" y="733"/>
                </a:cubicBezTo>
                <a:cubicBezTo>
                  <a:pt x="1494" y="733"/>
                  <a:pt x="1494" y="733"/>
                  <a:pt x="1494" y="733"/>
                </a:cubicBezTo>
                <a:cubicBezTo>
                  <a:pt x="1494" y="733"/>
                  <a:pt x="1494" y="733"/>
                  <a:pt x="1495" y="733"/>
                </a:cubicBezTo>
                <a:cubicBezTo>
                  <a:pt x="1495" y="733"/>
                  <a:pt x="1496" y="733"/>
                  <a:pt x="1496" y="733"/>
                </a:cubicBezTo>
                <a:cubicBezTo>
                  <a:pt x="1497" y="733"/>
                  <a:pt x="1497" y="733"/>
                  <a:pt x="1497" y="733"/>
                </a:cubicBezTo>
                <a:cubicBezTo>
                  <a:pt x="1498" y="733"/>
                  <a:pt x="1498" y="733"/>
                  <a:pt x="1498" y="733"/>
                </a:cubicBezTo>
                <a:cubicBezTo>
                  <a:pt x="1499" y="733"/>
                  <a:pt x="1499" y="733"/>
                  <a:pt x="1500" y="733"/>
                </a:cubicBezTo>
                <a:cubicBezTo>
                  <a:pt x="1500" y="733"/>
                  <a:pt x="1500" y="733"/>
                  <a:pt x="1500" y="733"/>
                </a:cubicBezTo>
                <a:cubicBezTo>
                  <a:pt x="1500" y="733"/>
                  <a:pt x="1501" y="733"/>
                  <a:pt x="1501" y="733"/>
                </a:cubicBezTo>
                <a:cubicBezTo>
                  <a:pt x="1501" y="733"/>
                  <a:pt x="1501" y="733"/>
                  <a:pt x="1501" y="732"/>
                </a:cubicBezTo>
                <a:cubicBezTo>
                  <a:pt x="1500" y="732"/>
                  <a:pt x="1500" y="732"/>
                  <a:pt x="1500" y="732"/>
                </a:cubicBezTo>
                <a:cubicBezTo>
                  <a:pt x="1500" y="732"/>
                  <a:pt x="1500" y="732"/>
                  <a:pt x="1500" y="732"/>
                </a:cubicBezTo>
                <a:cubicBezTo>
                  <a:pt x="1501" y="731"/>
                  <a:pt x="1502" y="731"/>
                  <a:pt x="1502" y="731"/>
                </a:cubicBezTo>
                <a:cubicBezTo>
                  <a:pt x="1503" y="732"/>
                  <a:pt x="1503" y="732"/>
                  <a:pt x="1503" y="733"/>
                </a:cubicBezTo>
                <a:cubicBezTo>
                  <a:pt x="1503" y="733"/>
                  <a:pt x="1503" y="733"/>
                  <a:pt x="1503" y="733"/>
                </a:cubicBezTo>
                <a:cubicBezTo>
                  <a:pt x="1502" y="733"/>
                  <a:pt x="1502" y="733"/>
                  <a:pt x="1501" y="733"/>
                </a:cubicBezTo>
                <a:cubicBezTo>
                  <a:pt x="1501" y="734"/>
                  <a:pt x="1501" y="734"/>
                  <a:pt x="1501" y="734"/>
                </a:cubicBezTo>
                <a:cubicBezTo>
                  <a:pt x="1501" y="734"/>
                  <a:pt x="1501" y="734"/>
                  <a:pt x="1502" y="735"/>
                </a:cubicBezTo>
                <a:cubicBezTo>
                  <a:pt x="1502" y="734"/>
                  <a:pt x="1502" y="734"/>
                  <a:pt x="1502" y="734"/>
                </a:cubicBezTo>
                <a:cubicBezTo>
                  <a:pt x="1503" y="734"/>
                  <a:pt x="1503" y="734"/>
                  <a:pt x="1503" y="734"/>
                </a:cubicBezTo>
                <a:cubicBezTo>
                  <a:pt x="1503" y="734"/>
                  <a:pt x="1504" y="735"/>
                  <a:pt x="1504" y="735"/>
                </a:cubicBezTo>
                <a:cubicBezTo>
                  <a:pt x="1504" y="735"/>
                  <a:pt x="1504" y="735"/>
                  <a:pt x="1504" y="735"/>
                </a:cubicBezTo>
                <a:cubicBezTo>
                  <a:pt x="1503" y="735"/>
                  <a:pt x="1503" y="735"/>
                  <a:pt x="1503" y="735"/>
                </a:cubicBezTo>
                <a:cubicBezTo>
                  <a:pt x="1503" y="735"/>
                  <a:pt x="1502" y="735"/>
                  <a:pt x="1502" y="736"/>
                </a:cubicBezTo>
                <a:cubicBezTo>
                  <a:pt x="1502" y="736"/>
                  <a:pt x="1503" y="737"/>
                  <a:pt x="1503" y="737"/>
                </a:cubicBezTo>
                <a:cubicBezTo>
                  <a:pt x="1503" y="737"/>
                  <a:pt x="1503" y="738"/>
                  <a:pt x="1502" y="738"/>
                </a:cubicBezTo>
                <a:cubicBezTo>
                  <a:pt x="1503" y="738"/>
                  <a:pt x="1503" y="738"/>
                  <a:pt x="1503" y="738"/>
                </a:cubicBezTo>
                <a:cubicBezTo>
                  <a:pt x="1503" y="738"/>
                  <a:pt x="1503" y="738"/>
                  <a:pt x="1503" y="738"/>
                </a:cubicBezTo>
                <a:cubicBezTo>
                  <a:pt x="1503" y="739"/>
                  <a:pt x="1503" y="739"/>
                  <a:pt x="1503" y="739"/>
                </a:cubicBezTo>
                <a:cubicBezTo>
                  <a:pt x="1503" y="740"/>
                  <a:pt x="1503" y="740"/>
                  <a:pt x="1503" y="740"/>
                </a:cubicBezTo>
                <a:cubicBezTo>
                  <a:pt x="1504" y="740"/>
                  <a:pt x="1504" y="740"/>
                  <a:pt x="1504" y="740"/>
                </a:cubicBezTo>
                <a:cubicBezTo>
                  <a:pt x="1505" y="739"/>
                  <a:pt x="1505" y="739"/>
                  <a:pt x="1505" y="739"/>
                </a:cubicBezTo>
                <a:cubicBezTo>
                  <a:pt x="1505" y="739"/>
                  <a:pt x="1504" y="739"/>
                  <a:pt x="1504" y="739"/>
                </a:cubicBezTo>
                <a:cubicBezTo>
                  <a:pt x="1504" y="739"/>
                  <a:pt x="1504" y="738"/>
                  <a:pt x="1504" y="738"/>
                </a:cubicBezTo>
                <a:cubicBezTo>
                  <a:pt x="1504" y="738"/>
                  <a:pt x="1504" y="738"/>
                  <a:pt x="1505" y="738"/>
                </a:cubicBezTo>
                <a:cubicBezTo>
                  <a:pt x="1505" y="738"/>
                  <a:pt x="1506" y="739"/>
                  <a:pt x="1507" y="739"/>
                </a:cubicBezTo>
                <a:cubicBezTo>
                  <a:pt x="1507" y="739"/>
                  <a:pt x="1507" y="739"/>
                  <a:pt x="1507" y="739"/>
                </a:cubicBezTo>
                <a:cubicBezTo>
                  <a:pt x="1507" y="739"/>
                  <a:pt x="1507" y="739"/>
                  <a:pt x="1507" y="739"/>
                </a:cubicBezTo>
                <a:cubicBezTo>
                  <a:pt x="1508" y="739"/>
                  <a:pt x="1508" y="739"/>
                  <a:pt x="1509" y="738"/>
                </a:cubicBezTo>
                <a:cubicBezTo>
                  <a:pt x="1510" y="738"/>
                  <a:pt x="1510" y="738"/>
                  <a:pt x="1511" y="738"/>
                </a:cubicBezTo>
                <a:cubicBezTo>
                  <a:pt x="1512" y="738"/>
                  <a:pt x="1512" y="738"/>
                  <a:pt x="1513" y="738"/>
                </a:cubicBezTo>
                <a:cubicBezTo>
                  <a:pt x="1513" y="738"/>
                  <a:pt x="1512" y="738"/>
                  <a:pt x="1512" y="738"/>
                </a:cubicBezTo>
                <a:cubicBezTo>
                  <a:pt x="1512" y="738"/>
                  <a:pt x="1512" y="738"/>
                  <a:pt x="1512" y="738"/>
                </a:cubicBezTo>
                <a:cubicBezTo>
                  <a:pt x="1512" y="738"/>
                  <a:pt x="1512" y="738"/>
                  <a:pt x="1512" y="737"/>
                </a:cubicBezTo>
                <a:cubicBezTo>
                  <a:pt x="1512" y="737"/>
                  <a:pt x="1511" y="737"/>
                  <a:pt x="1511" y="737"/>
                </a:cubicBezTo>
                <a:cubicBezTo>
                  <a:pt x="1512" y="737"/>
                  <a:pt x="1512" y="737"/>
                  <a:pt x="1512" y="737"/>
                </a:cubicBezTo>
                <a:cubicBezTo>
                  <a:pt x="1512" y="737"/>
                  <a:pt x="1513" y="738"/>
                  <a:pt x="1513" y="738"/>
                </a:cubicBezTo>
                <a:cubicBezTo>
                  <a:pt x="1514" y="738"/>
                  <a:pt x="1514" y="738"/>
                  <a:pt x="1515" y="738"/>
                </a:cubicBezTo>
                <a:cubicBezTo>
                  <a:pt x="1516" y="738"/>
                  <a:pt x="1517" y="738"/>
                  <a:pt x="1518" y="739"/>
                </a:cubicBezTo>
                <a:cubicBezTo>
                  <a:pt x="1519" y="739"/>
                  <a:pt x="1520" y="740"/>
                  <a:pt x="1520" y="740"/>
                </a:cubicBezTo>
                <a:cubicBezTo>
                  <a:pt x="1521" y="740"/>
                  <a:pt x="1521" y="740"/>
                  <a:pt x="1522" y="740"/>
                </a:cubicBezTo>
                <a:cubicBezTo>
                  <a:pt x="1522" y="740"/>
                  <a:pt x="1522" y="740"/>
                  <a:pt x="1522" y="740"/>
                </a:cubicBezTo>
                <a:cubicBezTo>
                  <a:pt x="1522" y="740"/>
                  <a:pt x="1522" y="740"/>
                  <a:pt x="1523" y="740"/>
                </a:cubicBezTo>
                <a:cubicBezTo>
                  <a:pt x="1523" y="740"/>
                  <a:pt x="1523" y="740"/>
                  <a:pt x="1524" y="740"/>
                </a:cubicBezTo>
                <a:cubicBezTo>
                  <a:pt x="1524" y="740"/>
                  <a:pt x="1524" y="739"/>
                  <a:pt x="1525" y="739"/>
                </a:cubicBezTo>
                <a:cubicBezTo>
                  <a:pt x="1525" y="738"/>
                  <a:pt x="1525" y="738"/>
                  <a:pt x="1525" y="737"/>
                </a:cubicBezTo>
                <a:cubicBezTo>
                  <a:pt x="1525" y="737"/>
                  <a:pt x="1525" y="737"/>
                  <a:pt x="1526" y="737"/>
                </a:cubicBezTo>
                <a:cubicBezTo>
                  <a:pt x="1526" y="737"/>
                  <a:pt x="1527" y="736"/>
                  <a:pt x="1527" y="736"/>
                </a:cubicBezTo>
                <a:cubicBezTo>
                  <a:pt x="1528" y="736"/>
                  <a:pt x="1528" y="735"/>
                  <a:pt x="1528" y="734"/>
                </a:cubicBezTo>
                <a:cubicBezTo>
                  <a:pt x="1529" y="734"/>
                  <a:pt x="1529" y="734"/>
                  <a:pt x="1529" y="734"/>
                </a:cubicBezTo>
                <a:cubicBezTo>
                  <a:pt x="1530" y="733"/>
                  <a:pt x="1530" y="733"/>
                  <a:pt x="1530" y="733"/>
                </a:cubicBezTo>
                <a:cubicBezTo>
                  <a:pt x="1531" y="733"/>
                  <a:pt x="1531" y="733"/>
                  <a:pt x="1531" y="733"/>
                </a:cubicBezTo>
                <a:cubicBezTo>
                  <a:pt x="1531" y="732"/>
                  <a:pt x="1531" y="732"/>
                  <a:pt x="1531" y="732"/>
                </a:cubicBezTo>
                <a:cubicBezTo>
                  <a:pt x="1533" y="731"/>
                  <a:pt x="1534" y="731"/>
                  <a:pt x="1535" y="730"/>
                </a:cubicBezTo>
                <a:cubicBezTo>
                  <a:pt x="1535" y="730"/>
                  <a:pt x="1536" y="731"/>
                  <a:pt x="1536" y="731"/>
                </a:cubicBezTo>
                <a:cubicBezTo>
                  <a:pt x="1536" y="730"/>
                  <a:pt x="1537" y="730"/>
                  <a:pt x="1537" y="729"/>
                </a:cubicBezTo>
                <a:cubicBezTo>
                  <a:pt x="1537" y="729"/>
                  <a:pt x="1538" y="729"/>
                  <a:pt x="1538" y="729"/>
                </a:cubicBezTo>
                <a:cubicBezTo>
                  <a:pt x="1539" y="728"/>
                  <a:pt x="1539" y="728"/>
                  <a:pt x="1540" y="728"/>
                </a:cubicBezTo>
                <a:cubicBezTo>
                  <a:pt x="1540" y="727"/>
                  <a:pt x="1541" y="727"/>
                  <a:pt x="1541" y="727"/>
                </a:cubicBezTo>
                <a:cubicBezTo>
                  <a:pt x="1541" y="727"/>
                  <a:pt x="1541" y="727"/>
                  <a:pt x="1541" y="726"/>
                </a:cubicBezTo>
                <a:close/>
                <a:moveTo>
                  <a:pt x="1503" y="735"/>
                </a:moveTo>
                <a:cubicBezTo>
                  <a:pt x="1503" y="735"/>
                  <a:pt x="1502" y="735"/>
                  <a:pt x="1502" y="735"/>
                </a:cubicBezTo>
                <a:cubicBezTo>
                  <a:pt x="1502" y="735"/>
                  <a:pt x="1502" y="735"/>
                  <a:pt x="1503" y="735"/>
                </a:cubicBezTo>
                <a:cubicBezTo>
                  <a:pt x="1503" y="735"/>
                  <a:pt x="1503" y="735"/>
                  <a:pt x="1503" y="735"/>
                </a:cubicBezTo>
                <a:cubicBezTo>
                  <a:pt x="1503" y="735"/>
                  <a:pt x="1503" y="735"/>
                  <a:pt x="1503" y="735"/>
                </a:cubicBezTo>
                <a:close/>
                <a:moveTo>
                  <a:pt x="1505" y="748"/>
                </a:moveTo>
                <a:cubicBezTo>
                  <a:pt x="1504" y="748"/>
                  <a:pt x="1504" y="748"/>
                  <a:pt x="1504" y="748"/>
                </a:cubicBezTo>
                <a:cubicBezTo>
                  <a:pt x="1504" y="749"/>
                  <a:pt x="1504" y="749"/>
                  <a:pt x="1504" y="749"/>
                </a:cubicBezTo>
                <a:cubicBezTo>
                  <a:pt x="1505" y="749"/>
                  <a:pt x="1505" y="749"/>
                  <a:pt x="1505" y="749"/>
                </a:cubicBezTo>
                <a:cubicBezTo>
                  <a:pt x="1505" y="750"/>
                  <a:pt x="1506" y="750"/>
                  <a:pt x="1506" y="750"/>
                </a:cubicBezTo>
                <a:cubicBezTo>
                  <a:pt x="1506" y="750"/>
                  <a:pt x="1506" y="750"/>
                  <a:pt x="1506" y="750"/>
                </a:cubicBezTo>
                <a:cubicBezTo>
                  <a:pt x="1506" y="749"/>
                  <a:pt x="1506" y="749"/>
                  <a:pt x="1506" y="749"/>
                </a:cubicBezTo>
                <a:cubicBezTo>
                  <a:pt x="1505" y="748"/>
                  <a:pt x="1505" y="748"/>
                  <a:pt x="1505" y="748"/>
                </a:cubicBezTo>
                <a:close/>
                <a:moveTo>
                  <a:pt x="1540" y="613"/>
                </a:moveTo>
                <a:cubicBezTo>
                  <a:pt x="1540" y="613"/>
                  <a:pt x="1540" y="613"/>
                  <a:pt x="1541" y="613"/>
                </a:cubicBezTo>
                <a:cubicBezTo>
                  <a:pt x="1541" y="613"/>
                  <a:pt x="1541" y="612"/>
                  <a:pt x="1541" y="612"/>
                </a:cubicBezTo>
                <a:cubicBezTo>
                  <a:pt x="1540" y="612"/>
                  <a:pt x="1540" y="612"/>
                  <a:pt x="1539" y="613"/>
                </a:cubicBezTo>
                <a:cubicBezTo>
                  <a:pt x="1539" y="613"/>
                  <a:pt x="1539" y="613"/>
                  <a:pt x="1539" y="613"/>
                </a:cubicBezTo>
                <a:cubicBezTo>
                  <a:pt x="1539" y="613"/>
                  <a:pt x="1539" y="613"/>
                  <a:pt x="1539" y="613"/>
                </a:cubicBezTo>
                <a:cubicBezTo>
                  <a:pt x="1539" y="613"/>
                  <a:pt x="1540" y="613"/>
                  <a:pt x="1540" y="613"/>
                </a:cubicBezTo>
                <a:close/>
                <a:moveTo>
                  <a:pt x="1540" y="640"/>
                </a:moveTo>
                <a:cubicBezTo>
                  <a:pt x="1541" y="640"/>
                  <a:pt x="1541" y="640"/>
                  <a:pt x="1541" y="640"/>
                </a:cubicBezTo>
                <a:cubicBezTo>
                  <a:pt x="1541" y="639"/>
                  <a:pt x="1541" y="639"/>
                  <a:pt x="1541" y="639"/>
                </a:cubicBezTo>
                <a:cubicBezTo>
                  <a:pt x="1541" y="639"/>
                  <a:pt x="1541" y="639"/>
                  <a:pt x="1540" y="639"/>
                </a:cubicBezTo>
                <a:cubicBezTo>
                  <a:pt x="1540" y="639"/>
                  <a:pt x="1540" y="639"/>
                  <a:pt x="1540" y="640"/>
                </a:cubicBezTo>
                <a:close/>
                <a:moveTo>
                  <a:pt x="1538" y="613"/>
                </a:moveTo>
                <a:cubicBezTo>
                  <a:pt x="1538" y="613"/>
                  <a:pt x="1538" y="613"/>
                  <a:pt x="1538" y="613"/>
                </a:cubicBezTo>
                <a:cubicBezTo>
                  <a:pt x="1538" y="613"/>
                  <a:pt x="1538" y="613"/>
                  <a:pt x="1538" y="614"/>
                </a:cubicBezTo>
                <a:cubicBezTo>
                  <a:pt x="1538" y="613"/>
                  <a:pt x="1538" y="613"/>
                  <a:pt x="1538" y="613"/>
                </a:cubicBezTo>
                <a:close/>
                <a:moveTo>
                  <a:pt x="1533" y="630"/>
                </a:moveTo>
                <a:cubicBezTo>
                  <a:pt x="1533" y="630"/>
                  <a:pt x="1533" y="630"/>
                  <a:pt x="1533" y="630"/>
                </a:cubicBezTo>
                <a:cubicBezTo>
                  <a:pt x="1533" y="630"/>
                  <a:pt x="1533" y="630"/>
                  <a:pt x="1533" y="629"/>
                </a:cubicBezTo>
                <a:cubicBezTo>
                  <a:pt x="1533" y="629"/>
                  <a:pt x="1533" y="630"/>
                  <a:pt x="1532" y="630"/>
                </a:cubicBezTo>
                <a:cubicBezTo>
                  <a:pt x="1532" y="630"/>
                  <a:pt x="1533" y="630"/>
                  <a:pt x="1533" y="630"/>
                </a:cubicBezTo>
                <a:close/>
                <a:moveTo>
                  <a:pt x="1543" y="638"/>
                </a:moveTo>
                <a:cubicBezTo>
                  <a:pt x="1543" y="638"/>
                  <a:pt x="1543" y="638"/>
                  <a:pt x="1543" y="638"/>
                </a:cubicBezTo>
                <a:cubicBezTo>
                  <a:pt x="1542" y="637"/>
                  <a:pt x="1542" y="637"/>
                  <a:pt x="1542" y="637"/>
                </a:cubicBezTo>
                <a:cubicBezTo>
                  <a:pt x="1541" y="637"/>
                  <a:pt x="1541" y="637"/>
                  <a:pt x="1540" y="637"/>
                </a:cubicBezTo>
                <a:cubicBezTo>
                  <a:pt x="1540" y="637"/>
                  <a:pt x="1540" y="637"/>
                  <a:pt x="1540" y="637"/>
                </a:cubicBezTo>
                <a:cubicBezTo>
                  <a:pt x="1540" y="637"/>
                  <a:pt x="1540" y="638"/>
                  <a:pt x="1540" y="638"/>
                </a:cubicBezTo>
                <a:cubicBezTo>
                  <a:pt x="1540" y="638"/>
                  <a:pt x="1541" y="638"/>
                  <a:pt x="1541" y="638"/>
                </a:cubicBezTo>
                <a:cubicBezTo>
                  <a:pt x="1541" y="638"/>
                  <a:pt x="1541" y="638"/>
                  <a:pt x="1542" y="637"/>
                </a:cubicBezTo>
                <a:cubicBezTo>
                  <a:pt x="1542" y="638"/>
                  <a:pt x="1542" y="638"/>
                  <a:pt x="1543" y="638"/>
                </a:cubicBezTo>
                <a:close/>
                <a:moveTo>
                  <a:pt x="1492" y="742"/>
                </a:moveTo>
                <a:cubicBezTo>
                  <a:pt x="1492" y="742"/>
                  <a:pt x="1492" y="742"/>
                  <a:pt x="1492" y="742"/>
                </a:cubicBezTo>
                <a:cubicBezTo>
                  <a:pt x="1491" y="742"/>
                  <a:pt x="1491" y="743"/>
                  <a:pt x="1491" y="743"/>
                </a:cubicBezTo>
                <a:cubicBezTo>
                  <a:pt x="1491" y="743"/>
                  <a:pt x="1491" y="743"/>
                  <a:pt x="1492" y="743"/>
                </a:cubicBezTo>
                <a:cubicBezTo>
                  <a:pt x="1492" y="743"/>
                  <a:pt x="1492" y="743"/>
                  <a:pt x="1492" y="743"/>
                </a:cubicBezTo>
                <a:cubicBezTo>
                  <a:pt x="1492" y="743"/>
                  <a:pt x="1492" y="742"/>
                  <a:pt x="1492" y="742"/>
                </a:cubicBezTo>
                <a:close/>
                <a:moveTo>
                  <a:pt x="1537" y="613"/>
                </a:moveTo>
                <a:cubicBezTo>
                  <a:pt x="1537" y="613"/>
                  <a:pt x="1537" y="613"/>
                  <a:pt x="1537" y="613"/>
                </a:cubicBezTo>
                <a:cubicBezTo>
                  <a:pt x="1537" y="613"/>
                  <a:pt x="1537" y="613"/>
                  <a:pt x="1537" y="613"/>
                </a:cubicBezTo>
                <a:cubicBezTo>
                  <a:pt x="1537" y="613"/>
                  <a:pt x="1537" y="613"/>
                  <a:pt x="1537" y="613"/>
                </a:cubicBezTo>
                <a:close/>
                <a:moveTo>
                  <a:pt x="1493" y="744"/>
                </a:move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5"/>
                </a:cubicBezTo>
                <a:cubicBezTo>
                  <a:pt x="1492" y="745"/>
                  <a:pt x="1492" y="744"/>
                  <a:pt x="1493" y="744"/>
                </a:cubicBezTo>
                <a:close/>
                <a:moveTo>
                  <a:pt x="1565" y="621"/>
                </a:moveTo>
                <a:cubicBezTo>
                  <a:pt x="1565" y="621"/>
                  <a:pt x="1565" y="621"/>
                  <a:pt x="1566" y="621"/>
                </a:cubicBezTo>
                <a:cubicBezTo>
                  <a:pt x="1566" y="622"/>
                  <a:pt x="1566" y="622"/>
                  <a:pt x="1566" y="622"/>
                </a:cubicBezTo>
                <a:cubicBezTo>
                  <a:pt x="1566" y="621"/>
                  <a:pt x="1566" y="621"/>
                  <a:pt x="1566" y="621"/>
                </a:cubicBezTo>
                <a:cubicBezTo>
                  <a:pt x="1566" y="621"/>
                  <a:pt x="1566" y="621"/>
                  <a:pt x="1565" y="621"/>
                </a:cubicBezTo>
                <a:cubicBezTo>
                  <a:pt x="1565" y="621"/>
                  <a:pt x="1565" y="621"/>
                  <a:pt x="1565" y="621"/>
                </a:cubicBezTo>
                <a:close/>
                <a:moveTo>
                  <a:pt x="1505" y="739"/>
                </a:moveTo>
                <a:cubicBezTo>
                  <a:pt x="1505" y="739"/>
                  <a:pt x="1505" y="739"/>
                  <a:pt x="1506" y="739"/>
                </a:cubicBezTo>
                <a:cubicBezTo>
                  <a:pt x="1506" y="739"/>
                  <a:pt x="1506" y="739"/>
                  <a:pt x="1506" y="739"/>
                </a:cubicBezTo>
                <a:cubicBezTo>
                  <a:pt x="1506" y="739"/>
                  <a:pt x="1505" y="739"/>
                  <a:pt x="1505" y="739"/>
                </a:cubicBezTo>
                <a:close/>
                <a:moveTo>
                  <a:pt x="1493" y="743"/>
                </a:moveTo>
                <a:cubicBezTo>
                  <a:pt x="1493" y="743"/>
                  <a:pt x="1493" y="743"/>
                  <a:pt x="1493" y="743"/>
                </a:cubicBezTo>
                <a:cubicBezTo>
                  <a:pt x="1492" y="743"/>
                  <a:pt x="1492" y="743"/>
                  <a:pt x="1492" y="743"/>
                </a:cubicBezTo>
                <a:cubicBezTo>
                  <a:pt x="1492" y="743"/>
                  <a:pt x="1493" y="743"/>
                  <a:pt x="1493" y="743"/>
                </a:cubicBezTo>
                <a:cubicBezTo>
                  <a:pt x="1493" y="743"/>
                  <a:pt x="1493" y="743"/>
                  <a:pt x="1493" y="743"/>
                </a:cubicBezTo>
                <a:close/>
                <a:moveTo>
                  <a:pt x="1502" y="750"/>
                </a:moveTo>
                <a:cubicBezTo>
                  <a:pt x="1502" y="750"/>
                  <a:pt x="1502" y="751"/>
                  <a:pt x="1502" y="751"/>
                </a:cubicBezTo>
                <a:cubicBezTo>
                  <a:pt x="1502" y="751"/>
                  <a:pt x="1502" y="751"/>
                  <a:pt x="1501" y="751"/>
                </a:cubicBezTo>
                <a:cubicBezTo>
                  <a:pt x="1501" y="750"/>
                  <a:pt x="1501" y="750"/>
                  <a:pt x="1501" y="750"/>
                </a:cubicBezTo>
                <a:cubicBezTo>
                  <a:pt x="1501" y="750"/>
                  <a:pt x="1501" y="750"/>
                  <a:pt x="1500" y="750"/>
                </a:cubicBezTo>
                <a:cubicBezTo>
                  <a:pt x="1500" y="750"/>
                  <a:pt x="1500" y="751"/>
                  <a:pt x="1500" y="751"/>
                </a:cubicBezTo>
                <a:cubicBezTo>
                  <a:pt x="1499" y="750"/>
                  <a:pt x="1498" y="750"/>
                  <a:pt x="1497" y="749"/>
                </a:cubicBezTo>
                <a:cubicBezTo>
                  <a:pt x="1497" y="749"/>
                  <a:pt x="1497" y="749"/>
                  <a:pt x="1497" y="749"/>
                </a:cubicBezTo>
                <a:cubicBezTo>
                  <a:pt x="1497" y="750"/>
                  <a:pt x="1497" y="750"/>
                  <a:pt x="1497" y="750"/>
                </a:cubicBezTo>
                <a:cubicBezTo>
                  <a:pt x="1496" y="750"/>
                  <a:pt x="1496" y="750"/>
                  <a:pt x="1496" y="749"/>
                </a:cubicBezTo>
                <a:cubicBezTo>
                  <a:pt x="1496" y="749"/>
                  <a:pt x="1496" y="749"/>
                  <a:pt x="1495" y="749"/>
                </a:cubicBezTo>
                <a:cubicBezTo>
                  <a:pt x="1495" y="749"/>
                  <a:pt x="1495" y="749"/>
                  <a:pt x="1495" y="749"/>
                </a:cubicBezTo>
                <a:cubicBezTo>
                  <a:pt x="1495" y="749"/>
                  <a:pt x="1494" y="749"/>
                  <a:pt x="1494" y="748"/>
                </a:cubicBezTo>
                <a:cubicBezTo>
                  <a:pt x="1494" y="748"/>
                  <a:pt x="1494" y="748"/>
                  <a:pt x="1494" y="747"/>
                </a:cubicBezTo>
                <a:cubicBezTo>
                  <a:pt x="1493" y="747"/>
                  <a:pt x="1493" y="746"/>
                  <a:pt x="1492" y="746"/>
                </a:cubicBezTo>
                <a:cubicBezTo>
                  <a:pt x="1493" y="746"/>
                  <a:pt x="1493" y="745"/>
                  <a:pt x="1493" y="745"/>
                </a:cubicBezTo>
                <a:cubicBezTo>
                  <a:pt x="1493" y="745"/>
                  <a:pt x="1493" y="745"/>
                  <a:pt x="1492" y="745"/>
                </a:cubicBezTo>
                <a:cubicBezTo>
                  <a:pt x="1492" y="745"/>
                  <a:pt x="1492" y="745"/>
                  <a:pt x="1492" y="745"/>
                </a:cubicBezTo>
                <a:cubicBezTo>
                  <a:pt x="1492" y="745"/>
                  <a:pt x="1492" y="745"/>
                  <a:pt x="1492" y="745"/>
                </a:cubicBezTo>
                <a:cubicBezTo>
                  <a:pt x="1492" y="745"/>
                  <a:pt x="1491" y="744"/>
                  <a:pt x="1491" y="744"/>
                </a:cubicBezTo>
                <a:cubicBezTo>
                  <a:pt x="1491" y="744"/>
                  <a:pt x="1491" y="744"/>
                  <a:pt x="1491" y="743"/>
                </a:cubicBezTo>
                <a:cubicBezTo>
                  <a:pt x="1490" y="743"/>
                  <a:pt x="1490" y="743"/>
                  <a:pt x="1490" y="744"/>
                </a:cubicBezTo>
                <a:cubicBezTo>
                  <a:pt x="1490" y="744"/>
                  <a:pt x="1490" y="744"/>
                  <a:pt x="1490" y="744"/>
                </a:cubicBezTo>
                <a:cubicBezTo>
                  <a:pt x="1490" y="744"/>
                  <a:pt x="1490" y="744"/>
                  <a:pt x="1489" y="744"/>
                </a:cubicBezTo>
                <a:cubicBezTo>
                  <a:pt x="1489" y="745"/>
                  <a:pt x="1489" y="745"/>
                  <a:pt x="1489" y="745"/>
                </a:cubicBezTo>
                <a:cubicBezTo>
                  <a:pt x="1489" y="746"/>
                  <a:pt x="1489" y="746"/>
                  <a:pt x="1489" y="746"/>
                </a:cubicBezTo>
                <a:cubicBezTo>
                  <a:pt x="1489" y="747"/>
                  <a:pt x="1488" y="747"/>
                  <a:pt x="1488" y="747"/>
                </a:cubicBezTo>
                <a:cubicBezTo>
                  <a:pt x="1488" y="748"/>
                  <a:pt x="1488" y="748"/>
                  <a:pt x="1488" y="749"/>
                </a:cubicBezTo>
                <a:cubicBezTo>
                  <a:pt x="1487" y="749"/>
                  <a:pt x="1487" y="750"/>
                  <a:pt x="1487" y="750"/>
                </a:cubicBezTo>
                <a:cubicBezTo>
                  <a:pt x="1487" y="750"/>
                  <a:pt x="1487" y="751"/>
                  <a:pt x="1487" y="751"/>
                </a:cubicBezTo>
                <a:cubicBezTo>
                  <a:pt x="1487" y="751"/>
                  <a:pt x="1487" y="751"/>
                  <a:pt x="1487" y="751"/>
                </a:cubicBezTo>
                <a:cubicBezTo>
                  <a:pt x="1487" y="751"/>
                  <a:pt x="1487" y="752"/>
                  <a:pt x="1487" y="752"/>
                </a:cubicBezTo>
                <a:cubicBezTo>
                  <a:pt x="1487" y="752"/>
                  <a:pt x="1487" y="752"/>
                  <a:pt x="1487" y="753"/>
                </a:cubicBezTo>
                <a:cubicBezTo>
                  <a:pt x="1487" y="753"/>
                  <a:pt x="1487" y="752"/>
                  <a:pt x="1486" y="752"/>
                </a:cubicBezTo>
                <a:cubicBezTo>
                  <a:pt x="1486" y="752"/>
                  <a:pt x="1486" y="752"/>
                  <a:pt x="1486" y="751"/>
                </a:cubicBezTo>
                <a:cubicBezTo>
                  <a:pt x="1486" y="752"/>
                  <a:pt x="1486" y="752"/>
                  <a:pt x="1485" y="752"/>
                </a:cubicBezTo>
                <a:cubicBezTo>
                  <a:pt x="1485" y="752"/>
                  <a:pt x="1485" y="753"/>
                  <a:pt x="1485" y="753"/>
                </a:cubicBezTo>
                <a:cubicBezTo>
                  <a:pt x="1485" y="753"/>
                  <a:pt x="1485" y="753"/>
                  <a:pt x="1485" y="754"/>
                </a:cubicBezTo>
                <a:cubicBezTo>
                  <a:pt x="1485" y="754"/>
                  <a:pt x="1485" y="754"/>
                  <a:pt x="1485" y="754"/>
                </a:cubicBezTo>
                <a:cubicBezTo>
                  <a:pt x="1485" y="755"/>
                  <a:pt x="1484" y="755"/>
                  <a:pt x="1484" y="756"/>
                </a:cubicBezTo>
                <a:cubicBezTo>
                  <a:pt x="1484" y="756"/>
                  <a:pt x="1484" y="756"/>
                  <a:pt x="1484" y="756"/>
                </a:cubicBezTo>
                <a:cubicBezTo>
                  <a:pt x="1484" y="756"/>
                  <a:pt x="1484" y="756"/>
                  <a:pt x="1484" y="757"/>
                </a:cubicBezTo>
                <a:cubicBezTo>
                  <a:pt x="1484" y="757"/>
                  <a:pt x="1484" y="757"/>
                  <a:pt x="1484" y="758"/>
                </a:cubicBezTo>
                <a:cubicBezTo>
                  <a:pt x="1484" y="758"/>
                  <a:pt x="1484" y="758"/>
                  <a:pt x="1484" y="758"/>
                </a:cubicBezTo>
                <a:cubicBezTo>
                  <a:pt x="1484" y="758"/>
                  <a:pt x="1484" y="758"/>
                  <a:pt x="1484" y="758"/>
                </a:cubicBezTo>
                <a:cubicBezTo>
                  <a:pt x="1484" y="759"/>
                  <a:pt x="1484" y="759"/>
                  <a:pt x="1484" y="759"/>
                </a:cubicBezTo>
                <a:cubicBezTo>
                  <a:pt x="1484" y="759"/>
                  <a:pt x="1484" y="759"/>
                  <a:pt x="1484" y="759"/>
                </a:cubicBezTo>
                <a:cubicBezTo>
                  <a:pt x="1484" y="759"/>
                  <a:pt x="1484" y="759"/>
                  <a:pt x="1485" y="759"/>
                </a:cubicBezTo>
                <a:cubicBezTo>
                  <a:pt x="1485" y="760"/>
                  <a:pt x="1485" y="760"/>
                  <a:pt x="1485" y="760"/>
                </a:cubicBezTo>
                <a:cubicBezTo>
                  <a:pt x="1485" y="760"/>
                  <a:pt x="1486" y="760"/>
                  <a:pt x="1486" y="760"/>
                </a:cubicBezTo>
                <a:cubicBezTo>
                  <a:pt x="1486" y="760"/>
                  <a:pt x="1486" y="760"/>
                  <a:pt x="1486" y="760"/>
                </a:cubicBezTo>
                <a:cubicBezTo>
                  <a:pt x="1486" y="760"/>
                  <a:pt x="1486" y="761"/>
                  <a:pt x="1486" y="761"/>
                </a:cubicBezTo>
                <a:cubicBezTo>
                  <a:pt x="1486" y="761"/>
                  <a:pt x="1486" y="761"/>
                  <a:pt x="1486" y="761"/>
                </a:cubicBezTo>
                <a:cubicBezTo>
                  <a:pt x="1487" y="761"/>
                  <a:pt x="1487" y="761"/>
                  <a:pt x="1488" y="761"/>
                </a:cubicBezTo>
                <a:cubicBezTo>
                  <a:pt x="1488" y="760"/>
                  <a:pt x="1488" y="760"/>
                  <a:pt x="1488" y="760"/>
                </a:cubicBezTo>
                <a:cubicBezTo>
                  <a:pt x="1488" y="760"/>
                  <a:pt x="1488" y="759"/>
                  <a:pt x="1489" y="759"/>
                </a:cubicBezTo>
                <a:cubicBezTo>
                  <a:pt x="1489" y="759"/>
                  <a:pt x="1489" y="760"/>
                  <a:pt x="1489" y="760"/>
                </a:cubicBezTo>
                <a:cubicBezTo>
                  <a:pt x="1489" y="760"/>
                  <a:pt x="1489" y="760"/>
                  <a:pt x="1489" y="759"/>
                </a:cubicBezTo>
                <a:cubicBezTo>
                  <a:pt x="1490" y="759"/>
                  <a:pt x="1490" y="759"/>
                  <a:pt x="1490" y="759"/>
                </a:cubicBezTo>
                <a:cubicBezTo>
                  <a:pt x="1491" y="759"/>
                  <a:pt x="1491" y="759"/>
                  <a:pt x="1491" y="759"/>
                </a:cubicBezTo>
                <a:cubicBezTo>
                  <a:pt x="1491" y="759"/>
                  <a:pt x="1491" y="759"/>
                  <a:pt x="1491" y="759"/>
                </a:cubicBezTo>
                <a:cubicBezTo>
                  <a:pt x="1491" y="760"/>
                  <a:pt x="1491" y="760"/>
                  <a:pt x="1491" y="760"/>
                </a:cubicBezTo>
                <a:cubicBezTo>
                  <a:pt x="1491" y="760"/>
                  <a:pt x="1492" y="759"/>
                  <a:pt x="1492" y="759"/>
                </a:cubicBezTo>
                <a:cubicBezTo>
                  <a:pt x="1492" y="759"/>
                  <a:pt x="1492" y="759"/>
                  <a:pt x="1493" y="760"/>
                </a:cubicBezTo>
                <a:cubicBezTo>
                  <a:pt x="1493" y="760"/>
                  <a:pt x="1493" y="760"/>
                  <a:pt x="1493" y="760"/>
                </a:cubicBezTo>
                <a:cubicBezTo>
                  <a:pt x="1493" y="760"/>
                  <a:pt x="1493" y="760"/>
                  <a:pt x="1492" y="761"/>
                </a:cubicBezTo>
                <a:cubicBezTo>
                  <a:pt x="1492" y="760"/>
                  <a:pt x="1492" y="760"/>
                  <a:pt x="1492" y="760"/>
                </a:cubicBezTo>
                <a:cubicBezTo>
                  <a:pt x="1492" y="760"/>
                  <a:pt x="1491" y="761"/>
                  <a:pt x="1491" y="761"/>
                </a:cubicBezTo>
                <a:cubicBezTo>
                  <a:pt x="1492" y="761"/>
                  <a:pt x="1492" y="761"/>
                  <a:pt x="1492" y="761"/>
                </a:cubicBezTo>
                <a:cubicBezTo>
                  <a:pt x="1492" y="761"/>
                  <a:pt x="1492" y="761"/>
                  <a:pt x="1492" y="761"/>
                </a:cubicBezTo>
                <a:cubicBezTo>
                  <a:pt x="1493" y="761"/>
                  <a:pt x="1493" y="761"/>
                  <a:pt x="1494" y="760"/>
                </a:cubicBezTo>
                <a:cubicBezTo>
                  <a:pt x="1494" y="760"/>
                  <a:pt x="1494" y="760"/>
                  <a:pt x="1494" y="760"/>
                </a:cubicBezTo>
                <a:cubicBezTo>
                  <a:pt x="1494" y="760"/>
                  <a:pt x="1494" y="760"/>
                  <a:pt x="1494" y="759"/>
                </a:cubicBezTo>
                <a:cubicBezTo>
                  <a:pt x="1494" y="759"/>
                  <a:pt x="1494" y="759"/>
                  <a:pt x="1494" y="759"/>
                </a:cubicBezTo>
                <a:cubicBezTo>
                  <a:pt x="1495" y="759"/>
                  <a:pt x="1495" y="759"/>
                  <a:pt x="1495" y="758"/>
                </a:cubicBezTo>
                <a:cubicBezTo>
                  <a:pt x="1495" y="758"/>
                  <a:pt x="1495" y="758"/>
                  <a:pt x="1495" y="759"/>
                </a:cubicBezTo>
                <a:cubicBezTo>
                  <a:pt x="1496" y="758"/>
                  <a:pt x="1496" y="758"/>
                  <a:pt x="1496" y="758"/>
                </a:cubicBezTo>
                <a:cubicBezTo>
                  <a:pt x="1496" y="758"/>
                  <a:pt x="1496" y="757"/>
                  <a:pt x="1497" y="757"/>
                </a:cubicBezTo>
                <a:cubicBezTo>
                  <a:pt x="1497" y="757"/>
                  <a:pt x="1497" y="757"/>
                  <a:pt x="1497" y="757"/>
                </a:cubicBezTo>
                <a:cubicBezTo>
                  <a:pt x="1497" y="757"/>
                  <a:pt x="1498" y="757"/>
                  <a:pt x="1498" y="756"/>
                </a:cubicBezTo>
                <a:cubicBezTo>
                  <a:pt x="1498" y="757"/>
                  <a:pt x="1498" y="757"/>
                  <a:pt x="1498" y="757"/>
                </a:cubicBezTo>
                <a:cubicBezTo>
                  <a:pt x="1498" y="758"/>
                  <a:pt x="1498" y="758"/>
                  <a:pt x="1498" y="758"/>
                </a:cubicBezTo>
                <a:cubicBezTo>
                  <a:pt x="1498" y="758"/>
                  <a:pt x="1498" y="758"/>
                  <a:pt x="1498" y="757"/>
                </a:cubicBezTo>
                <a:cubicBezTo>
                  <a:pt x="1498" y="757"/>
                  <a:pt x="1499" y="757"/>
                  <a:pt x="1499" y="757"/>
                </a:cubicBezTo>
                <a:cubicBezTo>
                  <a:pt x="1499" y="757"/>
                  <a:pt x="1499" y="757"/>
                  <a:pt x="1499" y="757"/>
                </a:cubicBezTo>
                <a:cubicBezTo>
                  <a:pt x="1499" y="756"/>
                  <a:pt x="1499" y="756"/>
                  <a:pt x="1499" y="756"/>
                </a:cubicBezTo>
                <a:cubicBezTo>
                  <a:pt x="1499" y="756"/>
                  <a:pt x="1500" y="755"/>
                  <a:pt x="1500" y="755"/>
                </a:cubicBezTo>
                <a:cubicBezTo>
                  <a:pt x="1500" y="755"/>
                  <a:pt x="1500" y="754"/>
                  <a:pt x="1501" y="754"/>
                </a:cubicBezTo>
                <a:cubicBezTo>
                  <a:pt x="1501" y="754"/>
                  <a:pt x="1501" y="754"/>
                  <a:pt x="1502" y="754"/>
                </a:cubicBezTo>
                <a:cubicBezTo>
                  <a:pt x="1502" y="753"/>
                  <a:pt x="1502" y="752"/>
                  <a:pt x="1503" y="752"/>
                </a:cubicBezTo>
                <a:cubicBezTo>
                  <a:pt x="1503" y="752"/>
                  <a:pt x="1503" y="752"/>
                  <a:pt x="1503" y="751"/>
                </a:cubicBezTo>
                <a:cubicBezTo>
                  <a:pt x="1503" y="751"/>
                  <a:pt x="1503" y="751"/>
                  <a:pt x="1503" y="751"/>
                </a:cubicBezTo>
                <a:cubicBezTo>
                  <a:pt x="1503" y="750"/>
                  <a:pt x="1502" y="750"/>
                  <a:pt x="1502" y="750"/>
                </a:cubicBezTo>
                <a:close/>
                <a:moveTo>
                  <a:pt x="1489" y="760"/>
                </a:moveTo>
                <a:cubicBezTo>
                  <a:pt x="1489" y="760"/>
                  <a:pt x="1489" y="760"/>
                  <a:pt x="1489" y="761"/>
                </a:cubicBezTo>
                <a:cubicBezTo>
                  <a:pt x="1489" y="761"/>
                  <a:pt x="1488" y="761"/>
                  <a:pt x="1488" y="761"/>
                </a:cubicBezTo>
                <a:cubicBezTo>
                  <a:pt x="1488" y="761"/>
                  <a:pt x="1488" y="761"/>
                  <a:pt x="1489" y="762"/>
                </a:cubicBezTo>
                <a:cubicBezTo>
                  <a:pt x="1489" y="761"/>
                  <a:pt x="1489" y="761"/>
                  <a:pt x="1489" y="761"/>
                </a:cubicBezTo>
                <a:cubicBezTo>
                  <a:pt x="1489" y="761"/>
                  <a:pt x="1490" y="760"/>
                  <a:pt x="1490" y="760"/>
                </a:cubicBezTo>
                <a:cubicBezTo>
                  <a:pt x="1490" y="760"/>
                  <a:pt x="1490" y="760"/>
                  <a:pt x="1490" y="760"/>
                </a:cubicBezTo>
                <a:cubicBezTo>
                  <a:pt x="1490" y="760"/>
                  <a:pt x="1489" y="760"/>
                  <a:pt x="1489" y="760"/>
                </a:cubicBezTo>
                <a:close/>
                <a:moveTo>
                  <a:pt x="1493" y="737"/>
                </a:moveTo>
                <a:cubicBezTo>
                  <a:pt x="1493" y="737"/>
                  <a:pt x="1492" y="737"/>
                  <a:pt x="1492" y="737"/>
                </a:cubicBezTo>
                <a:cubicBezTo>
                  <a:pt x="1492" y="737"/>
                  <a:pt x="1492" y="737"/>
                  <a:pt x="1491" y="738"/>
                </a:cubicBezTo>
                <a:cubicBezTo>
                  <a:pt x="1491" y="738"/>
                  <a:pt x="1491" y="738"/>
                  <a:pt x="1491" y="738"/>
                </a:cubicBezTo>
                <a:cubicBezTo>
                  <a:pt x="1491" y="738"/>
                  <a:pt x="1491" y="738"/>
                  <a:pt x="1490" y="738"/>
                </a:cubicBezTo>
                <a:cubicBezTo>
                  <a:pt x="1490" y="739"/>
                  <a:pt x="1490" y="739"/>
                  <a:pt x="1490" y="739"/>
                </a:cubicBezTo>
                <a:cubicBezTo>
                  <a:pt x="1490" y="739"/>
                  <a:pt x="1490" y="739"/>
                  <a:pt x="1490" y="740"/>
                </a:cubicBezTo>
                <a:cubicBezTo>
                  <a:pt x="1490" y="740"/>
                  <a:pt x="1490" y="740"/>
                  <a:pt x="1491" y="740"/>
                </a:cubicBezTo>
                <a:cubicBezTo>
                  <a:pt x="1491" y="740"/>
                  <a:pt x="1491" y="740"/>
                  <a:pt x="1491" y="740"/>
                </a:cubicBezTo>
                <a:cubicBezTo>
                  <a:pt x="1491" y="740"/>
                  <a:pt x="1492" y="740"/>
                  <a:pt x="1492" y="740"/>
                </a:cubicBezTo>
                <a:cubicBezTo>
                  <a:pt x="1492" y="739"/>
                  <a:pt x="1492" y="739"/>
                  <a:pt x="1493" y="739"/>
                </a:cubicBezTo>
                <a:cubicBezTo>
                  <a:pt x="1493" y="739"/>
                  <a:pt x="1492" y="739"/>
                  <a:pt x="1492" y="738"/>
                </a:cubicBezTo>
                <a:cubicBezTo>
                  <a:pt x="1493" y="738"/>
                  <a:pt x="1493" y="738"/>
                  <a:pt x="1493" y="738"/>
                </a:cubicBezTo>
                <a:cubicBezTo>
                  <a:pt x="1493" y="737"/>
                  <a:pt x="1493" y="737"/>
                  <a:pt x="1493" y="737"/>
                </a:cubicBezTo>
                <a:close/>
                <a:moveTo>
                  <a:pt x="1495" y="759"/>
                </a:moveTo>
                <a:cubicBezTo>
                  <a:pt x="1495" y="759"/>
                  <a:pt x="1495" y="759"/>
                  <a:pt x="1495" y="759"/>
                </a:cubicBezTo>
                <a:cubicBezTo>
                  <a:pt x="1495" y="759"/>
                  <a:pt x="1495" y="759"/>
                  <a:pt x="1495" y="759"/>
                </a:cubicBezTo>
                <a:cubicBezTo>
                  <a:pt x="1495" y="759"/>
                  <a:pt x="1495" y="759"/>
                  <a:pt x="1495" y="759"/>
                </a:cubicBezTo>
                <a:close/>
                <a:moveTo>
                  <a:pt x="1575" y="679"/>
                </a:moveTo>
                <a:cubicBezTo>
                  <a:pt x="1575" y="679"/>
                  <a:pt x="1575" y="679"/>
                  <a:pt x="1575" y="679"/>
                </a:cubicBezTo>
                <a:cubicBezTo>
                  <a:pt x="1575" y="679"/>
                  <a:pt x="1575" y="679"/>
                  <a:pt x="1575" y="679"/>
                </a:cubicBezTo>
                <a:cubicBezTo>
                  <a:pt x="1575" y="679"/>
                  <a:pt x="1575" y="679"/>
                  <a:pt x="1575" y="679"/>
                </a:cubicBezTo>
                <a:close/>
                <a:moveTo>
                  <a:pt x="1536" y="613"/>
                </a:moveTo>
                <a:cubicBezTo>
                  <a:pt x="1535" y="613"/>
                  <a:pt x="1535" y="613"/>
                  <a:pt x="1535" y="613"/>
                </a:cubicBezTo>
                <a:cubicBezTo>
                  <a:pt x="1535" y="613"/>
                  <a:pt x="1535" y="613"/>
                  <a:pt x="1536" y="613"/>
                </a:cubicBezTo>
                <a:cubicBezTo>
                  <a:pt x="1536" y="613"/>
                  <a:pt x="1536" y="613"/>
                  <a:pt x="1536" y="613"/>
                </a:cubicBezTo>
                <a:close/>
                <a:moveTo>
                  <a:pt x="1576" y="698"/>
                </a:moveTo>
                <a:cubicBezTo>
                  <a:pt x="1576" y="698"/>
                  <a:pt x="1576" y="698"/>
                  <a:pt x="1577" y="698"/>
                </a:cubicBezTo>
                <a:cubicBezTo>
                  <a:pt x="1577" y="698"/>
                  <a:pt x="1577" y="698"/>
                  <a:pt x="1577" y="697"/>
                </a:cubicBezTo>
                <a:cubicBezTo>
                  <a:pt x="1577" y="697"/>
                  <a:pt x="1577" y="697"/>
                  <a:pt x="1578" y="696"/>
                </a:cubicBezTo>
                <a:cubicBezTo>
                  <a:pt x="1578" y="696"/>
                  <a:pt x="1578" y="696"/>
                  <a:pt x="1579" y="696"/>
                </a:cubicBezTo>
                <a:cubicBezTo>
                  <a:pt x="1579" y="695"/>
                  <a:pt x="1579" y="695"/>
                  <a:pt x="1580" y="695"/>
                </a:cubicBezTo>
                <a:cubicBezTo>
                  <a:pt x="1580" y="694"/>
                  <a:pt x="1580" y="694"/>
                  <a:pt x="1580" y="694"/>
                </a:cubicBezTo>
                <a:cubicBezTo>
                  <a:pt x="1580" y="694"/>
                  <a:pt x="1580" y="694"/>
                  <a:pt x="1579" y="694"/>
                </a:cubicBezTo>
                <a:cubicBezTo>
                  <a:pt x="1579" y="694"/>
                  <a:pt x="1579" y="694"/>
                  <a:pt x="1579" y="694"/>
                </a:cubicBezTo>
                <a:cubicBezTo>
                  <a:pt x="1579" y="694"/>
                  <a:pt x="1579" y="694"/>
                  <a:pt x="1579" y="695"/>
                </a:cubicBezTo>
                <a:cubicBezTo>
                  <a:pt x="1579" y="695"/>
                  <a:pt x="1578" y="695"/>
                  <a:pt x="1578" y="695"/>
                </a:cubicBezTo>
                <a:cubicBezTo>
                  <a:pt x="1578" y="695"/>
                  <a:pt x="1577" y="695"/>
                  <a:pt x="1577" y="695"/>
                </a:cubicBezTo>
                <a:cubicBezTo>
                  <a:pt x="1577" y="696"/>
                  <a:pt x="1577" y="696"/>
                  <a:pt x="1577" y="696"/>
                </a:cubicBezTo>
                <a:cubicBezTo>
                  <a:pt x="1577" y="696"/>
                  <a:pt x="1576" y="696"/>
                  <a:pt x="1576" y="697"/>
                </a:cubicBezTo>
                <a:cubicBezTo>
                  <a:pt x="1576" y="697"/>
                  <a:pt x="1576" y="697"/>
                  <a:pt x="1576" y="698"/>
                </a:cubicBezTo>
                <a:close/>
                <a:moveTo>
                  <a:pt x="1506" y="746"/>
                </a:moveTo>
                <a:cubicBezTo>
                  <a:pt x="1506" y="746"/>
                  <a:pt x="1506" y="746"/>
                  <a:pt x="1506" y="746"/>
                </a:cubicBezTo>
                <a:cubicBezTo>
                  <a:pt x="1505" y="746"/>
                  <a:pt x="1505" y="747"/>
                  <a:pt x="1505" y="747"/>
                </a:cubicBezTo>
                <a:cubicBezTo>
                  <a:pt x="1505" y="747"/>
                  <a:pt x="1505" y="747"/>
                  <a:pt x="1505" y="747"/>
                </a:cubicBezTo>
                <a:cubicBezTo>
                  <a:pt x="1505" y="748"/>
                  <a:pt x="1505" y="748"/>
                  <a:pt x="1505" y="748"/>
                </a:cubicBezTo>
                <a:cubicBezTo>
                  <a:pt x="1506" y="748"/>
                  <a:pt x="1506" y="748"/>
                  <a:pt x="1507" y="748"/>
                </a:cubicBezTo>
                <a:cubicBezTo>
                  <a:pt x="1507" y="748"/>
                  <a:pt x="1507" y="748"/>
                  <a:pt x="1507" y="747"/>
                </a:cubicBezTo>
                <a:cubicBezTo>
                  <a:pt x="1507" y="747"/>
                  <a:pt x="1507" y="746"/>
                  <a:pt x="1506" y="746"/>
                </a:cubicBezTo>
                <a:cubicBezTo>
                  <a:pt x="1506" y="746"/>
                  <a:pt x="1506" y="746"/>
                  <a:pt x="1506" y="746"/>
                </a:cubicBezTo>
                <a:close/>
                <a:moveTo>
                  <a:pt x="1535" y="614"/>
                </a:moveTo>
                <a:cubicBezTo>
                  <a:pt x="1535" y="614"/>
                  <a:pt x="1535" y="614"/>
                  <a:pt x="1535" y="613"/>
                </a:cubicBezTo>
                <a:cubicBezTo>
                  <a:pt x="1535" y="613"/>
                  <a:pt x="1535" y="613"/>
                  <a:pt x="1535" y="613"/>
                </a:cubicBezTo>
                <a:cubicBezTo>
                  <a:pt x="1534" y="613"/>
                  <a:pt x="1534" y="613"/>
                  <a:pt x="1534" y="613"/>
                </a:cubicBezTo>
                <a:cubicBezTo>
                  <a:pt x="1534" y="613"/>
                  <a:pt x="1533" y="614"/>
                  <a:pt x="1533" y="614"/>
                </a:cubicBezTo>
                <a:cubicBezTo>
                  <a:pt x="1534" y="614"/>
                  <a:pt x="1534" y="614"/>
                  <a:pt x="1534" y="613"/>
                </a:cubicBezTo>
                <a:cubicBezTo>
                  <a:pt x="1534" y="614"/>
                  <a:pt x="1535" y="614"/>
                  <a:pt x="1535" y="614"/>
                </a:cubicBezTo>
                <a:close/>
                <a:moveTo>
                  <a:pt x="1532" y="614"/>
                </a:moveTo>
                <a:cubicBezTo>
                  <a:pt x="1533" y="614"/>
                  <a:pt x="1533" y="614"/>
                  <a:pt x="1533" y="614"/>
                </a:cubicBezTo>
                <a:cubicBezTo>
                  <a:pt x="1533" y="614"/>
                  <a:pt x="1533" y="614"/>
                  <a:pt x="1533" y="614"/>
                </a:cubicBezTo>
                <a:cubicBezTo>
                  <a:pt x="1533" y="613"/>
                  <a:pt x="1532" y="613"/>
                  <a:pt x="1532" y="613"/>
                </a:cubicBezTo>
                <a:cubicBezTo>
                  <a:pt x="1532" y="613"/>
                  <a:pt x="1532" y="614"/>
                  <a:pt x="1532" y="614"/>
                </a:cubicBezTo>
                <a:close/>
                <a:moveTo>
                  <a:pt x="1522" y="605"/>
                </a:moveTo>
                <a:cubicBezTo>
                  <a:pt x="1522" y="606"/>
                  <a:pt x="1522" y="606"/>
                  <a:pt x="1522" y="606"/>
                </a:cubicBezTo>
                <a:cubicBezTo>
                  <a:pt x="1522" y="606"/>
                  <a:pt x="1522" y="606"/>
                  <a:pt x="1522" y="606"/>
                </a:cubicBezTo>
                <a:cubicBezTo>
                  <a:pt x="1522" y="605"/>
                  <a:pt x="1523" y="605"/>
                  <a:pt x="1523" y="605"/>
                </a:cubicBezTo>
                <a:cubicBezTo>
                  <a:pt x="1523" y="605"/>
                  <a:pt x="1522" y="605"/>
                  <a:pt x="1522" y="605"/>
                </a:cubicBezTo>
                <a:cubicBezTo>
                  <a:pt x="1522" y="605"/>
                  <a:pt x="1522" y="605"/>
                  <a:pt x="1522" y="605"/>
                </a:cubicBezTo>
                <a:close/>
                <a:moveTo>
                  <a:pt x="1572" y="706"/>
                </a:moveTo>
                <a:cubicBezTo>
                  <a:pt x="1572" y="705"/>
                  <a:pt x="1572" y="705"/>
                  <a:pt x="1573" y="705"/>
                </a:cubicBezTo>
                <a:cubicBezTo>
                  <a:pt x="1572" y="705"/>
                  <a:pt x="1572" y="706"/>
                  <a:pt x="1572" y="706"/>
                </a:cubicBezTo>
                <a:cubicBezTo>
                  <a:pt x="1572" y="706"/>
                  <a:pt x="1572" y="706"/>
                  <a:pt x="1572" y="706"/>
                </a:cubicBezTo>
                <a:close/>
                <a:moveTo>
                  <a:pt x="1575" y="685"/>
                </a:moveTo>
                <a:cubicBezTo>
                  <a:pt x="1574" y="685"/>
                  <a:pt x="1574" y="685"/>
                  <a:pt x="1574" y="685"/>
                </a:cubicBezTo>
                <a:cubicBezTo>
                  <a:pt x="1574" y="685"/>
                  <a:pt x="1574" y="685"/>
                  <a:pt x="1574" y="685"/>
                </a:cubicBezTo>
                <a:cubicBezTo>
                  <a:pt x="1574" y="685"/>
                  <a:pt x="1574" y="685"/>
                  <a:pt x="1574" y="686"/>
                </a:cubicBezTo>
                <a:cubicBezTo>
                  <a:pt x="1574" y="686"/>
                  <a:pt x="1574" y="686"/>
                  <a:pt x="1574" y="687"/>
                </a:cubicBezTo>
                <a:cubicBezTo>
                  <a:pt x="1575" y="686"/>
                  <a:pt x="1575" y="686"/>
                  <a:pt x="1575" y="686"/>
                </a:cubicBezTo>
                <a:cubicBezTo>
                  <a:pt x="1575" y="686"/>
                  <a:pt x="1575" y="686"/>
                  <a:pt x="1575" y="686"/>
                </a:cubicBezTo>
                <a:cubicBezTo>
                  <a:pt x="1575" y="686"/>
                  <a:pt x="1575" y="685"/>
                  <a:pt x="1575" y="685"/>
                </a:cubicBezTo>
                <a:cubicBezTo>
                  <a:pt x="1575" y="685"/>
                  <a:pt x="1575" y="685"/>
                  <a:pt x="1575" y="685"/>
                </a:cubicBezTo>
                <a:close/>
                <a:moveTo>
                  <a:pt x="1483" y="605"/>
                </a:moveTo>
                <a:cubicBezTo>
                  <a:pt x="1483" y="605"/>
                  <a:pt x="1483" y="605"/>
                  <a:pt x="1482" y="605"/>
                </a:cubicBezTo>
                <a:cubicBezTo>
                  <a:pt x="1482" y="605"/>
                  <a:pt x="1482" y="605"/>
                  <a:pt x="1482" y="605"/>
                </a:cubicBezTo>
                <a:cubicBezTo>
                  <a:pt x="1482" y="605"/>
                  <a:pt x="1482" y="605"/>
                  <a:pt x="1483" y="605"/>
                </a:cubicBezTo>
                <a:cubicBezTo>
                  <a:pt x="1483" y="605"/>
                  <a:pt x="1483" y="605"/>
                  <a:pt x="1483" y="605"/>
                </a:cubicBezTo>
                <a:close/>
                <a:moveTo>
                  <a:pt x="1504" y="750"/>
                </a:moveTo>
                <a:cubicBezTo>
                  <a:pt x="1504" y="750"/>
                  <a:pt x="1504" y="750"/>
                  <a:pt x="1505" y="750"/>
                </a:cubicBezTo>
                <a:cubicBezTo>
                  <a:pt x="1504" y="750"/>
                  <a:pt x="1504" y="750"/>
                  <a:pt x="1504" y="750"/>
                </a:cubicBezTo>
                <a:cubicBezTo>
                  <a:pt x="1504" y="750"/>
                  <a:pt x="1504" y="750"/>
                  <a:pt x="1504" y="750"/>
                </a:cubicBezTo>
                <a:close/>
                <a:moveTo>
                  <a:pt x="1567" y="619"/>
                </a:moveTo>
                <a:cubicBezTo>
                  <a:pt x="1567" y="619"/>
                  <a:pt x="1567" y="619"/>
                  <a:pt x="1567" y="619"/>
                </a:cubicBezTo>
                <a:cubicBezTo>
                  <a:pt x="1567" y="619"/>
                  <a:pt x="1567" y="620"/>
                  <a:pt x="1567" y="620"/>
                </a:cubicBezTo>
                <a:cubicBezTo>
                  <a:pt x="1567" y="620"/>
                  <a:pt x="1567" y="620"/>
                  <a:pt x="1567" y="619"/>
                </a:cubicBezTo>
                <a:close/>
                <a:moveTo>
                  <a:pt x="1566" y="658"/>
                </a:moveTo>
                <a:cubicBezTo>
                  <a:pt x="1567" y="658"/>
                  <a:pt x="1567" y="658"/>
                  <a:pt x="1567" y="657"/>
                </a:cubicBezTo>
                <a:cubicBezTo>
                  <a:pt x="1567" y="657"/>
                  <a:pt x="1567" y="657"/>
                  <a:pt x="1567" y="656"/>
                </a:cubicBezTo>
                <a:cubicBezTo>
                  <a:pt x="1567" y="656"/>
                  <a:pt x="1567" y="656"/>
                  <a:pt x="1567" y="656"/>
                </a:cubicBezTo>
                <a:cubicBezTo>
                  <a:pt x="1567" y="656"/>
                  <a:pt x="1567" y="656"/>
                  <a:pt x="1566" y="656"/>
                </a:cubicBezTo>
                <a:cubicBezTo>
                  <a:pt x="1566" y="656"/>
                  <a:pt x="1567" y="657"/>
                  <a:pt x="1567" y="657"/>
                </a:cubicBezTo>
                <a:cubicBezTo>
                  <a:pt x="1567" y="657"/>
                  <a:pt x="1566" y="657"/>
                  <a:pt x="1566" y="657"/>
                </a:cubicBezTo>
                <a:cubicBezTo>
                  <a:pt x="1566" y="658"/>
                  <a:pt x="1566" y="658"/>
                  <a:pt x="1566" y="658"/>
                </a:cubicBezTo>
                <a:close/>
                <a:moveTo>
                  <a:pt x="1534" y="622"/>
                </a:moveTo>
                <a:cubicBezTo>
                  <a:pt x="1534" y="621"/>
                  <a:pt x="1533" y="621"/>
                  <a:pt x="1533" y="621"/>
                </a:cubicBezTo>
                <a:cubicBezTo>
                  <a:pt x="1533" y="621"/>
                  <a:pt x="1533" y="621"/>
                  <a:pt x="1533" y="621"/>
                </a:cubicBezTo>
                <a:cubicBezTo>
                  <a:pt x="1533" y="621"/>
                  <a:pt x="1533" y="621"/>
                  <a:pt x="1533" y="622"/>
                </a:cubicBezTo>
                <a:cubicBezTo>
                  <a:pt x="1533" y="622"/>
                  <a:pt x="1533" y="622"/>
                  <a:pt x="1533" y="622"/>
                </a:cubicBezTo>
                <a:cubicBezTo>
                  <a:pt x="1533" y="622"/>
                  <a:pt x="1533" y="622"/>
                  <a:pt x="1533" y="622"/>
                </a:cubicBezTo>
                <a:cubicBezTo>
                  <a:pt x="1533" y="622"/>
                  <a:pt x="1533" y="622"/>
                  <a:pt x="1534" y="622"/>
                </a:cubicBezTo>
                <a:close/>
                <a:moveTo>
                  <a:pt x="1407" y="629"/>
                </a:moveTo>
                <a:cubicBezTo>
                  <a:pt x="1407" y="629"/>
                  <a:pt x="1407" y="629"/>
                  <a:pt x="1407" y="628"/>
                </a:cubicBezTo>
                <a:cubicBezTo>
                  <a:pt x="1407" y="628"/>
                  <a:pt x="1407" y="628"/>
                  <a:pt x="1407" y="627"/>
                </a:cubicBezTo>
                <a:cubicBezTo>
                  <a:pt x="1407" y="627"/>
                  <a:pt x="1407" y="628"/>
                  <a:pt x="1407" y="628"/>
                </a:cubicBezTo>
                <a:cubicBezTo>
                  <a:pt x="1407" y="628"/>
                  <a:pt x="1407" y="629"/>
                  <a:pt x="1407" y="629"/>
                </a:cubicBezTo>
                <a:close/>
                <a:moveTo>
                  <a:pt x="1427" y="613"/>
                </a:moveTo>
                <a:cubicBezTo>
                  <a:pt x="1427" y="613"/>
                  <a:pt x="1427" y="613"/>
                  <a:pt x="1428" y="612"/>
                </a:cubicBezTo>
                <a:cubicBezTo>
                  <a:pt x="1428" y="612"/>
                  <a:pt x="1428" y="612"/>
                  <a:pt x="1428" y="612"/>
                </a:cubicBezTo>
                <a:cubicBezTo>
                  <a:pt x="1428" y="612"/>
                  <a:pt x="1427" y="612"/>
                  <a:pt x="1427" y="612"/>
                </a:cubicBezTo>
                <a:cubicBezTo>
                  <a:pt x="1427" y="612"/>
                  <a:pt x="1427" y="613"/>
                  <a:pt x="1427" y="613"/>
                </a:cubicBezTo>
                <a:close/>
                <a:moveTo>
                  <a:pt x="1513" y="605"/>
                </a:moveTo>
                <a:cubicBezTo>
                  <a:pt x="1513" y="605"/>
                  <a:pt x="1514" y="605"/>
                  <a:pt x="1514" y="605"/>
                </a:cubicBezTo>
                <a:cubicBezTo>
                  <a:pt x="1515" y="605"/>
                  <a:pt x="1515" y="605"/>
                  <a:pt x="1516" y="605"/>
                </a:cubicBezTo>
                <a:cubicBezTo>
                  <a:pt x="1516" y="605"/>
                  <a:pt x="1516" y="605"/>
                  <a:pt x="1516" y="605"/>
                </a:cubicBezTo>
                <a:cubicBezTo>
                  <a:pt x="1516" y="605"/>
                  <a:pt x="1516" y="605"/>
                  <a:pt x="1516" y="605"/>
                </a:cubicBezTo>
                <a:cubicBezTo>
                  <a:pt x="1517" y="605"/>
                  <a:pt x="1517" y="605"/>
                  <a:pt x="1517" y="605"/>
                </a:cubicBezTo>
                <a:cubicBezTo>
                  <a:pt x="1517" y="604"/>
                  <a:pt x="1517" y="604"/>
                  <a:pt x="1517" y="604"/>
                </a:cubicBezTo>
                <a:cubicBezTo>
                  <a:pt x="1517" y="604"/>
                  <a:pt x="1517" y="604"/>
                  <a:pt x="1517" y="604"/>
                </a:cubicBezTo>
                <a:cubicBezTo>
                  <a:pt x="1517" y="604"/>
                  <a:pt x="1516" y="604"/>
                  <a:pt x="1516" y="604"/>
                </a:cubicBezTo>
                <a:cubicBezTo>
                  <a:pt x="1516" y="604"/>
                  <a:pt x="1516" y="604"/>
                  <a:pt x="1516" y="604"/>
                </a:cubicBezTo>
                <a:cubicBezTo>
                  <a:pt x="1515" y="603"/>
                  <a:pt x="1515" y="603"/>
                  <a:pt x="1514" y="603"/>
                </a:cubicBezTo>
                <a:cubicBezTo>
                  <a:pt x="1514" y="603"/>
                  <a:pt x="1514" y="603"/>
                  <a:pt x="1514" y="603"/>
                </a:cubicBezTo>
                <a:cubicBezTo>
                  <a:pt x="1514" y="603"/>
                  <a:pt x="1513" y="603"/>
                  <a:pt x="1513" y="603"/>
                </a:cubicBezTo>
                <a:cubicBezTo>
                  <a:pt x="1513" y="603"/>
                  <a:pt x="1513" y="603"/>
                  <a:pt x="1513" y="603"/>
                </a:cubicBezTo>
                <a:cubicBezTo>
                  <a:pt x="1513" y="603"/>
                  <a:pt x="1513" y="603"/>
                  <a:pt x="1513" y="602"/>
                </a:cubicBezTo>
                <a:cubicBezTo>
                  <a:pt x="1513" y="602"/>
                  <a:pt x="1513" y="602"/>
                  <a:pt x="1512" y="602"/>
                </a:cubicBezTo>
                <a:cubicBezTo>
                  <a:pt x="1512" y="602"/>
                  <a:pt x="1512" y="602"/>
                  <a:pt x="1512" y="602"/>
                </a:cubicBezTo>
                <a:cubicBezTo>
                  <a:pt x="1512" y="602"/>
                  <a:pt x="1512" y="602"/>
                  <a:pt x="1512" y="602"/>
                </a:cubicBezTo>
                <a:cubicBezTo>
                  <a:pt x="1512" y="602"/>
                  <a:pt x="1512" y="603"/>
                  <a:pt x="1512" y="603"/>
                </a:cubicBezTo>
                <a:cubicBezTo>
                  <a:pt x="1512" y="603"/>
                  <a:pt x="1512" y="603"/>
                  <a:pt x="1512" y="604"/>
                </a:cubicBezTo>
                <a:cubicBezTo>
                  <a:pt x="1513" y="604"/>
                  <a:pt x="1513" y="604"/>
                  <a:pt x="1513" y="605"/>
                </a:cubicBezTo>
                <a:close/>
                <a:moveTo>
                  <a:pt x="1484" y="710"/>
                </a:moveTo>
                <a:cubicBezTo>
                  <a:pt x="1484" y="710"/>
                  <a:pt x="1484" y="709"/>
                  <a:pt x="1484" y="709"/>
                </a:cubicBezTo>
                <a:cubicBezTo>
                  <a:pt x="1484" y="709"/>
                  <a:pt x="1483" y="709"/>
                  <a:pt x="1483" y="709"/>
                </a:cubicBezTo>
                <a:cubicBezTo>
                  <a:pt x="1483" y="709"/>
                  <a:pt x="1483" y="709"/>
                  <a:pt x="1483" y="709"/>
                </a:cubicBezTo>
                <a:cubicBezTo>
                  <a:pt x="1483" y="709"/>
                  <a:pt x="1483" y="709"/>
                  <a:pt x="1483" y="709"/>
                </a:cubicBezTo>
                <a:cubicBezTo>
                  <a:pt x="1483" y="709"/>
                  <a:pt x="1483" y="709"/>
                  <a:pt x="1482" y="709"/>
                </a:cubicBezTo>
                <a:cubicBezTo>
                  <a:pt x="1482" y="708"/>
                  <a:pt x="1482" y="708"/>
                  <a:pt x="1482" y="708"/>
                </a:cubicBezTo>
                <a:cubicBezTo>
                  <a:pt x="1483" y="708"/>
                  <a:pt x="1483" y="708"/>
                  <a:pt x="1483" y="708"/>
                </a:cubicBezTo>
                <a:cubicBezTo>
                  <a:pt x="1483" y="708"/>
                  <a:pt x="1482" y="708"/>
                  <a:pt x="1482" y="708"/>
                </a:cubicBezTo>
                <a:cubicBezTo>
                  <a:pt x="1482" y="708"/>
                  <a:pt x="1482" y="707"/>
                  <a:pt x="1481" y="707"/>
                </a:cubicBezTo>
                <a:cubicBezTo>
                  <a:pt x="1481" y="707"/>
                  <a:pt x="1480" y="707"/>
                  <a:pt x="1479" y="707"/>
                </a:cubicBezTo>
                <a:cubicBezTo>
                  <a:pt x="1479" y="707"/>
                  <a:pt x="1478" y="707"/>
                  <a:pt x="1478" y="707"/>
                </a:cubicBezTo>
                <a:cubicBezTo>
                  <a:pt x="1478" y="707"/>
                  <a:pt x="1478" y="707"/>
                  <a:pt x="1478" y="707"/>
                </a:cubicBezTo>
                <a:cubicBezTo>
                  <a:pt x="1478" y="708"/>
                  <a:pt x="1478" y="708"/>
                  <a:pt x="1478" y="708"/>
                </a:cubicBezTo>
                <a:cubicBezTo>
                  <a:pt x="1478" y="708"/>
                  <a:pt x="1479" y="708"/>
                  <a:pt x="1479" y="708"/>
                </a:cubicBezTo>
                <a:cubicBezTo>
                  <a:pt x="1479" y="708"/>
                  <a:pt x="1479" y="708"/>
                  <a:pt x="1479" y="708"/>
                </a:cubicBezTo>
                <a:cubicBezTo>
                  <a:pt x="1480" y="708"/>
                  <a:pt x="1480" y="709"/>
                  <a:pt x="1480" y="709"/>
                </a:cubicBezTo>
                <a:cubicBezTo>
                  <a:pt x="1480" y="709"/>
                  <a:pt x="1480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2" y="709"/>
                  <a:pt x="1482" y="709"/>
                </a:cubicBezTo>
                <a:cubicBezTo>
                  <a:pt x="1482" y="709"/>
                  <a:pt x="1482" y="709"/>
                  <a:pt x="1482" y="709"/>
                </a:cubicBezTo>
                <a:cubicBezTo>
                  <a:pt x="1483" y="709"/>
                  <a:pt x="1483" y="710"/>
                  <a:pt x="1484" y="710"/>
                </a:cubicBezTo>
                <a:cubicBezTo>
                  <a:pt x="1484" y="710"/>
                  <a:pt x="1484" y="710"/>
                  <a:pt x="1484" y="710"/>
                </a:cubicBezTo>
                <a:close/>
                <a:moveTo>
                  <a:pt x="1408" y="626"/>
                </a:moveTo>
                <a:cubicBezTo>
                  <a:pt x="1408" y="626"/>
                  <a:pt x="1408" y="626"/>
                  <a:pt x="1408" y="625"/>
                </a:cubicBezTo>
                <a:cubicBezTo>
                  <a:pt x="1408" y="626"/>
                  <a:pt x="1408" y="626"/>
                  <a:pt x="1408" y="627"/>
                </a:cubicBezTo>
                <a:cubicBezTo>
                  <a:pt x="1408" y="627"/>
                  <a:pt x="1408" y="626"/>
                  <a:pt x="1408" y="626"/>
                </a:cubicBezTo>
                <a:close/>
                <a:moveTo>
                  <a:pt x="1479" y="607"/>
                </a:moveTo>
                <a:cubicBezTo>
                  <a:pt x="1478" y="607"/>
                  <a:pt x="1478" y="606"/>
                  <a:pt x="1478" y="606"/>
                </a:cubicBezTo>
                <a:cubicBezTo>
                  <a:pt x="1478" y="606"/>
                  <a:pt x="1478" y="606"/>
                  <a:pt x="1478" y="606"/>
                </a:cubicBezTo>
                <a:cubicBezTo>
                  <a:pt x="1478" y="606"/>
                  <a:pt x="1478" y="607"/>
                  <a:pt x="1478" y="607"/>
                </a:cubicBezTo>
                <a:cubicBezTo>
                  <a:pt x="1478" y="607"/>
                  <a:pt x="1478" y="607"/>
                  <a:pt x="1479" y="607"/>
                </a:cubicBezTo>
                <a:close/>
                <a:moveTo>
                  <a:pt x="1477" y="608"/>
                </a:moveTo>
                <a:cubicBezTo>
                  <a:pt x="1477" y="609"/>
                  <a:pt x="1477" y="609"/>
                  <a:pt x="1477" y="609"/>
                </a:cubicBezTo>
                <a:cubicBezTo>
                  <a:pt x="1477" y="609"/>
                  <a:pt x="1477" y="608"/>
                  <a:pt x="1477" y="608"/>
                </a:cubicBezTo>
                <a:cubicBezTo>
                  <a:pt x="1477" y="608"/>
                  <a:pt x="1477" y="608"/>
                  <a:pt x="1477" y="607"/>
                </a:cubicBezTo>
                <a:cubicBezTo>
                  <a:pt x="1477" y="608"/>
                  <a:pt x="1477" y="608"/>
                  <a:pt x="1477" y="608"/>
                </a:cubicBezTo>
                <a:close/>
                <a:moveTo>
                  <a:pt x="1511" y="604"/>
                </a:moveTo>
                <a:cubicBezTo>
                  <a:pt x="1512" y="604"/>
                  <a:pt x="1512" y="604"/>
                  <a:pt x="1512" y="604"/>
                </a:cubicBezTo>
                <a:cubicBezTo>
                  <a:pt x="1512" y="604"/>
                  <a:pt x="1512" y="604"/>
                  <a:pt x="1512" y="604"/>
                </a:cubicBezTo>
                <a:cubicBezTo>
                  <a:pt x="1512" y="604"/>
                  <a:pt x="1512" y="604"/>
                  <a:pt x="1512" y="603"/>
                </a:cubicBezTo>
                <a:cubicBezTo>
                  <a:pt x="1512" y="603"/>
                  <a:pt x="1512" y="602"/>
                  <a:pt x="1512" y="602"/>
                </a:cubicBezTo>
                <a:cubicBezTo>
                  <a:pt x="1512" y="602"/>
                  <a:pt x="1511" y="602"/>
                  <a:pt x="1511" y="602"/>
                </a:cubicBezTo>
                <a:cubicBezTo>
                  <a:pt x="1511" y="602"/>
                  <a:pt x="1511" y="602"/>
                  <a:pt x="1511" y="602"/>
                </a:cubicBezTo>
                <a:cubicBezTo>
                  <a:pt x="1511" y="602"/>
                  <a:pt x="1511" y="602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0" y="603"/>
                </a:cubicBezTo>
                <a:cubicBezTo>
                  <a:pt x="1510" y="603"/>
                  <a:pt x="1510" y="603"/>
                  <a:pt x="1510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4"/>
                  <a:pt x="1511" y="604"/>
                </a:cubicBezTo>
                <a:close/>
                <a:moveTo>
                  <a:pt x="1619" y="792"/>
                </a:moveTo>
                <a:cubicBezTo>
                  <a:pt x="1619" y="792"/>
                  <a:pt x="1619" y="792"/>
                  <a:pt x="1620" y="792"/>
                </a:cubicBezTo>
                <a:cubicBezTo>
                  <a:pt x="1620" y="792"/>
                  <a:pt x="1620" y="792"/>
                  <a:pt x="1620" y="792"/>
                </a:cubicBezTo>
                <a:cubicBezTo>
                  <a:pt x="1620" y="792"/>
                  <a:pt x="1619" y="792"/>
                  <a:pt x="1619" y="791"/>
                </a:cubicBezTo>
                <a:cubicBezTo>
                  <a:pt x="1619" y="792"/>
                  <a:pt x="1619" y="792"/>
                  <a:pt x="1619" y="792"/>
                </a:cubicBezTo>
                <a:close/>
                <a:moveTo>
                  <a:pt x="1546" y="811"/>
                </a:move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7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lose/>
                <a:moveTo>
                  <a:pt x="1596" y="807"/>
                </a:moveTo>
                <a:cubicBezTo>
                  <a:pt x="1596" y="807"/>
                  <a:pt x="1596" y="807"/>
                  <a:pt x="1596" y="807"/>
                </a:cubicBezTo>
                <a:cubicBezTo>
                  <a:pt x="1596" y="807"/>
                  <a:pt x="1596" y="807"/>
                  <a:pt x="1596" y="806"/>
                </a:cubicBezTo>
                <a:cubicBezTo>
                  <a:pt x="1596" y="806"/>
                  <a:pt x="1596" y="806"/>
                  <a:pt x="1596" y="806"/>
                </a:cubicBezTo>
                <a:cubicBezTo>
                  <a:pt x="1595" y="806"/>
                  <a:pt x="1595" y="806"/>
                  <a:pt x="1595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5" y="807"/>
                  <a:pt x="1594" y="807"/>
                  <a:pt x="1594" y="807"/>
                </a:cubicBezTo>
                <a:cubicBezTo>
                  <a:pt x="1594" y="807"/>
                  <a:pt x="1594" y="807"/>
                  <a:pt x="1594" y="807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3" y="806"/>
                  <a:pt x="1593" y="806"/>
                  <a:pt x="1593" y="806"/>
                </a:cubicBezTo>
                <a:cubicBezTo>
                  <a:pt x="1593" y="806"/>
                  <a:pt x="1592" y="806"/>
                  <a:pt x="1592" y="806"/>
                </a:cubicBezTo>
                <a:cubicBezTo>
                  <a:pt x="1592" y="806"/>
                  <a:pt x="1592" y="806"/>
                  <a:pt x="1592" y="806"/>
                </a:cubicBezTo>
                <a:cubicBezTo>
                  <a:pt x="1592" y="805"/>
                  <a:pt x="1592" y="805"/>
                  <a:pt x="1592" y="804"/>
                </a:cubicBezTo>
                <a:cubicBezTo>
                  <a:pt x="1592" y="804"/>
                  <a:pt x="1592" y="804"/>
                  <a:pt x="1592" y="804"/>
                </a:cubicBezTo>
                <a:cubicBezTo>
                  <a:pt x="1592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3"/>
                  <a:pt x="1593" y="803"/>
                  <a:pt x="1593" y="803"/>
                </a:cubicBezTo>
                <a:cubicBezTo>
                  <a:pt x="1593" y="803"/>
                  <a:pt x="1593" y="803"/>
                  <a:pt x="1592" y="803"/>
                </a:cubicBezTo>
                <a:cubicBezTo>
                  <a:pt x="1592" y="803"/>
                  <a:pt x="1592" y="803"/>
                  <a:pt x="1592" y="803"/>
                </a:cubicBezTo>
                <a:cubicBezTo>
                  <a:pt x="1592" y="803"/>
                  <a:pt x="1592" y="803"/>
                  <a:pt x="1592" y="803"/>
                </a:cubicBezTo>
                <a:cubicBezTo>
                  <a:pt x="1592" y="802"/>
                  <a:pt x="1592" y="802"/>
                  <a:pt x="1592" y="802"/>
                </a:cubicBezTo>
                <a:cubicBezTo>
                  <a:pt x="1593" y="802"/>
                  <a:pt x="1593" y="802"/>
                  <a:pt x="1593" y="802"/>
                </a:cubicBezTo>
                <a:cubicBezTo>
                  <a:pt x="1593" y="802"/>
                  <a:pt x="1593" y="802"/>
                  <a:pt x="1593" y="801"/>
                </a:cubicBezTo>
                <a:cubicBezTo>
                  <a:pt x="1592" y="801"/>
                  <a:pt x="1592" y="802"/>
                  <a:pt x="1591" y="802"/>
                </a:cubicBezTo>
                <a:cubicBezTo>
                  <a:pt x="1591" y="801"/>
                  <a:pt x="1591" y="801"/>
                  <a:pt x="1591" y="801"/>
                </a:cubicBezTo>
                <a:cubicBezTo>
                  <a:pt x="1590" y="801"/>
                  <a:pt x="1590" y="802"/>
                  <a:pt x="1590" y="802"/>
                </a:cubicBezTo>
                <a:cubicBezTo>
                  <a:pt x="1590" y="802"/>
                  <a:pt x="1589" y="802"/>
                  <a:pt x="1589" y="802"/>
                </a:cubicBezTo>
                <a:cubicBezTo>
                  <a:pt x="1589" y="803"/>
                  <a:pt x="1588" y="803"/>
                  <a:pt x="1588" y="803"/>
                </a:cubicBezTo>
                <a:cubicBezTo>
                  <a:pt x="1587" y="804"/>
                  <a:pt x="1587" y="804"/>
                  <a:pt x="1587" y="804"/>
                </a:cubicBezTo>
                <a:cubicBezTo>
                  <a:pt x="1586" y="804"/>
                  <a:pt x="1586" y="804"/>
                  <a:pt x="1586" y="804"/>
                </a:cubicBezTo>
                <a:cubicBezTo>
                  <a:pt x="1586" y="804"/>
                  <a:pt x="1585" y="804"/>
                  <a:pt x="1585" y="804"/>
                </a:cubicBezTo>
                <a:cubicBezTo>
                  <a:pt x="1585" y="804"/>
                  <a:pt x="1584" y="805"/>
                  <a:pt x="1584" y="805"/>
                </a:cubicBezTo>
                <a:cubicBezTo>
                  <a:pt x="1584" y="805"/>
                  <a:pt x="1584" y="805"/>
                  <a:pt x="1583" y="805"/>
                </a:cubicBezTo>
                <a:cubicBezTo>
                  <a:pt x="1583" y="804"/>
                  <a:pt x="1583" y="804"/>
                  <a:pt x="1583" y="804"/>
                </a:cubicBezTo>
                <a:cubicBezTo>
                  <a:pt x="1582" y="804"/>
                  <a:pt x="1582" y="804"/>
                  <a:pt x="1582" y="804"/>
                </a:cubicBezTo>
                <a:cubicBezTo>
                  <a:pt x="1582" y="804"/>
                  <a:pt x="1582" y="804"/>
                  <a:pt x="1581" y="805"/>
                </a:cubicBezTo>
                <a:cubicBezTo>
                  <a:pt x="1581" y="805"/>
                  <a:pt x="1581" y="805"/>
                  <a:pt x="1581" y="805"/>
                </a:cubicBezTo>
                <a:cubicBezTo>
                  <a:pt x="1581" y="805"/>
                  <a:pt x="1581" y="805"/>
                  <a:pt x="1580" y="805"/>
                </a:cubicBezTo>
                <a:cubicBezTo>
                  <a:pt x="1580" y="805"/>
                  <a:pt x="1580" y="805"/>
                  <a:pt x="1580" y="806"/>
                </a:cubicBezTo>
                <a:cubicBezTo>
                  <a:pt x="1579" y="806"/>
                  <a:pt x="1579" y="806"/>
                  <a:pt x="1579" y="806"/>
                </a:cubicBezTo>
                <a:cubicBezTo>
                  <a:pt x="1579" y="806"/>
                  <a:pt x="1579" y="806"/>
                  <a:pt x="1579" y="806"/>
                </a:cubicBezTo>
                <a:cubicBezTo>
                  <a:pt x="1578" y="807"/>
                  <a:pt x="1578" y="807"/>
                  <a:pt x="1578" y="807"/>
                </a:cubicBezTo>
                <a:cubicBezTo>
                  <a:pt x="1577" y="807"/>
                  <a:pt x="1577" y="807"/>
                  <a:pt x="1576" y="808"/>
                </a:cubicBezTo>
                <a:cubicBezTo>
                  <a:pt x="1575" y="808"/>
                  <a:pt x="1575" y="808"/>
                  <a:pt x="1574" y="808"/>
                </a:cubicBezTo>
                <a:cubicBezTo>
                  <a:pt x="1574" y="808"/>
                  <a:pt x="1573" y="808"/>
                  <a:pt x="1573" y="807"/>
                </a:cubicBezTo>
                <a:cubicBezTo>
                  <a:pt x="1573" y="807"/>
                  <a:pt x="1572" y="807"/>
                  <a:pt x="1572" y="807"/>
                </a:cubicBezTo>
                <a:cubicBezTo>
                  <a:pt x="1572" y="808"/>
                  <a:pt x="1572" y="808"/>
                  <a:pt x="1572" y="808"/>
                </a:cubicBezTo>
                <a:cubicBezTo>
                  <a:pt x="1571" y="808"/>
                  <a:pt x="1571" y="808"/>
                  <a:pt x="1571" y="808"/>
                </a:cubicBezTo>
                <a:cubicBezTo>
                  <a:pt x="1570" y="807"/>
                  <a:pt x="1570" y="807"/>
                  <a:pt x="1569" y="807"/>
                </a:cubicBezTo>
                <a:cubicBezTo>
                  <a:pt x="1569" y="808"/>
                  <a:pt x="1568" y="808"/>
                  <a:pt x="1567" y="808"/>
                </a:cubicBezTo>
                <a:cubicBezTo>
                  <a:pt x="1567" y="808"/>
                  <a:pt x="1567" y="808"/>
                  <a:pt x="1567" y="808"/>
                </a:cubicBezTo>
                <a:cubicBezTo>
                  <a:pt x="1566" y="808"/>
                  <a:pt x="1566" y="808"/>
                  <a:pt x="1565" y="808"/>
                </a:cubicBezTo>
                <a:cubicBezTo>
                  <a:pt x="1565" y="808"/>
                  <a:pt x="1565" y="808"/>
                  <a:pt x="1565" y="808"/>
                </a:cubicBezTo>
                <a:cubicBezTo>
                  <a:pt x="1565" y="808"/>
                  <a:pt x="1565" y="808"/>
                  <a:pt x="1565" y="809"/>
                </a:cubicBezTo>
                <a:cubicBezTo>
                  <a:pt x="1565" y="809"/>
                  <a:pt x="1564" y="809"/>
                  <a:pt x="1564" y="809"/>
                </a:cubicBezTo>
                <a:cubicBezTo>
                  <a:pt x="1564" y="809"/>
                  <a:pt x="1564" y="809"/>
                  <a:pt x="1564" y="808"/>
                </a:cubicBezTo>
                <a:cubicBezTo>
                  <a:pt x="1564" y="808"/>
                  <a:pt x="1564" y="808"/>
                  <a:pt x="1564" y="808"/>
                </a:cubicBezTo>
                <a:cubicBezTo>
                  <a:pt x="1564" y="808"/>
                  <a:pt x="1563" y="808"/>
                  <a:pt x="1563" y="808"/>
                </a:cubicBezTo>
                <a:cubicBezTo>
                  <a:pt x="1563" y="808"/>
                  <a:pt x="1563" y="808"/>
                  <a:pt x="1562" y="808"/>
                </a:cubicBezTo>
                <a:cubicBezTo>
                  <a:pt x="1562" y="808"/>
                  <a:pt x="1562" y="808"/>
                  <a:pt x="1562" y="807"/>
                </a:cubicBezTo>
                <a:cubicBezTo>
                  <a:pt x="1562" y="807"/>
                  <a:pt x="1562" y="807"/>
                  <a:pt x="1561" y="807"/>
                </a:cubicBezTo>
                <a:cubicBezTo>
                  <a:pt x="1561" y="807"/>
                  <a:pt x="1560" y="807"/>
                  <a:pt x="1560" y="808"/>
                </a:cubicBezTo>
                <a:cubicBezTo>
                  <a:pt x="1560" y="808"/>
                  <a:pt x="1559" y="808"/>
                  <a:pt x="1559" y="808"/>
                </a:cubicBezTo>
                <a:cubicBezTo>
                  <a:pt x="1559" y="808"/>
                  <a:pt x="1558" y="808"/>
                  <a:pt x="1558" y="808"/>
                </a:cubicBezTo>
                <a:cubicBezTo>
                  <a:pt x="1558" y="808"/>
                  <a:pt x="1557" y="808"/>
                  <a:pt x="1557" y="808"/>
                </a:cubicBezTo>
                <a:cubicBezTo>
                  <a:pt x="1557" y="808"/>
                  <a:pt x="1556" y="808"/>
                  <a:pt x="1556" y="808"/>
                </a:cubicBezTo>
                <a:cubicBezTo>
                  <a:pt x="1556" y="809"/>
                  <a:pt x="1556" y="809"/>
                  <a:pt x="1556" y="809"/>
                </a:cubicBezTo>
                <a:cubicBezTo>
                  <a:pt x="1556" y="809"/>
                  <a:pt x="1556" y="809"/>
                  <a:pt x="1556" y="809"/>
                </a:cubicBezTo>
                <a:cubicBezTo>
                  <a:pt x="1556" y="808"/>
                  <a:pt x="1556" y="808"/>
                  <a:pt x="1555" y="808"/>
                </a:cubicBezTo>
                <a:cubicBezTo>
                  <a:pt x="1555" y="808"/>
                  <a:pt x="1555" y="808"/>
                  <a:pt x="1555" y="808"/>
                </a:cubicBezTo>
                <a:cubicBezTo>
                  <a:pt x="1555" y="808"/>
                  <a:pt x="1554" y="808"/>
                  <a:pt x="1554" y="808"/>
                </a:cubicBezTo>
                <a:cubicBezTo>
                  <a:pt x="1554" y="809"/>
                  <a:pt x="1554" y="809"/>
                  <a:pt x="1554" y="809"/>
                </a:cubicBezTo>
                <a:cubicBezTo>
                  <a:pt x="1554" y="809"/>
                  <a:pt x="1553" y="809"/>
                  <a:pt x="1553" y="809"/>
                </a:cubicBezTo>
                <a:cubicBezTo>
                  <a:pt x="1553" y="809"/>
                  <a:pt x="1553" y="809"/>
                  <a:pt x="1553" y="809"/>
                </a:cubicBezTo>
                <a:cubicBezTo>
                  <a:pt x="1553" y="809"/>
                  <a:pt x="1552" y="809"/>
                  <a:pt x="1551" y="809"/>
                </a:cubicBezTo>
                <a:cubicBezTo>
                  <a:pt x="1551" y="809"/>
                  <a:pt x="1551" y="809"/>
                  <a:pt x="1551" y="809"/>
                </a:cubicBezTo>
                <a:cubicBezTo>
                  <a:pt x="1551" y="809"/>
                  <a:pt x="1551" y="809"/>
                  <a:pt x="1551" y="810"/>
                </a:cubicBezTo>
                <a:cubicBezTo>
                  <a:pt x="1550" y="810"/>
                  <a:pt x="1550" y="810"/>
                  <a:pt x="1550" y="811"/>
                </a:cubicBezTo>
                <a:cubicBezTo>
                  <a:pt x="1550" y="811"/>
                  <a:pt x="1550" y="811"/>
                  <a:pt x="1549" y="811"/>
                </a:cubicBezTo>
                <a:cubicBezTo>
                  <a:pt x="1549" y="811"/>
                  <a:pt x="1549" y="810"/>
                  <a:pt x="1549" y="810"/>
                </a:cubicBezTo>
                <a:cubicBezTo>
                  <a:pt x="1549" y="810"/>
                  <a:pt x="1549" y="810"/>
                  <a:pt x="1549" y="810"/>
                </a:cubicBezTo>
                <a:cubicBezTo>
                  <a:pt x="1549" y="810"/>
                  <a:pt x="1549" y="810"/>
                  <a:pt x="1549" y="810"/>
                </a:cubicBezTo>
                <a:cubicBezTo>
                  <a:pt x="1549" y="810"/>
                  <a:pt x="1548" y="810"/>
                  <a:pt x="1548" y="810"/>
                </a:cubicBezTo>
                <a:cubicBezTo>
                  <a:pt x="1548" y="810"/>
                  <a:pt x="1548" y="811"/>
                  <a:pt x="1547" y="811"/>
                </a:cubicBezTo>
                <a:cubicBezTo>
                  <a:pt x="1547" y="811"/>
                  <a:pt x="1547" y="811"/>
                  <a:pt x="1547" y="811"/>
                </a:cubicBezTo>
                <a:cubicBezTo>
                  <a:pt x="1547" y="811"/>
                  <a:pt x="1547" y="812"/>
                  <a:pt x="1547" y="812"/>
                </a:cubicBezTo>
                <a:cubicBezTo>
                  <a:pt x="1547" y="812"/>
                  <a:pt x="1547" y="812"/>
                  <a:pt x="1547" y="812"/>
                </a:cubicBezTo>
                <a:cubicBezTo>
                  <a:pt x="1547" y="812"/>
                  <a:pt x="1547" y="812"/>
                  <a:pt x="1547" y="812"/>
                </a:cubicBezTo>
                <a:cubicBezTo>
                  <a:pt x="1547" y="812"/>
                  <a:pt x="1547" y="812"/>
                  <a:pt x="1546" y="812"/>
                </a:cubicBezTo>
                <a:cubicBezTo>
                  <a:pt x="1546" y="812"/>
                  <a:pt x="1546" y="812"/>
                  <a:pt x="1546" y="812"/>
                </a:cubicBezTo>
                <a:cubicBezTo>
                  <a:pt x="1545" y="812"/>
                  <a:pt x="1545" y="812"/>
                  <a:pt x="1544" y="812"/>
                </a:cubicBezTo>
                <a:cubicBezTo>
                  <a:pt x="1544" y="812"/>
                  <a:pt x="1545" y="812"/>
                  <a:pt x="1545" y="813"/>
                </a:cubicBezTo>
                <a:cubicBezTo>
                  <a:pt x="1545" y="813"/>
                  <a:pt x="1545" y="813"/>
                  <a:pt x="1545" y="813"/>
                </a:cubicBezTo>
                <a:cubicBezTo>
                  <a:pt x="1545" y="813"/>
                  <a:pt x="1545" y="813"/>
                  <a:pt x="1545" y="813"/>
                </a:cubicBezTo>
                <a:cubicBezTo>
                  <a:pt x="1544" y="813"/>
                  <a:pt x="1544" y="813"/>
                  <a:pt x="1544" y="813"/>
                </a:cubicBezTo>
                <a:cubicBezTo>
                  <a:pt x="1544" y="814"/>
                  <a:pt x="1544" y="814"/>
                  <a:pt x="1544" y="814"/>
                </a:cubicBezTo>
                <a:cubicBezTo>
                  <a:pt x="1544" y="814"/>
                  <a:pt x="1545" y="814"/>
                  <a:pt x="1545" y="814"/>
                </a:cubicBezTo>
                <a:cubicBezTo>
                  <a:pt x="1545" y="815"/>
                  <a:pt x="1545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7" y="815"/>
                </a:cubicBezTo>
                <a:cubicBezTo>
                  <a:pt x="1547" y="815"/>
                  <a:pt x="1547" y="816"/>
                  <a:pt x="1547" y="816"/>
                </a:cubicBezTo>
                <a:cubicBezTo>
                  <a:pt x="1547" y="816"/>
                  <a:pt x="1547" y="816"/>
                  <a:pt x="1547" y="816"/>
                </a:cubicBezTo>
                <a:cubicBezTo>
                  <a:pt x="1547" y="816"/>
                  <a:pt x="1547" y="816"/>
                  <a:pt x="1547" y="816"/>
                </a:cubicBezTo>
                <a:cubicBezTo>
                  <a:pt x="1547" y="817"/>
                  <a:pt x="1547" y="817"/>
                  <a:pt x="1547" y="817"/>
                </a:cubicBezTo>
                <a:cubicBezTo>
                  <a:pt x="1547" y="817"/>
                  <a:pt x="1547" y="817"/>
                  <a:pt x="1547" y="817"/>
                </a:cubicBezTo>
                <a:cubicBezTo>
                  <a:pt x="1548" y="817"/>
                  <a:pt x="1548" y="818"/>
                  <a:pt x="1548" y="818"/>
                </a:cubicBezTo>
                <a:cubicBezTo>
                  <a:pt x="1548" y="818"/>
                  <a:pt x="1547" y="818"/>
                  <a:pt x="1547" y="818"/>
                </a:cubicBezTo>
                <a:cubicBezTo>
                  <a:pt x="1548" y="819"/>
                  <a:pt x="1548" y="819"/>
                  <a:pt x="1548" y="819"/>
                </a:cubicBezTo>
                <a:cubicBezTo>
                  <a:pt x="1548" y="819"/>
                  <a:pt x="1548" y="820"/>
                  <a:pt x="1548" y="820"/>
                </a:cubicBezTo>
                <a:cubicBezTo>
                  <a:pt x="1548" y="820"/>
                  <a:pt x="1548" y="820"/>
                  <a:pt x="1547" y="820"/>
                </a:cubicBezTo>
                <a:cubicBezTo>
                  <a:pt x="1547" y="820"/>
                  <a:pt x="1547" y="820"/>
                  <a:pt x="1548" y="820"/>
                </a:cubicBezTo>
                <a:cubicBezTo>
                  <a:pt x="1548" y="820"/>
                  <a:pt x="1548" y="820"/>
                  <a:pt x="1549" y="820"/>
                </a:cubicBezTo>
                <a:cubicBezTo>
                  <a:pt x="1549" y="820"/>
                  <a:pt x="1549" y="820"/>
                  <a:pt x="1549" y="820"/>
                </a:cubicBezTo>
                <a:cubicBezTo>
                  <a:pt x="1549" y="821"/>
                  <a:pt x="1549" y="821"/>
                  <a:pt x="1549" y="821"/>
                </a:cubicBezTo>
                <a:cubicBezTo>
                  <a:pt x="1549" y="821"/>
                  <a:pt x="1550" y="821"/>
                  <a:pt x="1550" y="821"/>
                </a:cubicBezTo>
                <a:cubicBezTo>
                  <a:pt x="1551" y="821"/>
                  <a:pt x="1551" y="821"/>
                  <a:pt x="1552" y="821"/>
                </a:cubicBezTo>
                <a:cubicBezTo>
                  <a:pt x="1552" y="821"/>
                  <a:pt x="1553" y="821"/>
                  <a:pt x="1553" y="821"/>
                </a:cubicBezTo>
                <a:cubicBezTo>
                  <a:pt x="1553" y="821"/>
                  <a:pt x="1554" y="821"/>
                  <a:pt x="1554" y="821"/>
                </a:cubicBezTo>
                <a:cubicBezTo>
                  <a:pt x="1554" y="821"/>
                  <a:pt x="1554" y="821"/>
                  <a:pt x="1554" y="821"/>
                </a:cubicBezTo>
                <a:cubicBezTo>
                  <a:pt x="1554" y="821"/>
                  <a:pt x="1554" y="821"/>
                  <a:pt x="1554" y="820"/>
                </a:cubicBezTo>
                <a:cubicBezTo>
                  <a:pt x="1554" y="820"/>
                  <a:pt x="1555" y="821"/>
                  <a:pt x="1555" y="821"/>
                </a:cubicBezTo>
                <a:cubicBezTo>
                  <a:pt x="1555" y="821"/>
                  <a:pt x="1554" y="821"/>
                  <a:pt x="1554" y="821"/>
                </a:cubicBezTo>
                <a:cubicBezTo>
                  <a:pt x="1555" y="821"/>
                  <a:pt x="1555" y="821"/>
                  <a:pt x="1555" y="821"/>
                </a:cubicBezTo>
                <a:cubicBezTo>
                  <a:pt x="1556" y="821"/>
                  <a:pt x="1556" y="821"/>
                  <a:pt x="1556" y="821"/>
                </a:cubicBezTo>
                <a:cubicBezTo>
                  <a:pt x="1556" y="821"/>
                  <a:pt x="1556" y="820"/>
                  <a:pt x="1557" y="820"/>
                </a:cubicBezTo>
                <a:cubicBezTo>
                  <a:pt x="1557" y="820"/>
                  <a:pt x="1558" y="820"/>
                  <a:pt x="1558" y="821"/>
                </a:cubicBezTo>
                <a:cubicBezTo>
                  <a:pt x="1558" y="821"/>
                  <a:pt x="1559" y="821"/>
                  <a:pt x="1559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60" y="821"/>
                  <a:pt x="1560" y="821"/>
                  <a:pt x="1560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59" y="820"/>
                  <a:pt x="1559" y="820"/>
                  <a:pt x="1560" y="820"/>
                </a:cubicBezTo>
                <a:cubicBezTo>
                  <a:pt x="1560" y="820"/>
                  <a:pt x="1559" y="820"/>
                  <a:pt x="1559" y="820"/>
                </a:cubicBezTo>
                <a:cubicBezTo>
                  <a:pt x="1560" y="820"/>
                  <a:pt x="1560" y="820"/>
                  <a:pt x="1561" y="820"/>
                </a:cubicBezTo>
                <a:cubicBezTo>
                  <a:pt x="1561" y="820"/>
                  <a:pt x="1561" y="819"/>
                  <a:pt x="1562" y="819"/>
                </a:cubicBezTo>
                <a:cubicBezTo>
                  <a:pt x="1562" y="819"/>
                  <a:pt x="1562" y="819"/>
                  <a:pt x="1563" y="818"/>
                </a:cubicBezTo>
                <a:cubicBezTo>
                  <a:pt x="1563" y="818"/>
                  <a:pt x="1563" y="818"/>
                  <a:pt x="1563" y="818"/>
                </a:cubicBezTo>
                <a:cubicBezTo>
                  <a:pt x="1564" y="818"/>
                  <a:pt x="1565" y="818"/>
                  <a:pt x="1566" y="818"/>
                </a:cubicBezTo>
                <a:cubicBezTo>
                  <a:pt x="1566" y="818"/>
                  <a:pt x="1566" y="818"/>
                  <a:pt x="1566" y="817"/>
                </a:cubicBezTo>
                <a:cubicBezTo>
                  <a:pt x="1566" y="817"/>
                  <a:pt x="1567" y="817"/>
                  <a:pt x="1567" y="817"/>
                </a:cubicBezTo>
                <a:cubicBezTo>
                  <a:pt x="1567" y="817"/>
                  <a:pt x="1568" y="816"/>
                  <a:pt x="1568" y="816"/>
                </a:cubicBezTo>
                <a:cubicBezTo>
                  <a:pt x="1568" y="816"/>
                  <a:pt x="1569" y="816"/>
                  <a:pt x="1569" y="816"/>
                </a:cubicBezTo>
                <a:cubicBezTo>
                  <a:pt x="1569" y="816"/>
                  <a:pt x="1569" y="815"/>
                  <a:pt x="1569" y="815"/>
                </a:cubicBezTo>
                <a:cubicBezTo>
                  <a:pt x="1569" y="815"/>
                  <a:pt x="1570" y="815"/>
                  <a:pt x="1570" y="815"/>
                </a:cubicBezTo>
                <a:cubicBezTo>
                  <a:pt x="1570" y="815"/>
                  <a:pt x="1571" y="815"/>
                  <a:pt x="1571" y="815"/>
                </a:cubicBezTo>
                <a:cubicBezTo>
                  <a:pt x="1571" y="815"/>
                  <a:pt x="1571" y="815"/>
                  <a:pt x="1571" y="814"/>
                </a:cubicBezTo>
                <a:cubicBezTo>
                  <a:pt x="1571" y="815"/>
                  <a:pt x="1572" y="815"/>
                  <a:pt x="1572" y="815"/>
                </a:cubicBezTo>
                <a:cubicBezTo>
                  <a:pt x="1572" y="815"/>
                  <a:pt x="1572" y="815"/>
                  <a:pt x="1572" y="815"/>
                </a:cubicBezTo>
                <a:cubicBezTo>
                  <a:pt x="1572" y="815"/>
                  <a:pt x="1572" y="815"/>
                  <a:pt x="1573" y="815"/>
                </a:cubicBezTo>
                <a:cubicBezTo>
                  <a:pt x="1573" y="815"/>
                  <a:pt x="1573" y="815"/>
                  <a:pt x="1573" y="815"/>
                </a:cubicBezTo>
                <a:cubicBezTo>
                  <a:pt x="1573" y="815"/>
                  <a:pt x="1574" y="815"/>
                  <a:pt x="1574" y="815"/>
                </a:cubicBezTo>
                <a:cubicBezTo>
                  <a:pt x="1574" y="815"/>
                  <a:pt x="1574" y="815"/>
                  <a:pt x="1574" y="815"/>
                </a:cubicBezTo>
                <a:cubicBezTo>
                  <a:pt x="1575" y="815"/>
                  <a:pt x="1575" y="815"/>
                  <a:pt x="1575" y="814"/>
                </a:cubicBezTo>
                <a:cubicBezTo>
                  <a:pt x="1575" y="814"/>
                  <a:pt x="1574" y="814"/>
                  <a:pt x="1574" y="814"/>
                </a:cubicBezTo>
                <a:cubicBezTo>
                  <a:pt x="1575" y="814"/>
                  <a:pt x="1575" y="814"/>
                  <a:pt x="1575" y="814"/>
                </a:cubicBezTo>
                <a:cubicBezTo>
                  <a:pt x="1575" y="815"/>
                  <a:pt x="1575" y="815"/>
                  <a:pt x="1575" y="815"/>
                </a:cubicBezTo>
                <a:cubicBezTo>
                  <a:pt x="1575" y="815"/>
                  <a:pt x="1575" y="815"/>
                  <a:pt x="1575" y="815"/>
                </a:cubicBezTo>
                <a:cubicBezTo>
                  <a:pt x="1575" y="815"/>
                  <a:pt x="1575" y="815"/>
                  <a:pt x="1576" y="815"/>
                </a:cubicBezTo>
                <a:cubicBezTo>
                  <a:pt x="1576" y="815"/>
                  <a:pt x="1576" y="815"/>
                  <a:pt x="1576" y="815"/>
                </a:cubicBezTo>
                <a:cubicBezTo>
                  <a:pt x="1576" y="815"/>
                  <a:pt x="1576" y="815"/>
                  <a:pt x="1576" y="815"/>
                </a:cubicBezTo>
                <a:cubicBezTo>
                  <a:pt x="1577" y="815"/>
                  <a:pt x="1577" y="815"/>
                  <a:pt x="1577" y="816"/>
                </a:cubicBezTo>
                <a:cubicBezTo>
                  <a:pt x="1577" y="816"/>
                  <a:pt x="1577" y="816"/>
                  <a:pt x="1577" y="816"/>
                </a:cubicBezTo>
                <a:cubicBezTo>
                  <a:pt x="1576" y="816"/>
                  <a:pt x="1576" y="816"/>
                  <a:pt x="1576" y="816"/>
                </a:cubicBezTo>
                <a:cubicBezTo>
                  <a:pt x="1576" y="816"/>
                  <a:pt x="1576" y="816"/>
                  <a:pt x="1577" y="816"/>
                </a:cubicBezTo>
                <a:cubicBezTo>
                  <a:pt x="1577" y="816"/>
                  <a:pt x="1577" y="816"/>
                  <a:pt x="1577" y="817"/>
                </a:cubicBezTo>
                <a:cubicBezTo>
                  <a:pt x="1577" y="817"/>
                  <a:pt x="1577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7"/>
                </a:cubicBezTo>
                <a:cubicBezTo>
                  <a:pt x="1578" y="817"/>
                  <a:pt x="1578" y="817"/>
                  <a:pt x="1578" y="817"/>
                </a:cubicBezTo>
                <a:cubicBezTo>
                  <a:pt x="1578" y="817"/>
                  <a:pt x="1578" y="817"/>
                  <a:pt x="1578" y="817"/>
                </a:cubicBezTo>
                <a:cubicBezTo>
                  <a:pt x="1579" y="817"/>
                  <a:pt x="1579" y="816"/>
                  <a:pt x="1579" y="816"/>
                </a:cubicBezTo>
                <a:cubicBezTo>
                  <a:pt x="1579" y="816"/>
                  <a:pt x="1579" y="816"/>
                  <a:pt x="1579" y="815"/>
                </a:cubicBezTo>
                <a:cubicBezTo>
                  <a:pt x="1579" y="815"/>
                  <a:pt x="1579" y="815"/>
                  <a:pt x="1578" y="815"/>
                </a:cubicBezTo>
                <a:cubicBezTo>
                  <a:pt x="1579" y="815"/>
                  <a:pt x="1579" y="815"/>
                  <a:pt x="1579" y="815"/>
                </a:cubicBezTo>
                <a:cubicBezTo>
                  <a:pt x="1579" y="815"/>
                  <a:pt x="1579" y="814"/>
                  <a:pt x="1579" y="814"/>
                </a:cubicBezTo>
                <a:cubicBezTo>
                  <a:pt x="1579" y="814"/>
                  <a:pt x="1580" y="814"/>
                  <a:pt x="1580" y="813"/>
                </a:cubicBezTo>
                <a:cubicBezTo>
                  <a:pt x="1580" y="813"/>
                  <a:pt x="1580" y="813"/>
                  <a:pt x="1581" y="813"/>
                </a:cubicBezTo>
                <a:cubicBezTo>
                  <a:pt x="1581" y="813"/>
                  <a:pt x="1581" y="813"/>
                  <a:pt x="1582" y="814"/>
                </a:cubicBezTo>
                <a:cubicBezTo>
                  <a:pt x="1582" y="814"/>
                  <a:pt x="1583" y="814"/>
                  <a:pt x="1583" y="814"/>
                </a:cubicBezTo>
                <a:cubicBezTo>
                  <a:pt x="1583" y="813"/>
                  <a:pt x="1584" y="813"/>
                  <a:pt x="1584" y="813"/>
                </a:cubicBezTo>
                <a:cubicBezTo>
                  <a:pt x="1584" y="813"/>
                  <a:pt x="1585" y="813"/>
                  <a:pt x="1585" y="813"/>
                </a:cubicBezTo>
                <a:cubicBezTo>
                  <a:pt x="1585" y="813"/>
                  <a:pt x="1585" y="812"/>
                  <a:pt x="1585" y="812"/>
                </a:cubicBezTo>
                <a:cubicBezTo>
                  <a:pt x="1586" y="812"/>
                  <a:pt x="1586" y="812"/>
                  <a:pt x="1587" y="812"/>
                </a:cubicBezTo>
                <a:cubicBezTo>
                  <a:pt x="1587" y="812"/>
                  <a:pt x="1587" y="812"/>
                  <a:pt x="1587" y="812"/>
                </a:cubicBezTo>
                <a:cubicBezTo>
                  <a:pt x="1587" y="812"/>
                  <a:pt x="1587" y="812"/>
                  <a:pt x="1587" y="812"/>
                </a:cubicBezTo>
                <a:cubicBezTo>
                  <a:pt x="1588" y="812"/>
                  <a:pt x="1589" y="812"/>
                  <a:pt x="1589" y="812"/>
                </a:cubicBezTo>
                <a:cubicBezTo>
                  <a:pt x="1589" y="811"/>
                  <a:pt x="1589" y="811"/>
                  <a:pt x="1590" y="811"/>
                </a:cubicBezTo>
                <a:cubicBezTo>
                  <a:pt x="1591" y="811"/>
                  <a:pt x="1591" y="811"/>
                  <a:pt x="1592" y="811"/>
                </a:cubicBezTo>
                <a:cubicBezTo>
                  <a:pt x="1593" y="811"/>
                  <a:pt x="1593" y="811"/>
                  <a:pt x="1593" y="811"/>
                </a:cubicBezTo>
                <a:cubicBezTo>
                  <a:pt x="1593" y="811"/>
                  <a:pt x="1593" y="811"/>
                  <a:pt x="1593" y="810"/>
                </a:cubicBezTo>
                <a:cubicBezTo>
                  <a:pt x="1593" y="810"/>
                  <a:pt x="1593" y="810"/>
                  <a:pt x="1593" y="810"/>
                </a:cubicBezTo>
                <a:cubicBezTo>
                  <a:pt x="1593" y="810"/>
                  <a:pt x="1593" y="809"/>
                  <a:pt x="1593" y="809"/>
                </a:cubicBezTo>
                <a:cubicBezTo>
                  <a:pt x="1593" y="809"/>
                  <a:pt x="1593" y="809"/>
                  <a:pt x="1594" y="808"/>
                </a:cubicBezTo>
                <a:cubicBezTo>
                  <a:pt x="1594" y="808"/>
                  <a:pt x="1594" y="808"/>
                  <a:pt x="1594" y="808"/>
                </a:cubicBezTo>
                <a:cubicBezTo>
                  <a:pt x="1594" y="808"/>
                  <a:pt x="1594" y="808"/>
                  <a:pt x="1594" y="808"/>
                </a:cubicBezTo>
                <a:cubicBezTo>
                  <a:pt x="1595" y="808"/>
                  <a:pt x="1595" y="808"/>
                  <a:pt x="1595" y="808"/>
                </a:cubicBezTo>
                <a:cubicBezTo>
                  <a:pt x="1595" y="808"/>
                  <a:pt x="1595" y="808"/>
                  <a:pt x="1595" y="808"/>
                </a:cubicBezTo>
                <a:cubicBezTo>
                  <a:pt x="1595" y="807"/>
                  <a:pt x="1594" y="807"/>
                  <a:pt x="1594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6" y="807"/>
                  <a:pt x="1596" y="807"/>
                  <a:pt x="1596" y="807"/>
                </a:cubicBezTo>
                <a:close/>
                <a:moveTo>
                  <a:pt x="1627" y="802"/>
                </a:moveTo>
                <a:cubicBezTo>
                  <a:pt x="1627" y="802"/>
                  <a:pt x="1627" y="802"/>
                  <a:pt x="1627" y="802"/>
                </a:cubicBezTo>
                <a:cubicBezTo>
                  <a:pt x="1627" y="802"/>
                  <a:pt x="1627" y="802"/>
                  <a:pt x="1628" y="802"/>
                </a:cubicBezTo>
                <a:cubicBezTo>
                  <a:pt x="1628" y="802"/>
                  <a:pt x="1628" y="802"/>
                  <a:pt x="1628" y="801"/>
                </a:cubicBezTo>
                <a:cubicBezTo>
                  <a:pt x="1627" y="801"/>
                  <a:pt x="1627" y="801"/>
                  <a:pt x="1627" y="801"/>
                </a:cubicBezTo>
                <a:cubicBezTo>
                  <a:pt x="1627" y="801"/>
                  <a:pt x="1626" y="801"/>
                  <a:pt x="1626" y="801"/>
                </a:cubicBezTo>
                <a:cubicBezTo>
                  <a:pt x="1625" y="801"/>
                  <a:pt x="1624" y="801"/>
                  <a:pt x="1624" y="801"/>
                </a:cubicBezTo>
                <a:cubicBezTo>
                  <a:pt x="1623" y="801"/>
                  <a:pt x="1623" y="801"/>
                  <a:pt x="1623" y="801"/>
                </a:cubicBezTo>
                <a:cubicBezTo>
                  <a:pt x="1623" y="801"/>
                  <a:pt x="1622" y="801"/>
                  <a:pt x="1622" y="801"/>
                </a:cubicBezTo>
                <a:cubicBezTo>
                  <a:pt x="1622" y="801"/>
                  <a:pt x="1622" y="800"/>
                  <a:pt x="1622" y="800"/>
                </a:cubicBezTo>
                <a:cubicBezTo>
                  <a:pt x="1621" y="800"/>
                  <a:pt x="1621" y="799"/>
                  <a:pt x="1621" y="798"/>
                </a:cubicBezTo>
                <a:cubicBezTo>
                  <a:pt x="1621" y="798"/>
                  <a:pt x="1620" y="798"/>
                  <a:pt x="1620" y="798"/>
                </a:cubicBezTo>
                <a:cubicBezTo>
                  <a:pt x="1620" y="798"/>
                  <a:pt x="1620" y="797"/>
                  <a:pt x="1620" y="797"/>
                </a:cubicBezTo>
                <a:cubicBezTo>
                  <a:pt x="1620" y="797"/>
                  <a:pt x="1620" y="796"/>
                  <a:pt x="1620" y="796"/>
                </a:cubicBezTo>
                <a:cubicBezTo>
                  <a:pt x="1620" y="796"/>
                  <a:pt x="1621" y="796"/>
                  <a:pt x="1621" y="796"/>
                </a:cubicBezTo>
                <a:cubicBezTo>
                  <a:pt x="1621" y="796"/>
                  <a:pt x="1621" y="796"/>
                  <a:pt x="1621" y="796"/>
                </a:cubicBezTo>
                <a:cubicBezTo>
                  <a:pt x="1621" y="795"/>
                  <a:pt x="1621" y="795"/>
                  <a:pt x="1621" y="794"/>
                </a:cubicBezTo>
                <a:cubicBezTo>
                  <a:pt x="1621" y="794"/>
                  <a:pt x="1621" y="794"/>
                  <a:pt x="1622" y="794"/>
                </a:cubicBezTo>
                <a:cubicBezTo>
                  <a:pt x="1622" y="794"/>
                  <a:pt x="1622" y="793"/>
                  <a:pt x="1622" y="793"/>
                </a:cubicBezTo>
                <a:cubicBezTo>
                  <a:pt x="1622" y="793"/>
                  <a:pt x="1622" y="793"/>
                  <a:pt x="1622" y="793"/>
                </a:cubicBezTo>
                <a:cubicBezTo>
                  <a:pt x="1622" y="793"/>
                  <a:pt x="1622" y="792"/>
                  <a:pt x="1622" y="792"/>
                </a:cubicBezTo>
                <a:cubicBezTo>
                  <a:pt x="1622" y="792"/>
                  <a:pt x="1622" y="792"/>
                  <a:pt x="1622" y="792"/>
                </a:cubicBezTo>
                <a:cubicBezTo>
                  <a:pt x="1622" y="792"/>
                  <a:pt x="1622" y="791"/>
                  <a:pt x="1622" y="791"/>
                </a:cubicBezTo>
                <a:cubicBezTo>
                  <a:pt x="1622" y="791"/>
                  <a:pt x="1622" y="791"/>
                  <a:pt x="1622" y="791"/>
                </a:cubicBezTo>
                <a:cubicBezTo>
                  <a:pt x="1622" y="791"/>
                  <a:pt x="1622" y="791"/>
                  <a:pt x="1622" y="791"/>
                </a:cubicBezTo>
                <a:cubicBezTo>
                  <a:pt x="1622" y="791"/>
                  <a:pt x="1622" y="790"/>
                  <a:pt x="1622" y="790"/>
                </a:cubicBezTo>
                <a:cubicBezTo>
                  <a:pt x="1621" y="790"/>
                  <a:pt x="1621" y="790"/>
                  <a:pt x="1621" y="790"/>
                </a:cubicBezTo>
                <a:cubicBezTo>
                  <a:pt x="1621" y="791"/>
                  <a:pt x="1621" y="791"/>
                  <a:pt x="1622" y="791"/>
                </a:cubicBezTo>
                <a:cubicBezTo>
                  <a:pt x="1621" y="791"/>
                  <a:pt x="1621" y="791"/>
                  <a:pt x="1621" y="792"/>
                </a:cubicBezTo>
                <a:cubicBezTo>
                  <a:pt x="1621" y="792"/>
                  <a:pt x="1621" y="792"/>
                  <a:pt x="1621" y="792"/>
                </a:cubicBezTo>
                <a:cubicBezTo>
                  <a:pt x="1621" y="792"/>
                  <a:pt x="1621" y="792"/>
                  <a:pt x="1620" y="792"/>
                </a:cubicBezTo>
                <a:cubicBezTo>
                  <a:pt x="1620" y="792"/>
                  <a:pt x="1620" y="792"/>
                  <a:pt x="1620" y="793"/>
                </a:cubicBezTo>
                <a:cubicBezTo>
                  <a:pt x="1620" y="793"/>
                  <a:pt x="1620" y="793"/>
                  <a:pt x="1620" y="793"/>
                </a:cubicBezTo>
                <a:cubicBezTo>
                  <a:pt x="1620" y="793"/>
                  <a:pt x="1620" y="794"/>
                  <a:pt x="1620" y="794"/>
                </a:cubicBezTo>
                <a:cubicBezTo>
                  <a:pt x="1620" y="794"/>
                  <a:pt x="1620" y="794"/>
                  <a:pt x="1619" y="794"/>
                </a:cubicBezTo>
                <a:cubicBezTo>
                  <a:pt x="1619" y="793"/>
                  <a:pt x="1619" y="793"/>
                  <a:pt x="1619" y="793"/>
                </a:cubicBezTo>
                <a:cubicBezTo>
                  <a:pt x="1619" y="793"/>
                  <a:pt x="1619" y="793"/>
                  <a:pt x="1619" y="792"/>
                </a:cubicBezTo>
                <a:cubicBezTo>
                  <a:pt x="1619" y="792"/>
                  <a:pt x="1619" y="792"/>
                  <a:pt x="1619" y="792"/>
                </a:cubicBezTo>
                <a:cubicBezTo>
                  <a:pt x="1619" y="792"/>
                  <a:pt x="1619" y="792"/>
                  <a:pt x="1619" y="792"/>
                </a:cubicBezTo>
                <a:cubicBezTo>
                  <a:pt x="1619" y="791"/>
                  <a:pt x="1618" y="791"/>
                  <a:pt x="1618" y="791"/>
                </a:cubicBezTo>
                <a:cubicBezTo>
                  <a:pt x="1618" y="791"/>
                  <a:pt x="1618" y="791"/>
                  <a:pt x="1618" y="791"/>
                </a:cubicBezTo>
                <a:cubicBezTo>
                  <a:pt x="1618" y="791"/>
                  <a:pt x="1618" y="791"/>
                  <a:pt x="1618" y="790"/>
                </a:cubicBezTo>
                <a:cubicBezTo>
                  <a:pt x="1618" y="790"/>
                  <a:pt x="1618" y="790"/>
                  <a:pt x="1619" y="790"/>
                </a:cubicBezTo>
                <a:cubicBezTo>
                  <a:pt x="1619" y="790"/>
                  <a:pt x="1619" y="790"/>
                  <a:pt x="1619" y="790"/>
                </a:cubicBezTo>
                <a:cubicBezTo>
                  <a:pt x="1619" y="790"/>
                  <a:pt x="1619" y="790"/>
                  <a:pt x="1619" y="789"/>
                </a:cubicBezTo>
                <a:cubicBezTo>
                  <a:pt x="1619" y="789"/>
                  <a:pt x="1619" y="789"/>
                  <a:pt x="1620" y="789"/>
                </a:cubicBezTo>
                <a:cubicBezTo>
                  <a:pt x="1620" y="789"/>
                  <a:pt x="1620" y="789"/>
                  <a:pt x="1620" y="789"/>
                </a:cubicBezTo>
                <a:cubicBezTo>
                  <a:pt x="1620" y="789"/>
                  <a:pt x="1621" y="789"/>
                  <a:pt x="1621" y="789"/>
                </a:cubicBezTo>
                <a:cubicBezTo>
                  <a:pt x="1621" y="788"/>
                  <a:pt x="1621" y="788"/>
                  <a:pt x="1621" y="788"/>
                </a:cubicBezTo>
                <a:cubicBezTo>
                  <a:pt x="1621" y="788"/>
                  <a:pt x="1621" y="788"/>
                  <a:pt x="1621" y="788"/>
                </a:cubicBezTo>
                <a:cubicBezTo>
                  <a:pt x="1621" y="787"/>
                  <a:pt x="1621" y="787"/>
                  <a:pt x="1621" y="787"/>
                </a:cubicBezTo>
                <a:cubicBezTo>
                  <a:pt x="1621" y="787"/>
                  <a:pt x="1622" y="786"/>
                  <a:pt x="1622" y="786"/>
                </a:cubicBezTo>
                <a:cubicBezTo>
                  <a:pt x="1622" y="786"/>
                  <a:pt x="1621" y="786"/>
                  <a:pt x="1621" y="785"/>
                </a:cubicBezTo>
                <a:cubicBezTo>
                  <a:pt x="1621" y="785"/>
                  <a:pt x="1621" y="785"/>
                  <a:pt x="1621" y="785"/>
                </a:cubicBezTo>
                <a:cubicBezTo>
                  <a:pt x="1622" y="785"/>
                  <a:pt x="1622" y="785"/>
                  <a:pt x="1622" y="786"/>
                </a:cubicBezTo>
                <a:cubicBezTo>
                  <a:pt x="1622" y="786"/>
                  <a:pt x="1622" y="786"/>
                  <a:pt x="1623" y="786"/>
                </a:cubicBezTo>
                <a:cubicBezTo>
                  <a:pt x="1623" y="786"/>
                  <a:pt x="1623" y="785"/>
                  <a:pt x="1623" y="785"/>
                </a:cubicBezTo>
                <a:cubicBezTo>
                  <a:pt x="1623" y="785"/>
                  <a:pt x="1623" y="785"/>
                  <a:pt x="1623" y="785"/>
                </a:cubicBezTo>
                <a:cubicBezTo>
                  <a:pt x="1624" y="785"/>
                  <a:pt x="1624" y="784"/>
                  <a:pt x="1624" y="784"/>
                </a:cubicBezTo>
                <a:cubicBezTo>
                  <a:pt x="1624" y="784"/>
                  <a:pt x="1624" y="783"/>
                  <a:pt x="1624" y="783"/>
                </a:cubicBezTo>
                <a:cubicBezTo>
                  <a:pt x="1624" y="783"/>
                  <a:pt x="1624" y="783"/>
                  <a:pt x="1625" y="783"/>
                </a:cubicBezTo>
                <a:cubicBezTo>
                  <a:pt x="1624" y="783"/>
                  <a:pt x="1624" y="783"/>
                  <a:pt x="1624" y="783"/>
                </a:cubicBezTo>
                <a:cubicBezTo>
                  <a:pt x="1624" y="783"/>
                  <a:pt x="1623" y="782"/>
                  <a:pt x="1623" y="782"/>
                </a:cubicBezTo>
                <a:cubicBezTo>
                  <a:pt x="1623" y="782"/>
                  <a:pt x="1623" y="782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0"/>
                  <a:pt x="1623" y="780"/>
                </a:cubicBezTo>
                <a:cubicBezTo>
                  <a:pt x="1624" y="780"/>
                  <a:pt x="1624" y="780"/>
                  <a:pt x="1624" y="781"/>
                </a:cubicBezTo>
                <a:cubicBezTo>
                  <a:pt x="1624" y="780"/>
                  <a:pt x="1624" y="780"/>
                  <a:pt x="1624" y="780"/>
                </a:cubicBezTo>
                <a:cubicBezTo>
                  <a:pt x="1624" y="780"/>
                  <a:pt x="1624" y="780"/>
                  <a:pt x="1623" y="780"/>
                </a:cubicBezTo>
                <a:cubicBezTo>
                  <a:pt x="1623" y="779"/>
                  <a:pt x="1623" y="779"/>
                  <a:pt x="1623" y="779"/>
                </a:cubicBezTo>
                <a:cubicBezTo>
                  <a:pt x="1623" y="779"/>
                  <a:pt x="1623" y="779"/>
                  <a:pt x="1623" y="779"/>
                </a:cubicBezTo>
                <a:cubicBezTo>
                  <a:pt x="1623" y="779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4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2" y="778"/>
                  <a:pt x="1622" y="778"/>
                  <a:pt x="1622" y="779"/>
                </a:cubicBezTo>
                <a:cubicBezTo>
                  <a:pt x="1622" y="778"/>
                  <a:pt x="1622" y="778"/>
                  <a:pt x="1622" y="778"/>
                </a:cubicBezTo>
                <a:cubicBezTo>
                  <a:pt x="1622" y="778"/>
                  <a:pt x="1622" y="778"/>
                  <a:pt x="1622" y="778"/>
                </a:cubicBezTo>
                <a:cubicBezTo>
                  <a:pt x="1622" y="778"/>
                  <a:pt x="1622" y="777"/>
                  <a:pt x="1622" y="777"/>
                </a:cubicBezTo>
                <a:cubicBezTo>
                  <a:pt x="1622" y="777"/>
                  <a:pt x="1622" y="776"/>
                  <a:pt x="1622" y="776"/>
                </a:cubicBezTo>
                <a:cubicBezTo>
                  <a:pt x="1622" y="776"/>
                  <a:pt x="1622" y="776"/>
                  <a:pt x="1623" y="776"/>
                </a:cubicBezTo>
                <a:cubicBezTo>
                  <a:pt x="1623" y="776"/>
                  <a:pt x="1623" y="775"/>
                  <a:pt x="1623" y="775"/>
                </a:cubicBezTo>
                <a:cubicBezTo>
                  <a:pt x="1623" y="775"/>
                  <a:pt x="1623" y="775"/>
                  <a:pt x="1623" y="775"/>
                </a:cubicBezTo>
                <a:cubicBezTo>
                  <a:pt x="1623" y="775"/>
                  <a:pt x="1623" y="775"/>
                  <a:pt x="1623" y="775"/>
                </a:cubicBezTo>
                <a:cubicBezTo>
                  <a:pt x="1623" y="775"/>
                  <a:pt x="1622" y="775"/>
                  <a:pt x="1622" y="775"/>
                </a:cubicBezTo>
                <a:cubicBezTo>
                  <a:pt x="1622" y="775"/>
                  <a:pt x="1622" y="775"/>
                  <a:pt x="1621" y="774"/>
                </a:cubicBezTo>
                <a:cubicBezTo>
                  <a:pt x="1621" y="774"/>
                  <a:pt x="1621" y="774"/>
                  <a:pt x="1621" y="775"/>
                </a:cubicBezTo>
                <a:cubicBezTo>
                  <a:pt x="1621" y="775"/>
                  <a:pt x="1621" y="775"/>
                  <a:pt x="1621" y="775"/>
                </a:cubicBezTo>
                <a:cubicBezTo>
                  <a:pt x="1621" y="776"/>
                  <a:pt x="1621" y="777"/>
                  <a:pt x="1621" y="777"/>
                </a:cubicBezTo>
                <a:cubicBezTo>
                  <a:pt x="1621" y="778"/>
                  <a:pt x="1621" y="778"/>
                  <a:pt x="1621" y="778"/>
                </a:cubicBezTo>
                <a:cubicBezTo>
                  <a:pt x="1621" y="778"/>
                  <a:pt x="1621" y="779"/>
                  <a:pt x="1620" y="779"/>
                </a:cubicBezTo>
                <a:cubicBezTo>
                  <a:pt x="1620" y="779"/>
                  <a:pt x="1620" y="779"/>
                  <a:pt x="1620" y="779"/>
                </a:cubicBezTo>
                <a:cubicBezTo>
                  <a:pt x="1620" y="779"/>
                  <a:pt x="1620" y="779"/>
                  <a:pt x="1620" y="779"/>
                </a:cubicBezTo>
                <a:cubicBezTo>
                  <a:pt x="1619" y="779"/>
                  <a:pt x="1619" y="779"/>
                  <a:pt x="1619" y="779"/>
                </a:cubicBezTo>
                <a:cubicBezTo>
                  <a:pt x="1619" y="780"/>
                  <a:pt x="1619" y="780"/>
                  <a:pt x="1619" y="781"/>
                </a:cubicBezTo>
                <a:cubicBezTo>
                  <a:pt x="1619" y="781"/>
                  <a:pt x="1619" y="781"/>
                  <a:pt x="1619" y="781"/>
                </a:cubicBezTo>
                <a:cubicBezTo>
                  <a:pt x="1619" y="781"/>
                  <a:pt x="1620" y="781"/>
                  <a:pt x="1620" y="781"/>
                </a:cubicBezTo>
                <a:cubicBezTo>
                  <a:pt x="1620" y="781"/>
                  <a:pt x="1620" y="781"/>
                  <a:pt x="1621" y="781"/>
                </a:cubicBezTo>
                <a:cubicBezTo>
                  <a:pt x="1621" y="781"/>
                  <a:pt x="1620" y="781"/>
                  <a:pt x="1620" y="781"/>
                </a:cubicBezTo>
                <a:cubicBezTo>
                  <a:pt x="1620" y="781"/>
                  <a:pt x="1620" y="781"/>
                  <a:pt x="1619" y="782"/>
                </a:cubicBezTo>
                <a:cubicBezTo>
                  <a:pt x="1619" y="782"/>
                  <a:pt x="1619" y="782"/>
                  <a:pt x="1619" y="782"/>
                </a:cubicBezTo>
                <a:cubicBezTo>
                  <a:pt x="1619" y="783"/>
                  <a:pt x="1619" y="783"/>
                  <a:pt x="1619" y="784"/>
                </a:cubicBezTo>
                <a:cubicBezTo>
                  <a:pt x="1619" y="784"/>
                  <a:pt x="1618" y="785"/>
                  <a:pt x="1618" y="785"/>
                </a:cubicBezTo>
                <a:cubicBezTo>
                  <a:pt x="1618" y="786"/>
                  <a:pt x="1618" y="786"/>
                  <a:pt x="1618" y="786"/>
                </a:cubicBezTo>
                <a:cubicBezTo>
                  <a:pt x="1617" y="786"/>
                  <a:pt x="1617" y="787"/>
                  <a:pt x="1617" y="787"/>
                </a:cubicBezTo>
                <a:cubicBezTo>
                  <a:pt x="1617" y="787"/>
                  <a:pt x="1618" y="787"/>
                  <a:pt x="1618" y="787"/>
                </a:cubicBezTo>
                <a:cubicBezTo>
                  <a:pt x="1618" y="787"/>
                  <a:pt x="1618" y="787"/>
                  <a:pt x="1618" y="787"/>
                </a:cubicBezTo>
                <a:cubicBezTo>
                  <a:pt x="1618" y="786"/>
                  <a:pt x="1618" y="786"/>
                  <a:pt x="1618" y="786"/>
                </a:cubicBezTo>
                <a:cubicBezTo>
                  <a:pt x="1618" y="786"/>
                  <a:pt x="1619" y="786"/>
                  <a:pt x="1619" y="786"/>
                </a:cubicBezTo>
                <a:cubicBezTo>
                  <a:pt x="1619" y="786"/>
                  <a:pt x="1619" y="786"/>
                  <a:pt x="1619" y="786"/>
                </a:cubicBezTo>
                <a:cubicBezTo>
                  <a:pt x="1619" y="787"/>
                  <a:pt x="1618" y="787"/>
                  <a:pt x="1618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8"/>
                  <a:pt x="1618" y="788"/>
                </a:cubicBezTo>
                <a:cubicBezTo>
                  <a:pt x="1618" y="788"/>
                  <a:pt x="1618" y="788"/>
                  <a:pt x="1618" y="788"/>
                </a:cubicBezTo>
                <a:cubicBezTo>
                  <a:pt x="1618" y="788"/>
                  <a:pt x="1618" y="788"/>
                  <a:pt x="1618" y="788"/>
                </a:cubicBezTo>
                <a:cubicBezTo>
                  <a:pt x="1618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9"/>
                </a:cubicBezTo>
                <a:cubicBezTo>
                  <a:pt x="1616" y="789"/>
                  <a:pt x="1616" y="790"/>
                  <a:pt x="1616" y="790"/>
                </a:cubicBezTo>
                <a:cubicBezTo>
                  <a:pt x="1616" y="790"/>
                  <a:pt x="1617" y="790"/>
                  <a:pt x="1617" y="790"/>
                </a:cubicBezTo>
                <a:cubicBezTo>
                  <a:pt x="1617" y="790"/>
                  <a:pt x="1617" y="790"/>
                  <a:pt x="1617" y="790"/>
                </a:cubicBezTo>
                <a:cubicBezTo>
                  <a:pt x="1617" y="791"/>
                  <a:pt x="1617" y="791"/>
                  <a:pt x="1617" y="791"/>
                </a:cubicBezTo>
                <a:cubicBezTo>
                  <a:pt x="1617" y="791"/>
                  <a:pt x="1617" y="791"/>
                  <a:pt x="1617" y="791"/>
                </a:cubicBezTo>
                <a:cubicBezTo>
                  <a:pt x="1617" y="792"/>
                  <a:pt x="1617" y="792"/>
                  <a:pt x="1617" y="792"/>
                </a:cubicBezTo>
                <a:cubicBezTo>
                  <a:pt x="1617" y="792"/>
                  <a:pt x="1616" y="792"/>
                  <a:pt x="1616" y="792"/>
                </a:cubicBezTo>
                <a:cubicBezTo>
                  <a:pt x="1616" y="792"/>
                  <a:pt x="1616" y="792"/>
                  <a:pt x="1616" y="792"/>
                </a:cubicBezTo>
                <a:cubicBezTo>
                  <a:pt x="1616" y="792"/>
                  <a:pt x="1616" y="792"/>
                  <a:pt x="1616" y="792"/>
                </a:cubicBezTo>
                <a:cubicBezTo>
                  <a:pt x="1616" y="793"/>
                  <a:pt x="1616" y="793"/>
                  <a:pt x="1616" y="793"/>
                </a:cubicBezTo>
                <a:cubicBezTo>
                  <a:pt x="1615" y="793"/>
                  <a:pt x="1615" y="793"/>
                  <a:pt x="1615" y="794"/>
                </a:cubicBezTo>
                <a:cubicBezTo>
                  <a:pt x="1614" y="794"/>
                  <a:pt x="1614" y="794"/>
                  <a:pt x="1614" y="794"/>
                </a:cubicBezTo>
                <a:cubicBezTo>
                  <a:pt x="1614" y="794"/>
                  <a:pt x="1614" y="794"/>
                  <a:pt x="1614" y="794"/>
                </a:cubicBezTo>
                <a:cubicBezTo>
                  <a:pt x="1614" y="794"/>
                  <a:pt x="1614" y="795"/>
                  <a:pt x="1614" y="795"/>
                </a:cubicBezTo>
                <a:cubicBezTo>
                  <a:pt x="1614" y="795"/>
                  <a:pt x="1614" y="795"/>
                  <a:pt x="1614" y="795"/>
                </a:cubicBezTo>
                <a:cubicBezTo>
                  <a:pt x="1614" y="795"/>
                  <a:pt x="1613" y="795"/>
                  <a:pt x="1613" y="795"/>
                </a:cubicBezTo>
                <a:cubicBezTo>
                  <a:pt x="1613" y="795"/>
                  <a:pt x="1613" y="795"/>
                  <a:pt x="1613" y="795"/>
                </a:cubicBezTo>
                <a:cubicBezTo>
                  <a:pt x="1613" y="795"/>
                  <a:pt x="1613" y="795"/>
                  <a:pt x="1612" y="795"/>
                </a:cubicBezTo>
                <a:cubicBezTo>
                  <a:pt x="1613" y="796"/>
                  <a:pt x="1613" y="796"/>
                  <a:pt x="1613" y="796"/>
                </a:cubicBezTo>
                <a:cubicBezTo>
                  <a:pt x="1612" y="796"/>
                  <a:pt x="1612" y="796"/>
                  <a:pt x="1612" y="796"/>
                </a:cubicBezTo>
                <a:cubicBezTo>
                  <a:pt x="1612" y="796"/>
                  <a:pt x="1612" y="796"/>
                  <a:pt x="1612" y="796"/>
                </a:cubicBezTo>
                <a:cubicBezTo>
                  <a:pt x="1611" y="796"/>
                  <a:pt x="1611" y="796"/>
                  <a:pt x="1611" y="796"/>
                </a:cubicBezTo>
                <a:cubicBezTo>
                  <a:pt x="1610" y="797"/>
                  <a:pt x="1610" y="798"/>
                  <a:pt x="1609" y="798"/>
                </a:cubicBezTo>
                <a:cubicBezTo>
                  <a:pt x="1609" y="798"/>
                  <a:pt x="1609" y="799"/>
                  <a:pt x="1609" y="799"/>
                </a:cubicBezTo>
                <a:cubicBezTo>
                  <a:pt x="1608" y="799"/>
                  <a:pt x="1608" y="799"/>
                  <a:pt x="1608" y="799"/>
                </a:cubicBezTo>
                <a:cubicBezTo>
                  <a:pt x="1608" y="799"/>
                  <a:pt x="1608" y="799"/>
                  <a:pt x="1607" y="799"/>
                </a:cubicBezTo>
                <a:cubicBezTo>
                  <a:pt x="1607" y="798"/>
                  <a:pt x="1607" y="798"/>
                  <a:pt x="1607" y="798"/>
                </a:cubicBezTo>
                <a:cubicBezTo>
                  <a:pt x="1607" y="798"/>
                  <a:pt x="1606" y="798"/>
                  <a:pt x="1606" y="798"/>
                </a:cubicBezTo>
                <a:cubicBezTo>
                  <a:pt x="1605" y="798"/>
                  <a:pt x="1605" y="798"/>
                  <a:pt x="1604" y="798"/>
                </a:cubicBezTo>
                <a:cubicBezTo>
                  <a:pt x="1604" y="798"/>
                  <a:pt x="1604" y="798"/>
                  <a:pt x="1603" y="798"/>
                </a:cubicBezTo>
                <a:cubicBezTo>
                  <a:pt x="1603" y="798"/>
                  <a:pt x="1603" y="798"/>
                  <a:pt x="1603" y="798"/>
                </a:cubicBezTo>
                <a:cubicBezTo>
                  <a:pt x="1602" y="799"/>
                  <a:pt x="1602" y="799"/>
                  <a:pt x="1602" y="800"/>
                </a:cubicBezTo>
                <a:cubicBezTo>
                  <a:pt x="1602" y="800"/>
                  <a:pt x="1602" y="800"/>
                  <a:pt x="1603" y="800"/>
                </a:cubicBezTo>
                <a:cubicBezTo>
                  <a:pt x="1603" y="801"/>
                  <a:pt x="1603" y="801"/>
                  <a:pt x="1603" y="802"/>
                </a:cubicBezTo>
                <a:cubicBezTo>
                  <a:pt x="1603" y="802"/>
                  <a:pt x="1603" y="802"/>
                  <a:pt x="1603" y="803"/>
                </a:cubicBezTo>
                <a:cubicBezTo>
                  <a:pt x="1604" y="803"/>
                  <a:pt x="1604" y="803"/>
                  <a:pt x="1604" y="803"/>
                </a:cubicBezTo>
                <a:cubicBezTo>
                  <a:pt x="1604" y="804"/>
                  <a:pt x="1604" y="804"/>
                  <a:pt x="1605" y="804"/>
                </a:cubicBezTo>
                <a:cubicBezTo>
                  <a:pt x="1604" y="805"/>
                  <a:pt x="1604" y="805"/>
                  <a:pt x="1604" y="806"/>
                </a:cubicBezTo>
                <a:cubicBezTo>
                  <a:pt x="1604" y="806"/>
                  <a:pt x="1604" y="806"/>
                  <a:pt x="1604" y="806"/>
                </a:cubicBezTo>
                <a:cubicBezTo>
                  <a:pt x="1604" y="806"/>
                  <a:pt x="1604" y="806"/>
                  <a:pt x="1604" y="806"/>
                </a:cubicBezTo>
                <a:cubicBezTo>
                  <a:pt x="1603" y="806"/>
                  <a:pt x="1603" y="806"/>
                  <a:pt x="1603" y="807"/>
                </a:cubicBezTo>
                <a:cubicBezTo>
                  <a:pt x="1603" y="807"/>
                  <a:pt x="1603" y="807"/>
                  <a:pt x="1603" y="807"/>
                </a:cubicBezTo>
                <a:cubicBezTo>
                  <a:pt x="1602" y="807"/>
                  <a:pt x="1601" y="808"/>
                  <a:pt x="1600" y="808"/>
                </a:cubicBezTo>
                <a:cubicBezTo>
                  <a:pt x="1600" y="808"/>
                  <a:pt x="1599" y="808"/>
                  <a:pt x="1598" y="808"/>
                </a:cubicBezTo>
                <a:cubicBezTo>
                  <a:pt x="1598" y="808"/>
                  <a:pt x="1597" y="808"/>
                  <a:pt x="1597" y="808"/>
                </a:cubicBezTo>
                <a:cubicBezTo>
                  <a:pt x="1597" y="809"/>
                  <a:pt x="1596" y="809"/>
                  <a:pt x="1596" y="809"/>
                </a:cubicBezTo>
                <a:cubicBezTo>
                  <a:pt x="1596" y="809"/>
                  <a:pt x="1596" y="809"/>
                  <a:pt x="1596" y="809"/>
                </a:cubicBezTo>
                <a:cubicBezTo>
                  <a:pt x="1596" y="809"/>
                  <a:pt x="1597" y="809"/>
                  <a:pt x="1597" y="810"/>
                </a:cubicBezTo>
                <a:cubicBezTo>
                  <a:pt x="1597" y="810"/>
                  <a:pt x="1597" y="809"/>
                  <a:pt x="1597" y="809"/>
                </a:cubicBezTo>
                <a:cubicBezTo>
                  <a:pt x="1597" y="809"/>
                  <a:pt x="1597" y="809"/>
                  <a:pt x="1598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1"/>
                  <a:pt x="1597" y="811"/>
                  <a:pt x="1598" y="811"/>
                </a:cubicBezTo>
                <a:cubicBezTo>
                  <a:pt x="1598" y="811"/>
                  <a:pt x="1598" y="811"/>
                  <a:pt x="1598" y="811"/>
                </a:cubicBezTo>
                <a:cubicBezTo>
                  <a:pt x="1598" y="811"/>
                  <a:pt x="1597" y="811"/>
                  <a:pt x="1597" y="811"/>
                </a:cubicBezTo>
                <a:cubicBezTo>
                  <a:pt x="1597" y="812"/>
                  <a:pt x="1597" y="812"/>
                  <a:pt x="1597" y="812"/>
                </a:cubicBezTo>
                <a:cubicBezTo>
                  <a:pt x="1598" y="812"/>
                  <a:pt x="1598" y="812"/>
                  <a:pt x="1598" y="812"/>
                </a:cubicBezTo>
                <a:cubicBezTo>
                  <a:pt x="1599" y="812"/>
                  <a:pt x="1599" y="812"/>
                  <a:pt x="1600" y="812"/>
                </a:cubicBezTo>
                <a:cubicBezTo>
                  <a:pt x="1600" y="812"/>
                  <a:pt x="1601" y="812"/>
                  <a:pt x="1602" y="812"/>
                </a:cubicBezTo>
                <a:cubicBezTo>
                  <a:pt x="1602" y="811"/>
                  <a:pt x="1603" y="811"/>
                  <a:pt x="1603" y="811"/>
                </a:cubicBezTo>
                <a:cubicBezTo>
                  <a:pt x="1604" y="811"/>
                  <a:pt x="1604" y="811"/>
                  <a:pt x="1605" y="811"/>
                </a:cubicBezTo>
                <a:cubicBezTo>
                  <a:pt x="1606" y="810"/>
                  <a:pt x="1606" y="810"/>
                  <a:pt x="1607" y="810"/>
                </a:cubicBezTo>
                <a:cubicBezTo>
                  <a:pt x="1607" y="810"/>
                  <a:pt x="1608" y="810"/>
                  <a:pt x="1608" y="810"/>
                </a:cubicBezTo>
                <a:cubicBezTo>
                  <a:pt x="1608" y="810"/>
                  <a:pt x="1608" y="810"/>
                  <a:pt x="1608" y="810"/>
                </a:cubicBezTo>
                <a:cubicBezTo>
                  <a:pt x="1609" y="810"/>
                  <a:pt x="1609" y="810"/>
                  <a:pt x="1609" y="810"/>
                </a:cubicBezTo>
                <a:cubicBezTo>
                  <a:pt x="1609" y="810"/>
                  <a:pt x="1609" y="810"/>
                  <a:pt x="1609" y="810"/>
                </a:cubicBezTo>
                <a:cubicBezTo>
                  <a:pt x="1609" y="809"/>
                  <a:pt x="1610" y="809"/>
                  <a:pt x="1610" y="809"/>
                </a:cubicBezTo>
                <a:cubicBezTo>
                  <a:pt x="1610" y="809"/>
                  <a:pt x="1610" y="809"/>
                  <a:pt x="1611" y="810"/>
                </a:cubicBezTo>
                <a:cubicBezTo>
                  <a:pt x="1611" y="809"/>
                  <a:pt x="1611" y="809"/>
                  <a:pt x="1612" y="809"/>
                </a:cubicBezTo>
                <a:cubicBezTo>
                  <a:pt x="1612" y="808"/>
                  <a:pt x="1613" y="808"/>
                  <a:pt x="1613" y="808"/>
                </a:cubicBezTo>
                <a:cubicBezTo>
                  <a:pt x="1613" y="808"/>
                  <a:pt x="1613" y="808"/>
                  <a:pt x="1613" y="808"/>
                </a:cubicBezTo>
                <a:cubicBezTo>
                  <a:pt x="1614" y="808"/>
                  <a:pt x="1614" y="808"/>
                  <a:pt x="1614" y="808"/>
                </a:cubicBezTo>
                <a:cubicBezTo>
                  <a:pt x="1614" y="807"/>
                  <a:pt x="1614" y="807"/>
                  <a:pt x="1614" y="807"/>
                </a:cubicBezTo>
                <a:cubicBezTo>
                  <a:pt x="1613" y="807"/>
                  <a:pt x="1613" y="807"/>
                  <a:pt x="1613" y="806"/>
                </a:cubicBezTo>
                <a:cubicBezTo>
                  <a:pt x="1613" y="806"/>
                  <a:pt x="1613" y="806"/>
                  <a:pt x="1612" y="806"/>
                </a:cubicBezTo>
                <a:cubicBezTo>
                  <a:pt x="1613" y="806"/>
                  <a:pt x="1613" y="806"/>
                  <a:pt x="1613" y="806"/>
                </a:cubicBezTo>
                <a:cubicBezTo>
                  <a:pt x="1613" y="806"/>
                  <a:pt x="1614" y="806"/>
                  <a:pt x="1614" y="806"/>
                </a:cubicBezTo>
                <a:cubicBezTo>
                  <a:pt x="1615" y="806"/>
                  <a:pt x="1615" y="806"/>
                  <a:pt x="1616" y="806"/>
                </a:cubicBezTo>
                <a:cubicBezTo>
                  <a:pt x="1617" y="806"/>
                  <a:pt x="1617" y="806"/>
                  <a:pt x="1617" y="806"/>
                </a:cubicBezTo>
                <a:cubicBezTo>
                  <a:pt x="1618" y="806"/>
                  <a:pt x="1618" y="806"/>
                  <a:pt x="1618" y="807"/>
                </a:cubicBezTo>
                <a:cubicBezTo>
                  <a:pt x="1619" y="807"/>
                  <a:pt x="1619" y="807"/>
                  <a:pt x="1619" y="807"/>
                </a:cubicBezTo>
                <a:cubicBezTo>
                  <a:pt x="1619" y="807"/>
                  <a:pt x="1619" y="807"/>
                  <a:pt x="1619" y="807"/>
                </a:cubicBezTo>
                <a:cubicBezTo>
                  <a:pt x="1619" y="807"/>
                  <a:pt x="1618" y="808"/>
                  <a:pt x="1618" y="808"/>
                </a:cubicBezTo>
                <a:cubicBezTo>
                  <a:pt x="1619" y="808"/>
                  <a:pt x="1619" y="808"/>
                  <a:pt x="1619" y="808"/>
                </a:cubicBezTo>
                <a:cubicBezTo>
                  <a:pt x="1620" y="808"/>
                  <a:pt x="1620" y="808"/>
                  <a:pt x="1620" y="808"/>
                </a:cubicBezTo>
                <a:cubicBezTo>
                  <a:pt x="1620" y="807"/>
                  <a:pt x="1619" y="807"/>
                  <a:pt x="1619" y="807"/>
                </a:cubicBezTo>
                <a:cubicBezTo>
                  <a:pt x="1619" y="807"/>
                  <a:pt x="1620" y="806"/>
                  <a:pt x="1620" y="806"/>
                </a:cubicBezTo>
                <a:cubicBezTo>
                  <a:pt x="1620" y="806"/>
                  <a:pt x="1620" y="806"/>
                  <a:pt x="1621" y="806"/>
                </a:cubicBezTo>
                <a:cubicBezTo>
                  <a:pt x="1621" y="805"/>
                  <a:pt x="1621" y="805"/>
                  <a:pt x="1621" y="805"/>
                </a:cubicBezTo>
                <a:cubicBezTo>
                  <a:pt x="1622" y="805"/>
                  <a:pt x="1622" y="806"/>
                  <a:pt x="1622" y="806"/>
                </a:cubicBezTo>
                <a:cubicBezTo>
                  <a:pt x="1622" y="806"/>
                  <a:pt x="1622" y="806"/>
                  <a:pt x="1622" y="806"/>
                </a:cubicBezTo>
                <a:cubicBezTo>
                  <a:pt x="1622" y="806"/>
                  <a:pt x="1622" y="806"/>
                  <a:pt x="1623" y="806"/>
                </a:cubicBezTo>
                <a:cubicBezTo>
                  <a:pt x="1623" y="806"/>
                  <a:pt x="1623" y="806"/>
                  <a:pt x="1623" y="806"/>
                </a:cubicBezTo>
                <a:cubicBezTo>
                  <a:pt x="1624" y="805"/>
                  <a:pt x="1624" y="805"/>
                  <a:pt x="1625" y="805"/>
                </a:cubicBezTo>
                <a:cubicBezTo>
                  <a:pt x="1625" y="805"/>
                  <a:pt x="1625" y="805"/>
                  <a:pt x="1625" y="804"/>
                </a:cubicBezTo>
                <a:cubicBezTo>
                  <a:pt x="1625" y="804"/>
                  <a:pt x="1625" y="804"/>
                  <a:pt x="1626" y="804"/>
                </a:cubicBezTo>
                <a:cubicBezTo>
                  <a:pt x="1626" y="804"/>
                  <a:pt x="1626" y="804"/>
                  <a:pt x="1626" y="803"/>
                </a:cubicBezTo>
                <a:cubicBezTo>
                  <a:pt x="1627" y="803"/>
                  <a:pt x="1627" y="803"/>
                  <a:pt x="1627" y="803"/>
                </a:cubicBezTo>
                <a:cubicBezTo>
                  <a:pt x="1628" y="803"/>
                  <a:pt x="1628" y="803"/>
                  <a:pt x="1628" y="803"/>
                </a:cubicBezTo>
                <a:cubicBezTo>
                  <a:pt x="1628" y="803"/>
                  <a:pt x="1628" y="803"/>
                  <a:pt x="1628" y="803"/>
                </a:cubicBezTo>
                <a:cubicBezTo>
                  <a:pt x="1628" y="803"/>
                  <a:pt x="1628" y="802"/>
                  <a:pt x="1627" y="802"/>
                </a:cubicBezTo>
                <a:close/>
                <a:moveTo>
                  <a:pt x="1547" y="821"/>
                </a:moveTo>
                <a:cubicBezTo>
                  <a:pt x="1547" y="821"/>
                  <a:pt x="1547" y="821"/>
                  <a:pt x="1547" y="820"/>
                </a:cubicBezTo>
                <a:cubicBezTo>
                  <a:pt x="1547" y="820"/>
                  <a:pt x="1546" y="820"/>
                  <a:pt x="1546" y="820"/>
                </a:cubicBezTo>
                <a:cubicBezTo>
                  <a:pt x="1546" y="821"/>
                  <a:pt x="1547" y="821"/>
                  <a:pt x="1547" y="821"/>
                </a:cubicBezTo>
                <a:close/>
                <a:moveTo>
                  <a:pt x="1545" y="818"/>
                </a:moveTo>
                <a:cubicBezTo>
                  <a:pt x="1545" y="818"/>
                  <a:pt x="1545" y="818"/>
                  <a:pt x="1544" y="818"/>
                </a:cubicBezTo>
                <a:cubicBezTo>
                  <a:pt x="1544" y="818"/>
                  <a:pt x="1544" y="818"/>
                  <a:pt x="1544" y="818"/>
                </a:cubicBezTo>
                <a:cubicBezTo>
                  <a:pt x="1544" y="818"/>
                  <a:pt x="1544" y="818"/>
                  <a:pt x="1544" y="819"/>
                </a:cubicBezTo>
                <a:cubicBezTo>
                  <a:pt x="1544" y="819"/>
                  <a:pt x="1543" y="819"/>
                  <a:pt x="1543" y="819"/>
                </a:cubicBezTo>
                <a:cubicBezTo>
                  <a:pt x="1543" y="819"/>
                  <a:pt x="1543" y="819"/>
                  <a:pt x="1543" y="819"/>
                </a:cubicBezTo>
                <a:cubicBezTo>
                  <a:pt x="1543" y="819"/>
                  <a:pt x="1542" y="819"/>
                  <a:pt x="1542" y="819"/>
                </a:cubicBezTo>
                <a:cubicBezTo>
                  <a:pt x="1542" y="819"/>
                  <a:pt x="1542" y="819"/>
                  <a:pt x="1542" y="819"/>
                </a:cubicBezTo>
                <a:cubicBezTo>
                  <a:pt x="1542" y="820"/>
                  <a:pt x="1541" y="820"/>
                  <a:pt x="1541" y="820"/>
                </a:cubicBezTo>
                <a:cubicBezTo>
                  <a:pt x="1541" y="820"/>
                  <a:pt x="1541" y="820"/>
                  <a:pt x="1541" y="820"/>
                </a:cubicBezTo>
                <a:cubicBezTo>
                  <a:pt x="1541" y="820"/>
                  <a:pt x="1541" y="820"/>
                  <a:pt x="1541" y="820"/>
                </a:cubicBezTo>
                <a:cubicBezTo>
                  <a:pt x="1541" y="820"/>
                  <a:pt x="1542" y="820"/>
                  <a:pt x="1542" y="820"/>
                </a:cubicBezTo>
                <a:cubicBezTo>
                  <a:pt x="1542" y="820"/>
                  <a:pt x="1542" y="820"/>
                  <a:pt x="1542" y="820"/>
                </a:cubicBezTo>
                <a:cubicBezTo>
                  <a:pt x="1542" y="820"/>
                  <a:pt x="1542" y="820"/>
                  <a:pt x="1542" y="820"/>
                </a:cubicBezTo>
                <a:cubicBezTo>
                  <a:pt x="1543" y="820"/>
                  <a:pt x="1543" y="820"/>
                  <a:pt x="1543" y="821"/>
                </a:cubicBezTo>
                <a:cubicBezTo>
                  <a:pt x="1543" y="821"/>
                  <a:pt x="1543" y="820"/>
                  <a:pt x="1543" y="820"/>
                </a:cubicBezTo>
                <a:cubicBezTo>
                  <a:pt x="1544" y="821"/>
                  <a:pt x="1544" y="821"/>
                  <a:pt x="1544" y="821"/>
                </a:cubicBezTo>
                <a:cubicBezTo>
                  <a:pt x="1544" y="821"/>
                  <a:pt x="1544" y="821"/>
                  <a:pt x="1545" y="821"/>
                </a:cubicBezTo>
                <a:cubicBezTo>
                  <a:pt x="1545" y="821"/>
                  <a:pt x="1545" y="821"/>
                  <a:pt x="1545" y="821"/>
                </a:cubicBezTo>
                <a:cubicBezTo>
                  <a:pt x="1545" y="821"/>
                  <a:pt x="1545" y="821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4" y="820"/>
                  <a:pt x="1544" y="820"/>
                  <a:pt x="1544" y="820"/>
                </a:cubicBezTo>
                <a:cubicBezTo>
                  <a:pt x="1544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19"/>
                  <a:pt x="1545" y="819"/>
                  <a:pt x="1545" y="819"/>
                </a:cubicBezTo>
                <a:cubicBezTo>
                  <a:pt x="1545" y="818"/>
                  <a:pt x="1545" y="818"/>
                  <a:pt x="1545" y="818"/>
                </a:cubicBezTo>
                <a:close/>
                <a:moveTo>
                  <a:pt x="1514" y="833"/>
                </a:moveTo>
                <a:cubicBezTo>
                  <a:pt x="1515" y="833"/>
                  <a:pt x="1515" y="834"/>
                  <a:pt x="1515" y="834"/>
                </a:cubicBezTo>
                <a:cubicBezTo>
                  <a:pt x="1515" y="834"/>
                  <a:pt x="1515" y="834"/>
                  <a:pt x="1515" y="834"/>
                </a:cubicBezTo>
                <a:cubicBezTo>
                  <a:pt x="1516" y="834"/>
                  <a:pt x="1516" y="834"/>
                  <a:pt x="1516" y="834"/>
                </a:cubicBezTo>
                <a:cubicBezTo>
                  <a:pt x="1516" y="834"/>
                  <a:pt x="1516" y="834"/>
                  <a:pt x="1516" y="834"/>
                </a:cubicBezTo>
                <a:cubicBezTo>
                  <a:pt x="1516" y="834"/>
                  <a:pt x="1516" y="834"/>
                  <a:pt x="1516" y="833"/>
                </a:cubicBezTo>
                <a:cubicBezTo>
                  <a:pt x="1517" y="833"/>
                  <a:pt x="1517" y="833"/>
                  <a:pt x="1517" y="833"/>
                </a:cubicBezTo>
                <a:cubicBezTo>
                  <a:pt x="1517" y="833"/>
                  <a:pt x="1517" y="833"/>
                  <a:pt x="1517" y="833"/>
                </a:cubicBezTo>
                <a:cubicBezTo>
                  <a:pt x="1517" y="832"/>
                  <a:pt x="1517" y="832"/>
                  <a:pt x="1517" y="832"/>
                </a:cubicBezTo>
                <a:cubicBezTo>
                  <a:pt x="1516" y="833"/>
                  <a:pt x="1515" y="833"/>
                  <a:pt x="1514" y="833"/>
                </a:cubicBezTo>
                <a:close/>
                <a:moveTo>
                  <a:pt x="1596" y="805"/>
                </a:moveTo>
                <a:cubicBezTo>
                  <a:pt x="1596" y="805"/>
                  <a:pt x="1597" y="805"/>
                  <a:pt x="1597" y="805"/>
                </a:cubicBezTo>
                <a:cubicBezTo>
                  <a:pt x="1596" y="805"/>
                  <a:pt x="1596" y="805"/>
                  <a:pt x="1596" y="805"/>
                </a:cubicBezTo>
                <a:cubicBezTo>
                  <a:pt x="1596" y="805"/>
                  <a:pt x="1596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6" y="805"/>
                </a:cubicBezTo>
                <a:cubicBezTo>
                  <a:pt x="1596" y="805"/>
                  <a:pt x="1596" y="805"/>
                  <a:pt x="1596" y="805"/>
                </a:cubicBezTo>
                <a:close/>
                <a:moveTo>
                  <a:pt x="1514" y="849"/>
                </a:moveTo>
                <a:cubicBezTo>
                  <a:pt x="1514" y="848"/>
                  <a:pt x="1514" y="848"/>
                  <a:pt x="1514" y="848"/>
                </a:cubicBezTo>
                <a:cubicBezTo>
                  <a:pt x="1513" y="848"/>
                  <a:pt x="1513" y="848"/>
                  <a:pt x="1513" y="848"/>
                </a:cubicBezTo>
                <a:cubicBezTo>
                  <a:pt x="1513" y="849"/>
                  <a:pt x="1513" y="849"/>
                  <a:pt x="1513" y="849"/>
                </a:cubicBezTo>
                <a:cubicBezTo>
                  <a:pt x="1514" y="849"/>
                  <a:pt x="1514" y="849"/>
                  <a:pt x="1514" y="849"/>
                </a:cubicBezTo>
                <a:cubicBezTo>
                  <a:pt x="1515" y="849"/>
                  <a:pt x="1515" y="849"/>
                  <a:pt x="1515" y="849"/>
                </a:cubicBezTo>
                <a:cubicBezTo>
                  <a:pt x="1515" y="848"/>
                  <a:pt x="1515" y="848"/>
                  <a:pt x="1515" y="848"/>
                </a:cubicBezTo>
                <a:cubicBezTo>
                  <a:pt x="1515" y="848"/>
                  <a:pt x="1514" y="848"/>
                  <a:pt x="1514" y="849"/>
                </a:cubicBezTo>
                <a:close/>
                <a:moveTo>
                  <a:pt x="1595" y="806"/>
                </a:moveTo>
                <a:cubicBezTo>
                  <a:pt x="1595" y="806"/>
                  <a:pt x="1595" y="806"/>
                  <a:pt x="1595" y="806"/>
                </a:cubicBezTo>
                <a:cubicBezTo>
                  <a:pt x="1595" y="806"/>
                  <a:pt x="1595" y="806"/>
                  <a:pt x="1594" y="806"/>
                </a:cubicBezTo>
                <a:cubicBezTo>
                  <a:pt x="1594" y="806"/>
                  <a:pt x="1595" y="806"/>
                  <a:pt x="1595" y="806"/>
                </a:cubicBezTo>
                <a:cubicBezTo>
                  <a:pt x="1595" y="806"/>
                  <a:pt x="1595" y="806"/>
                  <a:pt x="1595" y="806"/>
                </a:cubicBezTo>
                <a:close/>
                <a:moveTo>
                  <a:pt x="1594" y="806"/>
                </a:move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5" y="806"/>
                  <a:pt x="1595" y="806"/>
                </a:cubicBezTo>
                <a:cubicBezTo>
                  <a:pt x="1595" y="806"/>
                  <a:pt x="1595" y="806"/>
                  <a:pt x="1595" y="806"/>
                </a:cubicBezTo>
                <a:cubicBezTo>
                  <a:pt x="1594" y="806"/>
                  <a:pt x="1594" y="806"/>
                  <a:pt x="1594" y="806"/>
                </a:cubicBezTo>
                <a:close/>
                <a:moveTo>
                  <a:pt x="1623" y="789"/>
                </a:move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4" y="790"/>
                  <a:pt x="1624" y="790"/>
                </a:cubicBezTo>
                <a:cubicBezTo>
                  <a:pt x="1624" y="790"/>
                  <a:pt x="1624" y="790"/>
                  <a:pt x="1624" y="789"/>
                </a:cubicBezTo>
                <a:cubicBezTo>
                  <a:pt x="1624" y="789"/>
                  <a:pt x="1624" y="789"/>
                  <a:pt x="1624" y="789"/>
                </a:cubicBezTo>
                <a:cubicBezTo>
                  <a:pt x="1623" y="789"/>
                  <a:pt x="1623" y="789"/>
                  <a:pt x="1623" y="789"/>
                </a:cubicBezTo>
                <a:close/>
                <a:moveTo>
                  <a:pt x="1622" y="789"/>
                </a:moveTo>
                <a:cubicBezTo>
                  <a:pt x="1622" y="789"/>
                  <a:pt x="1622" y="789"/>
                  <a:pt x="1622" y="789"/>
                </a:cubicBezTo>
                <a:cubicBezTo>
                  <a:pt x="1622" y="789"/>
                  <a:pt x="1622" y="789"/>
                  <a:pt x="1622" y="789"/>
                </a:cubicBezTo>
                <a:cubicBezTo>
                  <a:pt x="1622" y="789"/>
                  <a:pt x="1622" y="789"/>
                  <a:pt x="1622" y="789"/>
                </a:cubicBezTo>
                <a:close/>
                <a:moveTo>
                  <a:pt x="819" y="177"/>
                </a:moveTo>
                <a:cubicBezTo>
                  <a:pt x="820" y="177"/>
                  <a:pt x="820" y="177"/>
                  <a:pt x="820" y="177"/>
                </a:cubicBezTo>
                <a:cubicBezTo>
                  <a:pt x="820" y="177"/>
                  <a:pt x="820" y="177"/>
                  <a:pt x="820" y="177"/>
                </a:cubicBezTo>
                <a:cubicBezTo>
                  <a:pt x="821" y="177"/>
                  <a:pt x="821" y="177"/>
                  <a:pt x="821" y="177"/>
                </a:cubicBezTo>
                <a:cubicBezTo>
                  <a:pt x="821" y="177"/>
                  <a:pt x="821" y="177"/>
                  <a:pt x="821" y="177"/>
                </a:cubicBezTo>
                <a:cubicBezTo>
                  <a:pt x="821" y="177"/>
                  <a:pt x="822" y="177"/>
                  <a:pt x="822" y="177"/>
                </a:cubicBezTo>
                <a:cubicBezTo>
                  <a:pt x="823" y="176"/>
                  <a:pt x="823" y="176"/>
                  <a:pt x="824" y="175"/>
                </a:cubicBezTo>
                <a:cubicBezTo>
                  <a:pt x="824" y="175"/>
                  <a:pt x="825" y="175"/>
                  <a:pt x="825" y="174"/>
                </a:cubicBezTo>
                <a:cubicBezTo>
                  <a:pt x="826" y="174"/>
                  <a:pt x="827" y="174"/>
                  <a:pt x="828" y="174"/>
                </a:cubicBezTo>
                <a:cubicBezTo>
                  <a:pt x="828" y="174"/>
                  <a:pt x="828" y="173"/>
                  <a:pt x="828" y="173"/>
                </a:cubicBezTo>
                <a:cubicBezTo>
                  <a:pt x="828" y="173"/>
                  <a:pt x="828" y="173"/>
                  <a:pt x="828" y="173"/>
                </a:cubicBezTo>
                <a:cubicBezTo>
                  <a:pt x="828" y="173"/>
                  <a:pt x="828" y="173"/>
                  <a:pt x="828" y="172"/>
                </a:cubicBezTo>
                <a:cubicBezTo>
                  <a:pt x="828" y="172"/>
                  <a:pt x="828" y="172"/>
                  <a:pt x="829" y="172"/>
                </a:cubicBezTo>
                <a:cubicBezTo>
                  <a:pt x="829" y="173"/>
                  <a:pt x="829" y="173"/>
                  <a:pt x="829" y="173"/>
                </a:cubicBezTo>
                <a:cubicBezTo>
                  <a:pt x="829" y="173"/>
                  <a:pt x="830" y="173"/>
                  <a:pt x="830" y="173"/>
                </a:cubicBezTo>
                <a:cubicBezTo>
                  <a:pt x="831" y="173"/>
                  <a:pt x="831" y="173"/>
                  <a:pt x="831" y="173"/>
                </a:cubicBezTo>
                <a:cubicBezTo>
                  <a:pt x="831" y="172"/>
                  <a:pt x="831" y="172"/>
                  <a:pt x="831" y="172"/>
                </a:cubicBezTo>
                <a:cubicBezTo>
                  <a:pt x="831" y="172"/>
                  <a:pt x="831" y="172"/>
                  <a:pt x="831" y="172"/>
                </a:cubicBezTo>
                <a:cubicBezTo>
                  <a:pt x="831" y="172"/>
                  <a:pt x="831" y="172"/>
                  <a:pt x="831" y="171"/>
                </a:cubicBezTo>
                <a:cubicBezTo>
                  <a:pt x="831" y="171"/>
                  <a:pt x="831" y="171"/>
                  <a:pt x="832" y="171"/>
                </a:cubicBezTo>
                <a:cubicBezTo>
                  <a:pt x="832" y="171"/>
                  <a:pt x="831" y="171"/>
                  <a:pt x="831" y="170"/>
                </a:cubicBezTo>
                <a:cubicBezTo>
                  <a:pt x="831" y="170"/>
                  <a:pt x="831" y="170"/>
                  <a:pt x="832" y="170"/>
                </a:cubicBezTo>
                <a:cubicBezTo>
                  <a:pt x="832" y="170"/>
                  <a:pt x="832" y="170"/>
                  <a:pt x="833" y="170"/>
                </a:cubicBezTo>
                <a:cubicBezTo>
                  <a:pt x="833" y="171"/>
                  <a:pt x="833" y="171"/>
                  <a:pt x="833" y="171"/>
                </a:cubicBezTo>
                <a:cubicBezTo>
                  <a:pt x="833" y="171"/>
                  <a:pt x="833" y="171"/>
                  <a:pt x="834" y="171"/>
                </a:cubicBezTo>
                <a:cubicBezTo>
                  <a:pt x="834" y="170"/>
                  <a:pt x="834" y="170"/>
                  <a:pt x="834" y="170"/>
                </a:cubicBezTo>
                <a:cubicBezTo>
                  <a:pt x="834" y="170"/>
                  <a:pt x="834" y="170"/>
                  <a:pt x="834" y="169"/>
                </a:cubicBezTo>
                <a:cubicBezTo>
                  <a:pt x="834" y="169"/>
                  <a:pt x="833" y="169"/>
                  <a:pt x="833" y="169"/>
                </a:cubicBezTo>
                <a:cubicBezTo>
                  <a:pt x="833" y="168"/>
                  <a:pt x="833" y="168"/>
                  <a:pt x="833" y="168"/>
                </a:cubicBezTo>
                <a:cubicBezTo>
                  <a:pt x="833" y="168"/>
                  <a:pt x="833" y="168"/>
                  <a:pt x="833" y="168"/>
                </a:cubicBezTo>
                <a:cubicBezTo>
                  <a:pt x="833" y="167"/>
                  <a:pt x="833" y="167"/>
                  <a:pt x="833" y="167"/>
                </a:cubicBezTo>
                <a:cubicBezTo>
                  <a:pt x="834" y="167"/>
                  <a:pt x="834" y="167"/>
                  <a:pt x="834" y="167"/>
                </a:cubicBezTo>
                <a:cubicBezTo>
                  <a:pt x="835" y="167"/>
                  <a:pt x="835" y="166"/>
                  <a:pt x="835" y="166"/>
                </a:cubicBezTo>
                <a:cubicBezTo>
                  <a:pt x="835" y="166"/>
                  <a:pt x="835" y="166"/>
                  <a:pt x="836" y="166"/>
                </a:cubicBezTo>
                <a:cubicBezTo>
                  <a:pt x="835" y="166"/>
                  <a:pt x="835" y="166"/>
                  <a:pt x="835" y="165"/>
                </a:cubicBezTo>
                <a:cubicBezTo>
                  <a:pt x="834" y="165"/>
                  <a:pt x="833" y="165"/>
                  <a:pt x="832" y="165"/>
                </a:cubicBezTo>
                <a:cubicBezTo>
                  <a:pt x="832" y="166"/>
                  <a:pt x="832" y="166"/>
                  <a:pt x="832" y="166"/>
                </a:cubicBezTo>
                <a:cubicBezTo>
                  <a:pt x="832" y="166"/>
                  <a:pt x="832" y="165"/>
                  <a:pt x="832" y="165"/>
                </a:cubicBezTo>
                <a:cubicBezTo>
                  <a:pt x="832" y="165"/>
                  <a:pt x="832" y="165"/>
                  <a:pt x="832" y="165"/>
                </a:cubicBezTo>
                <a:cubicBezTo>
                  <a:pt x="832" y="165"/>
                  <a:pt x="831" y="165"/>
                  <a:pt x="831" y="165"/>
                </a:cubicBezTo>
                <a:cubicBezTo>
                  <a:pt x="831" y="165"/>
                  <a:pt x="831" y="165"/>
                  <a:pt x="830" y="165"/>
                </a:cubicBezTo>
                <a:cubicBezTo>
                  <a:pt x="830" y="165"/>
                  <a:pt x="830" y="164"/>
                  <a:pt x="830" y="164"/>
                </a:cubicBezTo>
                <a:cubicBezTo>
                  <a:pt x="830" y="164"/>
                  <a:pt x="830" y="164"/>
                  <a:pt x="831" y="163"/>
                </a:cubicBezTo>
                <a:cubicBezTo>
                  <a:pt x="831" y="163"/>
                  <a:pt x="831" y="163"/>
                  <a:pt x="832" y="163"/>
                </a:cubicBezTo>
                <a:cubicBezTo>
                  <a:pt x="832" y="163"/>
                  <a:pt x="831" y="163"/>
                  <a:pt x="831" y="162"/>
                </a:cubicBezTo>
                <a:cubicBezTo>
                  <a:pt x="831" y="162"/>
                  <a:pt x="831" y="162"/>
                  <a:pt x="831" y="162"/>
                </a:cubicBezTo>
                <a:cubicBezTo>
                  <a:pt x="831" y="162"/>
                  <a:pt x="830" y="162"/>
                  <a:pt x="830" y="162"/>
                </a:cubicBezTo>
                <a:cubicBezTo>
                  <a:pt x="830" y="162"/>
                  <a:pt x="829" y="162"/>
                  <a:pt x="829" y="162"/>
                </a:cubicBezTo>
                <a:cubicBezTo>
                  <a:pt x="829" y="162"/>
                  <a:pt x="829" y="162"/>
                  <a:pt x="829" y="162"/>
                </a:cubicBezTo>
                <a:cubicBezTo>
                  <a:pt x="829" y="162"/>
                  <a:pt x="829" y="161"/>
                  <a:pt x="830" y="161"/>
                </a:cubicBezTo>
                <a:cubicBezTo>
                  <a:pt x="830" y="161"/>
                  <a:pt x="830" y="161"/>
                  <a:pt x="830" y="161"/>
                </a:cubicBezTo>
                <a:cubicBezTo>
                  <a:pt x="830" y="161"/>
                  <a:pt x="830" y="161"/>
                  <a:pt x="830" y="160"/>
                </a:cubicBezTo>
                <a:cubicBezTo>
                  <a:pt x="831" y="160"/>
                  <a:pt x="831" y="160"/>
                  <a:pt x="831" y="160"/>
                </a:cubicBezTo>
                <a:cubicBezTo>
                  <a:pt x="831" y="160"/>
                  <a:pt x="830" y="160"/>
                  <a:pt x="830" y="160"/>
                </a:cubicBezTo>
                <a:cubicBezTo>
                  <a:pt x="830" y="160"/>
                  <a:pt x="829" y="160"/>
                  <a:pt x="829" y="160"/>
                </a:cubicBezTo>
                <a:cubicBezTo>
                  <a:pt x="829" y="161"/>
                  <a:pt x="828" y="161"/>
                  <a:pt x="827" y="161"/>
                </a:cubicBezTo>
                <a:cubicBezTo>
                  <a:pt x="827" y="162"/>
                  <a:pt x="827" y="162"/>
                  <a:pt x="827" y="162"/>
                </a:cubicBezTo>
                <a:cubicBezTo>
                  <a:pt x="827" y="162"/>
                  <a:pt x="827" y="162"/>
                  <a:pt x="826" y="162"/>
                </a:cubicBezTo>
                <a:cubicBezTo>
                  <a:pt x="826" y="162"/>
                  <a:pt x="826" y="162"/>
                  <a:pt x="826" y="161"/>
                </a:cubicBezTo>
                <a:cubicBezTo>
                  <a:pt x="826" y="161"/>
                  <a:pt x="826" y="161"/>
                  <a:pt x="826" y="161"/>
                </a:cubicBezTo>
                <a:cubicBezTo>
                  <a:pt x="826" y="161"/>
                  <a:pt x="826" y="161"/>
                  <a:pt x="826" y="161"/>
                </a:cubicBezTo>
                <a:cubicBezTo>
                  <a:pt x="825" y="160"/>
                  <a:pt x="825" y="160"/>
                  <a:pt x="825" y="160"/>
                </a:cubicBezTo>
                <a:cubicBezTo>
                  <a:pt x="825" y="160"/>
                  <a:pt x="825" y="160"/>
                  <a:pt x="824" y="160"/>
                </a:cubicBezTo>
                <a:cubicBezTo>
                  <a:pt x="824" y="160"/>
                  <a:pt x="824" y="160"/>
                  <a:pt x="823" y="160"/>
                </a:cubicBezTo>
                <a:cubicBezTo>
                  <a:pt x="823" y="160"/>
                  <a:pt x="823" y="160"/>
                  <a:pt x="823" y="160"/>
                </a:cubicBezTo>
                <a:cubicBezTo>
                  <a:pt x="822" y="160"/>
                  <a:pt x="822" y="161"/>
                  <a:pt x="822" y="161"/>
                </a:cubicBezTo>
                <a:cubicBezTo>
                  <a:pt x="822" y="161"/>
                  <a:pt x="822" y="161"/>
                  <a:pt x="823" y="161"/>
                </a:cubicBezTo>
                <a:cubicBezTo>
                  <a:pt x="823" y="162"/>
                  <a:pt x="822" y="162"/>
                  <a:pt x="822" y="162"/>
                </a:cubicBezTo>
                <a:cubicBezTo>
                  <a:pt x="822" y="162"/>
                  <a:pt x="821" y="162"/>
                  <a:pt x="821" y="162"/>
                </a:cubicBezTo>
                <a:cubicBezTo>
                  <a:pt x="821" y="162"/>
                  <a:pt x="820" y="162"/>
                  <a:pt x="820" y="163"/>
                </a:cubicBezTo>
                <a:cubicBezTo>
                  <a:pt x="820" y="162"/>
                  <a:pt x="820" y="162"/>
                  <a:pt x="820" y="162"/>
                </a:cubicBezTo>
                <a:cubicBezTo>
                  <a:pt x="820" y="162"/>
                  <a:pt x="820" y="162"/>
                  <a:pt x="819" y="162"/>
                </a:cubicBezTo>
                <a:cubicBezTo>
                  <a:pt x="819" y="162"/>
                  <a:pt x="819" y="162"/>
                  <a:pt x="819" y="162"/>
                </a:cubicBezTo>
                <a:cubicBezTo>
                  <a:pt x="819" y="163"/>
                  <a:pt x="818" y="163"/>
                  <a:pt x="818" y="163"/>
                </a:cubicBezTo>
                <a:cubicBezTo>
                  <a:pt x="818" y="163"/>
                  <a:pt x="817" y="163"/>
                  <a:pt x="817" y="163"/>
                </a:cubicBezTo>
                <a:cubicBezTo>
                  <a:pt x="817" y="163"/>
                  <a:pt x="816" y="163"/>
                  <a:pt x="816" y="162"/>
                </a:cubicBezTo>
                <a:cubicBezTo>
                  <a:pt x="816" y="162"/>
                  <a:pt x="815" y="162"/>
                  <a:pt x="815" y="162"/>
                </a:cubicBezTo>
                <a:cubicBezTo>
                  <a:pt x="815" y="162"/>
                  <a:pt x="815" y="162"/>
                  <a:pt x="815" y="162"/>
                </a:cubicBezTo>
                <a:cubicBezTo>
                  <a:pt x="814" y="162"/>
                  <a:pt x="814" y="162"/>
                  <a:pt x="814" y="162"/>
                </a:cubicBezTo>
                <a:cubicBezTo>
                  <a:pt x="814" y="163"/>
                  <a:pt x="814" y="163"/>
                  <a:pt x="813" y="164"/>
                </a:cubicBezTo>
                <a:cubicBezTo>
                  <a:pt x="814" y="164"/>
                  <a:pt x="814" y="164"/>
                  <a:pt x="815" y="165"/>
                </a:cubicBezTo>
                <a:cubicBezTo>
                  <a:pt x="814" y="165"/>
                  <a:pt x="814" y="166"/>
                  <a:pt x="814" y="167"/>
                </a:cubicBezTo>
                <a:cubicBezTo>
                  <a:pt x="814" y="166"/>
                  <a:pt x="814" y="166"/>
                  <a:pt x="814" y="165"/>
                </a:cubicBezTo>
                <a:cubicBezTo>
                  <a:pt x="813" y="165"/>
                  <a:pt x="813" y="164"/>
                  <a:pt x="813" y="164"/>
                </a:cubicBezTo>
                <a:cubicBezTo>
                  <a:pt x="813" y="164"/>
                  <a:pt x="813" y="164"/>
                  <a:pt x="813" y="164"/>
                </a:cubicBezTo>
                <a:cubicBezTo>
                  <a:pt x="812" y="163"/>
                  <a:pt x="812" y="163"/>
                  <a:pt x="812" y="163"/>
                </a:cubicBezTo>
                <a:cubicBezTo>
                  <a:pt x="812" y="163"/>
                  <a:pt x="812" y="163"/>
                  <a:pt x="812" y="163"/>
                </a:cubicBezTo>
                <a:cubicBezTo>
                  <a:pt x="812" y="162"/>
                  <a:pt x="811" y="162"/>
                  <a:pt x="811" y="162"/>
                </a:cubicBezTo>
                <a:cubicBezTo>
                  <a:pt x="810" y="163"/>
                  <a:pt x="810" y="163"/>
                  <a:pt x="809" y="163"/>
                </a:cubicBezTo>
                <a:cubicBezTo>
                  <a:pt x="809" y="164"/>
                  <a:pt x="809" y="164"/>
                  <a:pt x="809" y="164"/>
                </a:cubicBezTo>
                <a:cubicBezTo>
                  <a:pt x="809" y="164"/>
                  <a:pt x="809" y="164"/>
                  <a:pt x="809" y="165"/>
                </a:cubicBezTo>
                <a:cubicBezTo>
                  <a:pt x="809" y="165"/>
                  <a:pt x="808" y="165"/>
                  <a:pt x="808" y="166"/>
                </a:cubicBezTo>
                <a:cubicBezTo>
                  <a:pt x="808" y="166"/>
                  <a:pt x="808" y="166"/>
                  <a:pt x="807" y="166"/>
                </a:cubicBezTo>
                <a:cubicBezTo>
                  <a:pt x="807" y="165"/>
                  <a:pt x="807" y="165"/>
                  <a:pt x="807" y="165"/>
                </a:cubicBezTo>
                <a:cubicBezTo>
                  <a:pt x="807" y="165"/>
                  <a:pt x="806" y="165"/>
                  <a:pt x="806" y="165"/>
                </a:cubicBezTo>
                <a:cubicBezTo>
                  <a:pt x="806" y="164"/>
                  <a:pt x="806" y="164"/>
                  <a:pt x="806" y="163"/>
                </a:cubicBezTo>
                <a:cubicBezTo>
                  <a:pt x="806" y="163"/>
                  <a:pt x="805" y="163"/>
                  <a:pt x="805" y="163"/>
                </a:cubicBezTo>
                <a:cubicBezTo>
                  <a:pt x="805" y="163"/>
                  <a:pt x="804" y="163"/>
                  <a:pt x="804" y="164"/>
                </a:cubicBezTo>
                <a:cubicBezTo>
                  <a:pt x="804" y="164"/>
                  <a:pt x="804" y="165"/>
                  <a:pt x="804" y="165"/>
                </a:cubicBezTo>
                <a:cubicBezTo>
                  <a:pt x="804" y="165"/>
                  <a:pt x="805" y="166"/>
                  <a:pt x="805" y="166"/>
                </a:cubicBezTo>
                <a:cubicBezTo>
                  <a:pt x="805" y="166"/>
                  <a:pt x="805" y="166"/>
                  <a:pt x="805" y="167"/>
                </a:cubicBezTo>
                <a:cubicBezTo>
                  <a:pt x="805" y="167"/>
                  <a:pt x="804" y="167"/>
                  <a:pt x="804" y="167"/>
                </a:cubicBezTo>
                <a:cubicBezTo>
                  <a:pt x="804" y="168"/>
                  <a:pt x="803" y="168"/>
                  <a:pt x="803" y="168"/>
                </a:cubicBezTo>
                <a:cubicBezTo>
                  <a:pt x="803" y="167"/>
                  <a:pt x="803" y="167"/>
                  <a:pt x="803" y="167"/>
                </a:cubicBezTo>
                <a:cubicBezTo>
                  <a:pt x="803" y="167"/>
                  <a:pt x="802" y="167"/>
                  <a:pt x="802" y="167"/>
                </a:cubicBezTo>
                <a:cubicBezTo>
                  <a:pt x="802" y="167"/>
                  <a:pt x="802" y="168"/>
                  <a:pt x="801" y="168"/>
                </a:cubicBezTo>
                <a:cubicBezTo>
                  <a:pt x="801" y="168"/>
                  <a:pt x="801" y="168"/>
                  <a:pt x="801" y="168"/>
                </a:cubicBezTo>
                <a:cubicBezTo>
                  <a:pt x="801" y="169"/>
                  <a:pt x="801" y="169"/>
                  <a:pt x="801" y="170"/>
                </a:cubicBezTo>
                <a:cubicBezTo>
                  <a:pt x="801" y="169"/>
                  <a:pt x="800" y="169"/>
                  <a:pt x="800" y="169"/>
                </a:cubicBezTo>
                <a:cubicBezTo>
                  <a:pt x="800" y="169"/>
                  <a:pt x="799" y="169"/>
                  <a:pt x="799" y="169"/>
                </a:cubicBezTo>
                <a:cubicBezTo>
                  <a:pt x="799" y="168"/>
                  <a:pt x="799" y="168"/>
                  <a:pt x="799" y="168"/>
                </a:cubicBezTo>
                <a:cubicBezTo>
                  <a:pt x="799" y="168"/>
                  <a:pt x="800" y="167"/>
                  <a:pt x="800" y="167"/>
                </a:cubicBezTo>
                <a:cubicBezTo>
                  <a:pt x="800" y="167"/>
                  <a:pt x="800" y="167"/>
                  <a:pt x="800" y="167"/>
                </a:cubicBezTo>
                <a:cubicBezTo>
                  <a:pt x="800" y="167"/>
                  <a:pt x="799" y="167"/>
                  <a:pt x="799" y="167"/>
                </a:cubicBezTo>
                <a:cubicBezTo>
                  <a:pt x="799" y="167"/>
                  <a:pt x="799" y="166"/>
                  <a:pt x="799" y="166"/>
                </a:cubicBezTo>
                <a:cubicBezTo>
                  <a:pt x="799" y="166"/>
                  <a:pt x="799" y="166"/>
                  <a:pt x="798" y="165"/>
                </a:cubicBezTo>
                <a:cubicBezTo>
                  <a:pt x="799" y="166"/>
                  <a:pt x="799" y="166"/>
                  <a:pt x="799" y="166"/>
                </a:cubicBezTo>
                <a:cubicBezTo>
                  <a:pt x="800" y="165"/>
                  <a:pt x="800" y="165"/>
                  <a:pt x="800" y="165"/>
                </a:cubicBezTo>
                <a:cubicBezTo>
                  <a:pt x="800" y="165"/>
                  <a:pt x="800" y="165"/>
                  <a:pt x="800" y="165"/>
                </a:cubicBezTo>
                <a:cubicBezTo>
                  <a:pt x="800" y="165"/>
                  <a:pt x="799" y="164"/>
                  <a:pt x="799" y="164"/>
                </a:cubicBezTo>
                <a:cubicBezTo>
                  <a:pt x="799" y="164"/>
                  <a:pt x="799" y="164"/>
                  <a:pt x="800" y="164"/>
                </a:cubicBezTo>
                <a:cubicBezTo>
                  <a:pt x="799" y="164"/>
                  <a:pt x="799" y="163"/>
                  <a:pt x="799" y="163"/>
                </a:cubicBezTo>
                <a:cubicBezTo>
                  <a:pt x="799" y="163"/>
                  <a:pt x="798" y="164"/>
                  <a:pt x="798" y="164"/>
                </a:cubicBezTo>
                <a:cubicBezTo>
                  <a:pt x="798" y="164"/>
                  <a:pt x="798" y="163"/>
                  <a:pt x="798" y="163"/>
                </a:cubicBezTo>
                <a:cubicBezTo>
                  <a:pt x="797" y="163"/>
                  <a:pt x="797" y="163"/>
                  <a:pt x="796" y="163"/>
                </a:cubicBezTo>
                <a:cubicBezTo>
                  <a:pt x="796" y="163"/>
                  <a:pt x="796" y="162"/>
                  <a:pt x="796" y="162"/>
                </a:cubicBezTo>
                <a:cubicBezTo>
                  <a:pt x="796" y="162"/>
                  <a:pt x="796" y="162"/>
                  <a:pt x="795" y="161"/>
                </a:cubicBezTo>
                <a:cubicBezTo>
                  <a:pt x="795" y="162"/>
                  <a:pt x="795" y="162"/>
                  <a:pt x="794" y="162"/>
                </a:cubicBezTo>
                <a:cubicBezTo>
                  <a:pt x="794" y="162"/>
                  <a:pt x="794" y="162"/>
                  <a:pt x="793" y="162"/>
                </a:cubicBezTo>
                <a:cubicBezTo>
                  <a:pt x="793" y="162"/>
                  <a:pt x="792" y="162"/>
                  <a:pt x="791" y="162"/>
                </a:cubicBezTo>
                <a:cubicBezTo>
                  <a:pt x="791" y="162"/>
                  <a:pt x="791" y="162"/>
                  <a:pt x="791" y="162"/>
                </a:cubicBezTo>
                <a:cubicBezTo>
                  <a:pt x="792" y="162"/>
                  <a:pt x="792" y="162"/>
                  <a:pt x="792" y="163"/>
                </a:cubicBezTo>
                <a:cubicBezTo>
                  <a:pt x="792" y="162"/>
                  <a:pt x="792" y="162"/>
                  <a:pt x="793" y="162"/>
                </a:cubicBezTo>
                <a:cubicBezTo>
                  <a:pt x="793" y="162"/>
                  <a:pt x="793" y="162"/>
                  <a:pt x="793" y="162"/>
                </a:cubicBezTo>
                <a:cubicBezTo>
                  <a:pt x="793" y="162"/>
                  <a:pt x="793" y="162"/>
                  <a:pt x="793" y="162"/>
                </a:cubicBezTo>
                <a:cubicBezTo>
                  <a:pt x="794" y="162"/>
                  <a:pt x="794" y="162"/>
                  <a:pt x="794" y="162"/>
                </a:cubicBezTo>
                <a:cubicBezTo>
                  <a:pt x="794" y="162"/>
                  <a:pt x="795" y="162"/>
                  <a:pt x="795" y="162"/>
                </a:cubicBezTo>
                <a:cubicBezTo>
                  <a:pt x="795" y="163"/>
                  <a:pt x="795" y="163"/>
                  <a:pt x="795" y="163"/>
                </a:cubicBezTo>
                <a:cubicBezTo>
                  <a:pt x="794" y="163"/>
                  <a:pt x="794" y="163"/>
                  <a:pt x="794" y="163"/>
                </a:cubicBezTo>
                <a:cubicBezTo>
                  <a:pt x="793" y="163"/>
                  <a:pt x="793" y="163"/>
                  <a:pt x="793" y="163"/>
                </a:cubicBezTo>
                <a:cubicBezTo>
                  <a:pt x="793" y="163"/>
                  <a:pt x="793" y="163"/>
                  <a:pt x="793" y="163"/>
                </a:cubicBezTo>
                <a:cubicBezTo>
                  <a:pt x="793" y="163"/>
                  <a:pt x="794" y="163"/>
                  <a:pt x="794" y="164"/>
                </a:cubicBezTo>
                <a:cubicBezTo>
                  <a:pt x="795" y="164"/>
                  <a:pt x="795" y="164"/>
                  <a:pt x="796" y="164"/>
                </a:cubicBezTo>
                <a:cubicBezTo>
                  <a:pt x="795" y="164"/>
                  <a:pt x="795" y="165"/>
                  <a:pt x="795" y="165"/>
                </a:cubicBezTo>
                <a:cubicBezTo>
                  <a:pt x="795" y="165"/>
                  <a:pt x="795" y="165"/>
                  <a:pt x="795" y="165"/>
                </a:cubicBezTo>
                <a:cubicBezTo>
                  <a:pt x="795" y="165"/>
                  <a:pt x="795" y="165"/>
                  <a:pt x="795" y="164"/>
                </a:cubicBezTo>
                <a:cubicBezTo>
                  <a:pt x="794" y="164"/>
                  <a:pt x="794" y="164"/>
                  <a:pt x="794" y="164"/>
                </a:cubicBezTo>
                <a:cubicBezTo>
                  <a:pt x="793" y="164"/>
                  <a:pt x="793" y="164"/>
                  <a:pt x="793" y="165"/>
                </a:cubicBezTo>
                <a:cubicBezTo>
                  <a:pt x="793" y="165"/>
                  <a:pt x="792" y="165"/>
                  <a:pt x="792" y="164"/>
                </a:cubicBezTo>
                <a:cubicBezTo>
                  <a:pt x="792" y="164"/>
                  <a:pt x="792" y="164"/>
                  <a:pt x="792" y="164"/>
                </a:cubicBezTo>
                <a:cubicBezTo>
                  <a:pt x="792" y="164"/>
                  <a:pt x="792" y="164"/>
                  <a:pt x="791" y="163"/>
                </a:cubicBezTo>
                <a:cubicBezTo>
                  <a:pt x="791" y="163"/>
                  <a:pt x="791" y="163"/>
                  <a:pt x="790" y="163"/>
                </a:cubicBezTo>
                <a:cubicBezTo>
                  <a:pt x="790" y="163"/>
                  <a:pt x="790" y="163"/>
                  <a:pt x="789" y="163"/>
                </a:cubicBezTo>
                <a:cubicBezTo>
                  <a:pt x="790" y="164"/>
                  <a:pt x="790" y="164"/>
                  <a:pt x="790" y="164"/>
                </a:cubicBezTo>
                <a:cubicBezTo>
                  <a:pt x="790" y="164"/>
                  <a:pt x="790" y="164"/>
                  <a:pt x="790" y="165"/>
                </a:cubicBezTo>
                <a:cubicBezTo>
                  <a:pt x="790" y="164"/>
                  <a:pt x="790" y="164"/>
                  <a:pt x="789" y="164"/>
                </a:cubicBezTo>
                <a:cubicBezTo>
                  <a:pt x="789" y="164"/>
                  <a:pt x="789" y="164"/>
                  <a:pt x="788" y="164"/>
                </a:cubicBezTo>
                <a:cubicBezTo>
                  <a:pt x="788" y="164"/>
                  <a:pt x="788" y="164"/>
                  <a:pt x="788" y="164"/>
                </a:cubicBezTo>
                <a:cubicBezTo>
                  <a:pt x="788" y="164"/>
                  <a:pt x="789" y="165"/>
                  <a:pt x="789" y="165"/>
                </a:cubicBezTo>
                <a:cubicBezTo>
                  <a:pt x="789" y="165"/>
                  <a:pt x="789" y="165"/>
                  <a:pt x="790" y="165"/>
                </a:cubicBezTo>
                <a:cubicBezTo>
                  <a:pt x="790" y="165"/>
                  <a:pt x="790" y="165"/>
                  <a:pt x="790" y="165"/>
                </a:cubicBezTo>
                <a:cubicBezTo>
                  <a:pt x="790" y="165"/>
                  <a:pt x="789" y="165"/>
                  <a:pt x="789" y="165"/>
                </a:cubicBezTo>
                <a:cubicBezTo>
                  <a:pt x="789" y="165"/>
                  <a:pt x="788" y="165"/>
                  <a:pt x="788" y="165"/>
                </a:cubicBezTo>
                <a:cubicBezTo>
                  <a:pt x="788" y="166"/>
                  <a:pt x="788" y="166"/>
                  <a:pt x="789" y="166"/>
                </a:cubicBezTo>
                <a:cubicBezTo>
                  <a:pt x="789" y="166"/>
                  <a:pt x="790" y="166"/>
                  <a:pt x="790" y="166"/>
                </a:cubicBezTo>
                <a:cubicBezTo>
                  <a:pt x="790" y="166"/>
                  <a:pt x="790" y="166"/>
                  <a:pt x="789" y="166"/>
                </a:cubicBezTo>
                <a:cubicBezTo>
                  <a:pt x="789" y="166"/>
                  <a:pt x="789" y="166"/>
                  <a:pt x="789" y="167"/>
                </a:cubicBezTo>
                <a:cubicBezTo>
                  <a:pt x="789" y="167"/>
                  <a:pt x="789" y="167"/>
                  <a:pt x="789" y="167"/>
                </a:cubicBezTo>
                <a:cubicBezTo>
                  <a:pt x="789" y="167"/>
                  <a:pt x="789" y="167"/>
                  <a:pt x="789" y="167"/>
                </a:cubicBezTo>
                <a:cubicBezTo>
                  <a:pt x="789" y="167"/>
                  <a:pt x="788" y="166"/>
                  <a:pt x="787" y="166"/>
                </a:cubicBezTo>
                <a:cubicBezTo>
                  <a:pt x="787" y="166"/>
                  <a:pt x="787" y="166"/>
                  <a:pt x="787" y="166"/>
                </a:cubicBezTo>
                <a:cubicBezTo>
                  <a:pt x="787" y="166"/>
                  <a:pt x="787" y="166"/>
                  <a:pt x="786" y="167"/>
                </a:cubicBezTo>
                <a:cubicBezTo>
                  <a:pt x="787" y="167"/>
                  <a:pt x="787" y="167"/>
                  <a:pt x="787" y="167"/>
                </a:cubicBezTo>
                <a:cubicBezTo>
                  <a:pt x="787" y="167"/>
                  <a:pt x="787" y="168"/>
                  <a:pt x="788" y="168"/>
                </a:cubicBezTo>
                <a:cubicBezTo>
                  <a:pt x="788" y="168"/>
                  <a:pt x="787" y="168"/>
                  <a:pt x="787" y="168"/>
                </a:cubicBezTo>
                <a:cubicBezTo>
                  <a:pt x="787" y="168"/>
                  <a:pt x="787" y="167"/>
                  <a:pt x="786" y="167"/>
                </a:cubicBezTo>
                <a:cubicBezTo>
                  <a:pt x="786" y="167"/>
                  <a:pt x="786" y="167"/>
                  <a:pt x="785" y="167"/>
                </a:cubicBezTo>
                <a:cubicBezTo>
                  <a:pt x="785" y="167"/>
                  <a:pt x="785" y="168"/>
                  <a:pt x="785" y="168"/>
                </a:cubicBezTo>
                <a:cubicBezTo>
                  <a:pt x="785" y="168"/>
                  <a:pt x="785" y="168"/>
                  <a:pt x="786" y="168"/>
                </a:cubicBezTo>
                <a:cubicBezTo>
                  <a:pt x="786" y="168"/>
                  <a:pt x="787" y="168"/>
                  <a:pt x="787" y="169"/>
                </a:cubicBezTo>
                <a:cubicBezTo>
                  <a:pt x="787" y="169"/>
                  <a:pt x="788" y="169"/>
                  <a:pt x="788" y="169"/>
                </a:cubicBezTo>
                <a:cubicBezTo>
                  <a:pt x="789" y="168"/>
                  <a:pt x="789" y="168"/>
                  <a:pt x="789" y="168"/>
                </a:cubicBezTo>
                <a:cubicBezTo>
                  <a:pt x="789" y="168"/>
                  <a:pt x="790" y="168"/>
                  <a:pt x="790" y="168"/>
                </a:cubicBezTo>
                <a:cubicBezTo>
                  <a:pt x="790" y="167"/>
                  <a:pt x="791" y="167"/>
                  <a:pt x="791" y="167"/>
                </a:cubicBezTo>
                <a:cubicBezTo>
                  <a:pt x="791" y="167"/>
                  <a:pt x="791" y="167"/>
                  <a:pt x="791" y="167"/>
                </a:cubicBezTo>
                <a:cubicBezTo>
                  <a:pt x="791" y="167"/>
                  <a:pt x="791" y="168"/>
                  <a:pt x="791" y="168"/>
                </a:cubicBezTo>
                <a:cubicBezTo>
                  <a:pt x="791" y="168"/>
                  <a:pt x="792" y="168"/>
                  <a:pt x="792" y="168"/>
                </a:cubicBezTo>
                <a:cubicBezTo>
                  <a:pt x="792" y="167"/>
                  <a:pt x="792" y="167"/>
                  <a:pt x="792" y="167"/>
                </a:cubicBezTo>
                <a:cubicBezTo>
                  <a:pt x="793" y="167"/>
                  <a:pt x="793" y="168"/>
                  <a:pt x="793" y="168"/>
                </a:cubicBezTo>
                <a:cubicBezTo>
                  <a:pt x="793" y="168"/>
                  <a:pt x="793" y="168"/>
                  <a:pt x="793" y="168"/>
                </a:cubicBezTo>
                <a:cubicBezTo>
                  <a:pt x="794" y="168"/>
                  <a:pt x="794" y="168"/>
                  <a:pt x="794" y="167"/>
                </a:cubicBezTo>
                <a:cubicBezTo>
                  <a:pt x="794" y="167"/>
                  <a:pt x="794" y="167"/>
                  <a:pt x="794" y="167"/>
                </a:cubicBezTo>
                <a:cubicBezTo>
                  <a:pt x="794" y="167"/>
                  <a:pt x="794" y="167"/>
                  <a:pt x="794" y="168"/>
                </a:cubicBezTo>
                <a:cubicBezTo>
                  <a:pt x="795" y="168"/>
                  <a:pt x="795" y="168"/>
                  <a:pt x="795" y="168"/>
                </a:cubicBezTo>
                <a:cubicBezTo>
                  <a:pt x="795" y="167"/>
                  <a:pt x="796" y="167"/>
                  <a:pt x="796" y="167"/>
                </a:cubicBezTo>
                <a:cubicBezTo>
                  <a:pt x="796" y="167"/>
                  <a:pt x="796" y="167"/>
                  <a:pt x="796" y="167"/>
                </a:cubicBezTo>
                <a:cubicBezTo>
                  <a:pt x="796" y="167"/>
                  <a:pt x="796" y="168"/>
                  <a:pt x="796" y="168"/>
                </a:cubicBezTo>
                <a:cubicBezTo>
                  <a:pt x="796" y="168"/>
                  <a:pt x="796" y="168"/>
                  <a:pt x="796" y="168"/>
                </a:cubicBezTo>
                <a:cubicBezTo>
                  <a:pt x="796" y="168"/>
                  <a:pt x="797" y="168"/>
                  <a:pt x="797" y="168"/>
                </a:cubicBezTo>
                <a:cubicBezTo>
                  <a:pt x="797" y="168"/>
                  <a:pt x="798" y="168"/>
                  <a:pt x="798" y="168"/>
                </a:cubicBezTo>
                <a:cubicBezTo>
                  <a:pt x="798" y="168"/>
                  <a:pt x="798" y="168"/>
                  <a:pt x="797" y="168"/>
                </a:cubicBezTo>
                <a:cubicBezTo>
                  <a:pt x="797" y="168"/>
                  <a:pt x="797" y="168"/>
                  <a:pt x="797" y="168"/>
                </a:cubicBezTo>
                <a:cubicBezTo>
                  <a:pt x="797" y="168"/>
                  <a:pt x="796" y="169"/>
                  <a:pt x="796" y="169"/>
                </a:cubicBezTo>
                <a:cubicBezTo>
                  <a:pt x="796" y="169"/>
                  <a:pt x="795" y="169"/>
                  <a:pt x="795" y="169"/>
                </a:cubicBezTo>
                <a:cubicBezTo>
                  <a:pt x="795" y="169"/>
                  <a:pt x="794" y="169"/>
                  <a:pt x="794" y="169"/>
                </a:cubicBezTo>
                <a:cubicBezTo>
                  <a:pt x="794" y="169"/>
                  <a:pt x="794" y="170"/>
                  <a:pt x="794" y="170"/>
                </a:cubicBezTo>
                <a:cubicBezTo>
                  <a:pt x="794" y="170"/>
                  <a:pt x="795" y="170"/>
                  <a:pt x="795" y="170"/>
                </a:cubicBezTo>
                <a:cubicBezTo>
                  <a:pt x="796" y="170"/>
                  <a:pt x="796" y="170"/>
                  <a:pt x="797" y="170"/>
                </a:cubicBezTo>
                <a:cubicBezTo>
                  <a:pt x="797" y="170"/>
                  <a:pt x="797" y="169"/>
                  <a:pt x="797" y="169"/>
                </a:cubicBezTo>
                <a:cubicBezTo>
                  <a:pt x="797" y="169"/>
                  <a:pt x="797" y="169"/>
                  <a:pt x="798" y="169"/>
                </a:cubicBezTo>
                <a:cubicBezTo>
                  <a:pt x="798" y="169"/>
                  <a:pt x="798" y="169"/>
                  <a:pt x="798" y="170"/>
                </a:cubicBezTo>
                <a:cubicBezTo>
                  <a:pt x="797" y="170"/>
                  <a:pt x="797" y="170"/>
                  <a:pt x="797" y="170"/>
                </a:cubicBezTo>
                <a:cubicBezTo>
                  <a:pt x="796" y="170"/>
                  <a:pt x="796" y="170"/>
                  <a:pt x="795" y="170"/>
                </a:cubicBezTo>
                <a:cubicBezTo>
                  <a:pt x="795" y="170"/>
                  <a:pt x="795" y="170"/>
                  <a:pt x="794" y="170"/>
                </a:cubicBezTo>
                <a:cubicBezTo>
                  <a:pt x="794" y="171"/>
                  <a:pt x="794" y="171"/>
                  <a:pt x="793" y="171"/>
                </a:cubicBezTo>
                <a:cubicBezTo>
                  <a:pt x="793" y="171"/>
                  <a:pt x="793" y="171"/>
                  <a:pt x="793" y="171"/>
                </a:cubicBezTo>
                <a:cubicBezTo>
                  <a:pt x="793" y="171"/>
                  <a:pt x="793" y="171"/>
                  <a:pt x="793" y="171"/>
                </a:cubicBezTo>
                <a:cubicBezTo>
                  <a:pt x="793" y="170"/>
                  <a:pt x="793" y="170"/>
                  <a:pt x="793" y="170"/>
                </a:cubicBezTo>
                <a:cubicBezTo>
                  <a:pt x="792" y="170"/>
                  <a:pt x="792" y="170"/>
                  <a:pt x="792" y="170"/>
                </a:cubicBezTo>
                <a:cubicBezTo>
                  <a:pt x="792" y="170"/>
                  <a:pt x="792" y="170"/>
                  <a:pt x="792" y="170"/>
                </a:cubicBezTo>
                <a:cubicBezTo>
                  <a:pt x="792" y="170"/>
                  <a:pt x="792" y="171"/>
                  <a:pt x="792" y="171"/>
                </a:cubicBezTo>
                <a:cubicBezTo>
                  <a:pt x="792" y="171"/>
                  <a:pt x="791" y="171"/>
                  <a:pt x="791" y="171"/>
                </a:cubicBezTo>
                <a:cubicBezTo>
                  <a:pt x="791" y="171"/>
                  <a:pt x="791" y="171"/>
                  <a:pt x="790" y="171"/>
                </a:cubicBezTo>
                <a:cubicBezTo>
                  <a:pt x="790" y="171"/>
                  <a:pt x="790" y="171"/>
                  <a:pt x="790" y="171"/>
                </a:cubicBezTo>
                <a:cubicBezTo>
                  <a:pt x="789" y="171"/>
                  <a:pt x="789" y="171"/>
                  <a:pt x="789" y="171"/>
                </a:cubicBezTo>
                <a:cubicBezTo>
                  <a:pt x="788" y="171"/>
                  <a:pt x="788" y="171"/>
                  <a:pt x="787" y="171"/>
                </a:cubicBezTo>
                <a:cubicBezTo>
                  <a:pt x="787" y="171"/>
                  <a:pt x="787" y="171"/>
                  <a:pt x="787" y="172"/>
                </a:cubicBezTo>
                <a:cubicBezTo>
                  <a:pt x="786" y="172"/>
                  <a:pt x="786" y="172"/>
                  <a:pt x="786" y="172"/>
                </a:cubicBezTo>
                <a:cubicBezTo>
                  <a:pt x="786" y="172"/>
                  <a:pt x="787" y="172"/>
                  <a:pt x="787" y="172"/>
                </a:cubicBezTo>
                <a:cubicBezTo>
                  <a:pt x="787" y="172"/>
                  <a:pt x="787" y="173"/>
                  <a:pt x="787" y="173"/>
                </a:cubicBezTo>
                <a:cubicBezTo>
                  <a:pt x="788" y="173"/>
                  <a:pt x="788" y="173"/>
                  <a:pt x="789" y="173"/>
                </a:cubicBezTo>
                <a:cubicBezTo>
                  <a:pt x="789" y="173"/>
                  <a:pt x="789" y="173"/>
                  <a:pt x="789" y="173"/>
                </a:cubicBezTo>
                <a:cubicBezTo>
                  <a:pt x="789" y="173"/>
                  <a:pt x="790" y="173"/>
                  <a:pt x="791" y="173"/>
                </a:cubicBezTo>
                <a:cubicBezTo>
                  <a:pt x="791" y="173"/>
                  <a:pt x="792" y="173"/>
                  <a:pt x="793" y="172"/>
                </a:cubicBezTo>
                <a:cubicBezTo>
                  <a:pt x="793" y="172"/>
                  <a:pt x="794" y="172"/>
                  <a:pt x="794" y="172"/>
                </a:cubicBezTo>
                <a:cubicBezTo>
                  <a:pt x="794" y="173"/>
                  <a:pt x="794" y="173"/>
                  <a:pt x="794" y="173"/>
                </a:cubicBezTo>
                <a:cubicBezTo>
                  <a:pt x="794" y="173"/>
                  <a:pt x="794" y="173"/>
                  <a:pt x="793" y="173"/>
                </a:cubicBezTo>
                <a:cubicBezTo>
                  <a:pt x="793" y="173"/>
                  <a:pt x="793" y="173"/>
                  <a:pt x="793" y="174"/>
                </a:cubicBezTo>
                <a:cubicBezTo>
                  <a:pt x="794" y="174"/>
                  <a:pt x="794" y="174"/>
                  <a:pt x="794" y="174"/>
                </a:cubicBezTo>
                <a:cubicBezTo>
                  <a:pt x="795" y="174"/>
                  <a:pt x="795" y="174"/>
                  <a:pt x="795" y="174"/>
                </a:cubicBezTo>
                <a:cubicBezTo>
                  <a:pt x="795" y="174"/>
                  <a:pt x="795" y="174"/>
                  <a:pt x="795" y="174"/>
                </a:cubicBezTo>
                <a:cubicBezTo>
                  <a:pt x="796" y="174"/>
                  <a:pt x="796" y="174"/>
                  <a:pt x="797" y="174"/>
                </a:cubicBezTo>
                <a:cubicBezTo>
                  <a:pt x="797" y="174"/>
                  <a:pt x="797" y="174"/>
                  <a:pt x="797" y="174"/>
                </a:cubicBezTo>
                <a:cubicBezTo>
                  <a:pt x="796" y="174"/>
                  <a:pt x="796" y="174"/>
                  <a:pt x="796" y="175"/>
                </a:cubicBezTo>
                <a:cubicBezTo>
                  <a:pt x="795" y="175"/>
                  <a:pt x="795" y="175"/>
                  <a:pt x="795" y="175"/>
                </a:cubicBezTo>
                <a:cubicBezTo>
                  <a:pt x="795" y="175"/>
                  <a:pt x="796" y="175"/>
                  <a:pt x="796" y="175"/>
                </a:cubicBezTo>
                <a:cubicBezTo>
                  <a:pt x="796" y="175"/>
                  <a:pt x="797" y="175"/>
                  <a:pt x="797" y="175"/>
                </a:cubicBezTo>
                <a:cubicBezTo>
                  <a:pt x="798" y="175"/>
                  <a:pt x="798" y="175"/>
                  <a:pt x="799" y="175"/>
                </a:cubicBezTo>
                <a:cubicBezTo>
                  <a:pt x="799" y="175"/>
                  <a:pt x="799" y="175"/>
                  <a:pt x="799" y="175"/>
                </a:cubicBezTo>
                <a:cubicBezTo>
                  <a:pt x="799" y="175"/>
                  <a:pt x="799" y="175"/>
                  <a:pt x="798" y="175"/>
                </a:cubicBezTo>
                <a:cubicBezTo>
                  <a:pt x="798" y="175"/>
                  <a:pt x="798" y="175"/>
                  <a:pt x="797" y="175"/>
                </a:cubicBezTo>
                <a:cubicBezTo>
                  <a:pt x="797" y="175"/>
                  <a:pt x="797" y="176"/>
                  <a:pt x="796" y="176"/>
                </a:cubicBezTo>
                <a:cubicBezTo>
                  <a:pt x="796" y="176"/>
                  <a:pt x="796" y="176"/>
                  <a:pt x="795" y="176"/>
                </a:cubicBezTo>
                <a:cubicBezTo>
                  <a:pt x="795" y="176"/>
                  <a:pt x="795" y="176"/>
                  <a:pt x="795" y="176"/>
                </a:cubicBezTo>
                <a:cubicBezTo>
                  <a:pt x="795" y="176"/>
                  <a:pt x="795" y="177"/>
                  <a:pt x="795" y="177"/>
                </a:cubicBezTo>
                <a:cubicBezTo>
                  <a:pt x="795" y="177"/>
                  <a:pt x="794" y="177"/>
                  <a:pt x="794" y="177"/>
                </a:cubicBezTo>
                <a:cubicBezTo>
                  <a:pt x="794" y="177"/>
                  <a:pt x="794" y="177"/>
                  <a:pt x="793" y="177"/>
                </a:cubicBezTo>
                <a:cubicBezTo>
                  <a:pt x="793" y="177"/>
                  <a:pt x="793" y="177"/>
                  <a:pt x="793" y="177"/>
                </a:cubicBezTo>
                <a:cubicBezTo>
                  <a:pt x="793" y="177"/>
                  <a:pt x="792" y="176"/>
                  <a:pt x="792" y="176"/>
                </a:cubicBezTo>
                <a:cubicBezTo>
                  <a:pt x="792" y="176"/>
                  <a:pt x="792" y="177"/>
                  <a:pt x="792" y="177"/>
                </a:cubicBezTo>
                <a:cubicBezTo>
                  <a:pt x="792" y="177"/>
                  <a:pt x="792" y="177"/>
                  <a:pt x="792" y="177"/>
                </a:cubicBezTo>
                <a:cubicBezTo>
                  <a:pt x="792" y="177"/>
                  <a:pt x="792" y="177"/>
                  <a:pt x="792" y="178"/>
                </a:cubicBezTo>
                <a:cubicBezTo>
                  <a:pt x="792" y="178"/>
                  <a:pt x="792" y="178"/>
                  <a:pt x="793" y="178"/>
                </a:cubicBezTo>
                <a:cubicBezTo>
                  <a:pt x="792" y="178"/>
                  <a:pt x="792" y="178"/>
                  <a:pt x="792" y="178"/>
                </a:cubicBezTo>
                <a:cubicBezTo>
                  <a:pt x="792" y="178"/>
                  <a:pt x="792" y="179"/>
                  <a:pt x="792" y="179"/>
                </a:cubicBezTo>
                <a:cubicBezTo>
                  <a:pt x="793" y="179"/>
                  <a:pt x="793" y="179"/>
                  <a:pt x="793" y="179"/>
                </a:cubicBezTo>
                <a:cubicBezTo>
                  <a:pt x="794" y="179"/>
                  <a:pt x="794" y="179"/>
                  <a:pt x="794" y="179"/>
                </a:cubicBezTo>
                <a:cubicBezTo>
                  <a:pt x="794" y="179"/>
                  <a:pt x="794" y="179"/>
                  <a:pt x="795" y="179"/>
                </a:cubicBezTo>
                <a:cubicBezTo>
                  <a:pt x="795" y="179"/>
                  <a:pt x="796" y="179"/>
                  <a:pt x="797" y="179"/>
                </a:cubicBezTo>
                <a:cubicBezTo>
                  <a:pt x="797" y="179"/>
                  <a:pt x="797" y="178"/>
                  <a:pt x="798" y="178"/>
                </a:cubicBezTo>
                <a:cubicBezTo>
                  <a:pt x="798" y="178"/>
                  <a:pt x="799" y="178"/>
                  <a:pt x="799" y="178"/>
                </a:cubicBezTo>
                <a:cubicBezTo>
                  <a:pt x="799" y="178"/>
                  <a:pt x="800" y="178"/>
                  <a:pt x="800" y="178"/>
                </a:cubicBezTo>
                <a:cubicBezTo>
                  <a:pt x="800" y="178"/>
                  <a:pt x="800" y="178"/>
                  <a:pt x="800" y="178"/>
                </a:cubicBezTo>
                <a:cubicBezTo>
                  <a:pt x="800" y="178"/>
                  <a:pt x="801" y="178"/>
                  <a:pt x="801" y="179"/>
                </a:cubicBezTo>
                <a:cubicBezTo>
                  <a:pt x="801" y="178"/>
                  <a:pt x="802" y="178"/>
                  <a:pt x="802" y="178"/>
                </a:cubicBezTo>
                <a:cubicBezTo>
                  <a:pt x="802" y="178"/>
                  <a:pt x="802" y="179"/>
                  <a:pt x="802" y="179"/>
                </a:cubicBezTo>
                <a:cubicBezTo>
                  <a:pt x="802" y="179"/>
                  <a:pt x="803" y="179"/>
                  <a:pt x="803" y="180"/>
                </a:cubicBezTo>
                <a:cubicBezTo>
                  <a:pt x="804" y="180"/>
                  <a:pt x="804" y="180"/>
                  <a:pt x="804" y="180"/>
                </a:cubicBezTo>
                <a:cubicBezTo>
                  <a:pt x="804" y="180"/>
                  <a:pt x="805" y="180"/>
                  <a:pt x="805" y="179"/>
                </a:cubicBezTo>
                <a:cubicBezTo>
                  <a:pt x="805" y="179"/>
                  <a:pt x="806" y="179"/>
                  <a:pt x="806" y="179"/>
                </a:cubicBezTo>
                <a:cubicBezTo>
                  <a:pt x="807" y="180"/>
                  <a:pt x="807" y="180"/>
                  <a:pt x="808" y="180"/>
                </a:cubicBezTo>
                <a:cubicBezTo>
                  <a:pt x="809" y="180"/>
                  <a:pt x="810" y="180"/>
                  <a:pt x="810" y="180"/>
                </a:cubicBezTo>
                <a:cubicBezTo>
                  <a:pt x="811" y="180"/>
                  <a:pt x="811" y="180"/>
                  <a:pt x="811" y="180"/>
                </a:cubicBezTo>
                <a:cubicBezTo>
                  <a:pt x="812" y="180"/>
                  <a:pt x="812" y="180"/>
                  <a:pt x="813" y="180"/>
                </a:cubicBezTo>
                <a:cubicBezTo>
                  <a:pt x="813" y="180"/>
                  <a:pt x="813" y="179"/>
                  <a:pt x="813" y="179"/>
                </a:cubicBezTo>
                <a:cubicBezTo>
                  <a:pt x="813" y="179"/>
                  <a:pt x="813" y="179"/>
                  <a:pt x="813" y="179"/>
                </a:cubicBezTo>
                <a:cubicBezTo>
                  <a:pt x="813" y="179"/>
                  <a:pt x="813" y="179"/>
                  <a:pt x="813" y="179"/>
                </a:cubicBezTo>
                <a:cubicBezTo>
                  <a:pt x="814" y="179"/>
                  <a:pt x="814" y="179"/>
                  <a:pt x="815" y="179"/>
                </a:cubicBezTo>
                <a:cubicBezTo>
                  <a:pt x="815" y="179"/>
                  <a:pt x="815" y="179"/>
                  <a:pt x="816" y="178"/>
                </a:cubicBezTo>
                <a:cubicBezTo>
                  <a:pt x="816" y="178"/>
                  <a:pt x="816" y="178"/>
                  <a:pt x="816" y="178"/>
                </a:cubicBezTo>
                <a:cubicBezTo>
                  <a:pt x="816" y="177"/>
                  <a:pt x="817" y="177"/>
                  <a:pt x="817" y="177"/>
                </a:cubicBezTo>
                <a:cubicBezTo>
                  <a:pt x="817" y="177"/>
                  <a:pt x="817" y="178"/>
                  <a:pt x="817" y="178"/>
                </a:cubicBezTo>
                <a:cubicBezTo>
                  <a:pt x="817" y="178"/>
                  <a:pt x="817" y="178"/>
                  <a:pt x="817" y="178"/>
                </a:cubicBezTo>
                <a:cubicBezTo>
                  <a:pt x="817" y="178"/>
                  <a:pt x="817" y="178"/>
                  <a:pt x="818" y="178"/>
                </a:cubicBezTo>
                <a:cubicBezTo>
                  <a:pt x="818" y="178"/>
                  <a:pt x="818" y="178"/>
                  <a:pt x="818" y="178"/>
                </a:cubicBezTo>
                <a:cubicBezTo>
                  <a:pt x="819" y="177"/>
                  <a:pt x="819" y="177"/>
                  <a:pt x="819" y="177"/>
                </a:cubicBezTo>
                <a:close/>
                <a:moveTo>
                  <a:pt x="804" y="181"/>
                </a:moveTo>
                <a:cubicBezTo>
                  <a:pt x="804" y="181"/>
                  <a:pt x="803" y="181"/>
                  <a:pt x="803" y="181"/>
                </a:cubicBezTo>
                <a:cubicBezTo>
                  <a:pt x="803" y="181"/>
                  <a:pt x="804" y="181"/>
                  <a:pt x="804" y="182"/>
                </a:cubicBezTo>
                <a:cubicBezTo>
                  <a:pt x="804" y="181"/>
                  <a:pt x="804" y="181"/>
                  <a:pt x="804" y="181"/>
                </a:cubicBezTo>
                <a:cubicBezTo>
                  <a:pt x="804" y="181"/>
                  <a:pt x="804" y="181"/>
                  <a:pt x="804" y="180"/>
                </a:cubicBezTo>
                <a:cubicBezTo>
                  <a:pt x="804" y="180"/>
                  <a:pt x="804" y="180"/>
                  <a:pt x="804" y="181"/>
                </a:cubicBezTo>
                <a:close/>
                <a:moveTo>
                  <a:pt x="588" y="423"/>
                </a:moveTo>
                <a:cubicBezTo>
                  <a:pt x="587" y="422"/>
                  <a:pt x="587" y="422"/>
                  <a:pt x="587" y="422"/>
                </a:cubicBezTo>
                <a:cubicBezTo>
                  <a:pt x="587" y="423"/>
                  <a:pt x="586" y="423"/>
                  <a:pt x="586" y="423"/>
                </a:cubicBezTo>
                <a:cubicBezTo>
                  <a:pt x="587" y="423"/>
                  <a:pt x="587" y="423"/>
                  <a:pt x="588" y="423"/>
                </a:cubicBezTo>
                <a:close/>
                <a:moveTo>
                  <a:pt x="601" y="420"/>
                </a:moveTo>
                <a:cubicBezTo>
                  <a:pt x="601" y="420"/>
                  <a:pt x="601" y="420"/>
                  <a:pt x="601" y="419"/>
                </a:cubicBezTo>
                <a:cubicBezTo>
                  <a:pt x="600" y="420"/>
                  <a:pt x="600" y="420"/>
                  <a:pt x="600" y="420"/>
                </a:cubicBezTo>
                <a:cubicBezTo>
                  <a:pt x="600" y="420"/>
                  <a:pt x="601" y="421"/>
                  <a:pt x="601" y="421"/>
                </a:cubicBezTo>
                <a:cubicBezTo>
                  <a:pt x="601" y="420"/>
                  <a:pt x="601" y="420"/>
                  <a:pt x="601" y="420"/>
                </a:cubicBezTo>
                <a:close/>
                <a:moveTo>
                  <a:pt x="597" y="422"/>
                </a:moveTo>
                <a:cubicBezTo>
                  <a:pt x="597" y="422"/>
                  <a:pt x="596" y="422"/>
                  <a:pt x="596" y="422"/>
                </a:cubicBezTo>
                <a:cubicBezTo>
                  <a:pt x="596" y="422"/>
                  <a:pt x="596" y="422"/>
                  <a:pt x="595" y="422"/>
                </a:cubicBezTo>
                <a:cubicBezTo>
                  <a:pt x="596" y="422"/>
                  <a:pt x="596" y="422"/>
                  <a:pt x="596" y="423"/>
                </a:cubicBezTo>
                <a:cubicBezTo>
                  <a:pt x="596" y="423"/>
                  <a:pt x="597" y="423"/>
                  <a:pt x="597" y="422"/>
                </a:cubicBezTo>
                <a:close/>
                <a:moveTo>
                  <a:pt x="601" y="423"/>
                </a:moveTo>
                <a:cubicBezTo>
                  <a:pt x="601" y="422"/>
                  <a:pt x="602" y="422"/>
                  <a:pt x="602" y="422"/>
                </a:cubicBezTo>
                <a:cubicBezTo>
                  <a:pt x="602" y="422"/>
                  <a:pt x="601" y="422"/>
                  <a:pt x="600" y="422"/>
                </a:cubicBezTo>
                <a:cubicBezTo>
                  <a:pt x="600" y="422"/>
                  <a:pt x="600" y="422"/>
                  <a:pt x="600" y="422"/>
                </a:cubicBezTo>
                <a:cubicBezTo>
                  <a:pt x="601" y="422"/>
                  <a:pt x="601" y="423"/>
                  <a:pt x="601" y="423"/>
                </a:cubicBezTo>
                <a:close/>
                <a:moveTo>
                  <a:pt x="594" y="419"/>
                </a:moveTo>
                <a:cubicBezTo>
                  <a:pt x="594" y="419"/>
                  <a:pt x="593" y="420"/>
                  <a:pt x="593" y="420"/>
                </a:cubicBezTo>
                <a:cubicBezTo>
                  <a:pt x="593" y="420"/>
                  <a:pt x="593" y="420"/>
                  <a:pt x="593" y="420"/>
                </a:cubicBezTo>
                <a:cubicBezTo>
                  <a:pt x="594" y="420"/>
                  <a:pt x="594" y="420"/>
                  <a:pt x="595" y="420"/>
                </a:cubicBezTo>
                <a:cubicBezTo>
                  <a:pt x="595" y="420"/>
                  <a:pt x="595" y="420"/>
                  <a:pt x="595" y="420"/>
                </a:cubicBezTo>
                <a:cubicBezTo>
                  <a:pt x="595" y="419"/>
                  <a:pt x="595" y="419"/>
                  <a:pt x="595" y="419"/>
                </a:cubicBezTo>
                <a:cubicBezTo>
                  <a:pt x="595" y="419"/>
                  <a:pt x="594" y="419"/>
                  <a:pt x="594" y="419"/>
                </a:cubicBezTo>
                <a:close/>
                <a:moveTo>
                  <a:pt x="582" y="423"/>
                </a:moveTo>
                <a:cubicBezTo>
                  <a:pt x="583" y="423"/>
                  <a:pt x="584" y="423"/>
                  <a:pt x="584" y="422"/>
                </a:cubicBezTo>
                <a:cubicBezTo>
                  <a:pt x="584" y="422"/>
                  <a:pt x="585" y="422"/>
                  <a:pt x="585" y="422"/>
                </a:cubicBezTo>
                <a:cubicBezTo>
                  <a:pt x="584" y="422"/>
                  <a:pt x="584" y="422"/>
                  <a:pt x="583" y="422"/>
                </a:cubicBezTo>
                <a:cubicBezTo>
                  <a:pt x="583" y="422"/>
                  <a:pt x="583" y="423"/>
                  <a:pt x="582" y="423"/>
                </a:cubicBezTo>
                <a:close/>
                <a:moveTo>
                  <a:pt x="577" y="424"/>
                </a:moveTo>
                <a:cubicBezTo>
                  <a:pt x="577" y="424"/>
                  <a:pt x="577" y="424"/>
                  <a:pt x="577" y="424"/>
                </a:cubicBezTo>
                <a:cubicBezTo>
                  <a:pt x="578" y="424"/>
                  <a:pt x="579" y="424"/>
                  <a:pt x="579" y="424"/>
                </a:cubicBezTo>
                <a:cubicBezTo>
                  <a:pt x="579" y="424"/>
                  <a:pt x="580" y="424"/>
                  <a:pt x="580" y="424"/>
                </a:cubicBezTo>
                <a:cubicBezTo>
                  <a:pt x="580" y="424"/>
                  <a:pt x="581" y="423"/>
                  <a:pt x="581" y="423"/>
                </a:cubicBezTo>
                <a:cubicBezTo>
                  <a:pt x="582" y="423"/>
                  <a:pt x="582" y="422"/>
                  <a:pt x="582" y="422"/>
                </a:cubicBezTo>
                <a:cubicBezTo>
                  <a:pt x="582" y="422"/>
                  <a:pt x="582" y="422"/>
                  <a:pt x="581" y="422"/>
                </a:cubicBezTo>
                <a:cubicBezTo>
                  <a:pt x="581" y="422"/>
                  <a:pt x="581" y="421"/>
                  <a:pt x="581" y="421"/>
                </a:cubicBezTo>
                <a:cubicBezTo>
                  <a:pt x="581" y="421"/>
                  <a:pt x="581" y="421"/>
                  <a:pt x="580" y="421"/>
                </a:cubicBezTo>
                <a:cubicBezTo>
                  <a:pt x="580" y="421"/>
                  <a:pt x="579" y="422"/>
                  <a:pt x="578" y="422"/>
                </a:cubicBezTo>
                <a:cubicBezTo>
                  <a:pt x="577" y="422"/>
                  <a:pt x="576" y="422"/>
                  <a:pt x="575" y="422"/>
                </a:cubicBezTo>
                <a:cubicBezTo>
                  <a:pt x="575" y="423"/>
                  <a:pt x="575" y="423"/>
                  <a:pt x="574" y="423"/>
                </a:cubicBezTo>
                <a:cubicBezTo>
                  <a:pt x="574" y="423"/>
                  <a:pt x="574" y="423"/>
                  <a:pt x="574" y="424"/>
                </a:cubicBezTo>
                <a:cubicBezTo>
                  <a:pt x="574" y="424"/>
                  <a:pt x="574" y="424"/>
                  <a:pt x="574" y="424"/>
                </a:cubicBezTo>
                <a:cubicBezTo>
                  <a:pt x="574" y="424"/>
                  <a:pt x="574" y="424"/>
                  <a:pt x="574" y="424"/>
                </a:cubicBezTo>
                <a:cubicBezTo>
                  <a:pt x="574" y="425"/>
                  <a:pt x="574" y="425"/>
                  <a:pt x="574" y="425"/>
                </a:cubicBezTo>
                <a:cubicBezTo>
                  <a:pt x="575" y="425"/>
                  <a:pt x="576" y="425"/>
                  <a:pt x="577" y="424"/>
                </a:cubicBezTo>
                <a:close/>
                <a:moveTo>
                  <a:pt x="568" y="426"/>
                </a:moveTo>
                <a:cubicBezTo>
                  <a:pt x="568" y="426"/>
                  <a:pt x="569" y="425"/>
                  <a:pt x="569" y="425"/>
                </a:cubicBezTo>
                <a:cubicBezTo>
                  <a:pt x="568" y="425"/>
                  <a:pt x="568" y="425"/>
                  <a:pt x="568" y="425"/>
                </a:cubicBezTo>
                <a:cubicBezTo>
                  <a:pt x="568" y="425"/>
                  <a:pt x="567" y="425"/>
                  <a:pt x="567" y="425"/>
                </a:cubicBezTo>
                <a:cubicBezTo>
                  <a:pt x="567" y="425"/>
                  <a:pt x="567" y="425"/>
                  <a:pt x="567" y="425"/>
                </a:cubicBezTo>
                <a:cubicBezTo>
                  <a:pt x="567" y="425"/>
                  <a:pt x="567" y="426"/>
                  <a:pt x="567" y="426"/>
                </a:cubicBezTo>
                <a:cubicBezTo>
                  <a:pt x="568" y="426"/>
                  <a:pt x="568" y="426"/>
                  <a:pt x="568" y="426"/>
                </a:cubicBezTo>
                <a:close/>
                <a:moveTo>
                  <a:pt x="568" y="425"/>
                </a:moveTo>
                <a:cubicBezTo>
                  <a:pt x="568" y="425"/>
                  <a:pt x="568" y="424"/>
                  <a:pt x="568" y="424"/>
                </a:cubicBezTo>
                <a:cubicBezTo>
                  <a:pt x="568" y="424"/>
                  <a:pt x="568" y="424"/>
                  <a:pt x="569" y="424"/>
                </a:cubicBezTo>
                <a:cubicBezTo>
                  <a:pt x="569" y="424"/>
                  <a:pt x="569" y="424"/>
                  <a:pt x="569" y="423"/>
                </a:cubicBezTo>
                <a:cubicBezTo>
                  <a:pt x="569" y="423"/>
                  <a:pt x="569" y="423"/>
                  <a:pt x="568" y="423"/>
                </a:cubicBezTo>
                <a:cubicBezTo>
                  <a:pt x="568" y="423"/>
                  <a:pt x="567" y="423"/>
                  <a:pt x="566" y="423"/>
                </a:cubicBezTo>
                <a:cubicBezTo>
                  <a:pt x="566" y="423"/>
                  <a:pt x="566" y="423"/>
                  <a:pt x="565" y="423"/>
                </a:cubicBezTo>
                <a:cubicBezTo>
                  <a:pt x="565" y="423"/>
                  <a:pt x="565" y="423"/>
                  <a:pt x="564" y="423"/>
                </a:cubicBezTo>
                <a:cubicBezTo>
                  <a:pt x="564" y="423"/>
                  <a:pt x="564" y="423"/>
                  <a:pt x="563" y="423"/>
                </a:cubicBezTo>
                <a:cubicBezTo>
                  <a:pt x="563" y="423"/>
                  <a:pt x="562" y="423"/>
                  <a:pt x="562" y="423"/>
                </a:cubicBezTo>
                <a:cubicBezTo>
                  <a:pt x="561" y="423"/>
                  <a:pt x="561" y="423"/>
                  <a:pt x="560" y="422"/>
                </a:cubicBezTo>
                <a:cubicBezTo>
                  <a:pt x="560" y="423"/>
                  <a:pt x="560" y="423"/>
                  <a:pt x="559" y="423"/>
                </a:cubicBezTo>
                <a:cubicBezTo>
                  <a:pt x="560" y="423"/>
                  <a:pt x="560" y="422"/>
                  <a:pt x="560" y="422"/>
                </a:cubicBezTo>
                <a:cubicBezTo>
                  <a:pt x="561" y="422"/>
                  <a:pt x="561" y="422"/>
                  <a:pt x="562" y="422"/>
                </a:cubicBezTo>
                <a:cubicBezTo>
                  <a:pt x="562" y="422"/>
                  <a:pt x="563" y="422"/>
                  <a:pt x="564" y="422"/>
                </a:cubicBezTo>
                <a:cubicBezTo>
                  <a:pt x="564" y="422"/>
                  <a:pt x="564" y="422"/>
                  <a:pt x="565" y="422"/>
                </a:cubicBezTo>
                <a:cubicBezTo>
                  <a:pt x="564" y="421"/>
                  <a:pt x="564" y="421"/>
                  <a:pt x="564" y="421"/>
                </a:cubicBezTo>
                <a:cubicBezTo>
                  <a:pt x="564" y="421"/>
                  <a:pt x="563" y="421"/>
                  <a:pt x="563" y="422"/>
                </a:cubicBezTo>
                <a:cubicBezTo>
                  <a:pt x="563" y="422"/>
                  <a:pt x="562" y="422"/>
                  <a:pt x="562" y="422"/>
                </a:cubicBezTo>
                <a:cubicBezTo>
                  <a:pt x="561" y="421"/>
                  <a:pt x="561" y="421"/>
                  <a:pt x="560" y="421"/>
                </a:cubicBezTo>
                <a:cubicBezTo>
                  <a:pt x="560" y="421"/>
                  <a:pt x="560" y="421"/>
                  <a:pt x="560" y="421"/>
                </a:cubicBezTo>
                <a:cubicBezTo>
                  <a:pt x="559" y="421"/>
                  <a:pt x="559" y="421"/>
                  <a:pt x="559" y="421"/>
                </a:cubicBezTo>
                <a:cubicBezTo>
                  <a:pt x="559" y="421"/>
                  <a:pt x="559" y="421"/>
                  <a:pt x="558" y="421"/>
                </a:cubicBezTo>
                <a:cubicBezTo>
                  <a:pt x="557" y="421"/>
                  <a:pt x="556" y="421"/>
                  <a:pt x="554" y="421"/>
                </a:cubicBezTo>
                <a:cubicBezTo>
                  <a:pt x="554" y="421"/>
                  <a:pt x="554" y="421"/>
                  <a:pt x="554" y="422"/>
                </a:cubicBezTo>
                <a:cubicBezTo>
                  <a:pt x="553" y="422"/>
                  <a:pt x="553" y="422"/>
                  <a:pt x="553" y="422"/>
                </a:cubicBezTo>
                <a:cubicBezTo>
                  <a:pt x="552" y="422"/>
                  <a:pt x="552" y="422"/>
                  <a:pt x="551" y="422"/>
                </a:cubicBezTo>
                <a:cubicBezTo>
                  <a:pt x="551" y="423"/>
                  <a:pt x="551" y="423"/>
                  <a:pt x="551" y="423"/>
                </a:cubicBezTo>
                <a:cubicBezTo>
                  <a:pt x="551" y="423"/>
                  <a:pt x="551" y="423"/>
                  <a:pt x="551" y="423"/>
                </a:cubicBezTo>
                <a:cubicBezTo>
                  <a:pt x="551" y="423"/>
                  <a:pt x="550" y="423"/>
                  <a:pt x="550" y="423"/>
                </a:cubicBezTo>
                <a:cubicBezTo>
                  <a:pt x="550" y="423"/>
                  <a:pt x="549" y="423"/>
                  <a:pt x="549" y="423"/>
                </a:cubicBezTo>
                <a:cubicBezTo>
                  <a:pt x="549" y="423"/>
                  <a:pt x="548" y="423"/>
                  <a:pt x="548" y="423"/>
                </a:cubicBezTo>
                <a:cubicBezTo>
                  <a:pt x="547" y="423"/>
                  <a:pt x="547" y="423"/>
                  <a:pt x="546" y="423"/>
                </a:cubicBezTo>
                <a:cubicBezTo>
                  <a:pt x="546" y="423"/>
                  <a:pt x="546" y="424"/>
                  <a:pt x="545" y="424"/>
                </a:cubicBezTo>
                <a:cubicBezTo>
                  <a:pt x="545" y="424"/>
                  <a:pt x="545" y="424"/>
                  <a:pt x="544" y="424"/>
                </a:cubicBezTo>
                <a:cubicBezTo>
                  <a:pt x="544" y="424"/>
                  <a:pt x="543" y="424"/>
                  <a:pt x="543" y="424"/>
                </a:cubicBezTo>
                <a:cubicBezTo>
                  <a:pt x="543" y="424"/>
                  <a:pt x="542" y="425"/>
                  <a:pt x="542" y="425"/>
                </a:cubicBezTo>
                <a:cubicBezTo>
                  <a:pt x="542" y="425"/>
                  <a:pt x="543" y="425"/>
                  <a:pt x="543" y="425"/>
                </a:cubicBezTo>
                <a:cubicBezTo>
                  <a:pt x="544" y="425"/>
                  <a:pt x="545" y="425"/>
                  <a:pt x="546" y="425"/>
                </a:cubicBezTo>
                <a:cubicBezTo>
                  <a:pt x="546" y="425"/>
                  <a:pt x="546" y="425"/>
                  <a:pt x="546" y="425"/>
                </a:cubicBezTo>
                <a:cubicBezTo>
                  <a:pt x="546" y="425"/>
                  <a:pt x="546" y="426"/>
                  <a:pt x="547" y="426"/>
                </a:cubicBezTo>
                <a:cubicBezTo>
                  <a:pt x="547" y="426"/>
                  <a:pt x="547" y="426"/>
                  <a:pt x="546" y="427"/>
                </a:cubicBezTo>
                <a:cubicBezTo>
                  <a:pt x="547" y="427"/>
                  <a:pt x="547" y="427"/>
                  <a:pt x="547" y="427"/>
                </a:cubicBezTo>
                <a:cubicBezTo>
                  <a:pt x="547" y="427"/>
                  <a:pt x="548" y="427"/>
                  <a:pt x="548" y="427"/>
                </a:cubicBezTo>
                <a:cubicBezTo>
                  <a:pt x="548" y="427"/>
                  <a:pt x="549" y="428"/>
                  <a:pt x="549" y="428"/>
                </a:cubicBezTo>
                <a:cubicBezTo>
                  <a:pt x="549" y="428"/>
                  <a:pt x="549" y="428"/>
                  <a:pt x="549" y="428"/>
                </a:cubicBezTo>
                <a:cubicBezTo>
                  <a:pt x="549" y="428"/>
                  <a:pt x="548" y="428"/>
                  <a:pt x="547" y="429"/>
                </a:cubicBezTo>
                <a:cubicBezTo>
                  <a:pt x="547" y="429"/>
                  <a:pt x="547" y="429"/>
                  <a:pt x="547" y="429"/>
                </a:cubicBezTo>
                <a:cubicBezTo>
                  <a:pt x="547" y="429"/>
                  <a:pt x="546" y="429"/>
                  <a:pt x="546" y="429"/>
                </a:cubicBezTo>
                <a:cubicBezTo>
                  <a:pt x="546" y="429"/>
                  <a:pt x="545" y="429"/>
                  <a:pt x="545" y="429"/>
                </a:cubicBezTo>
                <a:cubicBezTo>
                  <a:pt x="544" y="429"/>
                  <a:pt x="544" y="429"/>
                  <a:pt x="544" y="429"/>
                </a:cubicBezTo>
                <a:cubicBezTo>
                  <a:pt x="543" y="429"/>
                  <a:pt x="543" y="430"/>
                  <a:pt x="543" y="430"/>
                </a:cubicBezTo>
                <a:cubicBezTo>
                  <a:pt x="542" y="430"/>
                  <a:pt x="542" y="430"/>
                  <a:pt x="542" y="430"/>
                </a:cubicBezTo>
                <a:cubicBezTo>
                  <a:pt x="542" y="430"/>
                  <a:pt x="542" y="430"/>
                  <a:pt x="542" y="430"/>
                </a:cubicBezTo>
                <a:cubicBezTo>
                  <a:pt x="541" y="430"/>
                  <a:pt x="541" y="430"/>
                  <a:pt x="540" y="430"/>
                </a:cubicBezTo>
                <a:cubicBezTo>
                  <a:pt x="540" y="430"/>
                  <a:pt x="540" y="430"/>
                  <a:pt x="539" y="430"/>
                </a:cubicBezTo>
                <a:cubicBezTo>
                  <a:pt x="539" y="430"/>
                  <a:pt x="539" y="430"/>
                  <a:pt x="539" y="430"/>
                </a:cubicBezTo>
                <a:cubicBezTo>
                  <a:pt x="538" y="431"/>
                  <a:pt x="538" y="431"/>
                  <a:pt x="538" y="431"/>
                </a:cubicBezTo>
                <a:cubicBezTo>
                  <a:pt x="538" y="431"/>
                  <a:pt x="539" y="431"/>
                  <a:pt x="539" y="431"/>
                </a:cubicBezTo>
                <a:cubicBezTo>
                  <a:pt x="539" y="431"/>
                  <a:pt x="540" y="431"/>
                  <a:pt x="540" y="431"/>
                </a:cubicBezTo>
                <a:cubicBezTo>
                  <a:pt x="540" y="432"/>
                  <a:pt x="541" y="432"/>
                  <a:pt x="541" y="432"/>
                </a:cubicBezTo>
                <a:cubicBezTo>
                  <a:pt x="542" y="432"/>
                  <a:pt x="542" y="432"/>
                  <a:pt x="542" y="432"/>
                </a:cubicBezTo>
                <a:cubicBezTo>
                  <a:pt x="542" y="432"/>
                  <a:pt x="542" y="432"/>
                  <a:pt x="542" y="431"/>
                </a:cubicBezTo>
                <a:cubicBezTo>
                  <a:pt x="542" y="431"/>
                  <a:pt x="542" y="431"/>
                  <a:pt x="542" y="431"/>
                </a:cubicBezTo>
                <a:cubicBezTo>
                  <a:pt x="543" y="431"/>
                  <a:pt x="544" y="431"/>
                  <a:pt x="545" y="430"/>
                </a:cubicBezTo>
                <a:cubicBezTo>
                  <a:pt x="545" y="430"/>
                  <a:pt x="545" y="430"/>
                  <a:pt x="546" y="431"/>
                </a:cubicBezTo>
                <a:cubicBezTo>
                  <a:pt x="547" y="430"/>
                  <a:pt x="547" y="430"/>
                  <a:pt x="548" y="430"/>
                </a:cubicBezTo>
                <a:cubicBezTo>
                  <a:pt x="548" y="430"/>
                  <a:pt x="549" y="430"/>
                  <a:pt x="549" y="430"/>
                </a:cubicBezTo>
                <a:cubicBezTo>
                  <a:pt x="549" y="430"/>
                  <a:pt x="549" y="430"/>
                  <a:pt x="550" y="430"/>
                </a:cubicBezTo>
                <a:cubicBezTo>
                  <a:pt x="550" y="430"/>
                  <a:pt x="550" y="430"/>
                  <a:pt x="550" y="430"/>
                </a:cubicBezTo>
                <a:cubicBezTo>
                  <a:pt x="551" y="430"/>
                  <a:pt x="551" y="429"/>
                  <a:pt x="551" y="429"/>
                </a:cubicBezTo>
                <a:cubicBezTo>
                  <a:pt x="551" y="430"/>
                  <a:pt x="551" y="430"/>
                  <a:pt x="552" y="430"/>
                </a:cubicBezTo>
                <a:cubicBezTo>
                  <a:pt x="552" y="430"/>
                  <a:pt x="552" y="431"/>
                  <a:pt x="552" y="431"/>
                </a:cubicBezTo>
                <a:cubicBezTo>
                  <a:pt x="552" y="431"/>
                  <a:pt x="552" y="431"/>
                  <a:pt x="552" y="431"/>
                </a:cubicBezTo>
                <a:cubicBezTo>
                  <a:pt x="553" y="431"/>
                  <a:pt x="553" y="431"/>
                  <a:pt x="553" y="431"/>
                </a:cubicBezTo>
                <a:cubicBezTo>
                  <a:pt x="553" y="431"/>
                  <a:pt x="553" y="431"/>
                  <a:pt x="554" y="431"/>
                </a:cubicBezTo>
                <a:cubicBezTo>
                  <a:pt x="554" y="431"/>
                  <a:pt x="554" y="430"/>
                  <a:pt x="554" y="430"/>
                </a:cubicBezTo>
                <a:cubicBezTo>
                  <a:pt x="554" y="430"/>
                  <a:pt x="554" y="429"/>
                  <a:pt x="555" y="429"/>
                </a:cubicBezTo>
                <a:cubicBezTo>
                  <a:pt x="555" y="428"/>
                  <a:pt x="555" y="428"/>
                  <a:pt x="555" y="428"/>
                </a:cubicBezTo>
                <a:cubicBezTo>
                  <a:pt x="555" y="428"/>
                  <a:pt x="555" y="428"/>
                  <a:pt x="555" y="428"/>
                </a:cubicBezTo>
                <a:cubicBezTo>
                  <a:pt x="555" y="428"/>
                  <a:pt x="555" y="428"/>
                  <a:pt x="556" y="428"/>
                </a:cubicBezTo>
                <a:cubicBezTo>
                  <a:pt x="556" y="428"/>
                  <a:pt x="556" y="428"/>
                  <a:pt x="556" y="428"/>
                </a:cubicBezTo>
                <a:cubicBezTo>
                  <a:pt x="556" y="427"/>
                  <a:pt x="556" y="427"/>
                  <a:pt x="557" y="427"/>
                </a:cubicBezTo>
                <a:cubicBezTo>
                  <a:pt x="557" y="427"/>
                  <a:pt x="557" y="427"/>
                  <a:pt x="557" y="427"/>
                </a:cubicBezTo>
                <a:cubicBezTo>
                  <a:pt x="557" y="427"/>
                  <a:pt x="558" y="427"/>
                  <a:pt x="558" y="428"/>
                </a:cubicBezTo>
                <a:cubicBezTo>
                  <a:pt x="558" y="428"/>
                  <a:pt x="558" y="428"/>
                  <a:pt x="558" y="428"/>
                </a:cubicBezTo>
                <a:cubicBezTo>
                  <a:pt x="559" y="428"/>
                  <a:pt x="559" y="427"/>
                  <a:pt x="560" y="427"/>
                </a:cubicBezTo>
                <a:cubicBezTo>
                  <a:pt x="560" y="427"/>
                  <a:pt x="560" y="426"/>
                  <a:pt x="561" y="426"/>
                </a:cubicBezTo>
                <a:cubicBezTo>
                  <a:pt x="561" y="426"/>
                  <a:pt x="562" y="426"/>
                  <a:pt x="562" y="425"/>
                </a:cubicBezTo>
                <a:cubicBezTo>
                  <a:pt x="563" y="425"/>
                  <a:pt x="563" y="425"/>
                  <a:pt x="564" y="425"/>
                </a:cubicBezTo>
                <a:cubicBezTo>
                  <a:pt x="564" y="425"/>
                  <a:pt x="564" y="425"/>
                  <a:pt x="564" y="425"/>
                </a:cubicBezTo>
                <a:cubicBezTo>
                  <a:pt x="565" y="425"/>
                  <a:pt x="565" y="425"/>
                  <a:pt x="565" y="425"/>
                </a:cubicBezTo>
                <a:cubicBezTo>
                  <a:pt x="566" y="425"/>
                  <a:pt x="566" y="425"/>
                  <a:pt x="566" y="425"/>
                </a:cubicBezTo>
                <a:cubicBezTo>
                  <a:pt x="567" y="425"/>
                  <a:pt x="567" y="425"/>
                  <a:pt x="568" y="425"/>
                </a:cubicBezTo>
                <a:close/>
                <a:moveTo>
                  <a:pt x="725" y="29"/>
                </a:moveTo>
                <a:cubicBezTo>
                  <a:pt x="725" y="29"/>
                  <a:pt x="726" y="29"/>
                  <a:pt x="726" y="29"/>
                </a:cubicBezTo>
                <a:cubicBezTo>
                  <a:pt x="726" y="28"/>
                  <a:pt x="726" y="28"/>
                  <a:pt x="725" y="27"/>
                </a:cubicBezTo>
                <a:cubicBezTo>
                  <a:pt x="725" y="27"/>
                  <a:pt x="725" y="27"/>
                  <a:pt x="725" y="27"/>
                </a:cubicBezTo>
                <a:cubicBezTo>
                  <a:pt x="724" y="27"/>
                  <a:pt x="724" y="27"/>
                  <a:pt x="724" y="27"/>
                </a:cubicBezTo>
                <a:cubicBezTo>
                  <a:pt x="724" y="27"/>
                  <a:pt x="723" y="27"/>
                  <a:pt x="723" y="27"/>
                </a:cubicBezTo>
                <a:cubicBezTo>
                  <a:pt x="723" y="27"/>
                  <a:pt x="723" y="27"/>
                  <a:pt x="723" y="27"/>
                </a:cubicBezTo>
                <a:cubicBezTo>
                  <a:pt x="723" y="28"/>
                  <a:pt x="723" y="28"/>
                  <a:pt x="723" y="28"/>
                </a:cubicBezTo>
                <a:cubicBezTo>
                  <a:pt x="723" y="28"/>
                  <a:pt x="723" y="28"/>
                  <a:pt x="723" y="29"/>
                </a:cubicBezTo>
                <a:cubicBezTo>
                  <a:pt x="724" y="29"/>
                  <a:pt x="725" y="29"/>
                  <a:pt x="725" y="29"/>
                </a:cubicBezTo>
                <a:close/>
                <a:moveTo>
                  <a:pt x="722" y="25"/>
                </a:moveTo>
                <a:cubicBezTo>
                  <a:pt x="722" y="25"/>
                  <a:pt x="722" y="26"/>
                  <a:pt x="723" y="26"/>
                </a:cubicBezTo>
                <a:cubicBezTo>
                  <a:pt x="723" y="26"/>
                  <a:pt x="723" y="26"/>
                  <a:pt x="723" y="26"/>
                </a:cubicBezTo>
                <a:cubicBezTo>
                  <a:pt x="724" y="26"/>
                  <a:pt x="724" y="26"/>
                  <a:pt x="725" y="26"/>
                </a:cubicBezTo>
                <a:cubicBezTo>
                  <a:pt x="725" y="26"/>
                  <a:pt x="725" y="25"/>
                  <a:pt x="725" y="25"/>
                </a:cubicBezTo>
                <a:cubicBezTo>
                  <a:pt x="725" y="25"/>
                  <a:pt x="725" y="25"/>
                  <a:pt x="725" y="25"/>
                </a:cubicBezTo>
                <a:cubicBezTo>
                  <a:pt x="725" y="25"/>
                  <a:pt x="724" y="24"/>
                  <a:pt x="724" y="24"/>
                </a:cubicBezTo>
                <a:cubicBezTo>
                  <a:pt x="724" y="24"/>
                  <a:pt x="724" y="24"/>
                  <a:pt x="724" y="24"/>
                </a:cubicBezTo>
                <a:cubicBezTo>
                  <a:pt x="724" y="24"/>
                  <a:pt x="723" y="24"/>
                  <a:pt x="723" y="24"/>
                </a:cubicBezTo>
                <a:cubicBezTo>
                  <a:pt x="723" y="24"/>
                  <a:pt x="723" y="24"/>
                  <a:pt x="722" y="24"/>
                </a:cubicBezTo>
                <a:cubicBezTo>
                  <a:pt x="722" y="24"/>
                  <a:pt x="722" y="24"/>
                  <a:pt x="722" y="25"/>
                </a:cubicBezTo>
                <a:cubicBezTo>
                  <a:pt x="722" y="25"/>
                  <a:pt x="722" y="25"/>
                  <a:pt x="722" y="25"/>
                </a:cubicBezTo>
                <a:close/>
                <a:moveTo>
                  <a:pt x="725" y="12"/>
                </a:moveTo>
                <a:cubicBezTo>
                  <a:pt x="725" y="12"/>
                  <a:pt x="726" y="12"/>
                  <a:pt x="726" y="13"/>
                </a:cubicBezTo>
                <a:cubicBezTo>
                  <a:pt x="726" y="12"/>
                  <a:pt x="726" y="12"/>
                  <a:pt x="727" y="12"/>
                </a:cubicBezTo>
                <a:cubicBezTo>
                  <a:pt x="727" y="12"/>
                  <a:pt x="727" y="12"/>
                  <a:pt x="727" y="12"/>
                </a:cubicBezTo>
                <a:cubicBezTo>
                  <a:pt x="726" y="12"/>
                  <a:pt x="726" y="12"/>
                  <a:pt x="726" y="12"/>
                </a:cubicBezTo>
                <a:cubicBezTo>
                  <a:pt x="726" y="12"/>
                  <a:pt x="725" y="12"/>
                  <a:pt x="725" y="12"/>
                </a:cubicBezTo>
                <a:cubicBezTo>
                  <a:pt x="725" y="12"/>
                  <a:pt x="725" y="11"/>
                  <a:pt x="725" y="11"/>
                </a:cubicBezTo>
                <a:cubicBezTo>
                  <a:pt x="725" y="11"/>
                  <a:pt x="725" y="11"/>
                  <a:pt x="724" y="11"/>
                </a:cubicBezTo>
                <a:cubicBezTo>
                  <a:pt x="724" y="11"/>
                  <a:pt x="724" y="11"/>
                  <a:pt x="723" y="11"/>
                </a:cubicBezTo>
                <a:cubicBezTo>
                  <a:pt x="723" y="12"/>
                  <a:pt x="723" y="12"/>
                  <a:pt x="723" y="12"/>
                </a:cubicBezTo>
                <a:cubicBezTo>
                  <a:pt x="724" y="12"/>
                  <a:pt x="724" y="12"/>
                  <a:pt x="724" y="12"/>
                </a:cubicBezTo>
                <a:cubicBezTo>
                  <a:pt x="724" y="12"/>
                  <a:pt x="725" y="12"/>
                  <a:pt x="725" y="12"/>
                </a:cubicBezTo>
                <a:close/>
                <a:moveTo>
                  <a:pt x="831" y="25"/>
                </a:moveTo>
                <a:cubicBezTo>
                  <a:pt x="831" y="25"/>
                  <a:pt x="831" y="25"/>
                  <a:pt x="831" y="25"/>
                </a:cubicBezTo>
                <a:cubicBezTo>
                  <a:pt x="831" y="24"/>
                  <a:pt x="831" y="24"/>
                  <a:pt x="831" y="24"/>
                </a:cubicBezTo>
                <a:cubicBezTo>
                  <a:pt x="831" y="23"/>
                  <a:pt x="831" y="23"/>
                  <a:pt x="831" y="23"/>
                </a:cubicBezTo>
                <a:cubicBezTo>
                  <a:pt x="831" y="22"/>
                  <a:pt x="831" y="22"/>
                  <a:pt x="831" y="22"/>
                </a:cubicBezTo>
                <a:cubicBezTo>
                  <a:pt x="831" y="22"/>
                  <a:pt x="831" y="22"/>
                  <a:pt x="831" y="21"/>
                </a:cubicBezTo>
                <a:cubicBezTo>
                  <a:pt x="831" y="22"/>
                  <a:pt x="830" y="22"/>
                  <a:pt x="830" y="22"/>
                </a:cubicBezTo>
                <a:cubicBezTo>
                  <a:pt x="830" y="22"/>
                  <a:pt x="830" y="22"/>
                  <a:pt x="830" y="22"/>
                </a:cubicBezTo>
                <a:cubicBezTo>
                  <a:pt x="830" y="22"/>
                  <a:pt x="830" y="22"/>
                  <a:pt x="830" y="22"/>
                </a:cubicBezTo>
                <a:cubicBezTo>
                  <a:pt x="830" y="23"/>
                  <a:pt x="830" y="23"/>
                  <a:pt x="830" y="23"/>
                </a:cubicBezTo>
                <a:cubicBezTo>
                  <a:pt x="830" y="23"/>
                  <a:pt x="830" y="24"/>
                  <a:pt x="830" y="24"/>
                </a:cubicBezTo>
                <a:cubicBezTo>
                  <a:pt x="830" y="24"/>
                  <a:pt x="830" y="24"/>
                  <a:pt x="831" y="25"/>
                </a:cubicBezTo>
                <a:close/>
                <a:moveTo>
                  <a:pt x="700" y="23"/>
                </a:moveTo>
                <a:cubicBezTo>
                  <a:pt x="700" y="23"/>
                  <a:pt x="701" y="24"/>
                  <a:pt x="701" y="24"/>
                </a:cubicBezTo>
                <a:cubicBezTo>
                  <a:pt x="701" y="25"/>
                  <a:pt x="702" y="25"/>
                  <a:pt x="702" y="25"/>
                </a:cubicBezTo>
                <a:cubicBezTo>
                  <a:pt x="702" y="26"/>
                  <a:pt x="703" y="26"/>
                  <a:pt x="703" y="26"/>
                </a:cubicBezTo>
                <a:cubicBezTo>
                  <a:pt x="703" y="27"/>
                  <a:pt x="703" y="27"/>
                  <a:pt x="704" y="27"/>
                </a:cubicBezTo>
                <a:cubicBezTo>
                  <a:pt x="704" y="26"/>
                  <a:pt x="704" y="26"/>
                  <a:pt x="704" y="26"/>
                </a:cubicBezTo>
                <a:cubicBezTo>
                  <a:pt x="704" y="26"/>
                  <a:pt x="704" y="25"/>
                  <a:pt x="704" y="25"/>
                </a:cubicBezTo>
                <a:cubicBezTo>
                  <a:pt x="703" y="25"/>
                  <a:pt x="703" y="24"/>
                  <a:pt x="702" y="24"/>
                </a:cubicBezTo>
                <a:cubicBezTo>
                  <a:pt x="702" y="24"/>
                  <a:pt x="702" y="23"/>
                  <a:pt x="702" y="23"/>
                </a:cubicBezTo>
                <a:cubicBezTo>
                  <a:pt x="702" y="23"/>
                  <a:pt x="702" y="22"/>
                  <a:pt x="702" y="22"/>
                </a:cubicBezTo>
                <a:cubicBezTo>
                  <a:pt x="702" y="22"/>
                  <a:pt x="702" y="21"/>
                  <a:pt x="702" y="21"/>
                </a:cubicBezTo>
                <a:cubicBezTo>
                  <a:pt x="702" y="21"/>
                  <a:pt x="702" y="20"/>
                  <a:pt x="702" y="20"/>
                </a:cubicBezTo>
                <a:cubicBezTo>
                  <a:pt x="702" y="20"/>
                  <a:pt x="702" y="19"/>
                  <a:pt x="702" y="19"/>
                </a:cubicBezTo>
                <a:cubicBezTo>
                  <a:pt x="701" y="19"/>
                  <a:pt x="701" y="19"/>
                  <a:pt x="701" y="19"/>
                </a:cubicBezTo>
                <a:cubicBezTo>
                  <a:pt x="701" y="19"/>
                  <a:pt x="700" y="19"/>
                  <a:pt x="700" y="19"/>
                </a:cubicBezTo>
                <a:cubicBezTo>
                  <a:pt x="700" y="20"/>
                  <a:pt x="700" y="21"/>
                  <a:pt x="700" y="21"/>
                </a:cubicBezTo>
                <a:cubicBezTo>
                  <a:pt x="700" y="22"/>
                  <a:pt x="700" y="22"/>
                  <a:pt x="700" y="22"/>
                </a:cubicBezTo>
                <a:cubicBezTo>
                  <a:pt x="700" y="22"/>
                  <a:pt x="700" y="23"/>
                  <a:pt x="700" y="23"/>
                </a:cubicBezTo>
                <a:close/>
                <a:moveTo>
                  <a:pt x="638" y="41"/>
                </a:moveTo>
                <a:cubicBezTo>
                  <a:pt x="638" y="42"/>
                  <a:pt x="638" y="42"/>
                  <a:pt x="638" y="42"/>
                </a:cubicBezTo>
                <a:cubicBezTo>
                  <a:pt x="638" y="42"/>
                  <a:pt x="639" y="42"/>
                  <a:pt x="639" y="42"/>
                </a:cubicBezTo>
                <a:cubicBezTo>
                  <a:pt x="639" y="42"/>
                  <a:pt x="639" y="42"/>
                  <a:pt x="639" y="41"/>
                </a:cubicBezTo>
                <a:cubicBezTo>
                  <a:pt x="639" y="41"/>
                  <a:pt x="638" y="41"/>
                  <a:pt x="638" y="41"/>
                </a:cubicBezTo>
                <a:cubicBezTo>
                  <a:pt x="638" y="41"/>
                  <a:pt x="637" y="41"/>
                  <a:pt x="637" y="41"/>
                </a:cubicBezTo>
                <a:cubicBezTo>
                  <a:pt x="637" y="41"/>
                  <a:pt x="638" y="41"/>
                  <a:pt x="638" y="41"/>
                </a:cubicBezTo>
                <a:close/>
                <a:moveTo>
                  <a:pt x="731" y="12"/>
                </a:moveTo>
                <a:cubicBezTo>
                  <a:pt x="731" y="12"/>
                  <a:pt x="731" y="12"/>
                  <a:pt x="731" y="11"/>
                </a:cubicBezTo>
                <a:cubicBezTo>
                  <a:pt x="731" y="11"/>
                  <a:pt x="730" y="11"/>
                  <a:pt x="730" y="11"/>
                </a:cubicBezTo>
                <a:cubicBezTo>
                  <a:pt x="730" y="11"/>
                  <a:pt x="730" y="11"/>
                  <a:pt x="730" y="11"/>
                </a:cubicBezTo>
                <a:cubicBezTo>
                  <a:pt x="730" y="12"/>
                  <a:pt x="730" y="12"/>
                  <a:pt x="730" y="12"/>
                </a:cubicBezTo>
                <a:cubicBezTo>
                  <a:pt x="731" y="12"/>
                  <a:pt x="731" y="12"/>
                  <a:pt x="731" y="12"/>
                </a:cubicBezTo>
                <a:close/>
                <a:moveTo>
                  <a:pt x="732" y="11"/>
                </a:moveTo>
                <a:cubicBezTo>
                  <a:pt x="733" y="12"/>
                  <a:pt x="733" y="12"/>
                  <a:pt x="734" y="12"/>
                </a:cubicBezTo>
                <a:cubicBezTo>
                  <a:pt x="734" y="12"/>
                  <a:pt x="734" y="12"/>
                  <a:pt x="735" y="12"/>
                </a:cubicBezTo>
                <a:cubicBezTo>
                  <a:pt x="735" y="12"/>
                  <a:pt x="735" y="12"/>
                  <a:pt x="735" y="11"/>
                </a:cubicBezTo>
                <a:cubicBezTo>
                  <a:pt x="735" y="11"/>
                  <a:pt x="735" y="11"/>
                  <a:pt x="735" y="11"/>
                </a:cubicBezTo>
                <a:cubicBezTo>
                  <a:pt x="735" y="11"/>
                  <a:pt x="735" y="10"/>
                  <a:pt x="735" y="10"/>
                </a:cubicBezTo>
                <a:cubicBezTo>
                  <a:pt x="735" y="10"/>
                  <a:pt x="735" y="10"/>
                  <a:pt x="735" y="10"/>
                </a:cubicBezTo>
                <a:cubicBezTo>
                  <a:pt x="735" y="10"/>
                  <a:pt x="735" y="10"/>
                  <a:pt x="734" y="10"/>
                </a:cubicBezTo>
                <a:cubicBezTo>
                  <a:pt x="734" y="10"/>
                  <a:pt x="734" y="9"/>
                  <a:pt x="733" y="9"/>
                </a:cubicBezTo>
                <a:cubicBezTo>
                  <a:pt x="733" y="9"/>
                  <a:pt x="733" y="9"/>
                  <a:pt x="732" y="9"/>
                </a:cubicBezTo>
                <a:cubicBezTo>
                  <a:pt x="732" y="9"/>
                  <a:pt x="732" y="9"/>
                  <a:pt x="732" y="9"/>
                </a:cubicBezTo>
                <a:cubicBezTo>
                  <a:pt x="732" y="10"/>
                  <a:pt x="732" y="10"/>
                  <a:pt x="732" y="10"/>
                </a:cubicBezTo>
                <a:cubicBezTo>
                  <a:pt x="732" y="10"/>
                  <a:pt x="732" y="10"/>
                  <a:pt x="733" y="10"/>
                </a:cubicBezTo>
                <a:cubicBezTo>
                  <a:pt x="732" y="11"/>
                  <a:pt x="732" y="11"/>
                  <a:pt x="732" y="11"/>
                </a:cubicBezTo>
                <a:cubicBezTo>
                  <a:pt x="732" y="11"/>
                  <a:pt x="732" y="11"/>
                  <a:pt x="731" y="10"/>
                </a:cubicBezTo>
                <a:cubicBezTo>
                  <a:pt x="731" y="11"/>
                  <a:pt x="731" y="11"/>
                  <a:pt x="731" y="11"/>
                </a:cubicBezTo>
                <a:cubicBezTo>
                  <a:pt x="731" y="11"/>
                  <a:pt x="731" y="11"/>
                  <a:pt x="731" y="11"/>
                </a:cubicBezTo>
                <a:cubicBezTo>
                  <a:pt x="731" y="11"/>
                  <a:pt x="732" y="11"/>
                  <a:pt x="732" y="11"/>
                </a:cubicBezTo>
                <a:close/>
                <a:moveTo>
                  <a:pt x="750" y="6"/>
                </a:moveTo>
                <a:cubicBezTo>
                  <a:pt x="750" y="6"/>
                  <a:pt x="750" y="6"/>
                  <a:pt x="750" y="6"/>
                </a:cubicBezTo>
                <a:cubicBezTo>
                  <a:pt x="750" y="6"/>
                  <a:pt x="750" y="6"/>
                  <a:pt x="750" y="6"/>
                </a:cubicBezTo>
                <a:cubicBezTo>
                  <a:pt x="750" y="6"/>
                  <a:pt x="750" y="6"/>
                  <a:pt x="749" y="6"/>
                </a:cubicBezTo>
                <a:cubicBezTo>
                  <a:pt x="749" y="6"/>
                  <a:pt x="749" y="6"/>
                  <a:pt x="749" y="6"/>
                </a:cubicBezTo>
                <a:cubicBezTo>
                  <a:pt x="749" y="6"/>
                  <a:pt x="749" y="6"/>
                  <a:pt x="749" y="6"/>
                </a:cubicBezTo>
                <a:cubicBezTo>
                  <a:pt x="749" y="6"/>
                  <a:pt x="750" y="6"/>
                  <a:pt x="750" y="6"/>
                </a:cubicBezTo>
                <a:close/>
                <a:moveTo>
                  <a:pt x="758" y="3"/>
                </a:moveTo>
                <a:cubicBezTo>
                  <a:pt x="758" y="3"/>
                  <a:pt x="758" y="3"/>
                  <a:pt x="758" y="3"/>
                </a:cubicBezTo>
                <a:cubicBezTo>
                  <a:pt x="758" y="3"/>
                  <a:pt x="758" y="2"/>
                  <a:pt x="758" y="2"/>
                </a:cubicBezTo>
                <a:cubicBezTo>
                  <a:pt x="758" y="2"/>
                  <a:pt x="758" y="2"/>
                  <a:pt x="758" y="2"/>
                </a:cubicBezTo>
                <a:cubicBezTo>
                  <a:pt x="757" y="2"/>
                  <a:pt x="757" y="2"/>
                  <a:pt x="757" y="2"/>
                </a:cubicBezTo>
                <a:cubicBezTo>
                  <a:pt x="757" y="2"/>
                  <a:pt x="757" y="2"/>
                  <a:pt x="757" y="2"/>
                </a:cubicBezTo>
                <a:cubicBezTo>
                  <a:pt x="757" y="3"/>
                  <a:pt x="757" y="3"/>
                  <a:pt x="757" y="3"/>
                </a:cubicBezTo>
                <a:cubicBezTo>
                  <a:pt x="757" y="3"/>
                  <a:pt x="757" y="3"/>
                  <a:pt x="758" y="3"/>
                </a:cubicBezTo>
                <a:close/>
                <a:moveTo>
                  <a:pt x="757" y="4"/>
                </a:moveTo>
                <a:cubicBezTo>
                  <a:pt x="758" y="4"/>
                  <a:pt x="758" y="4"/>
                  <a:pt x="758" y="5"/>
                </a:cubicBezTo>
                <a:cubicBezTo>
                  <a:pt x="758" y="5"/>
                  <a:pt x="758" y="4"/>
                  <a:pt x="759" y="4"/>
                </a:cubicBezTo>
                <a:cubicBezTo>
                  <a:pt x="759" y="4"/>
                  <a:pt x="759" y="4"/>
                  <a:pt x="759" y="4"/>
                </a:cubicBezTo>
                <a:cubicBezTo>
                  <a:pt x="759" y="4"/>
                  <a:pt x="759" y="4"/>
                  <a:pt x="759" y="3"/>
                </a:cubicBezTo>
                <a:cubicBezTo>
                  <a:pt x="759" y="3"/>
                  <a:pt x="759" y="3"/>
                  <a:pt x="758" y="3"/>
                </a:cubicBezTo>
                <a:cubicBezTo>
                  <a:pt x="758" y="4"/>
                  <a:pt x="758" y="4"/>
                  <a:pt x="757" y="4"/>
                </a:cubicBezTo>
                <a:cubicBezTo>
                  <a:pt x="757" y="4"/>
                  <a:pt x="757" y="4"/>
                  <a:pt x="757" y="4"/>
                </a:cubicBezTo>
                <a:close/>
                <a:moveTo>
                  <a:pt x="753" y="6"/>
                </a:moveTo>
                <a:cubicBezTo>
                  <a:pt x="753" y="6"/>
                  <a:pt x="753" y="6"/>
                  <a:pt x="753" y="6"/>
                </a:cubicBezTo>
                <a:cubicBezTo>
                  <a:pt x="754" y="6"/>
                  <a:pt x="754" y="6"/>
                  <a:pt x="754" y="6"/>
                </a:cubicBezTo>
                <a:cubicBezTo>
                  <a:pt x="755" y="6"/>
                  <a:pt x="755" y="6"/>
                  <a:pt x="755" y="5"/>
                </a:cubicBezTo>
                <a:cubicBezTo>
                  <a:pt x="755" y="5"/>
                  <a:pt x="755" y="5"/>
                  <a:pt x="756" y="5"/>
                </a:cubicBezTo>
                <a:cubicBezTo>
                  <a:pt x="755" y="5"/>
                  <a:pt x="754" y="5"/>
                  <a:pt x="754" y="4"/>
                </a:cubicBezTo>
                <a:cubicBezTo>
                  <a:pt x="754" y="4"/>
                  <a:pt x="754" y="4"/>
                  <a:pt x="753" y="4"/>
                </a:cubicBezTo>
                <a:cubicBezTo>
                  <a:pt x="753" y="4"/>
                  <a:pt x="753" y="4"/>
                  <a:pt x="753" y="3"/>
                </a:cubicBezTo>
                <a:cubicBezTo>
                  <a:pt x="753" y="4"/>
                  <a:pt x="753" y="4"/>
                  <a:pt x="752" y="4"/>
                </a:cubicBezTo>
                <a:cubicBezTo>
                  <a:pt x="752" y="4"/>
                  <a:pt x="752" y="4"/>
                  <a:pt x="752" y="4"/>
                </a:cubicBezTo>
                <a:cubicBezTo>
                  <a:pt x="752" y="4"/>
                  <a:pt x="752" y="4"/>
                  <a:pt x="752" y="5"/>
                </a:cubicBezTo>
                <a:cubicBezTo>
                  <a:pt x="752" y="5"/>
                  <a:pt x="752" y="5"/>
                  <a:pt x="752" y="5"/>
                </a:cubicBezTo>
                <a:cubicBezTo>
                  <a:pt x="753" y="5"/>
                  <a:pt x="753" y="5"/>
                  <a:pt x="753" y="6"/>
                </a:cubicBezTo>
                <a:close/>
                <a:moveTo>
                  <a:pt x="825" y="25"/>
                </a:moveTo>
                <a:cubicBezTo>
                  <a:pt x="825" y="25"/>
                  <a:pt x="825" y="26"/>
                  <a:pt x="825" y="26"/>
                </a:cubicBezTo>
                <a:cubicBezTo>
                  <a:pt x="826" y="25"/>
                  <a:pt x="826" y="25"/>
                  <a:pt x="826" y="25"/>
                </a:cubicBezTo>
                <a:cubicBezTo>
                  <a:pt x="826" y="25"/>
                  <a:pt x="826" y="25"/>
                  <a:pt x="826" y="24"/>
                </a:cubicBezTo>
                <a:cubicBezTo>
                  <a:pt x="826" y="24"/>
                  <a:pt x="826" y="24"/>
                  <a:pt x="827" y="24"/>
                </a:cubicBezTo>
                <a:cubicBezTo>
                  <a:pt x="827" y="24"/>
                  <a:pt x="827" y="24"/>
                  <a:pt x="827" y="23"/>
                </a:cubicBezTo>
                <a:cubicBezTo>
                  <a:pt x="826" y="23"/>
                  <a:pt x="826" y="23"/>
                  <a:pt x="826" y="23"/>
                </a:cubicBezTo>
                <a:cubicBezTo>
                  <a:pt x="826" y="23"/>
                  <a:pt x="825" y="23"/>
                  <a:pt x="825" y="23"/>
                </a:cubicBezTo>
                <a:cubicBezTo>
                  <a:pt x="825" y="23"/>
                  <a:pt x="825" y="24"/>
                  <a:pt x="824" y="24"/>
                </a:cubicBezTo>
                <a:cubicBezTo>
                  <a:pt x="825" y="24"/>
                  <a:pt x="825" y="24"/>
                  <a:pt x="825" y="25"/>
                </a:cubicBezTo>
                <a:cubicBezTo>
                  <a:pt x="825" y="25"/>
                  <a:pt x="825" y="25"/>
                  <a:pt x="825" y="25"/>
                </a:cubicBezTo>
                <a:close/>
                <a:moveTo>
                  <a:pt x="720" y="19"/>
                </a:moveTo>
                <a:cubicBezTo>
                  <a:pt x="720" y="19"/>
                  <a:pt x="720" y="19"/>
                  <a:pt x="721" y="19"/>
                </a:cubicBezTo>
                <a:cubicBezTo>
                  <a:pt x="721" y="19"/>
                  <a:pt x="721" y="19"/>
                  <a:pt x="721" y="19"/>
                </a:cubicBezTo>
                <a:cubicBezTo>
                  <a:pt x="721" y="19"/>
                  <a:pt x="722" y="19"/>
                  <a:pt x="722" y="19"/>
                </a:cubicBezTo>
                <a:cubicBezTo>
                  <a:pt x="722" y="19"/>
                  <a:pt x="722" y="19"/>
                  <a:pt x="722" y="18"/>
                </a:cubicBezTo>
                <a:cubicBezTo>
                  <a:pt x="722" y="18"/>
                  <a:pt x="722" y="18"/>
                  <a:pt x="721" y="18"/>
                </a:cubicBezTo>
                <a:cubicBezTo>
                  <a:pt x="721" y="18"/>
                  <a:pt x="721" y="17"/>
                  <a:pt x="721" y="17"/>
                </a:cubicBezTo>
                <a:cubicBezTo>
                  <a:pt x="720" y="17"/>
                  <a:pt x="720" y="17"/>
                  <a:pt x="720" y="17"/>
                </a:cubicBezTo>
                <a:cubicBezTo>
                  <a:pt x="720" y="17"/>
                  <a:pt x="719" y="17"/>
                  <a:pt x="719" y="17"/>
                </a:cubicBezTo>
                <a:cubicBezTo>
                  <a:pt x="719" y="17"/>
                  <a:pt x="719" y="17"/>
                  <a:pt x="719" y="17"/>
                </a:cubicBezTo>
                <a:cubicBezTo>
                  <a:pt x="719" y="17"/>
                  <a:pt x="720" y="18"/>
                  <a:pt x="720" y="18"/>
                </a:cubicBezTo>
                <a:cubicBezTo>
                  <a:pt x="720" y="18"/>
                  <a:pt x="720" y="18"/>
                  <a:pt x="720" y="19"/>
                </a:cubicBezTo>
                <a:close/>
                <a:moveTo>
                  <a:pt x="705" y="22"/>
                </a:moveTo>
                <a:cubicBezTo>
                  <a:pt x="705" y="22"/>
                  <a:pt x="705" y="21"/>
                  <a:pt x="705" y="21"/>
                </a:cubicBezTo>
                <a:cubicBezTo>
                  <a:pt x="705" y="21"/>
                  <a:pt x="705" y="21"/>
                  <a:pt x="705" y="21"/>
                </a:cubicBezTo>
                <a:cubicBezTo>
                  <a:pt x="705" y="21"/>
                  <a:pt x="705" y="21"/>
                  <a:pt x="705" y="21"/>
                </a:cubicBezTo>
                <a:cubicBezTo>
                  <a:pt x="705" y="20"/>
                  <a:pt x="705" y="20"/>
                  <a:pt x="705" y="20"/>
                </a:cubicBezTo>
                <a:cubicBezTo>
                  <a:pt x="704" y="20"/>
                  <a:pt x="704" y="20"/>
                  <a:pt x="704" y="21"/>
                </a:cubicBezTo>
                <a:cubicBezTo>
                  <a:pt x="704" y="21"/>
                  <a:pt x="704" y="21"/>
                  <a:pt x="704" y="21"/>
                </a:cubicBezTo>
                <a:cubicBezTo>
                  <a:pt x="704" y="21"/>
                  <a:pt x="705" y="21"/>
                  <a:pt x="705" y="22"/>
                </a:cubicBezTo>
                <a:close/>
                <a:moveTo>
                  <a:pt x="827" y="27"/>
                </a:moveTo>
                <a:cubicBezTo>
                  <a:pt x="827" y="27"/>
                  <a:pt x="828" y="27"/>
                  <a:pt x="828" y="27"/>
                </a:cubicBezTo>
                <a:cubicBezTo>
                  <a:pt x="828" y="27"/>
                  <a:pt x="828" y="27"/>
                  <a:pt x="828" y="27"/>
                </a:cubicBezTo>
                <a:cubicBezTo>
                  <a:pt x="828" y="27"/>
                  <a:pt x="828" y="26"/>
                  <a:pt x="828" y="26"/>
                </a:cubicBezTo>
                <a:cubicBezTo>
                  <a:pt x="828" y="26"/>
                  <a:pt x="828" y="26"/>
                  <a:pt x="827" y="25"/>
                </a:cubicBezTo>
                <a:cubicBezTo>
                  <a:pt x="827" y="26"/>
                  <a:pt x="827" y="26"/>
                  <a:pt x="827" y="26"/>
                </a:cubicBezTo>
                <a:cubicBezTo>
                  <a:pt x="827" y="26"/>
                  <a:pt x="826" y="26"/>
                  <a:pt x="826" y="27"/>
                </a:cubicBezTo>
                <a:cubicBezTo>
                  <a:pt x="827" y="27"/>
                  <a:pt x="827" y="27"/>
                  <a:pt x="827" y="27"/>
                </a:cubicBezTo>
                <a:close/>
                <a:moveTo>
                  <a:pt x="650" y="169"/>
                </a:moveTo>
                <a:cubicBezTo>
                  <a:pt x="651" y="169"/>
                  <a:pt x="651" y="169"/>
                  <a:pt x="651" y="169"/>
                </a:cubicBezTo>
                <a:cubicBezTo>
                  <a:pt x="651" y="169"/>
                  <a:pt x="650" y="169"/>
                  <a:pt x="650" y="169"/>
                </a:cubicBezTo>
                <a:cubicBezTo>
                  <a:pt x="650" y="169"/>
                  <a:pt x="649" y="169"/>
                  <a:pt x="649" y="169"/>
                </a:cubicBezTo>
                <a:cubicBezTo>
                  <a:pt x="649" y="169"/>
                  <a:pt x="649" y="169"/>
                  <a:pt x="649" y="169"/>
                </a:cubicBezTo>
                <a:cubicBezTo>
                  <a:pt x="649" y="169"/>
                  <a:pt x="649" y="169"/>
                  <a:pt x="649" y="169"/>
                </a:cubicBezTo>
                <a:cubicBezTo>
                  <a:pt x="650" y="169"/>
                  <a:pt x="650" y="169"/>
                  <a:pt x="650" y="169"/>
                </a:cubicBezTo>
                <a:close/>
                <a:moveTo>
                  <a:pt x="649" y="147"/>
                </a:moveTo>
                <a:cubicBezTo>
                  <a:pt x="649" y="148"/>
                  <a:pt x="649" y="148"/>
                  <a:pt x="648" y="148"/>
                </a:cubicBezTo>
                <a:cubicBezTo>
                  <a:pt x="648" y="148"/>
                  <a:pt x="648" y="148"/>
                  <a:pt x="648" y="148"/>
                </a:cubicBezTo>
                <a:cubicBezTo>
                  <a:pt x="648" y="148"/>
                  <a:pt x="649" y="148"/>
                  <a:pt x="649" y="149"/>
                </a:cubicBezTo>
                <a:cubicBezTo>
                  <a:pt x="650" y="149"/>
                  <a:pt x="651" y="149"/>
                  <a:pt x="652" y="149"/>
                </a:cubicBezTo>
                <a:cubicBezTo>
                  <a:pt x="652" y="149"/>
                  <a:pt x="652" y="149"/>
                  <a:pt x="652" y="149"/>
                </a:cubicBezTo>
                <a:cubicBezTo>
                  <a:pt x="652" y="149"/>
                  <a:pt x="653" y="149"/>
                  <a:pt x="653" y="149"/>
                </a:cubicBezTo>
                <a:cubicBezTo>
                  <a:pt x="653" y="149"/>
                  <a:pt x="654" y="148"/>
                  <a:pt x="655" y="148"/>
                </a:cubicBezTo>
                <a:cubicBezTo>
                  <a:pt x="654" y="148"/>
                  <a:pt x="654" y="149"/>
                  <a:pt x="653" y="149"/>
                </a:cubicBezTo>
                <a:cubicBezTo>
                  <a:pt x="653" y="149"/>
                  <a:pt x="653" y="149"/>
                  <a:pt x="652" y="149"/>
                </a:cubicBezTo>
                <a:cubicBezTo>
                  <a:pt x="652" y="149"/>
                  <a:pt x="651" y="149"/>
                  <a:pt x="651" y="149"/>
                </a:cubicBezTo>
                <a:cubicBezTo>
                  <a:pt x="651" y="149"/>
                  <a:pt x="650" y="149"/>
                  <a:pt x="650" y="149"/>
                </a:cubicBezTo>
                <a:cubicBezTo>
                  <a:pt x="650" y="150"/>
                  <a:pt x="650" y="150"/>
                  <a:pt x="650" y="150"/>
                </a:cubicBezTo>
                <a:cubicBezTo>
                  <a:pt x="650" y="150"/>
                  <a:pt x="651" y="150"/>
                  <a:pt x="651" y="150"/>
                </a:cubicBezTo>
                <a:cubicBezTo>
                  <a:pt x="651" y="150"/>
                  <a:pt x="652" y="150"/>
                  <a:pt x="653" y="150"/>
                </a:cubicBezTo>
                <a:cubicBezTo>
                  <a:pt x="653" y="150"/>
                  <a:pt x="653" y="150"/>
                  <a:pt x="653" y="151"/>
                </a:cubicBezTo>
                <a:cubicBezTo>
                  <a:pt x="653" y="151"/>
                  <a:pt x="654" y="151"/>
                  <a:pt x="654" y="151"/>
                </a:cubicBezTo>
                <a:cubicBezTo>
                  <a:pt x="654" y="150"/>
                  <a:pt x="654" y="150"/>
                  <a:pt x="655" y="150"/>
                </a:cubicBezTo>
                <a:cubicBezTo>
                  <a:pt x="656" y="150"/>
                  <a:pt x="657" y="150"/>
                  <a:pt x="658" y="149"/>
                </a:cubicBezTo>
                <a:cubicBezTo>
                  <a:pt x="658" y="149"/>
                  <a:pt x="659" y="149"/>
                  <a:pt x="659" y="149"/>
                </a:cubicBezTo>
                <a:cubicBezTo>
                  <a:pt x="660" y="149"/>
                  <a:pt x="661" y="148"/>
                  <a:pt x="661" y="148"/>
                </a:cubicBezTo>
                <a:cubicBezTo>
                  <a:pt x="661" y="147"/>
                  <a:pt x="661" y="147"/>
                  <a:pt x="661" y="147"/>
                </a:cubicBezTo>
                <a:cubicBezTo>
                  <a:pt x="660" y="146"/>
                  <a:pt x="660" y="146"/>
                  <a:pt x="660" y="146"/>
                </a:cubicBezTo>
                <a:cubicBezTo>
                  <a:pt x="660" y="146"/>
                  <a:pt x="659" y="146"/>
                  <a:pt x="659" y="146"/>
                </a:cubicBezTo>
                <a:cubicBezTo>
                  <a:pt x="658" y="146"/>
                  <a:pt x="658" y="146"/>
                  <a:pt x="658" y="146"/>
                </a:cubicBezTo>
                <a:cubicBezTo>
                  <a:pt x="657" y="145"/>
                  <a:pt x="657" y="145"/>
                  <a:pt x="657" y="144"/>
                </a:cubicBezTo>
                <a:cubicBezTo>
                  <a:pt x="656" y="144"/>
                  <a:pt x="656" y="144"/>
                  <a:pt x="655" y="143"/>
                </a:cubicBezTo>
                <a:cubicBezTo>
                  <a:pt x="655" y="143"/>
                  <a:pt x="654" y="143"/>
                  <a:pt x="653" y="143"/>
                </a:cubicBezTo>
                <a:cubicBezTo>
                  <a:pt x="653" y="143"/>
                  <a:pt x="653" y="143"/>
                  <a:pt x="652" y="143"/>
                </a:cubicBezTo>
                <a:cubicBezTo>
                  <a:pt x="652" y="143"/>
                  <a:pt x="651" y="143"/>
                  <a:pt x="651" y="143"/>
                </a:cubicBezTo>
                <a:cubicBezTo>
                  <a:pt x="650" y="143"/>
                  <a:pt x="650" y="143"/>
                  <a:pt x="649" y="143"/>
                </a:cubicBezTo>
                <a:cubicBezTo>
                  <a:pt x="649" y="143"/>
                  <a:pt x="649" y="143"/>
                  <a:pt x="649" y="143"/>
                </a:cubicBezTo>
                <a:cubicBezTo>
                  <a:pt x="649" y="143"/>
                  <a:pt x="648" y="144"/>
                  <a:pt x="648" y="144"/>
                </a:cubicBezTo>
                <a:cubicBezTo>
                  <a:pt x="648" y="144"/>
                  <a:pt x="648" y="145"/>
                  <a:pt x="648" y="145"/>
                </a:cubicBezTo>
                <a:cubicBezTo>
                  <a:pt x="649" y="145"/>
                  <a:pt x="649" y="145"/>
                  <a:pt x="649" y="145"/>
                </a:cubicBezTo>
                <a:cubicBezTo>
                  <a:pt x="650" y="145"/>
                  <a:pt x="650" y="146"/>
                  <a:pt x="650" y="146"/>
                </a:cubicBezTo>
                <a:cubicBezTo>
                  <a:pt x="650" y="146"/>
                  <a:pt x="649" y="146"/>
                  <a:pt x="649" y="146"/>
                </a:cubicBezTo>
                <a:cubicBezTo>
                  <a:pt x="649" y="146"/>
                  <a:pt x="648" y="146"/>
                  <a:pt x="648" y="146"/>
                </a:cubicBezTo>
                <a:cubicBezTo>
                  <a:pt x="648" y="146"/>
                  <a:pt x="648" y="146"/>
                  <a:pt x="648" y="147"/>
                </a:cubicBezTo>
                <a:cubicBezTo>
                  <a:pt x="648" y="147"/>
                  <a:pt x="648" y="147"/>
                  <a:pt x="648" y="147"/>
                </a:cubicBezTo>
                <a:cubicBezTo>
                  <a:pt x="648" y="147"/>
                  <a:pt x="649" y="147"/>
                  <a:pt x="649" y="147"/>
                </a:cubicBezTo>
                <a:close/>
                <a:moveTo>
                  <a:pt x="649" y="163"/>
                </a:moveTo>
                <a:cubicBezTo>
                  <a:pt x="649" y="163"/>
                  <a:pt x="649" y="163"/>
                  <a:pt x="649" y="163"/>
                </a:cubicBezTo>
                <a:cubicBezTo>
                  <a:pt x="649" y="163"/>
                  <a:pt x="649" y="163"/>
                  <a:pt x="649" y="163"/>
                </a:cubicBezTo>
                <a:cubicBezTo>
                  <a:pt x="650" y="162"/>
                  <a:pt x="650" y="162"/>
                  <a:pt x="650" y="162"/>
                </a:cubicBezTo>
                <a:cubicBezTo>
                  <a:pt x="650" y="162"/>
                  <a:pt x="650" y="162"/>
                  <a:pt x="650" y="162"/>
                </a:cubicBezTo>
                <a:cubicBezTo>
                  <a:pt x="650" y="162"/>
                  <a:pt x="650" y="162"/>
                  <a:pt x="649" y="162"/>
                </a:cubicBezTo>
                <a:cubicBezTo>
                  <a:pt x="649" y="162"/>
                  <a:pt x="649" y="162"/>
                  <a:pt x="649" y="162"/>
                </a:cubicBezTo>
                <a:cubicBezTo>
                  <a:pt x="649" y="162"/>
                  <a:pt x="649" y="162"/>
                  <a:pt x="649" y="163"/>
                </a:cubicBezTo>
                <a:close/>
                <a:moveTo>
                  <a:pt x="650" y="141"/>
                </a:moveTo>
                <a:cubicBezTo>
                  <a:pt x="650" y="141"/>
                  <a:pt x="650" y="141"/>
                  <a:pt x="649" y="141"/>
                </a:cubicBezTo>
                <a:cubicBezTo>
                  <a:pt x="649" y="141"/>
                  <a:pt x="649" y="141"/>
                  <a:pt x="649" y="141"/>
                </a:cubicBezTo>
                <a:cubicBezTo>
                  <a:pt x="649" y="141"/>
                  <a:pt x="649" y="141"/>
                  <a:pt x="648" y="141"/>
                </a:cubicBezTo>
                <a:cubicBezTo>
                  <a:pt x="649" y="141"/>
                  <a:pt x="649" y="142"/>
                  <a:pt x="649" y="142"/>
                </a:cubicBezTo>
                <a:cubicBezTo>
                  <a:pt x="649" y="142"/>
                  <a:pt x="650" y="142"/>
                  <a:pt x="650" y="142"/>
                </a:cubicBezTo>
                <a:cubicBezTo>
                  <a:pt x="650" y="142"/>
                  <a:pt x="650" y="141"/>
                  <a:pt x="650" y="141"/>
                </a:cubicBezTo>
                <a:close/>
                <a:moveTo>
                  <a:pt x="656" y="185"/>
                </a:moveTo>
                <a:cubicBezTo>
                  <a:pt x="656" y="185"/>
                  <a:pt x="656" y="185"/>
                  <a:pt x="656" y="185"/>
                </a:cubicBezTo>
                <a:cubicBezTo>
                  <a:pt x="656" y="185"/>
                  <a:pt x="656" y="185"/>
                  <a:pt x="656" y="185"/>
                </a:cubicBezTo>
                <a:cubicBezTo>
                  <a:pt x="656" y="185"/>
                  <a:pt x="656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6" y="184"/>
                  <a:pt x="656" y="184"/>
                  <a:pt x="656" y="185"/>
                </a:cubicBezTo>
                <a:close/>
                <a:moveTo>
                  <a:pt x="654" y="155"/>
                </a:moveTo>
                <a:cubicBezTo>
                  <a:pt x="654" y="155"/>
                  <a:pt x="654" y="156"/>
                  <a:pt x="653" y="156"/>
                </a:cubicBezTo>
                <a:cubicBezTo>
                  <a:pt x="653" y="156"/>
                  <a:pt x="653" y="156"/>
                  <a:pt x="653" y="156"/>
                </a:cubicBezTo>
                <a:cubicBezTo>
                  <a:pt x="654" y="156"/>
                  <a:pt x="654" y="156"/>
                  <a:pt x="654" y="156"/>
                </a:cubicBezTo>
                <a:cubicBezTo>
                  <a:pt x="654" y="156"/>
                  <a:pt x="655" y="156"/>
                  <a:pt x="655" y="156"/>
                </a:cubicBezTo>
                <a:cubicBezTo>
                  <a:pt x="655" y="156"/>
                  <a:pt x="655" y="155"/>
                  <a:pt x="655" y="155"/>
                </a:cubicBezTo>
                <a:cubicBezTo>
                  <a:pt x="655" y="155"/>
                  <a:pt x="654" y="155"/>
                  <a:pt x="654" y="155"/>
                </a:cubicBezTo>
                <a:close/>
                <a:moveTo>
                  <a:pt x="659" y="155"/>
                </a:moveTo>
                <a:cubicBezTo>
                  <a:pt x="660" y="155"/>
                  <a:pt x="660" y="155"/>
                  <a:pt x="660" y="154"/>
                </a:cubicBezTo>
                <a:cubicBezTo>
                  <a:pt x="660" y="154"/>
                  <a:pt x="659" y="154"/>
                  <a:pt x="659" y="154"/>
                </a:cubicBezTo>
                <a:cubicBezTo>
                  <a:pt x="659" y="154"/>
                  <a:pt x="658" y="155"/>
                  <a:pt x="658" y="155"/>
                </a:cubicBezTo>
                <a:cubicBezTo>
                  <a:pt x="658" y="155"/>
                  <a:pt x="658" y="155"/>
                  <a:pt x="658" y="155"/>
                </a:cubicBezTo>
                <a:cubicBezTo>
                  <a:pt x="659" y="155"/>
                  <a:pt x="659" y="155"/>
                  <a:pt x="659" y="155"/>
                </a:cubicBezTo>
                <a:close/>
                <a:moveTo>
                  <a:pt x="648" y="169"/>
                </a:moveTo>
                <a:cubicBezTo>
                  <a:pt x="648" y="169"/>
                  <a:pt x="648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8" y="169"/>
                  <a:pt x="648" y="169"/>
                </a:cubicBezTo>
                <a:close/>
                <a:moveTo>
                  <a:pt x="699" y="195"/>
                </a:moveTo>
                <a:cubicBezTo>
                  <a:pt x="699" y="194"/>
                  <a:pt x="699" y="194"/>
                  <a:pt x="699" y="194"/>
                </a:cubicBezTo>
                <a:cubicBezTo>
                  <a:pt x="698" y="194"/>
                  <a:pt x="698" y="194"/>
                  <a:pt x="698" y="194"/>
                </a:cubicBezTo>
                <a:cubicBezTo>
                  <a:pt x="698" y="194"/>
                  <a:pt x="698" y="195"/>
                  <a:pt x="698" y="195"/>
                </a:cubicBezTo>
                <a:cubicBezTo>
                  <a:pt x="698" y="195"/>
                  <a:pt x="698" y="195"/>
                  <a:pt x="699" y="195"/>
                </a:cubicBezTo>
                <a:close/>
                <a:moveTo>
                  <a:pt x="656" y="185"/>
                </a:moveTo>
                <a:cubicBezTo>
                  <a:pt x="657" y="185"/>
                  <a:pt x="657" y="185"/>
                  <a:pt x="657" y="185"/>
                </a:cubicBezTo>
                <a:cubicBezTo>
                  <a:pt x="657" y="184"/>
                  <a:pt x="658" y="184"/>
                  <a:pt x="658" y="184"/>
                </a:cubicBezTo>
                <a:cubicBezTo>
                  <a:pt x="658" y="184"/>
                  <a:pt x="658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7" y="185"/>
                  <a:pt x="656" y="185"/>
                  <a:pt x="656" y="185"/>
                </a:cubicBezTo>
                <a:cubicBezTo>
                  <a:pt x="656" y="185"/>
                  <a:pt x="656" y="185"/>
                  <a:pt x="656" y="185"/>
                </a:cubicBezTo>
                <a:close/>
                <a:moveTo>
                  <a:pt x="650" y="170"/>
                </a:moveTo>
                <a:cubicBezTo>
                  <a:pt x="650" y="170"/>
                  <a:pt x="650" y="170"/>
                  <a:pt x="650" y="169"/>
                </a:cubicBezTo>
                <a:cubicBezTo>
                  <a:pt x="650" y="169"/>
                  <a:pt x="650" y="169"/>
                  <a:pt x="649" y="169"/>
                </a:cubicBezTo>
                <a:cubicBezTo>
                  <a:pt x="649" y="169"/>
                  <a:pt x="649" y="170"/>
                  <a:pt x="649" y="170"/>
                </a:cubicBezTo>
                <a:cubicBezTo>
                  <a:pt x="649" y="170"/>
                  <a:pt x="649" y="170"/>
                  <a:pt x="650" y="170"/>
                </a:cubicBezTo>
                <a:close/>
                <a:moveTo>
                  <a:pt x="651" y="123"/>
                </a:moveTo>
                <a:cubicBezTo>
                  <a:pt x="651" y="123"/>
                  <a:pt x="651" y="123"/>
                  <a:pt x="651" y="123"/>
                </a:cubicBezTo>
                <a:cubicBezTo>
                  <a:pt x="650" y="123"/>
                  <a:pt x="650" y="123"/>
                  <a:pt x="650" y="123"/>
                </a:cubicBezTo>
                <a:cubicBezTo>
                  <a:pt x="650" y="123"/>
                  <a:pt x="650" y="124"/>
                  <a:pt x="650" y="124"/>
                </a:cubicBezTo>
                <a:cubicBezTo>
                  <a:pt x="650" y="124"/>
                  <a:pt x="650" y="124"/>
                  <a:pt x="650" y="124"/>
                </a:cubicBezTo>
                <a:cubicBezTo>
                  <a:pt x="650" y="124"/>
                  <a:pt x="651" y="124"/>
                  <a:pt x="651" y="124"/>
                </a:cubicBezTo>
                <a:cubicBezTo>
                  <a:pt x="651" y="124"/>
                  <a:pt x="651" y="124"/>
                  <a:pt x="651" y="124"/>
                </a:cubicBezTo>
                <a:cubicBezTo>
                  <a:pt x="651" y="123"/>
                  <a:pt x="652" y="123"/>
                  <a:pt x="653" y="123"/>
                </a:cubicBezTo>
                <a:cubicBezTo>
                  <a:pt x="653" y="122"/>
                  <a:pt x="653" y="122"/>
                  <a:pt x="654" y="122"/>
                </a:cubicBezTo>
                <a:cubicBezTo>
                  <a:pt x="654" y="122"/>
                  <a:pt x="654" y="122"/>
                  <a:pt x="654" y="122"/>
                </a:cubicBezTo>
                <a:cubicBezTo>
                  <a:pt x="653" y="122"/>
                  <a:pt x="653" y="122"/>
                  <a:pt x="653" y="122"/>
                </a:cubicBezTo>
                <a:cubicBezTo>
                  <a:pt x="652" y="122"/>
                  <a:pt x="652" y="122"/>
                  <a:pt x="652" y="122"/>
                </a:cubicBezTo>
                <a:cubicBezTo>
                  <a:pt x="651" y="122"/>
                  <a:pt x="651" y="122"/>
                  <a:pt x="651" y="123"/>
                </a:cubicBezTo>
                <a:close/>
                <a:moveTo>
                  <a:pt x="660" y="158"/>
                </a:moveTo>
                <a:cubicBezTo>
                  <a:pt x="660" y="158"/>
                  <a:pt x="660" y="158"/>
                  <a:pt x="660" y="158"/>
                </a:cubicBezTo>
                <a:cubicBezTo>
                  <a:pt x="659" y="158"/>
                  <a:pt x="659" y="158"/>
                  <a:pt x="658" y="158"/>
                </a:cubicBezTo>
                <a:cubicBezTo>
                  <a:pt x="658" y="158"/>
                  <a:pt x="658" y="158"/>
                  <a:pt x="658" y="158"/>
                </a:cubicBezTo>
                <a:cubicBezTo>
                  <a:pt x="658" y="158"/>
                  <a:pt x="658" y="158"/>
                  <a:pt x="658" y="158"/>
                </a:cubicBezTo>
                <a:cubicBezTo>
                  <a:pt x="658" y="158"/>
                  <a:pt x="658" y="158"/>
                  <a:pt x="659" y="159"/>
                </a:cubicBezTo>
                <a:cubicBezTo>
                  <a:pt x="659" y="158"/>
                  <a:pt x="660" y="158"/>
                  <a:pt x="660" y="158"/>
                </a:cubicBezTo>
                <a:close/>
                <a:moveTo>
                  <a:pt x="662" y="137"/>
                </a:moveTo>
                <a:cubicBezTo>
                  <a:pt x="662" y="137"/>
                  <a:pt x="662" y="138"/>
                  <a:pt x="662" y="138"/>
                </a:cubicBezTo>
                <a:cubicBezTo>
                  <a:pt x="662" y="138"/>
                  <a:pt x="663" y="138"/>
                  <a:pt x="663" y="138"/>
                </a:cubicBezTo>
                <a:cubicBezTo>
                  <a:pt x="663" y="138"/>
                  <a:pt x="664" y="138"/>
                  <a:pt x="664" y="138"/>
                </a:cubicBezTo>
                <a:cubicBezTo>
                  <a:pt x="664" y="138"/>
                  <a:pt x="664" y="137"/>
                  <a:pt x="663" y="137"/>
                </a:cubicBezTo>
                <a:cubicBezTo>
                  <a:pt x="663" y="137"/>
                  <a:pt x="662" y="137"/>
                  <a:pt x="662" y="137"/>
                </a:cubicBezTo>
                <a:close/>
                <a:moveTo>
                  <a:pt x="651" y="107"/>
                </a:moveTo>
                <a:cubicBezTo>
                  <a:pt x="651" y="107"/>
                  <a:pt x="651" y="107"/>
                  <a:pt x="652" y="107"/>
                </a:cubicBezTo>
                <a:cubicBezTo>
                  <a:pt x="652" y="107"/>
                  <a:pt x="652" y="107"/>
                  <a:pt x="652" y="106"/>
                </a:cubicBezTo>
                <a:cubicBezTo>
                  <a:pt x="651" y="106"/>
                  <a:pt x="651" y="106"/>
                  <a:pt x="651" y="106"/>
                </a:cubicBezTo>
                <a:cubicBezTo>
                  <a:pt x="650" y="106"/>
                  <a:pt x="650" y="106"/>
                  <a:pt x="649" y="106"/>
                </a:cubicBezTo>
                <a:cubicBezTo>
                  <a:pt x="649" y="106"/>
                  <a:pt x="649" y="106"/>
                  <a:pt x="649" y="106"/>
                </a:cubicBezTo>
                <a:cubicBezTo>
                  <a:pt x="649" y="106"/>
                  <a:pt x="648" y="106"/>
                  <a:pt x="648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7" y="107"/>
                  <a:pt x="647" y="107"/>
                  <a:pt x="647" y="107"/>
                </a:cubicBezTo>
                <a:cubicBezTo>
                  <a:pt x="647" y="107"/>
                  <a:pt x="647" y="107"/>
                  <a:pt x="648" y="107"/>
                </a:cubicBezTo>
                <a:cubicBezTo>
                  <a:pt x="648" y="107"/>
                  <a:pt x="648" y="107"/>
                  <a:pt x="648" y="107"/>
                </a:cubicBezTo>
                <a:cubicBezTo>
                  <a:pt x="649" y="107"/>
                  <a:pt x="650" y="107"/>
                  <a:pt x="650" y="107"/>
                </a:cubicBezTo>
                <a:cubicBezTo>
                  <a:pt x="651" y="107"/>
                  <a:pt x="651" y="107"/>
                  <a:pt x="651" y="107"/>
                </a:cubicBezTo>
                <a:close/>
                <a:moveTo>
                  <a:pt x="649" y="108"/>
                </a:moveTo>
                <a:cubicBezTo>
                  <a:pt x="649" y="108"/>
                  <a:pt x="649" y="108"/>
                  <a:pt x="649" y="108"/>
                </a:cubicBezTo>
                <a:cubicBezTo>
                  <a:pt x="649" y="108"/>
                  <a:pt x="649" y="108"/>
                  <a:pt x="649" y="107"/>
                </a:cubicBezTo>
                <a:cubicBezTo>
                  <a:pt x="649" y="108"/>
                  <a:pt x="649" y="108"/>
                  <a:pt x="649" y="108"/>
                </a:cubicBezTo>
                <a:cubicBezTo>
                  <a:pt x="649" y="108"/>
                  <a:pt x="649" y="108"/>
                  <a:pt x="649" y="108"/>
                </a:cubicBezTo>
                <a:close/>
                <a:moveTo>
                  <a:pt x="599" y="80"/>
                </a:moveTo>
                <a:cubicBezTo>
                  <a:pt x="598" y="80"/>
                  <a:pt x="597" y="80"/>
                  <a:pt x="597" y="80"/>
                </a:cubicBezTo>
                <a:cubicBezTo>
                  <a:pt x="596" y="80"/>
                  <a:pt x="596" y="80"/>
                  <a:pt x="595" y="80"/>
                </a:cubicBezTo>
                <a:cubicBezTo>
                  <a:pt x="595" y="80"/>
                  <a:pt x="595" y="81"/>
                  <a:pt x="595" y="81"/>
                </a:cubicBezTo>
                <a:cubicBezTo>
                  <a:pt x="595" y="81"/>
                  <a:pt x="596" y="81"/>
                  <a:pt x="596" y="81"/>
                </a:cubicBezTo>
                <a:cubicBezTo>
                  <a:pt x="597" y="81"/>
                  <a:pt x="597" y="81"/>
                  <a:pt x="598" y="81"/>
                </a:cubicBezTo>
                <a:cubicBezTo>
                  <a:pt x="598" y="81"/>
                  <a:pt x="598" y="81"/>
                  <a:pt x="599" y="81"/>
                </a:cubicBezTo>
                <a:cubicBezTo>
                  <a:pt x="599" y="81"/>
                  <a:pt x="600" y="81"/>
                  <a:pt x="600" y="81"/>
                </a:cubicBezTo>
                <a:cubicBezTo>
                  <a:pt x="600" y="80"/>
                  <a:pt x="599" y="80"/>
                  <a:pt x="599" y="80"/>
                </a:cubicBezTo>
                <a:close/>
                <a:moveTo>
                  <a:pt x="665" y="147"/>
                </a:moveTo>
                <a:cubicBezTo>
                  <a:pt x="665" y="147"/>
                  <a:pt x="665" y="147"/>
                  <a:pt x="665" y="147"/>
                </a:cubicBezTo>
                <a:cubicBezTo>
                  <a:pt x="665" y="146"/>
                  <a:pt x="665" y="146"/>
                  <a:pt x="665" y="146"/>
                </a:cubicBezTo>
                <a:cubicBezTo>
                  <a:pt x="666" y="145"/>
                  <a:pt x="666" y="145"/>
                  <a:pt x="666" y="145"/>
                </a:cubicBezTo>
                <a:cubicBezTo>
                  <a:pt x="666" y="145"/>
                  <a:pt x="666" y="145"/>
                  <a:pt x="666" y="145"/>
                </a:cubicBezTo>
                <a:cubicBezTo>
                  <a:pt x="666" y="145"/>
                  <a:pt x="666" y="145"/>
                  <a:pt x="665" y="145"/>
                </a:cubicBezTo>
                <a:cubicBezTo>
                  <a:pt x="665" y="145"/>
                  <a:pt x="665" y="145"/>
                  <a:pt x="664" y="145"/>
                </a:cubicBezTo>
                <a:cubicBezTo>
                  <a:pt x="664" y="145"/>
                  <a:pt x="664" y="145"/>
                  <a:pt x="663" y="146"/>
                </a:cubicBezTo>
                <a:cubicBezTo>
                  <a:pt x="663" y="146"/>
                  <a:pt x="663" y="146"/>
                  <a:pt x="664" y="146"/>
                </a:cubicBezTo>
                <a:cubicBezTo>
                  <a:pt x="664" y="146"/>
                  <a:pt x="664" y="146"/>
                  <a:pt x="664" y="146"/>
                </a:cubicBezTo>
                <a:cubicBezTo>
                  <a:pt x="664" y="146"/>
                  <a:pt x="664" y="146"/>
                  <a:pt x="664" y="146"/>
                </a:cubicBezTo>
                <a:cubicBezTo>
                  <a:pt x="664" y="146"/>
                  <a:pt x="664" y="147"/>
                  <a:pt x="664" y="147"/>
                </a:cubicBezTo>
                <a:cubicBezTo>
                  <a:pt x="664" y="147"/>
                  <a:pt x="664" y="147"/>
                  <a:pt x="665" y="147"/>
                </a:cubicBezTo>
                <a:close/>
                <a:moveTo>
                  <a:pt x="655" y="135"/>
                </a:moveTo>
                <a:cubicBezTo>
                  <a:pt x="655" y="135"/>
                  <a:pt x="655" y="135"/>
                  <a:pt x="655" y="136"/>
                </a:cubicBezTo>
                <a:cubicBezTo>
                  <a:pt x="655" y="136"/>
                  <a:pt x="655" y="136"/>
                  <a:pt x="655" y="136"/>
                </a:cubicBezTo>
                <a:cubicBezTo>
                  <a:pt x="656" y="136"/>
                  <a:pt x="656" y="136"/>
                  <a:pt x="656" y="136"/>
                </a:cubicBezTo>
                <a:cubicBezTo>
                  <a:pt x="656" y="136"/>
                  <a:pt x="657" y="136"/>
                  <a:pt x="657" y="136"/>
                </a:cubicBezTo>
                <a:cubicBezTo>
                  <a:pt x="657" y="136"/>
                  <a:pt x="657" y="135"/>
                  <a:pt x="657" y="135"/>
                </a:cubicBezTo>
                <a:cubicBezTo>
                  <a:pt x="657" y="135"/>
                  <a:pt x="657" y="135"/>
                  <a:pt x="657" y="134"/>
                </a:cubicBezTo>
                <a:cubicBezTo>
                  <a:pt x="656" y="135"/>
                  <a:pt x="656" y="135"/>
                  <a:pt x="655" y="135"/>
                </a:cubicBezTo>
                <a:close/>
                <a:moveTo>
                  <a:pt x="659" y="136"/>
                </a:moveTo>
                <a:cubicBezTo>
                  <a:pt x="659" y="136"/>
                  <a:pt x="659" y="136"/>
                  <a:pt x="659" y="136"/>
                </a:cubicBezTo>
                <a:cubicBezTo>
                  <a:pt x="660" y="136"/>
                  <a:pt x="660" y="136"/>
                  <a:pt x="660" y="136"/>
                </a:cubicBezTo>
                <a:cubicBezTo>
                  <a:pt x="661" y="135"/>
                  <a:pt x="661" y="135"/>
                  <a:pt x="661" y="135"/>
                </a:cubicBezTo>
                <a:cubicBezTo>
                  <a:pt x="661" y="135"/>
                  <a:pt x="661" y="134"/>
                  <a:pt x="661" y="134"/>
                </a:cubicBezTo>
                <a:cubicBezTo>
                  <a:pt x="661" y="134"/>
                  <a:pt x="660" y="134"/>
                  <a:pt x="660" y="134"/>
                </a:cubicBezTo>
                <a:cubicBezTo>
                  <a:pt x="660" y="134"/>
                  <a:pt x="659" y="134"/>
                  <a:pt x="659" y="134"/>
                </a:cubicBezTo>
                <a:cubicBezTo>
                  <a:pt x="659" y="135"/>
                  <a:pt x="659" y="135"/>
                  <a:pt x="659" y="136"/>
                </a:cubicBezTo>
                <a:close/>
                <a:moveTo>
                  <a:pt x="661" y="131"/>
                </a:moveTo>
                <a:cubicBezTo>
                  <a:pt x="660" y="131"/>
                  <a:pt x="660" y="131"/>
                  <a:pt x="660" y="132"/>
                </a:cubicBezTo>
                <a:cubicBezTo>
                  <a:pt x="659" y="131"/>
                  <a:pt x="659" y="131"/>
                  <a:pt x="659" y="131"/>
                </a:cubicBezTo>
                <a:cubicBezTo>
                  <a:pt x="659" y="131"/>
                  <a:pt x="658" y="132"/>
                  <a:pt x="658" y="132"/>
                </a:cubicBezTo>
                <a:cubicBezTo>
                  <a:pt x="658" y="132"/>
                  <a:pt x="658" y="132"/>
                  <a:pt x="658" y="132"/>
                </a:cubicBezTo>
                <a:cubicBezTo>
                  <a:pt x="658" y="132"/>
                  <a:pt x="658" y="133"/>
                  <a:pt x="658" y="133"/>
                </a:cubicBezTo>
                <a:cubicBezTo>
                  <a:pt x="659" y="133"/>
                  <a:pt x="659" y="133"/>
                  <a:pt x="659" y="133"/>
                </a:cubicBezTo>
                <a:cubicBezTo>
                  <a:pt x="659" y="132"/>
                  <a:pt x="660" y="132"/>
                  <a:pt x="660" y="132"/>
                </a:cubicBezTo>
                <a:cubicBezTo>
                  <a:pt x="660" y="132"/>
                  <a:pt x="660" y="132"/>
                  <a:pt x="661" y="132"/>
                </a:cubicBezTo>
                <a:cubicBezTo>
                  <a:pt x="661" y="132"/>
                  <a:pt x="661" y="132"/>
                  <a:pt x="661" y="131"/>
                </a:cubicBezTo>
                <a:close/>
                <a:moveTo>
                  <a:pt x="657" y="155"/>
                </a:moveTo>
                <a:cubicBezTo>
                  <a:pt x="658" y="154"/>
                  <a:pt x="658" y="154"/>
                  <a:pt x="658" y="154"/>
                </a:cubicBezTo>
                <a:cubicBezTo>
                  <a:pt x="658" y="154"/>
                  <a:pt x="658" y="154"/>
                  <a:pt x="657" y="154"/>
                </a:cubicBezTo>
                <a:cubicBezTo>
                  <a:pt x="657" y="154"/>
                  <a:pt x="657" y="154"/>
                  <a:pt x="656" y="154"/>
                </a:cubicBezTo>
                <a:cubicBezTo>
                  <a:pt x="656" y="154"/>
                  <a:pt x="656" y="154"/>
                  <a:pt x="655" y="154"/>
                </a:cubicBezTo>
                <a:cubicBezTo>
                  <a:pt x="655" y="154"/>
                  <a:pt x="655" y="154"/>
                  <a:pt x="655" y="155"/>
                </a:cubicBezTo>
                <a:cubicBezTo>
                  <a:pt x="656" y="155"/>
                  <a:pt x="656" y="155"/>
                  <a:pt x="657" y="155"/>
                </a:cubicBezTo>
                <a:cubicBezTo>
                  <a:pt x="657" y="155"/>
                  <a:pt x="657" y="155"/>
                  <a:pt x="657" y="155"/>
                </a:cubicBezTo>
                <a:close/>
                <a:moveTo>
                  <a:pt x="723" y="171"/>
                </a:moveTo>
                <a:cubicBezTo>
                  <a:pt x="723" y="171"/>
                  <a:pt x="723" y="171"/>
                  <a:pt x="723" y="171"/>
                </a:cubicBezTo>
                <a:cubicBezTo>
                  <a:pt x="724" y="171"/>
                  <a:pt x="724" y="171"/>
                  <a:pt x="724" y="171"/>
                </a:cubicBezTo>
                <a:cubicBezTo>
                  <a:pt x="724" y="171"/>
                  <a:pt x="724" y="171"/>
                  <a:pt x="724" y="170"/>
                </a:cubicBezTo>
                <a:cubicBezTo>
                  <a:pt x="724" y="170"/>
                  <a:pt x="724" y="170"/>
                  <a:pt x="724" y="170"/>
                </a:cubicBezTo>
                <a:cubicBezTo>
                  <a:pt x="723" y="170"/>
                  <a:pt x="723" y="170"/>
                  <a:pt x="723" y="170"/>
                </a:cubicBezTo>
                <a:cubicBezTo>
                  <a:pt x="723" y="169"/>
                  <a:pt x="723" y="169"/>
                  <a:pt x="723" y="169"/>
                </a:cubicBezTo>
                <a:cubicBezTo>
                  <a:pt x="723" y="169"/>
                  <a:pt x="722" y="169"/>
                  <a:pt x="722" y="169"/>
                </a:cubicBezTo>
                <a:cubicBezTo>
                  <a:pt x="722" y="169"/>
                  <a:pt x="722" y="170"/>
                  <a:pt x="721" y="170"/>
                </a:cubicBezTo>
                <a:cubicBezTo>
                  <a:pt x="721" y="170"/>
                  <a:pt x="721" y="170"/>
                  <a:pt x="721" y="170"/>
                </a:cubicBezTo>
                <a:cubicBezTo>
                  <a:pt x="721" y="170"/>
                  <a:pt x="721" y="171"/>
                  <a:pt x="721" y="171"/>
                </a:cubicBezTo>
                <a:cubicBezTo>
                  <a:pt x="721" y="171"/>
                  <a:pt x="722" y="171"/>
                  <a:pt x="722" y="171"/>
                </a:cubicBezTo>
                <a:cubicBezTo>
                  <a:pt x="722" y="171"/>
                  <a:pt x="722" y="171"/>
                  <a:pt x="722" y="171"/>
                </a:cubicBezTo>
                <a:cubicBezTo>
                  <a:pt x="722" y="171"/>
                  <a:pt x="723" y="171"/>
                  <a:pt x="723" y="171"/>
                </a:cubicBezTo>
                <a:close/>
                <a:moveTo>
                  <a:pt x="726" y="170"/>
                </a:moveTo>
                <a:cubicBezTo>
                  <a:pt x="726" y="170"/>
                  <a:pt x="726" y="170"/>
                  <a:pt x="726" y="171"/>
                </a:cubicBezTo>
                <a:cubicBezTo>
                  <a:pt x="726" y="171"/>
                  <a:pt x="726" y="171"/>
                  <a:pt x="726" y="171"/>
                </a:cubicBezTo>
                <a:cubicBezTo>
                  <a:pt x="726" y="171"/>
                  <a:pt x="726" y="171"/>
                  <a:pt x="726" y="171"/>
                </a:cubicBezTo>
                <a:cubicBezTo>
                  <a:pt x="726" y="170"/>
                  <a:pt x="726" y="170"/>
                  <a:pt x="726" y="170"/>
                </a:cubicBezTo>
                <a:cubicBezTo>
                  <a:pt x="726" y="170"/>
                  <a:pt x="726" y="170"/>
                  <a:pt x="726" y="170"/>
                </a:cubicBezTo>
                <a:cubicBezTo>
                  <a:pt x="726" y="170"/>
                  <a:pt x="726" y="170"/>
                  <a:pt x="726" y="170"/>
                </a:cubicBezTo>
                <a:close/>
                <a:moveTo>
                  <a:pt x="714" y="173"/>
                </a:move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lose/>
                <a:moveTo>
                  <a:pt x="784" y="143"/>
                </a:moveTo>
                <a:cubicBezTo>
                  <a:pt x="784" y="143"/>
                  <a:pt x="784" y="143"/>
                  <a:pt x="784" y="143"/>
                </a:cubicBezTo>
                <a:cubicBezTo>
                  <a:pt x="784" y="143"/>
                  <a:pt x="785" y="143"/>
                  <a:pt x="785" y="143"/>
                </a:cubicBezTo>
                <a:cubicBezTo>
                  <a:pt x="785" y="143"/>
                  <a:pt x="785" y="143"/>
                  <a:pt x="785" y="143"/>
                </a:cubicBezTo>
                <a:cubicBezTo>
                  <a:pt x="785" y="143"/>
                  <a:pt x="786" y="143"/>
                  <a:pt x="786" y="143"/>
                </a:cubicBezTo>
                <a:cubicBezTo>
                  <a:pt x="786" y="143"/>
                  <a:pt x="786" y="143"/>
                  <a:pt x="786" y="142"/>
                </a:cubicBezTo>
                <a:cubicBezTo>
                  <a:pt x="786" y="142"/>
                  <a:pt x="786" y="142"/>
                  <a:pt x="786" y="142"/>
                </a:cubicBezTo>
                <a:cubicBezTo>
                  <a:pt x="786" y="142"/>
                  <a:pt x="786" y="142"/>
                  <a:pt x="786" y="141"/>
                </a:cubicBezTo>
                <a:cubicBezTo>
                  <a:pt x="786" y="141"/>
                  <a:pt x="786" y="141"/>
                  <a:pt x="786" y="141"/>
                </a:cubicBezTo>
                <a:cubicBezTo>
                  <a:pt x="787" y="141"/>
                  <a:pt x="787" y="142"/>
                  <a:pt x="787" y="142"/>
                </a:cubicBezTo>
                <a:cubicBezTo>
                  <a:pt x="787" y="142"/>
                  <a:pt x="787" y="142"/>
                  <a:pt x="787" y="142"/>
                </a:cubicBezTo>
                <a:cubicBezTo>
                  <a:pt x="788" y="142"/>
                  <a:pt x="788" y="142"/>
                  <a:pt x="788" y="141"/>
                </a:cubicBezTo>
                <a:cubicBezTo>
                  <a:pt x="788" y="141"/>
                  <a:pt x="788" y="141"/>
                  <a:pt x="788" y="141"/>
                </a:cubicBezTo>
                <a:cubicBezTo>
                  <a:pt x="789" y="141"/>
                  <a:pt x="789" y="141"/>
                  <a:pt x="789" y="141"/>
                </a:cubicBezTo>
                <a:cubicBezTo>
                  <a:pt x="789" y="141"/>
                  <a:pt x="789" y="141"/>
                  <a:pt x="789" y="141"/>
                </a:cubicBezTo>
                <a:cubicBezTo>
                  <a:pt x="789" y="141"/>
                  <a:pt x="789" y="140"/>
                  <a:pt x="789" y="140"/>
                </a:cubicBezTo>
                <a:cubicBezTo>
                  <a:pt x="789" y="140"/>
                  <a:pt x="789" y="140"/>
                  <a:pt x="789" y="140"/>
                </a:cubicBezTo>
                <a:cubicBezTo>
                  <a:pt x="789" y="140"/>
                  <a:pt x="789" y="140"/>
                  <a:pt x="790" y="140"/>
                </a:cubicBezTo>
                <a:cubicBezTo>
                  <a:pt x="790" y="140"/>
                  <a:pt x="790" y="140"/>
                  <a:pt x="790" y="141"/>
                </a:cubicBezTo>
                <a:cubicBezTo>
                  <a:pt x="790" y="140"/>
                  <a:pt x="791" y="140"/>
                  <a:pt x="791" y="140"/>
                </a:cubicBezTo>
                <a:cubicBezTo>
                  <a:pt x="791" y="140"/>
                  <a:pt x="791" y="140"/>
                  <a:pt x="791" y="140"/>
                </a:cubicBezTo>
                <a:cubicBezTo>
                  <a:pt x="791" y="140"/>
                  <a:pt x="791" y="140"/>
                  <a:pt x="791" y="140"/>
                </a:cubicBezTo>
                <a:cubicBezTo>
                  <a:pt x="791" y="140"/>
                  <a:pt x="791" y="140"/>
                  <a:pt x="791" y="139"/>
                </a:cubicBezTo>
                <a:cubicBezTo>
                  <a:pt x="791" y="139"/>
                  <a:pt x="791" y="139"/>
                  <a:pt x="791" y="139"/>
                </a:cubicBezTo>
                <a:cubicBezTo>
                  <a:pt x="791" y="139"/>
                  <a:pt x="791" y="139"/>
                  <a:pt x="791" y="139"/>
                </a:cubicBezTo>
                <a:cubicBezTo>
                  <a:pt x="791" y="139"/>
                  <a:pt x="792" y="139"/>
                  <a:pt x="792" y="139"/>
                </a:cubicBezTo>
                <a:cubicBezTo>
                  <a:pt x="792" y="139"/>
                  <a:pt x="792" y="139"/>
                  <a:pt x="793" y="139"/>
                </a:cubicBezTo>
                <a:cubicBezTo>
                  <a:pt x="793" y="139"/>
                  <a:pt x="793" y="139"/>
                  <a:pt x="793" y="139"/>
                </a:cubicBezTo>
                <a:cubicBezTo>
                  <a:pt x="793" y="139"/>
                  <a:pt x="793" y="138"/>
                  <a:pt x="793" y="138"/>
                </a:cubicBezTo>
                <a:cubicBezTo>
                  <a:pt x="793" y="138"/>
                  <a:pt x="793" y="138"/>
                  <a:pt x="793" y="138"/>
                </a:cubicBezTo>
                <a:cubicBezTo>
                  <a:pt x="794" y="138"/>
                  <a:pt x="794" y="139"/>
                  <a:pt x="794" y="139"/>
                </a:cubicBezTo>
                <a:cubicBezTo>
                  <a:pt x="794" y="139"/>
                  <a:pt x="794" y="139"/>
                  <a:pt x="794" y="139"/>
                </a:cubicBezTo>
                <a:cubicBezTo>
                  <a:pt x="795" y="139"/>
                  <a:pt x="795" y="139"/>
                  <a:pt x="795" y="138"/>
                </a:cubicBezTo>
                <a:cubicBezTo>
                  <a:pt x="795" y="138"/>
                  <a:pt x="795" y="138"/>
                  <a:pt x="795" y="138"/>
                </a:cubicBezTo>
                <a:cubicBezTo>
                  <a:pt x="794" y="138"/>
                  <a:pt x="794" y="138"/>
                  <a:pt x="794" y="138"/>
                </a:cubicBezTo>
                <a:cubicBezTo>
                  <a:pt x="794" y="138"/>
                  <a:pt x="794" y="138"/>
                  <a:pt x="794" y="138"/>
                </a:cubicBezTo>
                <a:cubicBezTo>
                  <a:pt x="794" y="137"/>
                  <a:pt x="795" y="137"/>
                  <a:pt x="795" y="137"/>
                </a:cubicBezTo>
                <a:cubicBezTo>
                  <a:pt x="795" y="137"/>
                  <a:pt x="795" y="137"/>
                  <a:pt x="795" y="137"/>
                </a:cubicBezTo>
                <a:cubicBezTo>
                  <a:pt x="796" y="137"/>
                  <a:pt x="796" y="137"/>
                  <a:pt x="797" y="137"/>
                </a:cubicBezTo>
                <a:cubicBezTo>
                  <a:pt x="797" y="137"/>
                  <a:pt x="797" y="137"/>
                  <a:pt x="798" y="136"/>
                </a:cubicBezTo>
                <a:cubicBezTo>
                  <a:pt x="798" y="136"/>
                  <a:pt x="798" y="136"/>
                  <a:pt x="798" y="136"/>
                </a:cubicBezTo>
                <a:cubicBezTo>
                  <a:pt x="798" y="136"/>
                  <a:pt x="798" y="136"/>
                  <a:pt x="798" y="136"/>
                </a:cubicBezTo>
                <a:cubicBezTo>
                  <a:pt x="798" y="136"/>
                  <a:pt x="797" y="136"/>
                  <a:pt x="797" y="136"/>
                </a:cubicBezTo>
                <a:cubicBezTo>
                  <a:pt x="796" y="136"/>
                  <a:pt x="796" y="136"/>
                  <a:pt x="795" y="136"/>
                </a:cubicBezTo>
                <a:cubicBezTo>
                  <a:pt x="795" y="136"/>
                  <a:pt x="795" y="136"/>
                  <a:pt x="795" y="136"/>
                </a:cubicBezTo>
                <a:cubicBezTo>
                  <a:pt x="794" y="136"/>
                  <a:pt x="794" y="136"/>
                  <a:pt x="793" y="136"/>
                </a:cubicBezTo>
                <a:cubicBezTo>
                  <a:pt x="793" y="136"/>
                  <a:pt x="793" y="136"/>
                  <a:pt x="793" y="136"/>
                </a:cubicBezTo>
                <a:cubicBezTo>
                  <a:pt x="792" y="136"/>
                  <a:pt x="792" y="136"/>
                  <a:pt x="791" y="136"/>
                </a:cubicBezTo>
                <a:cubicBezTo>
                  <a:pt x="791" y="136"/>
                  <a:pt x="790" y="136"/>
                  <a:pt x="790" y="136"/>
                </a:cubicBezTo>
                <a:cubicBezTo>
                  <a:pt x="789" y="136"/>
                  <a:pt x="789" y="136"/>
                  <a:pt x="788" y="136"/>
                </a:cubicBezTo>
                <a:cubicBezTo>
                  <a:pt x="788" y="135"/>
                  <a:pt x="787" y="135"/>
                  <a:pt x="786" y="135"/>
                </a:cubicBezTo>
                <a:cubicBezTo>
                  <a:pt x="786" y="135"/>
                  <a:pt x="786" y="135"/>
                  <a:pt x="786" y="135"/>
                </a:cubicBezTo>
                <a:cubicBezTo>
                  <a:pt x="786" y="135"/>
                  <a:pt x="786" y="135"/>
                  <a:pt x="786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4" y="135"/>
                  <a:pt x="784" y="135"/>
                </a:cubicBezTo>
                <a:cubicBezTo>
                  <a:pt x="784" y="135"/>
                  <a:pt x="783" y="136"/>
                  <a:pt x="783" y="136"/>
                </a:cubicBezTo>
                <a:cubicBezTo>
                  <a:pt x="782" y="136"/>
                  <a:pt x="782" y="136"/>
                  <a:pt x="782" y="136"/>
                </a:cubicBezTo>
                <a:cubicBezTo>
                  <a:pt x="781" y="136"/>
                  <a:pt x="781" y="136"/>
                  <a:pt x="780" y="136"/>
                </a:cubicBezTo>
                <a:cubicBezTo>
                  <a:pt x="780" y="136"/>
                  <a:pt x="780" y="136"/>
                  <a:pt x="780" y="136"/>
                </a:cubicBezTo>
                <a:cubicBezTo>
                  <a:pt x="780" y="136"/>
                  <a:pt x="779" y="136"/>
                  <a:pt x="779" y="136"/>
                </a:cubicBezTo>
                <a:cubicBezTo>
                  <a:pt x="779" y="136"/>
                  <a:pt x="779" y="136"/>
                  <a:pt x="779" y="136"/>
                </a:cubicBezTo>
                <a:cubicBezTo>
                  <a:pt x="779" y="136"/>
                  <a:pt x="778" y="136"/>
                  <a:pt x="778" y="136"/>
                </a:cubicBezTo>
                <a:cubicBezTo>
                  <a:pt x="778" y="136"/>
                  <a:pt x="777" y="136"/>
                  <a:pt x="777" y="136"/>
                </a:cubicBezTo>
                <a:cubicBezTo>
                  <a:pt x="777" y="137"/>
                  <a:pt x="776" y="137"/>
                  <a:pt x="776" y="137"/>
                </a:cubicBezTo>
                <a:cubicBezTo>
                  <a:pt x="775" y="138"/>
                  <a:pt x="775" y="138"/>
                  <a:pt x="775" y="138"/>
                </a:cubicBezTo>
                <a:cubicBezTo>
                  <a:pt x="775" y="138"/>
                  <a:pt x="775" y="138"/>
                  <a:pt x="775" y="138"/>
                </a:cubicBezTo>
                <a:cubicBezTo>
                  <a:pt x="775" y="137"/>
                  <a:pt x="774" y="137"/>
                  <a:pt x="774" y="137"/>
                </a:cubicBezTo>
                <a:cubicBezTo>
                  <a:pt x="774" y="137"/>
                  <a:pt x="773" y="137"/>
                  <a:pt x="772" y="138"/>
                </a:cubicBezTo>
                <a:cubicBezTo>
                  <a:pt x="772" y="137"/>
                  <a:pt x="772" y="137"/>
                  <a:pt x="771" y="137"/>
                </a:cubicBezTo>
                <a:cubicBezTo>
                  <a:pt x="771" y="137"/>
                  <a:pt x="771" y="138"/>
                  <a:pt x="771" y="138"/>
                </a:cubicBezTo>
                <a:cubicBezTo>
                  <a:pt x="771" y="137"/>
                  <a:pt x="771" y="137"/>
                  <a:pt x="770" y="137"/>
                </a:cubicBezTo>
                <a:cubicBezTo>
                  <a:pt x="771" y="137"/>
                  <a:pt x="771" y="137"/>
                  <a:pt x="771" y="137"/>
                </a:cubicBezTo>
                <a:cubicBezTo>
                  <a:pt x="771" y="137"/>
                  <a:pt x="772" y="137"/>
                  <a:pt x="772" y="137"/>
                </a:cubicBezTo>
                <a:cubicBezTo>
                  <a:pt x="772" y="137"/>
                  <a:pt x="772" y="137"/>
                  <a:pt x="773" y="137"/>
                </a:cubicBezTo>
                <a:cubicBezTo>
                  <a:pt x="773" y="137"/>
                  <a:pt x="773" y="137"/>
                  <a:pt x="773" y="137"/>
                </a:cubicBezTo>
                <a:cubicBezTo>
                  <a:pt x="774" y="137"/>
                  <a:pt x="774" y="137"/>
                  <a:pt x="774" y="137"/>
                </a:cubicBezTo>
                <a:cubicBezTo>
                  <a:pt x="775" y="137"/>
                  <a:pt x="775" y="137"/>
                  <a:pt x="776" y="137"/>
                </a:cubicBezTo>
                <a:cubicBezTo>
                  <a:pt x="776" y="136"/>
                  <a:pt x="776" y="136"/>
                  <a:pt x="777" y="136"/>
                </a:cubicBezTo>
                <a:cubicBezTo>
                  <a:pt x="777" y="136"/>
                  <a:pt x="777" y="136"/>
                  <a:pt x="777" y="136"/>
                </a:cubicBezTo>
                <a:cubicBezTo>
                  <a:pt x="778" y="136"/>
                  <a:pt x="778" y="136"/>
                  <a:pt x="779" y="136"/>
                </a:cubicBezTo>
                <a:cubicBezTo>
                  <a:pt x="779" y="136"/>
                  <a:pt x="779" y="136"/>
                  <a:pt x="780" y="136"/>
                </a:cubicBezTo>
                <a:cubicBezTo>
                  <a:pt x="780" y="136"/>
                  <a:pt x="780" y="135"/>
                  <a:pt x="780" y="135"/>
                </a:cubicBezTo>
                <a:cubicBezTo>
                  <a:pt x="780" y="135"/>
                  <a:pt x="780" y="135"/>
                  <a:pt x="780" y="135"/>
                </a:cubicBezTo>
                <a:cubicBezTo>
                  <a:pt x="779" y="135"/>
                  <a:pt x="779" y="135"/>
                  <a:pt x="779" y="135"/>
                </a:cubicBezTo>
                <a:cubicBezTo>
                  <a:pt x="779" y="135"/>
                  <a:pt x="779" y="135"/>
                  <a:pt x="779" y="135"/>
                </a:cubicBezTo>
                <a:cubicBezTo>
                  <a:pt x="778" y="135"/>
                  <a:pt x="778" y="135"/>
                  <a:pt x="778" y="135"/>
                </a:cubicBezTo>
                <a:cubicBezTo>
                  <a:pt x="778" y="135"/>
                  <a:pt x="778" y="135"/>
                  <a:pt x="777" y="135"/>
                </a:cubicBezTo>
                <a:cubicBezTo>
                  <a:pt x="777" y="135"/>
                  <a:pt x="777" y="135"/>
                  <a:pt x="776" y="135"/>
                </a:cubicBezTo>
                <a:cubicBezTo>
                  <a:pt x="776" y="135"/>
                  <a:pt x="775" y="135"/>
                  <a:pt x="775" y="135"/>
                </a:cubicBezTo>
                <a:cubicBezTo>
                  <a:pt x="774" y="135"/>
                  <a:pt x="774" y="135"/>
                  <a:pt x="773" y="135"/>
                </a:cubicBezTo>
                <a:cubicBezTo>
                  <a:pt x="773" y="135"/>
                  <a:pt x="773" y="135"/>
                  <a:pt x="773" y="135"/>
                </a:cubicBezTo>
                <a:cubicBezTo>
                  <a:pt x="772" y="135"/>
                  <a:pt x="772" y="135"/>
                  <a:pt x="771" y="135"/>
                </a:cubicBezTo>
                <a:cubicBezTo>
                  <a:pt x="771" y="135"/>
                  <a:pt x="771" y="135"/>
                  <a:pt x="771" y="135"/>
                </a:cubicBezTo>
                <a:cubicBezTo>
                  <a:pt x="771" y="135"/>
                  <a:pt x="770" y="135"/>
                  <a:pt x="770" y="135"/>
                </a:cubicBezTo>
                <a:cubicBezTo>
                  <a:pt x="770" y="135"/>
                  <a:pt x="770" y="135"/>
                  <a:pt x="769" y="135"/>
                </a:cubicBezTo>
                <a:cubicBezTo>
                  <a:pt x="769" y="135"/>
                  <a:pt x="768" y="135"/>
                  <a:pt x="768" y="135"/>
                </a:cubicBezTo>
                <a:cubicBezTo>
                  <a:pt x="767" y="136"/>
                  <a:pt x="767" y="136"/>
                  <a:pt x="766" y="136"/>
                </a:cubicBezTo>
                <a:cubicBezTo>
                  <a:pt x="766" y="136"/>
                  <a:pt x="766" y="136"/>
                  <a:pt x="766" y="136"/>
                </a:cubicBezTo>
                <a:cubicBezTo>
                  <a:pt x="766" y="136"/>
                  <a:pt x="766" y="136"/>
                  <a:pt x="766" y="135"/>
                </a:cubicBezTo>
                <a:cubicBezTo>
                  <a:pt x="767" y="135"/>
                  <a:pt x="767" y="135"/>
                  <a:pt x="767" y="135"/>
                </a:cubicBezTo>
                <a:cubicBezTo>
                  <a:pt x="767" y="135"/>
                  <a:pt x="768" y="135"/>
                  <a:pt x="768" y="135"/>
                </a:cubicBezTo>
                <a:cubicBezTo>
                  <a:pt x="768" y="135"/>
                  <a:pt x="768" y="135"/>
                  <a:pt x="769" y="135"/>
                </a:cubicBezTo>
                <a:cubicBezTo>
                  <a:pt x="769" y="134"/>
                  <a:pt x="770" y="134"/>
                  <a:pt x="771" y="134"/>
                </a:cubicBezTo>
                <a:cubicBezTo>
                  <a:pt x="771" y="134"/>
                  <a:pt x="771" y="134"/>
                  <a:pt x="771" y="134"/>
                </a:cubicBezTo>
                <a:cubicBezTo>
                  <a:pt x="771" y="133"/>
                  <a:pt x="771" y="133"/>
                  <a:pt x="771" y="133"/>
                </a:cubicBezTo>
                <a:cubicBezTo>
                  <a:pt x="771" y="133"/>
                  <a:pt x="772" y="133"/>
                  <a:pt x="772" y="133"/>
                </a:cubicBezTo>
                <a:cubicBezTo>
                  <a:pt x="772" y="133"/>
                  <a:pt x="772" y="133"/>
                  <a:pt x="772" y="133"/>
                </a:cubicBezTo>
                <a:cubicBezTo>
                  <a:pt x="773" y="133"/>
                  <a:pt x="773" y="133"/>
                  <a:pt x="773" y="132"/>
                </a:cubicBezTo>
                <a:cubicBezTo>
                  <a:pt x="773" y="132"/>
                  <a:pt x="773" y="132"/>
                  <a:pt x="773" y="132"/>
                </a:cubicBezTo>
                <a:cubicBezTo>
                  <a:pt x="773" y="132"/>
                  <a:pt x="773" y="132"/>
                  <a:pt x="773" y="132"/>
                </a:cubicBezTo>
                <a:cubicBezTo>
                  <a:pt x="773" y="132"/>
                  <a:pt x="773" y="131"/>
                  <a:pt x="773" y="131"/>
                </a:cubicBezTo>
                <a:cubicBezTo>
                  <a:pt x="772" y="131"/>
                  <a:pt x="772" y="131"/>
                  <a:pt x="772" y="131"/>
                </a:cubicBezTo>
                <a:cubicBezTo>
                  <a:pt x="772" y="131"/>
                  <a:pt x="771" y="131"/>
                  <a:pt x="771" y="131"/>
                </a:cubicBezTo>
                <a:cubicBezTo>
                  <a:pt x="772" y="131"/>
                  <a:pt x="772" y="131"/>
                  <a:pt x="772" y="131"/>
                </a:cubicBezTo>
                <a:cubicBezTo>
                  <a:pt x="772" y="131"/>
                  <a:pt x="772" y="131"/>
                  <a:pt x="773" y="131"/>
                </a:cubicBezTo>
                <a:cubicBezTo>
                  <a:pt x="773" y="131"/>
                  <a:pt x="773" y="131"/>
                  <a:pt x="773" y="131"/>
                </a:cubicBezTo>
                <a:cubicBezTo>
                  <a:pt x="773" y="131"/>
                  <a:pt x="773" y="131"/>
                  <a:pt x="774" y="131"/>
                </a:cubicBezTo>
                <a:cubicBezTo>
                  <a:pt x="774" y="131"/>
                  <a:pt x="774" y="131"/>
                  <a:pt x="774" y="131"/>
                </a:cubicBezTo>
                <a:cubicBezTo>
                  <a:pt x="774" y="131"/>
                  <a:pt x="774" y="130"/>
                  <a:pt x="774" y="130"/>
                </a:cubicBezTo>
                <a:cubicBezTo>
                  <a:pt x="774" y="130"/>
                  <a:pt x="774" y="130"/>
                  <a:pt x="773" y="130"/>
                </a:cubicBezTo>
                <a:cubicBezTo>
                  <a:pt x="773" y="130"/>
                  <a:pt x="773" y="130"/>
                  <a:pt x="773" y="129"/>
                </a:cubicBezTo>
                <a:cubicBezTo>
                  <a:pt x="774" y="129"/>
                  <a:pt x="774" y="129"/>
                  <a:pt x="774" y="129"/>
                </a:cubicBezTo>
                <a:cubicBezTo>
                  <a:pt x="774" y="130"/>
                  <a:pt x="774" y="130"/>
                  <a:pt x="774" y="130"/>
                </a:cubicBezTo>
                <a:cubicBezTo>
                  <a:pt x="774" y="130"/>
                  <a:pt x="774" y="130"/>
                  <a:pt x="774" y="130"/>
                </a:cubicBezTo>
                <a:cubicBezTo>
                  <a:pt x="775" y="130"/>
                  <a:pt x="775" y="131"/>
                  <a:pt x="775" y="131"/>
                </a:cubicBezTo>
                <a:cubicBezTo>
                  <a:pt x="775" y="131"/>
                  <a:pt x="776" y="131"/>
                  <a:pt x="776" y="131"/>
                </a:cubicBezTo>
                <a:cubicBezTo>
                  <a:pt x="776" y="131"/>
                  <a:pt x="776" y="131"/>
                  <a:pt x="777" y="131"/>
                </a:cubicBezTo>
                <a:cubicBezTo>
                  <a:pt x="777" y="131"/>
                  <a:pt x="778" y="131"/>
                  <a:pt x="778" y="131"/>
                </a:cubicBezTo>
                <a:cubicBezTo>
                  <a:pt x="779" y="130"/>
                  <a:pt x="780" y="130"/>
                  <a:pt x="781" y="129"/>
                </a:cubicBezTo>
                <a:cubicBezTo>
                  <a:pt x="781" y="129"/>
                  <a:pt x="782" y="129"/>
                  <a:pt x="782" y="129"/>
                </a:cubicBezTo>
                <a:cubicBezTo>
                  <a:pt x="782" y="129"/>
                  <a:pt x="782" y="129"/>
                  <a:pt x="783" y="129"/>
                </a:cubicBezTo>
                <a:cubicBezTo>
                  <a:pt x="783" y="129"/>
                  <a:pt x="783" y="129"/>
                  <a:pt x="783" y="129"/>
                </a:cubicBezTo>
                <a:cubicBezTo>
                  <a:pt x="783" y="129"/>
                  <a:pt x="784" y="128"/>
                  <a:pt x="784" y="128"/>
                </a:cubicBezTo>
                <a:cubicBezTo>
                  <a:pt x="784" y="128"/>
                  <a:pt x="784" y="128"/>
                  <a:pt x="784" y="128"/>
                </a:cubicBezTo>
                <a:cubicBezTo>
                  <a:pt x="784" y="127"/>
                  <a:pt x="784" y="127"/>
                  <a:pt x="784" y="127"/>
                </a:cubicBezTo>
                <a:cubicBezTo>
                  <a:pt x="784" y="127"/>
                  <a:pt x="783" y="127"/>
                  <a:pt x="783" y="127"/>
                </a:cubicBezTo>
                <a:cubicBezTo>
                  <a:pt x="783" y="127"/>
                  <a:pt x="783" y="127"/>
                  <a:pt x="783" y="127"/>
                </a:cubicBezTo>
                <a:cubicBezTo>
                  <a:pt x="782" y="127"/>
                  <a:pt x="782" y="126"/>
                  <a:pt x="782" y="126"/>
                </a:cubicBezTo>
                <a:cubicBezTo>
                  <a:pt x="781" y="126"/>
                  <a:pt x="780" y="126"/>
                  <a:pt x="779" y="126"/>
                </a:cubicBezTo>
                <a:cubicBezTo>
                  <a:pt x="779" y="126"/>
                  <a:pt x="779" y="126"/>
                  <a:pt x="779" y="126"/>
                </a:cubicBezTo>
                <a:cubicBezTo>
                  <a:pt x="778" y="126"/>
                  <a:pt x="778" y="126"/>
                  <a:pt x="777" y="127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6" y="126"/>
                  <a:pt x="776" y="126"/>
                  <a:pt x="775" y="126"/>
                </a:cubicBezTo>
                <a:cubicBezTo>
                  <a:pt x="775" y="126"/>
                  <a:pt x="775" y="126"/>
                  <a:pt x="775" y="126"/>
                </a:cubicBezTo>
                <a:cubicBezTo>
                  <a:pt x="774" y="126"/>
                  <a:pt x="774" y="126"/>
                  <a:pt x="774" y="127"/>
                </a:cubicBezTo>
                <a:cubicBezTo>
                  <a:pt x="774" y="127"/>
                  <a:pt x="773" y="127"/>
                  <a:pt x="773" y="127"/>
                </a:cubicBezTo>
                <a:cubicBezTo>
                  <a:pt x="773" y="127"/>
                  <a:pt x="773" y="127"/>
                  <a:pt x="772" y="127"/>
                </a:cubicBezTo>
                <a:cubicBezTo>
                  <a:pt x="772" y="126"/>
                  <a:pt x="772" y="126"/>
                  <a:pt x="772" y="126"/>
                </a:cubicBezTo>
                <a:cubicBezTo>
                  <a:pt x="772" y="126"/>
                  <a:pt x="773" y="126"/>
                  <a:pt x="773" y="126"/>
                </a:cubicBezTo>
                <a:cubicBezTo>
                  <a:pt x="773" y="126"/>
                  <a:pt x="773" y="126"/>
                  <a:pt x="774" y="126"/>
                </a:cubicBezTo>
                <a:cubicBezTo>
                  <a:pt x="774" y="126"/>
                  <a:pt x="774" y="126"/>
                  <a:pt x="774" y="126"/>
                </a:cubicBezTo>
                <a:cubicBezTo>
                  <a:pt x="775" y="126"/>
                  <a:pt x="775" y="126"/>
                  <a:pt x="775" y="126"/>
                </a:cubicBezTo>
                <a:cubicBezTo>
                  <a:pt x="775" y="126"/>
                  <a:pt x="776" y="125"/>
                  <a:pt x="776" y="125"/>
                </a:cubicBezTo>
                <a:cubicBezTo>
                  <a:pt x="775" y="125"/>
                  <a:pt x="775" y="125"/>
                  <a:pt x="775" y="125"/>
                </a:cubicBezTo>
                <a:cubicBezTo>
                  <a:pt x="775" y="125"/>
                  <a:pt x="774" y="124"/>
                  <a:pt x="774" y="124"/>
                </a:cubicBezTo>
                <a:cubicBezTo>
                  <a:pt x="774" y="124"/>
                  <a:pt x="774" y="124"/>
                  <a:pt x="774" y="124"/>
                </a:cubicBezTo>
                <a:cubicBezTo>
                  <a:pt x="773" y="124"/>
                  <a:pt x="773" y="124"/>
                  <a:pt x="773" y="124"/>
                </a:cubicBezTo>
                <a:cubicBezTo>
                  <a:pt x="773" y="124"/>
                  <a:pt x="773" y="124"/>
                  <a:pt x="773" y="124"/>
                </a:cubicBezTo>
                <a:cubicBezTo>
                  <a:pt x="773" y="124"/>
                  <a:pt x="774" y="124"/>
                  <a:pt x="774" y="123"/>
                </a:cubicBezTo>
                <a:cubicBezTo>
                  <a:pt x="774" y="123"/>
                  <a:pt x="774" y="123"/>
                  <a:pt x="774" y="123"/>
                </a:cubicBezTo>
                <a:cubicBezTo>
                  <a:pt x="774" y="123"/>
                  <a:pt x="774" y="123"/>
                  <a:pt x="774" y="122"/>
                </a:cubicBezTo>
                <a:cubicBezTo>
                  <a:pt x="774" y="122"/>
                  <a:pt x="774" y="122"/>
                  <a:pt x="774" y="122"/>
                </a:cubicBezTo>
                <a:cubicBezTo>
                  <a:pt x="774" y="122"/>
                  <a:pt x="775" y="122"/>
                  <a:pt x="775" y="123"/>
                </a:cubicBezTo>
                <a:cubicBezTo>
                  <a:pt x="775" y="123"/>
                  <a:pt x="775" y="123"/>
                  <a:pt x="775" y="123"/>
                </a:cubicBezTo>
                <a:cubicBezTo>
                  <a:pt x="775" y="123"/>
                  <a:pt x="776" y="123"/>
                  <a:pt x="776" y="124"/>
                </a:cubicBezTo>
                <a:cubicBezTo>
                  <a:pt x="776" y="124"/>
                  <a:pt x="776" y="124"/>
                  <a:pt x="776" y="124"/>
                </a:cubicBezTo>
                <a:cubicBezTo>
                  <a:pt x="776" y="124"/>
                  <a:pt x="777" y="124"/>
                  <a:pt x="777" y="125"/>
                </a:cubicBezTo>
                <a:cubicBezTo>
                  <a:pt x="777" y="125"/>
                  <a:pt x="777" y="125"/>
                  <a:pt x="777" y="125"/>
                </a:cubicBezTo>
                <a:cubicBezTo>
                  <a:pt x="778" y="125"/>
                  <a:pt x="778" y="125"/>
                  <a:pt x="778" y="125"/>
                </a:cubicBezTo>
                <a:cubicBezTo>
                  <a:pt x="778" y="126"/>
                  <a:pt x="778" y="126"/>
                  <a:pt x="779" y="126"/>
                </a:cubicBezTo>
                <a:cubicBezTo>
                  <a:pt x="779" y="126"/>
                  <a:pt x="779" y="125"/>
                  <a:pt x="779" y="125"/>
                </a:cubicBezTo>
                <a:cubicBezTo>
                  <a:pt x="779" y="125"/>
                  <a:pt x="780" y="125"/>
                  <a:pt x="780" y="125"/>
                </a:cubicBezTo>
                <a:cubicBezTo>
                  <a:pt x="780" y="125"/>
                  <a:pt x="780" y="125"/>
                  <a:pt x="781" y="125"/>
                </a:cubicBezTo>
                <a:cubicBezTo>
                  <a:pt x="781" y="125"/>
                  <a:pt x="781" y="125"/>
                  <a:pt x="782" y="125"/>
                </a:cubicBezTo>
                <a:cubicBezTo>
                  <a:pt x="782" y="125"/>
                  <a:pt x="782" y="125"/>
                  <a:pt x="782" y="125"/>
                </a:cubicBezTo>
                <a:cubicBezTo>
                  <a:pt x="783" y="125"/>
                  <a:pt x="783" y="125"/>
                  <a:pt x="783" y="125"/>
                </a:cubicBezTo>
                <a:cubicBezTo>
                  <a:pt x="783" y="125"/>
                  <a:pt x="783" y="125"/>
                  <a:pt x="783" y="126"/>
                </a:cubicBezTo>
                <a:cubicBezTo>
                  <a:pt x="784" y="126"/>
                  <a:pt x="784" y="127"/>
                  <a:pt x="785" y="127"/>
                </a:cubicBezTo>
                <a:cubicBezTo>
                  <a:pt x="785" y="127"/>
                  <a:pt x="786" y="127"/>
                  <a:pt x="786" y="127"/>
                </a:cubicBezTo>
                <a:cubicBezTo>
                  <a:pt x="786" y="127"/>
                  <a:pt x="786" y="127"/>
                  <a:pt x="786" y="127"/>
                </a:cubicBezTo>
                <a:cubicBezTo>
                  <a:pt x="787" y="127"/>
                  <a:pt x="787" y="127"/>
                  <a:pt x="787" y="127"/>
                </a:cubicBezTo>
                <a:cubicBezTo>
                  <a:pt x="787" y="127"/>
                  <a:pt x="788" y="127"/>
                  <a:pt x="788" y="127"/>
                </a:cubicBezTo>
                <a:cubicBezTo>
                  <a:pt x="788" y="127"/>
                  <a:pt x="788" y="127"/>
                  <a:pt x="788" y="127"/>
                </a:cubicBezTo>
                <a:cubicBezTo>
                  <a:pt x="788" y="127"/>
                  <a:pt x="788" y="127"/>
                  <a:pt x="788" y="128"/>
                </a:cubicBezTo>
                <a:cubicBezTo>
                  <a:pt x="788" y="128"/>
                  <a:pt x="788" y="128"/>
                  <a:pt x="788" y="128"/>
                </a:cubicBezTo>
                <a:cubicBezTo>
                  <a:pt x="788" y="129"/>
                  <a:pt x="788" y="129"/>
                  <a:pt x="788" y="129"/>
                </a:cubicBezTo>
                <a:cubicBezTo>
                  <a:pt x="788" y="129"/>
                  <a:pt x="788" y="129"/>
                  <a:pt x="788" y="130"/>
                </a:cubicBezTo>
                <a:cubicBezTo>
                  <a:pt x="789" y="130"/>
                  <a:pt x="789" y="130"/>
                  <a:pt x="789" y="130"/>
                </a:cubicBezTo>
                <a:cubicBezTo>
                  <a:pt x="789" y="130"/>
                  <a:pt x="789" y="131"/>
                  <a:pt x="789" y="131"/>
                </a:cubicBezTo>
                <a:cubicBezTo>
                  <a:pt x="790" y="131"/>
                  <a:pt x="790" y="132"/>
                  <a:pt x="790" y="132"/>
                </a:cubicBezTo>
                <a:cubicBezTo>
                  <a:pt x="790" y="132"/>
                  <a:pt x="791" y="132"/>
                  <a:pt x="791" y="132"/>
                </a:cubicBezTo>
                <a:cubicBezTo>
                  <a:pt x="791" y="132"/>
                  <a:pt x="792" y="133"/>
                  <a:pt x="792" y="133"/>
                </a:cubicBezTo>
                <a:cubicBezTo>
                  <a:pt x="792" y="133"/>
                  <a:pt x="793" y="134"/>
                  <a:pt x="793" y="134"/>
                </a:cubicBezTo>
                <a:cubicBezTo>
                  <a:pt x="794" y="134"/>
                  <a:pt x="794" y="134"/>
                  <a:pt x="794" y="134"/>
                </a:cubicBezTo>
                <a:cubicBezTo>
                  <a:pt x="794" y="134"/>
                  <a:pt x="794" y="134"/>
                  <a:pt x="795" y="134"/>
                </a:cubicBezTo>
                <a:cubicBezTo>
                  <a:pt x="795" y="134"/>
                  <a:pt x="795" y="134"/>
                  <a:pt x="795" y="134"/>
                </a:cubicBezTo>
                <a:cubicBezTo>
                  <a:pt x="796" y="134"/>
                  <a:pt x="796" y="134"/>
                  <a:pt x="796" y="134"/>
                </a:cubicBezTo>
                <a:cubicBezTo>
                  <a:pt x="796" y="134"/>
                  <a:pt x="796" y="134"/>
                  <a:pt x="796" y="133"/>
                </a:cubicBezTo>
                <a:cubicBezTo>
                  <a:pt x="796" y="133"/>
                  <a:pt x="796" y="133"/>
                  <a:pt x="796" y="133"/>
                </a:cubicBezTo>
                <a:cubicBezTo>
                  <a:pt x="796" y="133"/>
                  <a:pt x="796" y="132"/>
                  <a:pt x="796" y="132"/>
                </a:cubicBezTo>
                <a:cubicBezTo>
                  <a:pt x="796" y="132"/>
                  <a:pt x="796" y="132"/>
                  <a:pt x="796" y="131"/>
                </a:cubicBezTo>
                <a:cubicBezTo>
                  <a:pt x="796" y="131"/>
                  <a:pt x="796" y="131"/>
                  <a:pt x="796" y="131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1"/>
                  <a:pt x="797" y="131"/>
                  <a:pt x="797" y="131"/>
                </a:cubicBezTo>
                <a:cubicBezTo>
                  <a:pt x="797" y="131"/>
                  <a:pt x="797" y="131"/>
                  <a:pt x="797" y="131"/>
                </a:cubicBezTo>
                <a:cubicBezTo>
                  <a:pt x="797" y="132"/>
                  <a:pt x="798" y="132"/>
                  <a:pt x="798" y="132"/>
                </a:cubicBezTo>
                <a:cubicBezTo>
                  <a:pt x="798" y="132"/>
                  <a:pt x="797" y="133"/>
                  <a:pt x="797" y="133"/>
                </a:cubicBezTo>
                <a:cubicBezTo>
                  <a:pt x="797" y="133"/>
                  <a:pt x="797" y="133"/>
                  <a:pt x="797" y="133"/>
                </a:cubicBezTo>
                <a:cubicBezTo>
                  <a:pt x="797" y="133"/>
                  <a:pt x="798" y="133"/>
                  <a:pt x="798" y="133"/>
                </a:cubicBezTo>
                <a:cubicBezTo>
                  <a:pt x="798" y="133"/>
                  <a:pt x="798" y="133"/>
                  <a:pt x="798" y="133"/>
                </a:cubicBezTo>
                <a:cubicBezTo>
                  <a:pt x="798" y="133"/>
                  <a:pt x="799" y="133"/>
                  <a:pt x="799" y="133"/>
                </a:cubicBezTo>
                <a:cubicBezTo>
                  <a:pt x="799" y="133"/>
                  <a:pt x="799" y="133"/>
                  <a:pt x="799" y="133"/>
                </a:cubicBezTo>
                <a:cubicBezTo>
                  <a:pt x="799" y="133"/>
                  <a:pt x="800" y="133"/>
                  <a:pt x="800" y="133"/>
                </a:cubicBezTo>
                <a:cubicBezTo>
                  <a:pt x="800" y="133"/>
                  <a:pt x="800" y="134"/>
                  <a:pt x="799" y="134"/>
                </a:cubicBezTo>
                <a:cubicBezTo>
                  <a:pt x="800" y="134"/>
                  <a:pt x="800" y="134"/>
                  <a:pt x="800" y="134"/>
                </a:cubicBezTo>
                <a:cubicBezTo>
                  <a:pt x="800" y="134"/>
                  <a:pt x="800" y="134"/>
                  <a:pt x="800" y="134"/>
                </a:cubicBezTo>
                <a:cubicBezTo>
                  <a:pt x="800" y="134"/>
                  <a:pt x="801" y="134"/>
                  <a:pt x="801" y="134"/>
                </a:cubicBezTo>
                <a:cubicBezTo>
                  <a:pt x="801" y="134"/>
                  <a:pt x="801" y="134"/>
                  <a:pt x="801" y="133"/>
                </a:cubicBezTo>
                <a:cubicBezTo>
                  <a:pt x="801" y="133"/>
                  <a:pt x="801" y="133"/>
                  <a:pt x="801" y="133"/>
                </a:cubicBezTo>
                <a:cubicBezTo>
                  <a:pt x="801" y="133"/>
                  <a:pt x="801" y="133"/>
                  <a:pt x="801" y="132"/>
                </a:cubicBezTo>
                <a:cubicBezTo>
                  <a:pt x="801" y="132"/>
                  <a:pt x="801" y="132"/>
                  <a:pt x="801" y="131"/>
                </a:cubicBezTo>
                <a:cubicBezTo>
                  <a:pt x="801" y="131"/>
                  <a:pt x="801" y="131"/>
                  <a:pt x="801" y="131"/>
                </a:cubicBezTo>
                <a:cubicBezTo>
                  <a:pt x="801" y="131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0" y="129"/>
                  <a:pt x="800" y="129"/>
                  <a:pt x="800" y="129"/>
                </a:cubicBezTo>
                <a:cubicBezTo>
                  <a:pt x="800" y="129"/>
                  <a:pt x="800" y="129"/>
                  <a:pt x="800" y="129"/>
                </a:cubicBezTo>
                <a:cubicBezTo>
                  <a:pt x="800" y="128"/>
                  <a:pt x="800" y="128"/>
                  <a:pt x="800" y="128"/>
                </a:cubicBezTo>
                <a:cubicBezTo>
                  <a:pt x="800" y="128"/>
                  <a:pt x="800" y="128"/>
                  <a:pt x="801" y="128"/>
                </a:cubicBezTo>
                <a:cubicBezTo>
                  <a:pt x="801" y="128"/>
                  <a:pt x="801" y="128"/>
                  <a:pt x="801" y="128"/>
                </a:cubicBezTo>
                <a:cubicBezTo>
                  <a:pt x="801" y="128"/>
                  <a:pt x="801" y="127"/>
                  <a:pt x="801" y="127"/>
                </a:cubicBezTo>
                <a:cubicBezTo>
                  <a:pt x="801" y="127"/>
                  <a:pt x="801" y="127"/>
                  <a:pt x="801" y="127"/>
                </a:cubicBezTo>
                <a:cubicBezTo>
                  <a:pt x="801" y="127"/>
                  <a:pt x="801" y="127"/>
                  <a:pt x="800" y="127"/>
                </a:cubicBezTo>
                <a:cubicBezTo>
                  <a:pt x="800" y="127"/>
                  <a:pt x="800" y="127"/>
                  <a:pt x="800" y="127"/>
                </a:cubicBezTo>
                <a:cubicBezTo>
                  <a:pt x="800" y="127"/>
                  <a:pt x="800" y="126"/>
                  <a:pt x="801" y="126"/>
                </a:cubicBezTo>
                <a:cubicBezTo>
                  <a:pt x="801" y="126"/>
                  <a:pt x="801" y="126"/>
                  <a:pt x="801" y="125"/>
                </a:cubicBezTo>
                <a:cubicBezTo>
                  <a:pt x="801" y="125"/>
                  <a:pt x="801" y="125"/>
                  <a:pt x="801" y="125"/>
                </a:cubicBezTo>
                <a:cubicBezTo>
                  <a:pt x="801" y="125"/>
                  <a:pt x="801" y="125"/>
                  <a:pt x="801" y="125"/>
                </a:cubicBezTo>
                <a:cubicBezTo>
                  <a:pt x="800" y="125"/>
                  <a:pt x="800" y="125"/>
                  <a:pt x="800" y="126"/>
                </a:cubicBezTo>
                <a:cubicBezTo>
                  <a:pt x="800" y="126"/>
                  <a:pt x="799" y="126"/>
                  <a:pt x="799" y="126"/>
                </a:cubicBezTo>
                <a:cubicBezTo>
                  <a:pt x="799" y="127"/>
                  <a:pt x="799" y="127"/>
                  <a:pt x="799" y="127"/>
                </a:cubicBezTo>
                <a:cubicBezTo>
                  <a:pt x="799" y="127"/>
                  <a:pt x="799" y="127"/>
                  <a:pt x="798" y="127"/>
                </a:cubicBezTo>
                <a:cubicBezTo>
                  <a:pt x="798" y="127"/>
                  <a:pt x="798" y="127"/>
                  <a:pt x="798" y="127"/>
                </a:cubicBezTo>
                <a:cubicBezTo>
                  <a:pt x="798" y="127"/>
                  <a:pt x="798" y="127"/>
                  <a:pt x="799" y="126"/>
                </a:cubicBezTo>
                <a:cubicBezTo>
                  <a:pt x="799" y="126"/>
                  <a:pt x="799" y="126"/>
                  <a:pt x="799" y="126"/>
                </a:cubicBezTo>
                <a:cubicBezTo>
                  <a:pt x="798" y="126"/>
                  <a:pt x="798" y="126"/>
                  <a:pt x="798" y="126"/>
                </a:cubicBezTo>
                <a:cubicBezTo>
                  <a:pt x="798" y="126"/>
                  <a:pt x="798" y="126"/>
                  <a:pt x="798" y="125"/>
                </a:cubicBezTo>
                <a:cubicBezTo>
                  <a:pt x="798" y="125"/>
                  <a:pt x="798" y="125"/>
                  <a:pt x="798" y="125"/>
                </a:cubicBezTo>
                <a:cubicBezTo>
                  <a:pt x="799" y="125"/>
                  <a:pt x="799" y="125"/>
                  <a:pt x="799" y="124"/>
                </a:cubicBezTo>
                <a:cubicBezTo>
                  <a:pt x="799" y="124"/>
                  <a:pt x="800" y="124"/>
                  <a:pt x="800" y="124"/>
                </a:cubicBezTo>
                <a:cubicBezTo>
                  <a:pt x="800" y="124"/>
                  <a:pt x="800" y="124"/>
                  <a:pt x="800" y="123"/>
                </a:cubicBezTo>
                <a:cubicBezTo>
                  <a:pt x="800" y="123"/>
                  <a:pt x="800" y="123"/>
                  <a:pt x="800" y="123"/>
                </a:cubicBezTo>
                <a:cubicBezTo>
                  <a:pt x="800" y="123"/>
                  <a:pt x="799" y="123"/>
                  <a:pt x="799" y="123"/>
                </a:cubicBezTo>
                <a:cubicBezTo>
                  <a:pt x="799" y="123"/>
                  <a:pt x="799" y="123"/>
                  <a:pt x="799" y="123"/>
                </a:cubicBezTo>
                <a:cubicBezTo>
                  <a:pt x="799" y="124"/>
                  <a:pt x="799" y="124"/>
                  <a:pt x="798" y="124"/>
                </a:cubicBezTo>
                <a:cubicBezTo>
                  <a:pt x="798" y="124"/>
                  <a:pt x="798" y="124"/>
                  <a:pt x="798" y="124"/>
                </a:cubicBezTo>
                <a:cubicBezTo>
                  <a:pt x="798" y="124"/>
                  <a:pt x="798" y="124"/>
                  <a:pt x="798" y="123"/>
                </a:cubicBezTo>
                <a:cubicBezTo>
                  <a:pt x="798" y="123"/>
                  <a:pt x="799" y="123"/>
                  <a:pt x="799" y="123"/>
                </a:cubicBezTo>
                <a:cubicBezTo>
                  <a:pt x="799" y="123"/>
                  <a:pt x="798" y="123"/>
                  <a:pt x="798" y="123"/>
                </a:cubicBezTo>
                <a:cubicBezTo>
                  <a:pt x="798" y="123"/>
                  <a:pt x="798" y="123"/>
                  <a:pt x="798" y="123"/>
                </a:cubicBezTo>
                <a:cubicBezTo>
                  <a:pt x="797" y="123"/>
                  <a:pt x="797" y="124"/>
                  <a:pt x="797" y="124"/>
                </a:cubicBezTo>
                <a:cubicBezTo>
                  <a:pt x="797" y="124"/>
                  <a:pt x="796" y="124"/>
                  <a:pt x="796" y="124"/>
                </a:cubicBezTo>
                <a:cubicBezTo>
                  <a:pt x="796" y="124"/>
                  <a:pt x="796" y="124"/>
                  <a:pt x="796" y="124"/>
                </a:cubicBezTo>
                <a:cubicBezTo>
                  <a:pt x="796" y="124"/>
                  <a:pt x="796" y="124"/>
                  <a:pt x="796" y="124"/>
                </a:cubicBezTo>
                <a:cubicBezTo>
                  <a:pt x="796" y="124"/>
                  <a:pt x="797" y="123"/>
                  <a:pt x="797" y="123"/>
                </a:cubicBezTo>
                <a:cubicBezTo>
                  <a:pt x="797" y="123"/>
                  <a:pt x="797" y="123"/>
                  <a:pt x="797" y="123"/>
                </a:cubicBezTo>
                <a:cubicBezTo>
                  <a:pt x="797" y="123"/>
                  <a:pt x="798" y="122"/>
                  <a:pt x="798" y="122"/>
                </a:cubicBezTo>
                <a:cubicBezTo>
                  <a:pt x="798" y="122"/>
                  <a:pt x="798" y="122"/>
                  <a:pt x="798" y="122"/>
                </a:cubicBezTo>
                <a:cubicBezTo>
                  <a:pt x="798" y="122"/>
                  <a:pt x="797" y="122"/>
                  <a:pt x="797" y="122"/>
                </a:cubicBezTo>
                <a:cubicBezTo>
                  <a:pt x="797" y="122"/>
                  <a:pt x="797" y="121"/>
                  <a:pt x="797" y="121"/>
                </a:cubicBezTo>
                <a:cubicBezTo>
                  <a:pt x="797" y="121"/>
                  <a:pt x="797" y="121"/>
                  <a:pt x="796" y="121"/>
                </a:cubicBezTo>
                <a:cubicBezTo>
                  <a:pt x="796" y="121"/>
                  <a:pt x="796" y="121"/>
                  <a:pt x="796" y="121"/>
                </a:cubicBezTo>
                <a:cubicBezTo>
                  <a:pt x="796" y="121"/>
                  <a:pt x="796" y="121"/>
                  <a:pt x="796" y="121"/>
                </a:cubicBezTo>
                <a:cubicBezTo>
                  <a:pt x="795" y="121"/>
                  <a:pt x="795" y="121"/>
                  <a:pt x="795" y="120"/>
                </a:cubicBezTo>
                <a:cubicBezTo>
                  <a:pt x="795" y="120"/>
                  <a:pt x="794" y="120"/>
                  <a:pt x="794" y="120"/>
                </a:cubicBezTo>
                <a:cubicBezTo>
                  <a:pt x="794" y="120"/>
                  <a:pt x="794" y="120"/>
                  <a:pt x="794" y="120"/>
                </a:cubicBezTo>
                <a:cubicBezTo>
                  <a:pt x="794" y="120"/>
                  <a:pt x="794" y="120"/>
                  <a:pt x="793" y="120"/>
                </a:cubicBezTo>
                <a:cubicBezTo>
                  <a:pt x="793" y="120"/>
                  <a:pt x="793" y="120"/>
                  <a:pt x="793" y="120"/>
                </a:cubicBezTo>
                <a:cubicBezTo>
                  <a:pt x="793" y="120"/>
                  <a:pt x="793" y="120"/>
                  <a:pt x="793" y="120"/>
                </a:cubicBezTo>
                <a:cubicBezTo>
                  <a:pt x="792" y="120"/>
                  <a:pt x="792" y="119"/>
                  <a:pt x="792" y="119"/>
                </a:cubicBezTo>
                <a:cubicBezTo>
                  <a:pt x="792" y="119"/>
                  <a:pt x="791" y="119"/>
                  <a:pt x="790" y="119"/>
                </a:cubicBezTo>
                <a:cubicBezTo>
                  <a:pt x="790" y="119"/>
                  <a:pt x="790" y="119"/>
                  <a:pt x="790" y="118"/>
                </a:cubicBezTo>
                <a:cubicBezTo>
                  <a:pt x="790" y="118"/>
                  <a:pt x="789" y="118"/>
                  <a:pt x="789" y="118"/>
                </a:cubicBezTo>
                <a:cubicBezTo>
                  <a:pt x="789" y="118"/>
                  <a:pt x="788" y="118"/>
                  <a:pt x="788" y="118"/>
                </a:cubicBezTo>
                <a:cubicBezTo>
                  <a:pt x="788" y="118"/>
                  <a:pt x="787" y="118"/>
                  <a:pt x="787" y="118"/>
                </a:cubicBezTo>
                <a:cubicBezTo>
                  <a:pt x="787" y="119"/>
                  <a:pt x="786" y="119"/>
                  <a:pt x="786" y="119"/>
                </a:cubicBezTo>
                <a:cubicBezTo>
                  <a:pt x="786" y="119"/>
                  <a:pt x="786" y="119"/>
                  <a:pt x="786" y="119"/>
                </a:cubicBezTo>
                <a:cubicBezTo>
                  <a:pt x="786" y="119"/>
                  <a:pt x="786" y="119"/>
                  <a:pt x="786" y="118"/>
                </a:cubicBezTo>
                <a:cubicBezTo>
                  <a:pt x="785" y="118"/>
                  <a:pt x="785" y="118"/>
                  <a:pt x="784" y="118"/>
                </a:cubicBezTo>
                <a:cubicBezTo>
                  <a:pt x="784" y="118"/>
                  <a:pt x="784" y="118"/>
                  <a:pt x="783" y="118"/>
                </a:cubicBezTo>
                <a:cubicBezTo>
                  <a:pt x="783" y="118"/>
                  <a:pt x="782" y="118"/>
                  <a:pt x="782" y="119"/>
                </a:cubicBezTo>
                <a:cubicBezTo>
                  <a:pt x="782" y="118"/>
                  <a:pt x="782" y="118"/>
                  <a:pt x="782" y="118"/>
                </a:cubicBezTo>
                <a:cubicBezTo>
                  <a:pt x="782" y="118"/>
                  <a:pt x="782" y="118"/>
                  <a:pt x="782" y="118"/>
                </a:cubicBezTo>
                <a:cubicBezTo>
                  <a:pt x="783" y="118"/>
                  <a:pt x="783" y="118"/>
                  <a:pt x="783" y="118"/>
                </a:cubicBezTo>
                <a:cubicBezTo>
                  <a:pt x="784" y="118"/>
                  <a:pt x="784" y="118"/>
                  <a:pt x="785" y="118"/>
                </a:cubicBezTo>
                <a:cubicBezTo>
                  <a:pt x="785" y="118"/>
                  <a:pt x="785" y="118"/>
                  <a:pt x="786" y="118"/>
                </a:cubicBezTo>
                <a:cubicBezTo>
                  <a:pt x="786" y="118"/>
                  <a:pt x="786" y="118"/>
                  <a:pt x="787" y="118"/>
                </a:cubicBezTo>
                <a:cubicBezTo>
                  <a:pt x="787" y="118"/>
                  <a:pt x="787" y="118"/>
                  <a:pt x="788" y="118"/>
                </a:cubicBezTo>
                <a:cubicBezTo>
                  <a:pt x="788" y="118"/>
                  <a:pt x="788" y="117"/>
                  <a:pt x="788" y="117"/>
                </a:cubicBezTo>
                <a:cubicBezTo>
                  <a:pt x="788" y="117"/>
                  <a:pt x="788" y="116"/>
                  <a:pt x="789" y="116"/>
                </a:cubicBezTo>
                <a:cubicBezTo>
                  <a:pt x="788" y="116"/>
                  <a:pt x="788" y="116"/>
                  <a:pt x="788" y="116"/>
                </a:cubicBezTo>
                <a:cubicBezTo>
                  <a:pt x="788" y="116"/>
                  <a:pt x="788" y="116"/>
                  <a:pt x="788" y="116"/>
                </a:cubicBezTo>
                <a:cubicBezTo>
                  <a:pt x="788" y="116"/>
                  <a:pt x="788" y="116"/>
                  <a:pt x="787" y="116"/>
                </a:cubicBezTo>
                <a:cubicBezTo>
                  <a:pt x="787" y="115"/>
                  <a:pt x="786" y="115"/>
                  <a:pt x="786" y="115"/>
                </a:cubicBezTo>
                <a:cubicBezTo>
                  <a:pt x="786" y="115"/>
                  <a:pt x="786" y="115"/>
                  <a:pt x="785" y="115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85" y="115"/>
                  <a:pt x="784" y="115"/>
                  <a:pt x="784" y="116"/>
                </a:cubicBezTo>
                <a:cubicBezTo>
                  <a:pt x="784" y="116"/>
                  <a:pt x="784" y="116"/>
                  <a:pt x="784" y="116"/>
                </a:cubicBezTo>
                <a:cubicBezTo>
                  <a:pt x="783" y="116"/>
                  <a:pt x="783" y="116"/>
                  <a:pt x="783" y="116"/>
                </a:cubicBezTo>
                <a:cubicBezTo>
                  <a:pt x="783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1" y="116"/>
                  <a:pt x="781" y="116"/>
                  <a:pt x="781" y="116"/>
                </a:cubicBezTo>
                <a:cubicBezTo>
                  <a:pt x="781" y="116"/>
                  <a:pt x="780" y="116"/>
                  <a:pt x="780" y="116"/>
                </a:cubicBezTo>
                <a:cubicBezTo>
                  <a:pt x="780" y="116"/>
                  <a:pt x="779" y="116"/>
                  <a:pt x="779" y="116"/>
                </a:cubicBezTo>
                <a:cubicBezTo>
                  <a:pt x="779" y="116"/>
                  <a:pt x="779" y="116"/>
                  <a:pt x="779" y="116"/>
                </a:cubicBezTo>
                <a:cubicBezTo>
                  <a:pt x="779" y="116"/>
                  <a:pt x="779" y="116"/>
                  <a:pt x="779" y="116"/>
                </a:cubicBezTo>
                <a:cubicBezTo>
                  <a:pt x="779" y="116"/>
                  <a:pt x="780" y="116"/>
                  <a:pt x="780" y="116"/>
                </a:cubicBezTo>
                <a:cubicBezTo>
                  <a:pt x="780" y="116"/>
                  <a:pt x="781" y="115"/>
                  <a:pt x="781" y="115"/>
                </a:cubicBezTo>
                <a:cubicBezTo>
                  <a:pt x="781" y="115"/>
                  <a:pt x="781" y="115"/>
                  <a:pt x="781" y="115"/>
                </a:cubicBezTo>
                <a:cubicBezTo>
                  <a:pt x="781" y="115"/>
                  <a:pt x="781" y="115"/>
                  <a:pt x="781" y="115"/>
                </a:cubicBezTo>
                <a:cubicBezTo>
                  <a:pt x="781" y="115"/>
                  <a:pt x="781" y="115"/>
                  <a:pt x="780" y="115"/>
                </a:cubicBezTo>
                <a:cubicBezTo>
                  <a:pt x="780" y="115"/>
                  <a:pt x="780" y="115"/>
                  <a:pt x="780" y="115"/>
                </a:cubicBezTo>
                <a:cubicBezTo>
                  <a:pt x="779" y="115"/>
                  <a:pt x="779" y="115"/>
                  <a:pt x="779" y="115"/>
                </a:cubicBezTo>
                <a:cubicBezTo>
                  <a:pt x="779" y="115"/>
                  <a:pt x="778" y="115"/>
                  <a:pt x="778" y="115"/>
                </a:cubicBezTo>
                <a:cubicBezTo>
                  <a:pt x="778" y="115"/>
                  <a:pt x="778" y="115"/>
                  <a:pt x="778" y="115"/>
                </a:cubicBezTo>
                <a:cubicBezTo>
                  <a:pt x="778" y="115"/>
                  <a:pt x="778" y="115"/>
                  <a:pt x="779" y="115"/>
                </a:cubicBezTo>
                <a:cubicBezTo>
                  <a:pt x="779" y="115"/>
                  <a:pt x="779" y="115"/>
                  <a:pt x="779" y="115"/>
                </a:cubicBezTo>
                <a:cubicBezTo>
                  <a:pt x="779" y="115"/>
                  <a:pt x="779" y="115"/>
                  <a:pt x="780" y="115"/>
                </a:cubicBezTo>
                <a:cubicBezTo>
                  <a:pt x="780" y="115"/>
                  <a:pt x="780" y="114"/>
                  <a:pt x="780" y="114"/>
                </a:cubicBezTo>
                <a:cubicBezTo>
                  <a:pt x="780" y="114"/>
                  <a:pt x="780" y="114"/>
                  <a:pt x="781" y="114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2" y="115"/>
                  <a:pt x="782" y="115"/>
                  <a:pt x="782" y="115"/>
                </a:cubicBezTo>
                <a:cubicBezTo>
                  <a:pt x="783" y="115"/>
                  <a:pt x="783" y="115"/>
                  <a:pt x="783" y="115"/>
                </a:cubicBezTo>
                <a:cubicBezTo>
                  <a:pt x="784" y="115"/>
                  <a:pt x="784" y="115"/>
                  <a:pt x="784" y="115"/>
                </a:cubicBezTo>
                <a:cubicBezTo>
                  <a:pt x="784" y="115"/>
                  <a:pt x="785" y="114"/>
                  <a:pt x="785" y="114"/>
                </a:cubicBezTo>
                <a:cubicBezTo>
                  <a:pt x="785" y="114"/>
                  <a:pt x="786" y="114"/>
                  <a:pt x="786" y="114"/>
                </a:cubicBezTo>
                <a:cubicBezTo>
                  <a:pt x="786" y="114"/>
                  <a:pt x="786" y="114"/>
                  <a:pt x="787" y="114"/>
                </a:cubicBezTo>
                <a:cubicBezTo>
                  <a:pt x="787" y="114"/>
                  <a:pt x="787" y="114"/>
                  <a:pt x="787" y="113"/>
                </a:cubicBezTo>
                <a:cubicBezTo>
                  <a:pt x="787" y="113"/>
                  <a:pt x="788" y="113"/>
                  <a:pt x="788" y="113"/>
                </a:cubicBezTo>
                <a:cubicBezTo>
                  <a:pt x="788" y="113"/>
                  <a:pt x="788" y="113"/>
                  <a:pt x="788" y="113"/>
                </a:cubicBezTo>
                <a:cubicBezTo>
                  <a:pt x="788" y="113"/>
                  <a:pt x="788" y="113"/>
                  <a:pt x="788" y="113"/>
                </a:cubicBezTo>
                <a:cubicBezTo>
                  <a:pt x="787" y="112"/>
                  <a:pt x="787" y="112"/>
                  <a:pt x="787" y="112"/>
                </a:cubicBezTo>
                <a:cubicBezTo>
                  <a:pt x="786" y="112"/>
                  <a:pt x="786" y="112"/>
                  <a:pt x="786" y="112"/>
                </a:cubicBezTo>
                <a:cubicBezTo>
                  <a:pt x="785" y="112"/>
                  <a:pt x="785" y="112"/>
                  <a:pt x="785" y="112"/>
                </a:cubicBezTo>
                <a:cubicBezTo>
                  <a:pt x="785" y="112"/>
                  <a:pt x="785" y="112"/>
                  <a:pt x="784" y="112"/>
                </a:cubicBezTo>
                <a:cubicBezTo>
                  <a:pt x="784" y="112"/>
                  <a:pt x="784" y="112"/>
                  <a:pt x="783" y="112"/>
                </a:cubicBezTo>
                <a:cubicBezTo>
                  <a:pt x="783" y="112"/>
                  <a:pt x="783" y="112"/>
                  <a:pt x="782" y="112"/>
                </a:cubicBezTo>
                <a:cubicBezTo>
                  <a:pt x="782" y="112"/>
                  <a:pt x="782" y="112"/>
                  <a:pt x="782" y="112"/>
                </a:cubicBezTo>
                <a:cubicBezTo>
                  <a:pt x="782" y="112"/>
                  <a:pt x="781" y="112"/>
                  <a:pt x="781" y="112"/>
                </a:cubicBezTo>
                <a:cubicBezTo>
                  <a:pt x="781" y="113"/>
                  <a:pt x="781" y="113"/>
                  <a:pt x="781" y="113"/>
                </a:cubicBezTo>
                <a:cubicBezTo>
                  <a:pt x="781" y="113"/>
                  <a:pt x="780" y="113"/>
                  <a:pt x="780" y="113"/>
                </a:cubicBezTo>
                <a:cubicBezTo>
                  <a:pt x="780" y="113"/>
                  <a:pt x="779" y="113"/>
                  <a:pt x="779" y="113"/>
                </a:cubicBezTo>
                <a:cubicBezTo>
                  <a:pt x="779" y="113"/>
                  <a:pt x="778" y="113"/>
                  <a:pt x="778" y="113"/>
                </a:cubicBezTo>
                <a:cubicBezTo>
                  <a:pt x="778" y="113"/>
                  <a:pt x="778" y="113"/>
                  <a:pt x="778" y="113"/>
                </a:cubicBezTo>
                <a:cubicBezTo>
                  <a:pt x="778" y="113"/>
                  <a:pt x="778" y="113"/>
                  <a:pt x="778" y="113"/>
                </a:cubicBezTo>
                <a:cubicBezTo>
                  <a:pt x="777" y="113"/>
                  <a:pt x="777" y="113"/>
                  <a:pt x="777" y="113"/>
                </a:cubicBezTo>
                <a:cubicBezTo>
                  <a:pt x="777" y="113"/>
                  <a:pt x="777" y="113"/>
                  <a:pt x="777" y="113"/>
                </a:cubicBezTo>
                <a:cubicBezTo>
                  <a:pt x="777" y="113"/>
                  <a:pt x="776" y="113"/>
                  <a:pt x="776" y="113"/>
                </a:cubicBezTo>
                <a:cubicBezTo>
                  <a:pt x="776" y="113"/>
                  <a:pt x="776" y="113"/>
                  <a:pt x="776" y="113"/>
                </a:cubicBezTo>
                <a:cubicBezTo>
                  <a:pt x="776" y="113"/>
                  <a:pt x="776" y="112"/>
                  <a:pt x="777" y="112"/>
                </a:cubicBezTo>
                <a:cubicBezTo>
                  <a:pt x="777" y="112"/>
                  <a:pt x="777" y="112"/>
                  <a:pt x="778" y="112"/>
                </a:cubicBezTo>
                <a:cubicBezTo>
                  <a:pt x="778" y="112"/>
                  <a:pt x="778" y="112"/>
                  <a:pt x="779" y="112"/>
                </a:cubicBezTo>
                <a:cubicBezTo>
                  <a:pt x="779" y="112"/>
                  <a:pt x="780" y="112"/>
                  <a:pt x="781" y="112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1" y="111"/>
                  <a:pt x="781" y="111"/>
                </a:cubicBezTo>
                <a:cubicBezTo>
                  <a:pt x="781" y="111"/>
                  <a:pt x="781" y="111"/>
                  <a:pt x="780" y="111"/>
                </a:cubicBezTo>
                <a:cubicBezTo>
                  <a:pt x="780" y="111"/>
                  <a:pt x="780" y="110"/>
                  <a:pt x="779" y="110"/>
                </a:cubicBezTo>
                <a:cubicBezTo>
                  <a:pt x="779" y="110"/>
                  <a:pt x="779" y="110"/>
                  <a:pt x="778" y="110"/>
                </a:cubicBezTo>
                <a:cubicBezTo>
                  <a:pt x="778" y="110"/>
                  <a:pt x="778" y="110"/>
                  <a:pt x="778" y="110"/>
                </a:cubicBezTo>
                <a:cubicBezTo>
                  <a:pt x="778" y="109"/>
                  <a:pt x="778" y="109"/>
                  <a:pt x="778" y="109"/>
                </a:cubicBezTo>
                <a:cubicBezTo>
                  <a:pt x="778" y="109"/>
                  <a:pt x="778" y="109"/>
                  <a:pt x="778" y="109"/>
                </a:cubicBezTo>
                <a:cubicBezTo>
                  <a:pt x="778" y="109"/>
                  <a:pt x="778" y="109"/>
                  <a:pt x="779" y="109"/>
                </a:cubicBezTo>
                <a:cubicBezTo>
                  <a:pt x="779" y="109"/>
                  <a:pt x="779" y="109"/>
                  <a:pt x="779" y="109"/>
                </a:cubicBezTo>
                <a:cubicBezTo>
                  <a:pt x="779" y="109"/>
                  <a:pt x="779" y="110"/>
                  <a:pt x="779" y="110"/>
                </a:cubicBezTo>
                <a:cubicBezTo>
                  <a:pt x="779" y="110"/>
                  <a:pt x="779" y="110"/>
                  <a:pt x="780" y="110"/>
                </a:cubicBezTo>
                <a:cubicBezTo>
                  <a:pt x="780" y="110"/>
                  <a:pt x="780" y="110"/>
                  <a:pt x="781" y="110"/>
                </a:cubicBezTo>
                <a:cubicBezTo>
                  <a:pt x="781" y="111"/>
                  <a:pt x="781" y="111"/>
                  <a:pt x="781" y="111"/>
                </a:cubicBezTo>
                <a:cubicBezTo>
                  <a:pt x="781" y="111"/>
                  <a:pt x="782" y="111"/>
                  <a:pt x="782" y="111"/>
                </a:cubicBezTo>
                <a:cubicBezTo>
                  <a:pt x="782" y="111"/>
                  <a:pt x="782" y="111"/>
                  <a:pt x="782" y="111"/>
                </a:cubicBezTo>
                <a:cubicBezTo>
                  <a:pt x="783" y="111"/>
                  <a:pt x="783" y="111"/>
                  <a:pt x="783" y="111"/>
                </a:cubicBezTo>
                <a:cubicBezTo>
                  <a:pt x="783" y="111"/>
                  <a:pt x="784" y="111"/>
                  <a:pt x="784" y="111"/>
                </a:cubicBezTo>
                <a:cubicBezTo>
                  <a:pt x="784" y="111"/>
                  <a:pt x="785" y="111"/>
                  <a:pt x="785" y="111"/>
                </a:cubicBezTo>
                <a:cubicBezTo>
                  <a:pt x="785" y="111"/>
                  <a:pt x="785" y="111"/>
                  <a:pt x="786" y="111"/>
                </a:cubicBezTo>
                <a:cubicBezTo>
                  <a:pt x="786" y="111"/>
                  <a:pt x="786" y="110"/>
                  <a:pt x="786" y="110"/>
                </a:cubicBezTo>
                <a:cubicBezTo>
                  <a:pt x="787" y="110"/>
                  <a:pt x="787" y="110"/>
                  <a:pt x="787" y="110"/>
                </a:cubicBezTo>
                <a:cubicBezTo>
                  <a:pt x="787" y="110"/>
                  <a:pt x="787" y="110"/>
                  <a:pt x="788" y="110"/>
                </a:cubicBezTo>
                <a:cubicBezTo>
                  <a:pt x="788" y="109"/>
                  <a:pt x="788" y="109"/>
                  <a:pt x="788" y="109"/>
                </a:cubicBezTo>
                <a:cubicBezTo>
                  <a:pt x="789" y="109"/>
                  <a:pt x="789" y="109"/>
                  <a:pt x="789" y="109"/>
                </a:cubicBezTo>
                <a:cubicBezTo>
                  <a:pt x="789" y="109"/>
                  <a:pt x="789" y="109"/>
                  <a:pt x="789" y="109"/>
                </a:cubicBezTo>
                <a:cubicBezTo>
                  <a:pt x="789" y="109"/>
                  <a:pt x="789" y="109"/>
                  <a:pt x="789" y="108"/>
                </a:cubicBezTo>
                <a:cubicBezTo>
                  <a:pt x="789" y="108"/>
                  <a:pt x="788" y="108"/>
                  <a:pt x="788" y="108"/>
                </a:cubicBezTo>
                <a:cubicBezTo>
                  <a:pt x="788" y="108"/>
                  <a:pt x="788" y="108"/>
                  <a:pt x="788" y="108"/>
                </a:cubicBezTo>
                <a:cubicBezTo>
                  <a:pt x="787" y="107"/>
                  <a:pt x="787" y="107"/>
                  <a:pt x="787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5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7" y="106"/>
                  <a:pt x="787" y="106"/>
                  <a:pt x="787" y="106"/>
                </a:cubicBezTo>
                <a:cubicBezTo>
                  <a:pt x="787" y="106"/>
                  <a:pt x="787" y="106"/>
                  <a:pt x="787" y="107"/>
                </a:cubicBezTo>
                <a:cubicBezTo>
                  <a:pt x="788" y="107"/>
                  <a:pt x="788" y="107"/>
                  <a:pt x="788" y="108"/>
                </a:cubicBezTo>
                <a:cubicBezTo>
                  <a:pt x="789" y="108"/>
                  <a:pt x="790" y="109"/>
                  <a:pt x="790" y="109"/>
                </a:cubicBezTo>
                <a:cubicBezTo>
                  <a:pt x="791" y="109"/>
                  <a:pt x="791" y="109"/>
                  <a:pt x="791" y="109"/>
                </a:cubicBezTo>
                <a:cubicBezTo>
                  <a:pt x="791" y="109"/>
                  <a:pt x="791" y="109"/>
                  <a:pt x="791" y="109"/>
                </a:cubicBezTo>
                <a:cubicBezTo>
                  <a:pt x="791" y="109"/>
                  <a:pt x="791" y="108"/>
                  <a:pt x="791" y="108"/>
                </a:cubicBezTo>
                <a:cubicBezTo>
                  <a:pt x="791" y="108"/>
                  <a:pt x="791" y="108"/>
                  <a:pt x="791" y="107"/>
                </a:cubicBezTo>
                <a:cubicBezTo>
                  <a:pt x="791" y="107"/>
                  <a:pt x="791" y="107"/>
                  <a:pt x="791" y="107"/>
                </a:cubicBezTo>
                <a:cubicBezTo>
                  <a:pt x="791" y="106"/>
                  <a:pt x="791" y="106"/>
                  <a:pt x="791" y="106"/>
                </a:cubicBezTo>
                <a:cubicBezTo>
                  <a:pt x="792" y="106"/>
                  <a:pt x="792" y="106"/>
                  <a:pt x="792" y="106"/>
                </a:cubicBezTo>
                <a:cubicBezTo>
                  <a:pt x="792" y="106"/>
                  <a:pt x="792" y="106"/>
                  <a:pt x="792" y="106"/>
                </a:cubicBezTo>
                <a:cubicBezTo>
                  <a:pt x="792" y="106"/>
                  <a:pt x="792" y="106"/>
                  <a:pt x="792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4" y="107"/>
                  <a:pt x="795" y="107"/>
                  <a:pt x="795" y="107"/>
                </a:cubicBezTo>
                <a:cubicBezTo>
                  <a:pt x="796" y="107"/>
                  <a:pt x="797" y="108"/>
                  <a:pt x="797" y="108"/>
                </a:cubicBezTo>
                <a:cubicBezTo>
                  <a:pt x="797" y="108"/>
                  <a:pt x="798" y="108"/>
                  <a:pt x="798" y="108"/>
                </a:cubicBezTo>
                <a:cubicBezTo>
                  <a:pt x="798" y="108"/>
                  <a:pt x="798" y="108"/>
                  <a:pt x="799" y="108"/>
                </a:cubicBezTo>
                <a:cubicBezTo>
                  <a:pt x="799" y="108"/>
                  <a:pt x="799" y="108"/>
                  <a:pt x="799" y="108"/>
                </a:cubicBezTo>
                <a:cubicBezTo>
                  <a:pt x="799" y="108"/>
                  <a:pt x="799" y="108"/>
                  <a:pt x="800" y="108"/>
                </a:cubicBezTo>
                <a:cubicBezTo>
                  <a:pt x="800" y="108"/>
                  <a:pt x="800" y="108"/>
                  <a:pt x="799" y="108"/>
                </a:cubicBezTo>
                <a:cubicBezTo>
                  <a:pt x="799" y="108"/>
                  <a:pt x="798" y="108"/>
                  <a:pt x="798" y="108"/>
                </a:cubicBezTo>
                <a:cubicBezTo>
                  <a:pt x="798" y="109"/>
                  <a:pt x="798" y="109"/>
                  <a:pt x="798" y="109"/>
                </a:cubicBezTo>
                <a:cubicBezTo>
                  <a:pt x="797" y="108"/>
                  <a:pt x="797" y="108"/>
                  <a:pt x="796" y="108"/>
                </a:cubicBezTo>
                <a:cubicBezTo>
                  <a:pt x="796" y="108"/>
                  <a:pt x="795" y="108"/>
                  <a:pt x="794" y="108"/>
                </a:cubicBezTo>
                <a:cubicBezTo>
                  <a:pt x="794" y="108"/>
                  <a:pt x="794" y="107"/>
                  <a:pt x="794" y="107"/>
                </a:cubicBezTo>
                <a:cubicBezTo>
                  <a:pt x="794" y="107"/>
                  <a:pt x="794" y="107"/>
                  <a:pt x="793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3" y="107"/>
                  <a:pt x="793" y="108"/>
                  <a:pt x="792" y="108"/>
                </a:cubicBezTo>
                <a:cubicBezTo>
                  <a:pt x="792" y="108"/>
                  <a:pt x="793" y="108"/>
                  <a:pt x="793" y="108"/>
                </a:cubicBezTo>
                <a:cubicBezTo>
                  <a:pt x="793" y="108"/>
                  <a:pt x="793" y="108"/>
                  <a:pt x="793" y="109"/>
                </a:cubicBezTo>
                <a:cubicBezTo>
                  <a:pt x="794" y="109"/>
                  <a:pt x="795" y="109"/>
                  <a:pt x="795" y="110"/>
                </a:cubicBezTo>
                <a:cubicBezTo>
                  <a:pt x="796" y="110"/>
                  <a:pt x="796" y="110"/>
                  <a:pt x="797" y="110"/>
                </a:cubicBezTo>
                <a:cubicBezTo>
                  <a:pt x="797" y="110"/>
                  <a:pt x="798" y="111"/>
                  <a:pt x="798" y="111"/>
                </a:cubicBezTo>
                <a:cubicBezTo>
                  <a:pt x="798" y="111"/>
                  <a:pt x="799" y="111"/>
                  <a:pt x="799" y="111"/>
                </a:cubicBezTo>
                <a:cubicBezTo>
                  <a:pt x="799" y="111"/>
                  <a:pt x="800" y="111"/>
                  <a:pt x="800" y="111"/>
                </a:cubicBezTo>
                <a:cubicBezTo>
                  <a:pt x="800" y="111"/>
                  <a:pt x="800" y="111"/>
                  <a:pt x="801" y="111"/>
                </a:cubicBezTo>
                <a:cubicBezTo>
                  <a:pt x="801" y="111"/>
                  <a:pt x="801" y="111"/>
                  <a:pt x="801" y="111"/>
                </a:cubicBezTo>
                <a:cubicBezTo>
                  <a:pt x="801" y="111"/>
                  <a:pt x="801" y="110"/>
                  <a:pt x="801" y="110"/>
                </a:cubicBezTo>
                <a:cubicBezTo>
                  <a:pt x="801" y="110"/>
                  <a:pt x="801" y="110"/>
                  <a:pt x="802" y="110"/>
                </a:cubicBezTo>
                <a:cubicBezTo>
                  <a:pt x="802" y="110"/>
                  <a:pt x="802" y="110"/>
                  <a:pt x="802" y="110"/>
                </a:cubicBezTo>
                <a:cubicBezTo>
                  <a:pt x="802" y="110"/>
                  <a:pt x="803" y="110"/>
                  <a:pt x="803" y="110"/>
                </a:cubicBezTo>
                <a:cubicBezTo>
                  <a:pt x="803" y="110"/>
                  <a:pt x="803" y="109"/>
                  <a:pt x="803" y="109"/>
                </a:cubicBezTo>
                <a:cubicBezTo>
                  <a:pt x="803" y="109"/>
                  <a:pt x="803" y="109"/>
                  <a:pt x="803" y="109"/>
                </a:cubicBezTo>
                <a:cubicBezTo>
                  <a:pt x="804" y="109"/>
                  <a:pt x="804" y="109"/>
                  <a:pt x="804" y="109"/>
                </a:cubicBezTo>
                <a:cubicBezTo>
                  <a:pt x="804" y="109"/>
                  <a:pt x="805" y="109"/>
                  <a:pt x="805" y="109"/>
                </a:cubicBezTo>
                <a:cubicBezTo>
                  <a:pt x="805" y="109"/>
                  <a:pt x="805" y="109"/>
                  <a:pt x="806" y="109"/>
                </a:cubicBezTo>
                <a:cubicBezTo>
                  <a:pt x="806" y="109"/>
                  <a:pt x="806" y="109"/>
                  <a:pt x="807" y="109"/>
                </a:cubicBezTo>
                <a:cubicBezTo>
                  <a:pt x="807" y="109"/>
                  <a:pt x="807" y="109"/>
                  <a:pt x="808" y="109"/>
                </a:cubicBezTo>
                <a:cubicBezTo>
                  <a:pt x="808" y="109"/>
                  <a:pt x="808" y="109"/>
                  <a:pt x="808" y="109"/>
                </a:cubicBezTo>
                <a:cubicBezTo>
                  <a:pt x="808" y="108"/>
                  <a:pt x="808" y="108"/>
                  <a:pt x="808" y="108"/>
                </a:cubicBezTo>
                <a:cubicBezTo>
                  <a:pt x="808" y="107"/>
                  <a:pt x="808" y="107"/>
                  <a:pt x="808" y="107"/>
                </a:cubicBezTo>
                <a:cubicBezTo>
                  <a:pt x="808" y="107"/>
                  <a:pt x="808" y="107"/>
                  <a:pt x="809" y="106"/>
                </a:cubicBezTo>
                <a:cubicBezTo>
                  <a:pt x="809" y="106"/>
                  <a:pt x="809" y="106"/>
                  <a:pt x="809" y="106"/>
                </a:cubicBezTo>
                <a:cubicBezTo>
                  <a:pt x="809" y="105"/>
                  <a:pt x="809" y="105"/>
                  <a:pt x="809" y="105"/>
                </a:cubicBezTo>
                <a:cubicBezTo>
                  <a:pt x="809" y="105"/>
                  <a:pt x="809" y="105"/>
                  <a:pt x="809" y="105"/>
                </a:cubicBezTo>
                <a:cubicBezTo>
                  <a:pt x="809" y="105"/>
                  <a:pt x="808" y="105"/>
                  <a:pt x="808" y="105"/>
                </a:cubicBezTo>
                <a:cubicBezTo>
                  <a:pt x="808" y="105"/>
                  <a:pt x="808" y="105"/>
                  <a:pt x="807" y="105"/>
                </a:cubicBezTo>
                <a:cubicBezTo>
                  <a:pt x="807" y="105"/>
                  <a:pt x="807" y="105"/>
                  <a:pt x="807" y="105"/>
                </a:cubicBezTo>
                <a:cubicBezTo>
                  <a:pt x="807" y="105"/>
                  <a:pt x="807" y="105"/>
                  <a:pt x="807" y="105"/>
                </a:cubicBezTo>
                <a:cubicBezTo>
                  <a:pt x="806" y="105"/>
                  <a:pt x="806" y="105"/>
                  <a:pt x="806" y="105"/>
                </a:cubicBezTo>
                <a:cubicBezTo>
                  <a:pt x="806" y="105"/>
                  <a:pt x="806" y="105"/>
                  <a:pt x="806" y="105"/>
                </a:cubicBezTo>
                <a:cubicBezTo>
                  <a:pt x="805" y="105"/>
                  <a:pt x="805" y="105"/>
                  <a:pt x="805" y="105"/>
                </a:cubicBezTo>
                <a:cubicBezTo>
                  <a:pt x="805" y="105"/>
                  <a:pt x="805" y="105"/>
                  <a:pt x="804" y="105"/>
                </a:cubicBezTo>
                <a:cubicBezTo>
                  <a:pt x="804" y="104"/>
                  <a:pt x="804" y="104"/>
                  <a:pt x="804" y="104"/>
                </a:cubicBezTo>
                <a:cubicBezTo>
                  <a:pt x="804" y="104"/>
                  <a:pt x="804" y="104"/>
                  <a:pt x="803" y="104"/>
                </a:cubicBezTo>
                <a:cubicBezTo>
                  <a:pt x="803" y="104"/>
                  <a:pt x="803" y="104"/>
                  <a:pt x="803" y="104"/>
                </a:cubicBezTo>
                <a:cubicBezTo>
                  <a:pt x="803" y="104"/>
                  <a:pt x="803" y="104"/>
                  <a:pt x="803" y="104"/>
                </a:cubicBezTo>
                <a:cubicBezTo>
                  <a:pt x="803" y="105"/>
                  <a:pt x="803" y="105"/>
                  <a:pt x="803" y="105"/>
                </a:cubicBezTo>
                <a:cubicBezTo>
                  <a:pt x="803" y="105"/>
                  <a:pt x="803" y="105"/>
                  <a:pt x="803" y="105"/>
                </a:cubicBezTo>
                <a:cubicBezTo>
                  <a:pt x="803" y="105"/>
                  <a:pt x="803" y="106"/>
                  <a:pt x="803" y="106"/>
                </a:cubicBezTo>
                <a:cubicBezTo>
                  <a:pt x="803" y="106"/>
                  <a:pt x="803" y="106"/>
                  <a:pt x="803" y="106"/>
                </a:cubicBezTo>
                <a:cubicBezTo>
                  <a:pt x="803" y="106"/>
                  <a:pt x="803" y="107"/>
                  <a:pt x="803" y="107"/>
                </a:cubicBezTo>
                <a:cubicBezTo>
                  <a:pt x="803" y="107"/>
                  <a:pt x="802" y="107"/>
                  <a:pt x="802" y="107"/>
                </a:cubicBezTo>
                <a:cubicBezTo>
                  <a:pt x="802" y="106"/>
                  <a:pt x="803" y="106"/>
                  <a:pt x="803" y="106"/>
                </a:cubicBezTo>
                <a:cubicBezTo>
                  <a:pt x="803" y="106"/>
                  <a:pt x="802" y="105"/>
                  <a:pt x="802" y="105"/>
                </a:cubicBezTo>
                <a:cubicBezTo>
                  <a:pt x="802" y="105"/>
                  <a:pt x="802" y="105"/>
                  <a:pt x="802" y="105"/>
                </a:cubicBezTo>
                <a:cubicBezTo>
                  <a:pt x="802" y="105"/>
                  <a:pt x="801" y="104"/>
                  <a:pt x="801" y="104"/>
                </a:cubicBezTo>
                <a:cubicBezTo>
                  <a:pt x="801" y="104"/>
                  <a:pt x="801" y="104"/>
                  <a:pt x="801" y="104"/>
                </a:cubicBezTo>
                <a:cubicBezTo>
                  <a:pt x="801" y="104"/>
                  <a:pt x="800" y="104"/>
                  <a:pt x="800" y="104"/>
                </a:cubicBezTo>
                <a:cubicBezTo>
                  <a:pt x="800" y="104"/>
                  <a:pt x="800" y="104"/>
                  <a:pt x="800" y="103"/>
                </a:cubicBezTo>
                <a:cubicBezTo>
                  <a:pt x="801" y="103"/>
                  <a:pt x="801" y="103"/>
                  <a:pt x="801" y="103"/>
                </a:cubicBezTo>
                <a:cubicBezTo>
                  <a:pt x="801" y="103"/>
                  <a:pt x="802" y="103"/>
                  <a:pt x="802" y="102"/>
                </a:cubicBezTo>
                <a:cubicBezTo>
                  <a:pt x="802" y="102"/>
                  <a:pt x="802" y="102"/>
                  <a:pt x="802" y="102"/>
                </a:cubicBezTo>
                <a:cubicBezTo>
                  <a:pt x="802" y="102"/>
                  <a:pt x="802" y="102"/>
                  <a:pt x="801" y="102"/>
                </a:cubicBezTo>
                <a:cubicBezTo>
                  <a:pt x="801" y="102"/>
                  <a:pt x="801" y="102"/>
                  <a:pt x="801" y="102"/>
                </a:cubicBezTo>
                <a:cubicBezTo>
                  <a:pt x="801" y="102"/>
                  <a:pt x="801" y="101"/>
                  <a:pt x="801" y="101"/>
                </a:cubicBezTo>
                <a:cubicBezTo>
                  <a:pt x="802" y="101"/>
                  <a:pt x="802" y="101"/>
                  <a:pt x="802" y="101"/>
                </a:cubicBezTo>
                <a:cubicBezTo>
                  <a:pt x="802" y="101"/>
                  <a:pt x="803" y="101"/>
                  <a:pt x="803" y="101"/>
                </a:cubicBezTo>
                <a:cubicBezTo>
                  <a:pt x="803" y="101"/>
                  <a:pt x="803" y="101"/>
                  <a:pt x="803" y="101"/>
                </a:cubicBezTo>
                <a:cubicBezTo>
                  <a:pt x="803" y="100"/>
                  <a:pt x="803" y="100"/>
                  <a:pt x="803" y="100"/>
                </a:cubicBezTo>
                <a:cubicBezTo>
                  <a:pt x="803" y="100"/>
                  <a:pt x="803" y="99"/>
                  <a:pt x="803" y="99"/>
                </a:cubicBezTo>
                <a:cubicBezTo>
                  <a:pt x="803" y="99"/>
                  <a:pt x="803" y="99"/>
                  <a:pt x="803" y="99"/>
                </a:cubicBezTo>
                <a:cubicBezTo>
                  <a:pt x="803" y="99"/>
                  <a:pt x="803" y="99"/>
                  <a:pt x="803" y="99"/>
                </a:cubicBezTo>
                <a:cubicBezTo>
                  <a:pt x="803" y="99"/>
                  <a:pt x="803" y="99"/>
                  <a:pt x="804" y="99"/>
                </a:cubicBezTo>
                <a:cubicBezTo>
                  <a:pt x="804" y="100"/>
                  <a:pt x="804" y="100"/>
                  <a:pt x="804" y="100"/>
                </a:cubicBezTo>
                <a:cubicBezTo>
                  <a:pt x="804" y="100"/>
                  <a:pt x="804" y="100"/>
                  <a:pt x="804" y="100"/>
                </a:cubicBezTo>
                <a:cubicBezTo>
                  <a:pt x="805" y="100"/>
                  <a:pt x="805" y="100"/>
                  <a:pt x="805" y="100"/>
                </a:cubicBezTo>
                <a:cubicBezTo>
                  <a:pt x="806" y="100"/>
                  <a:pt x="806" y="100"/>
                  <a:pt x="806" y="100"/>
                </a:cubicBezTo>
                <a:cubicBezTo>
                  <a:pt x="806" y="100"/>
                  <a:pt x="807" y="100"/>
                  <a:pt x="807" y="100"/>
                </a:cubicBezTo>
                <a:cubicBezTo>
                  <a:pt x="807" y="100"/>
                  <a:pt x="807" y="100"/>
                  <a:pt x="808" y="100"/>
                </a:cubicBezTo>
                <a:cubicBezTo>
                  <a:pt x="808" y="100"/>
                  <a:pt x="808" y="100"/>
                  <a:pt x="809" y="100"/>
                </a:cubicBezTo>
                <a:cubicBezTo>
                  <a:pt x="809" y="100"/>
                  <a:pt x="810" y="100"/>
                  <a:pt x="810" y="101"/>
                </a:cubicBezTo>
                <a:cubicBezTo>
                  <a:pt x="810" y="101"/>
                  <a:pt x="810" y="101"/>
                  <a:pt x="810" y="101"/>
                </a:cubicBezTo>
                <a:cubicBezTo>
                  <a:pt x="810" y="101"/>
                  <a:pt x="810" y="101"/>
                  <a:pt x="811" y="102"/>
                </a:cubicBezTo>
                <a:cubicBezTo>
                  <a:pt x="811" y="102"/>
                  <a:pt x="811" y="102"/>
                  <a:pt x="811" y="102"/>
                </a:cubicBezTo>
                <a:cubicBezTo>
                  <a:pt x="811" y="102"/>
                  <a:pt x="811" y="102"/>
                  <a:pt x="811" y="102"/>
                </a:cubicBezTo>
                <a:cubicBezTo>
                  <a:pt x="812" y="102"/>
                  <a:pt x="812" y="102"/>
                  <a:pt x="812" y="102"/>
                </a:cubicBezTo>
                <a:cubicBezTo>
                  <a:pt x="812" y="102"/>
                  <a:pt x="813" y="102"/>
                  <a:pt x="813" y="102"/>
                </a:cubicBezTo>
                <a:cubicBezTo>
                  <a:pt x="814" y="102"/>
                  <a:pt x="814" y="101"/>
                  <a:pt x="814" y="101"/>
                </a:cubicBezTo>
                <a:cubicBezTo>
                  <a:pt x="814" y="101"/>
                  <a:pt x="815" y="100"/>
                  <a:pt x="815" y="100"/>
                </a:cubicBezTo>
                <a:cubicBezTo>
                  <a:pt x="814" y="100"/>
                  <a:pt x="814" y="100"/>
                  <a:pt x="814" y="100"/>
                </a:cubicBezTo>
                <a:cubicBezTo>
                  <a:pt x="814" y="100"/>
                  <a:pt x="814" y="99"/>
                  <a:pt x="814" y="99"/>
                </a:cubicBezTo>
                <a:cubicBezTo>
                  <a:pt x="814" y="99"/>
                  <a:pt x="814" y="99"/>
                  <a:pt x="814" y="99"/>
                </a:cubicBezTo>
                <a:cubicBezTo>
                  <a:pt x="814" y="99"/>
                  <a:pt x="814" y="99"/>
                  <a:pt x="814" y="98"/>
                </a:cubicBezTo>
                <a:cubicBezTo>
                  <a:pt x="814" y="98"/>
                  <a:pt x="813" y="98"/>
                  <a:pt x="813" y="98"/>
                </a:cubicBezTo>
                <a:cubicBezTo>
                  <a:pt x="813" y="99"/>
                  <a:pt x="813" y="99"/>
                  <a:pt x="812" y="99"/>
                </a:cubicBezTo>
                <a:cubicBezTo>
                  <a:pt x="812" y="99"/>
                  <a:pt x="812" y="99"/>
                  <a:pt x="812" y="99"/>
                </a:cubicBezTo>
                <a:cubicBezTo>
                  <a:pt x="812" y="99"/>
                  <a:pt x="811" y="99"/>
                  <a:pt x="811" y="99"/>
                </a:cubicBezTo>
                <a:cubicBezTo>
                  <a:pt x="810" y="99"/>
                  <a:pt x="810" y="98"/>
                  <a:pt x="810" y="98"/>
                </a:cubicBezTo>
                <a:cubicBezTo>
                  <a:pt x="809" y="98"/>
                  <a:pt x="809" y="98"/>
                  <a:pt x="808" y="98"/>
                </a:cubicBezTo>
                <a:cubicBezTo>
                  <a:pt x="808" y="98"/>
                  <a:pt x="808" y="98"/>
                  <a:pt x="808" y="98"/>
                </a:cubicBezTo>
                <a:cubicBezTo>
                  <a:pt x="808" y="98"/>
                  <a:pt x="808" y="98"/>
                  <a:pt x="807" y="98"/>
                </a:cubicBezTo>
                <a:cubicBezTo>
                  <a:pt x="807" y="98"/>
                  <a:pt x="807" y="98"/>
                  <a:pt x="807" y="98"/>
                </a:cubicBezTo>
                <a:cubicBezTo>
                  <a:pt x="807" y="98"/>
                  <a:pt x="808" y="98"/>
                  <a:pt x="808" y="98"/>
                </a:cubicBezTo>
                <a:cubicBezTo>
                  <a:pt x="808" y="98"/>
                  <a:pt x="808" y="97"/>
                  <a:pt x="808" y="97"/>
                </a:cubicBezTo>
                <a:cubicBezTo>
                  <a:pt x="808" y="97"/>
                  <a:pt x="808" y="96"/>
                  <a:pt x="808" y="96"/>
                </a:cubicBezTo>
                <a:cubicBezTo>
                  <a:pt x="808" y="96"/>
                  <a:pt x="809" y="96"/>
                  <a:pt x="809" y="96"/>
                </a:cubicBezTo>
                <a:cubicBezTo>
                  <a:pt x="809" y="96"/>
                  <a:pt x="809" y="95"/>
                  <a:pt x="809" y="95"/>
                </a:cubicBezTo>
                <a:cubicBezTo>
                  <a:pt x="808" y="95"/>
                  <a:pt x="808" y="95"/>
                  <a:pt x="807" y="95"/>
                </a:cubicBezTo>
                <a:cubicBezTo>
                  <a:pt x="807" y="95"/>
                  <a:pt x="807" y="95"/>
                  <a:pt x="807" y="95"/>
                </a:cubicBezTo>
                <a:cubicBezTo>
                  <a:pt x="806" y="95"/>
                  <a:pt x="806" y="96"/>
                  <a:pt x="806" y="96"/>
                </a:cubicBezTo>
                <a:cubicBezTo>
                  <a:pt x="805" y="96"/>
                  <a:pt x="805" y="96"/>
                  <a:pt x="805" y="96"/>
                </a:cubicBezTo>
                <a:cubicBezTo>
                  <a:pt x="804" y="96"/>
                  <a:pt x="804" y="96"/>
                  <a:pt x="803" y="96"/>
                </a:cubicBezTo>
                <a:cubicBezTo>
                  <a:pt x="803" y="96"/>
                  <a:pt x="803" y="96"/>
                  <a:pt x="803" y="96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2" y="95"/>
                </a:cubicBezTo>
                <a:cubicBezTo>
                  <a:pt x="802" y="94"/>
                  <a:pt x="802" y="94"/>
                  <a:pt x="802" y="94"/>
                </a:cubicBezTo>
                <a:cubicBezTo>
                  <a:pt x="803" y="94"/>
                  <a:pt x="803" y="94"/>
                  <a:pt x="803" y="94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4" y="95"/>
                </a:cubicBezTo>
                <a:cubicBezTo>
                  <a:pt x="804" y="96"/>
                  <a:pt x="804" y="96"/>
                  <a:pt x="804" y="96"/>
                </a:cubicBezTo>
                <a:cubicBezTo>
                  <a:pt x="805" y="96"/>
                  <a:pt x="805" y="96"/>
                  <a:pt x="805" y="96"/>
                </a:cubicBezTo>
                <a:cubicBezTo>
                  <a:pt x="806" y="95"/>
                  <a:pt x="806" y="95"/>
                  <a:pt x="806" y="95"/>
                </a:cubicBezTo>
                <a:cubicBezTo>
                  <a:pt x="806" y="95"/>
                  <a:pt x="807" y="95"/>
                  <a:pt x="807" y="95"/>
                </a:cubicBezTo>
                <a:cubicBezTo>
                  <a:pt x="807" y="95"/>
                  <a:pt x="808" y="94"/>
                  <a:pt x="808" y="94"/>
                </a:cubicBezTo>
                <a:cubicBezTo>
                  <a:pt x="808" y="95"/>
                  <a:pt x="808" y="95"/>
                  <a:pt x="809" y="95"/>
                </a:cubicBezTo>
                <a:cubicBezTo>
                  <a:pt x="809" y="95"/>
                  <a:pt x="809" y="95"/>
                  <a:pt x="809" y="95"/>
                </a:cubicBezTo>
                <a:cubicBezTo>
                  <a:pt x="809" y="95"/>
                  <a:pt x="809" y="94"/>
                  <a:pt x="809" y="94"/>
                </a:cubicBezTo>
                <a:cubicBezTo>
                  <a:pt x="809" y="94"/>
                  <a:pt x="809" y="94"/>
                  <a:pt x="809" y="94"/>
                </a:cubicBezTo>
                <a:cubicBezTo>
                  <a:pt x="808" y="94"/>
                  <a:pt x="808" y="93"/>
                  <a:pt x="807" y="93"/>
                </a:cubicBezTo>
                <a:cubicBezTo>
                  <a:pt x="806" y="93"/>
                  <a:pt x="806" y="92"/>
                  <a:pt x="805" y="92"/>
                </a:cubicBezTo>
                <a:cubicBezTo>
                  <a:pt x="805" y="92"/>
                  <a:pt x="804" y="92"/>
                  <a:pt x="804" y="92"/>
                </a:cubicBezTo>
                <a:cubicBezTo>
                  <a:pt x="803" y="92"/>
                  <a:pt x="803" y="92"/>
                  <a:pt x="802" y="92"/>
                </a:cubicBezTo>
                <a:cubicBezTo>
                  <a:pt x="802" y="92"/>
                  <a:pt x="801" y="91"/>
                  <a:pt x="801" y="91"/>
                </a:cubicBezTo>
                <a:cubicBezTo>
                  <a:pt x="801" y="91"/>
                  <a:pt x="801" y="91"/>
                  <a:pt x="801" y="91"/>
                </a:cubicBezTo>
                <a:cubicBezTo>
                  <a:pt x="801" y="91"/>
                  <a:pt x="801" y="90"/>
                  <a:pt x="801" y="90"/>
                </a:cubicBezTo>
                <a:cubicBezTo>
                  <a:pt x="801" y="90"/>
                  <a:pt x="801" y="91"/>
                  <a:pt x="801" y="91"/>
                </a:cubicBezTo>
                <a:cubicBezTo>
                  <a:pt x="802" y="91"/>
                  <a:pt x="802" y="91"/>
                  <a:pt x="802" y="91"/>
                </a:cubicBezTo>
                <a:cubicBezTo>
                  <a:pt x="802" y="91"/>
                  <a:pt x="803" y="92"/>
                  <a:pt x="803" y="92"/>
                </a:cubicBezTo>
                <a:cubicBezTo>
                  <a:pt x="803" y="92"/>
                  <a:pt x="804" y="92"/>
                  <a:pt x="804" y="92"/>
                </a:cubicBezTo>
                <a:cubicBezTo>
                  <a:pt x="804" y="91"/>
                  <a:pt x="804" y="91"/>
                  <a:pt x="804" y="91"/>
                </a:cubicBezTo>
                <a:cubicBezTo>
                  <a:pt x="804" y="91"/>
                  <a:pt x="804" y="91"/>
                  <a:pt x="804" y="91"/>
                </a:cubicBezTo>
                <a:cubicBezTo>
                  <a:pt x="804" y="91"/>
                  <a:pt x="804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4" y="90"/>
                  <a:pt x="804" y="90"/>
                  <a:pt x="804" y="90"/>
                </a:cubicBezTo>
                <a:cubicBezTo>
                  <a:pt x="804" y="90"/>
                  <a:pt x="805" y="91"/>
                  <a:pt x="805" y="91"/>
                </a:cubicBezTo>
                <a:cubicBezTo>
                  <a:pt x="805" y="91"/>
                  <a:pt x="806" y="91"/>
                  <a:pt x="806" y="91"/>
                </a:cubicBezTo>
                <a:cubicBezTo>
                  <a:pt x="806" y="91"/>
                  <a:pt x="806" y="92"/>
                  <a:pt x="806" y="92"/>
                </a:cubicBezTo>
                <a:cubicBezTo>
                  <a:pt x="806" y="92"/>
                  <a:pt x="807" y="92"/>
                  <a:pt x="807" y="92"/>
                </a:cubicBezTo>
                <a:cubicBezTo>
                  <a:pt x="807" y="92"/>
                  <a:pt x="808" y="93"/>
                  <a:pt x="808" y="93"/>
                </a:cubicBezTo>
                <a:cubicBezTo>
                  <a:pt x="809" y="93"/>
                  <a:pt x="809" y="93"/>
                  <a:pt x="809" y="94"/>
                </a:cubicBezTo>
                <a:cubicBezTo>
                  <a:pt x="810" y="94"/>
                  <a:pt x="810" y="94"/>
                  <a:pt x="810" y="94"/>
                </a:cubicBezTo>
                <a:cubicBezTo>
                  <a:pt x="810" y="94"/>
                  <a:pt x="810" y="93"/>
                  <a:pt x="811" y="93"/>
                </a:cubicBezTo>
                <a:cubicBezTo>
                  <a:pt x="811" y="93"/>
                  <a:pt x="811" y="93"/>
                  <a:pt x="811" y="93"/>
                </a:cubicBezTo>
                <a:cubicBezTo>
                  <a:pt x="811" y="94"/>
                  <a:pt x="811" y="94"/>
                  <a:pt x="812" y="94"/>
                </a:cubicBezTo>
                <a:cubicBezTo>
                  <a:pt x="811" y="94"/>
                  <a:pt x="811" y="94"/>
                  <a:pt x="811" y="94"/>
                </a:cubicBezTo>
                <a:cubicBezTo>
                  <a:pt x="811" y="94"/>
                  <a:pt x="811" y="95"/>
                  <a:pt x="811" y="95"/>
                </a:cubicBezTo>
                <a:cubicBezTo>
                  <a:pt x="812" y="95"/>
                  <a:pt x="812" y="95"/>
                  <a:pt x="812" y="95"/>
                </a:cubicBezTo>
                <a:cubicBezTo>
                  <a:pt x="812" y="95"/>
                  <a:pt x="812" y="95"/>
                  <a:pt x="813" y="95"/>
                </a:cubicBezTo>
                <a:cubicBezTo>
                  <a:pt x="813" y="95"/>
                  <a:pt x="813" y="95"/>
                  <a:pt x="813" y="94"/>
                </a:cubicBezTo>
                <a:cubicBezTo>
                  <a:pt x="813" y="94"/>
                  <a:pt x="814" y="94"/>
                  <a:pt x="814" y="93"/>
                </a:cubicBezTo>
                <a:cubicBezTo>
                  <a:pt x="814" y="93"/>
                  <a:pt x="814" y="93"/>
                  <a:pt x="814" y="93"/>
                </a:cubicBezTo>
                <a:cubicBezTo>
                  <a:pt x="814" y="93"/>
                  <a:pt x="814" y="93"/>
                  <a:pt x="814" y="92"/>
                </a:cubicBezTo>
                <a:cubicBezTo>
                  <a:pt x="814" y="92"/>
                  <a:pt x="814" y="92"/>
                  <a:pt x="814" y="92"/>
                </a:cubicBezTo>
                <a:cubicBezTo>
                  <a:pt x="814" y="92"/>
                  <a:pt x="814" y="92"/>
                  <a:pt x="814" y="91"/>
                </a:cubicBezTo>
                <a:cubicBezTo>
                  <a:pt x="814" y="91"/>
                  <a:pt x="814" y="91"/>
                  <a:pt x="814" y="91"/>
                </a:cubicBezTo>
                <a:cubicBezTo>
                  <a:pt x="814" y="90"/>
                  <a:pt x="814" y="90"/>
                  <a:pt x="813" y="90"/>
                </a:cubicBezTo>
                <a:cubicBezTo>
                  <a:pt x="813" y="90"/>
                  <a:pt x="813" y="90"/>
                  <a:pt x="813" y="90"/>
                </a:cubicBezTo>
                <a:cubicBezTo>
                  <a:pt x="814" y="90"/>
                  <a:pt x="814" y="90"/>
                  <a:pt x="814" y="89"/>
                </a:cubicBezTo>
                <a:cubicBezTo>
                  <a:pt x="814" y="90"/>
                  <a:pt x="814" y="90"/>
                  <a:pt x="814" y="90"/>
                </a:cubicBezTo>
                <a:cubicBezTo>
                  <a:pt x="814" y="90"/>
                  <a:pt x="815" y="90"/>
                  <a:pt x="815" y="90"/>
                </a:cubicBezTo>
                <a:cubicBezTo>
                  <a:pt x="815" y="90"/>
                  <a:pt x="815" y="90"/>
                  <a:pt x="815" y="90"/>
                </a:cubicBezTo>
                <a:cubicBezTo>
                  <a:pt x="815" y="90"/>
                  <a:pt x="815" y="89"/>
                  <a:pt x="815" y="89"/>
                </a:cubicBezTo>
                <a:cubicBezTo>
                  <a:pt x="814" y="89"/>
                  <a:pt x="814" y="89"/>
                  <a:pt x="814" y="89"/>
                </a:cubicBezTo>
                <a:cubicBezTo>
                  <a:pt x="814" y="89"/>
                  <a:pt x="813" y="88"/>
                  <a:pt x="813" y="88"/>
                </a:cubicBezTo>
                <a:cubicBezTo>
                  <a:pt x="813" y="88"/>
                  <a:pt x="813" y="88"/>
                  <a:pt x="813" y="88"/>
                </a:cubicBezTo>
                <a:cubicBezTo>
                  <a:pt x="812" y="88"/>
                  <a:pt x="812" y="88"/>
                  <a:pt x="812" y="88"/>
                </a:cubicBezTo>
                <a:cubicBezTo>
                  <a:pt x="811" y="88"/>
                  <a:pt x="811" y="88"/>
                  <a:pt x="811" y="88"/>
                </a:cubicBezTo>
                <a:cubicBezTo>
                  <a:pt x="811" y="88"/>
                  <a:pt x="811" y="88"/>
                  <a:pt x="810" y="87"/>
                </a:cubicBezTo>
                <a:cubicBezTo>
                  <a:pt x="810" y="87"/>
                  <a:pt x="810" y="87"/>
                  <a:pt x="810" y="87"/>
                </a:cubicBezTo>
                <a:cubicBezTo>
                  <a:pt x="809" y="87"/>
                  <a:pt x="808" y="87"/>
                  <a:pt x="808" y="87"/>
                </a:cubicBezTo>
                <a:cubicBezTo>
                  <a:pt x="807" y="87"/>
                  <a:pt x="807" y="87"/>
                  <a:pt x="807" y="88"/>
                </a:cubicBezTo>
                <a:cubicBezTo>
                  <a:pt x="807" y="88"/>
                  <a:pt x="806" y="88"/>
                  <a:pt x="806" y="88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7" y="87"/>
                </a:cubicBezTo>
                <a:cubicBezTo>
                  <a:pt x="807" y="87"/>
                  <a:pt x="807" y="87"/>
                  <a:pt x="808" y="87"/>
                </a:cubicBezTo>
                <a:cubicBezTo>
                  <a:pt x="808" y="87"/>
                  <a:pt x="809" y="87"/>
                  <a:pt x="809" y="87"/>
                </a:cubicBezTo>
                <a:cubicBezTo>
                  <a:pt x="810" y="87"/>
                  <a:pt x="810" y="87"/>
                  <a:pt x="810" y="87"/>
                </a:cubicBezTo>
                <a:cubicBezTo>
                  <a:pt x="810" y="87"/>
                  <a:pt x="810" y="87"/>
                  <a:pt x="811" y="87"/>
                </a:cubicBezTo>
                <a:cubicBezTo>
                  <a:pt x="811" y="87"/>
                  <a:pt x="811" y="87"/>
                  <a:pt x="811" y="86"/>
                </a:cubicBezTo>
                <a:cubicBezTo>
                  <a:pt x="812" y="86"/>
                  <a:pt x="812" y="86"/>
                  <a:pt x="812" y="87"/>
                </a:cubicBezTo>
                <a:cubicBezTo>
                  <a:pt x="812" y="87"/>
                  <a:pt x="813" y="87"/>
                  <a:pt x="813" y="87"/>
                </a:cubicBezTo>
                <a:cubicBezTo>
                  <a:pt x="813" y="87"/>
                  <a:pt x="813" y="87"/>
                  <a:pt x="813" y="86"/>
                </a:cubicBezTo>
                <a:cubicBezTo>
                  <a:pt x="813" y="86"/>
                  <a:pt x="813" y="86"/>
                  <a:pt x="814" y="86"/>
                </a:cubicBezTo>
                <a:cubicBezTo>
                  <a:pt x="814" y="86"/>
                  <a:pt x="813" y="86"/>
                  <a:pt x="813" y="86"/>
                </a:cubicBezTo>
                <a:cubicBezTo>
                  <a:pt x="813" y="86"/>
                  <a:pt x="813" y="85"/>
                  <a:pt x="813" y="85"/>
                </a:cubicBezTo>
                <a:cubicBezTo>
                  <a:pt x="813" y="85"/>
                  <a:pt x="813" y="85"/>
                  <a:pt x="813" y="85"/>
                </a:cubicBezTo>
                <a:cubicBezTo>
                  <a:pt x="813" y="85"/>
                  <a:pt x="813" y="85"/>
                  <a:pt x="813" y="85"/>
                </a:cubicBezTo>
                <a:cubicBezTo>
                  <a:pt x="813" y="85"/>
                  <a:pt x="813" y="85"/>
                  <a:pt x="812" y="85"/>
                </a:cubicBezTo>
                <a:cubicBezTo>
                  <a:pt x="812" y="85"/>
                  <a:pt x="812" y="85"/>
                  <a:pt x="812" y="85"/>
                </a:cubicBezTo>
                <a:cubicBezTo>
                  <a:pt x="811" y="85"/>
                  <a:pt x="811" y="85"/>
                  <a:pt x="811" y="85"/>
                </a:cubicBezTo>
                <a:cubicBezTo>
                  <a:pt x="810" y="85"/>
                  <a:pt x="810" y="85"/>
                  <a:pt x="809" y="85"/>
                </a:cubicBezTo>
                <a:cubicBezTo>
                  <a:pt x="809" y="85"/>
                  <a:pt x="809" y="85"/>
                  <a:pt x="809" y="85"/>
                </a:cubicBezTo>
                <a:cubicBezTo>
                  <a:pt x="809" y="85"/>
                  <a:pt x="808" y="85"/>
                  <a:pt x="808" y="85"/>
                </a:cubicBezTo>
                <a:cubicBezTo>
                  <a:pt x="808" y="85"/>
                  <a:pt x="807" y="85"/>
                  <a:pt x="807" y="85"/>
                </a:cubicBezTo>
                <a:cubicBezTo>
                  <a:pt x="807" y="85"/>
                  <a:pt x="807" y="85"/>
                  <a:pt x="806" y="85"/>
                </a:cubicBezTo>
                <a:cubicBezTo>
                  <a:pt x="806" y="85"/>
                  <a:pt x="806" y="85"/>
                  <a:pt x="806" y="85"/>
                </a:cubicBezTo>
                <a:cubicBezTo>
                  <a:pt x="806" y="85"/>
                  <a:pt x="806" y="85"/>
                  <a:pt x="806" y="85"/>
                </a:cubicBezTo>
                <a:cubicBezTo>
                  <a:pt x="806" y="84"/>
                  <a:pt x="806" y="84"/>
                  <a:pt x="806" y="84"/>
                </a:cubicBezTo>
                <a:cubicBezTo>
                  <a:pt x="806" y="84"/>
                  <a:pt x="806" y="84"/>
                  <a:pt x="806" y="84"/>
                </a:cubicBezTo>
                <a:cubicBezTo>
                  <a:pt x="805" y="84"/>
                  <a:pt x="805" y="84"/>
                  <a:pt x="804" y="84"/>
                </a:cubicBezTo>
                <a:cubicBezTo>
                  <a:pt x="804" y="84"/>
                  <a:pt x="804" y="84"/>
                  <a:pt x="804" y="84"/>
                </a:cubicBezTo>
                <a:cubicBezTo>
                  <a:pt x="803" y="84"/>
                  <a:pt x="803" y="84"/>
                  <a:pt x="803" y="84"/>
                </a:cubicBezTo>
                <a:cubicBezTo>
                  <a:pt x="803" y="84"/>
                  <a:pt x="803" y="84"/>
                  <a:pt x="803" y="83"/>
                </a:cubicBezTo>
                <a:cubicBezTo>
                  <a:pt x="803" y="83"/>
                  <a:pt x="804" y="83"/>
                  <a:pt x="804" y="83"/>
                </a:cubicBezTo>
                <a:cubicBezTo>
                  <a:pt x="804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2"/>
                  <a:pt x="805" y="82"/>
                </a:cubicBezTo>
                <a:cubicBezTo>
                  <a:pt x="805" y="82"/>
                  <a:pt x="805" y="82"/>
                  <a:pt x="805" y="82"/>
                </a:cubicBezTo>
                <a:cubicBezTo>
                  <a:pt x="805" y="82"/>
                  <a:pt x="805" y="82"/>
                  <a:pt x="805" y="82"/>
                </a:cubicBezTo>
                <a:cubicBezTo>
                  <a:pt x="805" y="82"/>
                  <a:pt x="805" y="81"/>
                  <a:pt x="805" y="81"/>
                </a:cubicBezTo>
                <a:cubicBezTo>
                  <a:pt x="805" y="81"/>
                  <a:pt x="805" y="81"/>
                  <a:pt x="805" y="81"/>
                </a:cubicBezTo>
                <a:cubicBezTo>
                  <a:pt x="805" y="81"/>
                  <a:pt x="805" y="81"/>
                  <a:pt x="805" y="80"/>
                </a:cubicBezTo>
                <a:cubicBezTo>
                  <a:pt x="805" y="80"/>
                  <a:pt x="805" y="80"/>
                  <a:pt x="805" y="80"/>
                </a:cubicBezTo>
                <a:cubicBezTo>
                  <a:pt x="806" y="80"/>
                  <a:pt x="806" y="80"/>
                  <a:pt x="806" y="80"/>
                </a:cubicBezTo>
                <a:cubicBezTo>
                  <a:pt x="806" y="80"/>
                  <a:pt x="806" y="81"/>
                  <a:pt x="806" y="81"/>
                </a:cubicBezTo>
                <a:cubicBezTo>
                  <a:pt x="806" y="81"/>
                  <a:pt x="806" y="81"/>
                  <a:pt x="806" y="81"/>
                </a:cubicBezTo>
                <a:cubicBezTo>
                  <a:pt x="806" y="81"/>
                  <a:pt x="807" y="81"/>
                  <a:pt x="807" y="81"/>
                </a:cubicBezTo>
                <a:cubicBezTo>
                  <a:pt x="807" y="81"/>
                  <a:pt x="807" y="81"/>
                  <a:pt x="808" y="81"/>
                </a:cubicBezTo>
                <a:cubicBezTo>
                  <a:pt x="808" y="80"/>
                  <a:pt x="809" y="80"/>
                  <a:pt x="809" y="80"/>
                </a:cubicBezTo>
                <a:cubicBezTo>
                  <a:pt x="809" y="80"/>
                  <a:pt x="810" y="80"/>
                  <a:pt x="810" y="80"/>
                </a:cubicBezTo>
                <a:cubicBezTo>
                  <a:pt x="810" y="80"/>
                  <a:pt x="810" y="79"/>
                  <a:pt x="810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09" y="79"/>
                  <a:pt x="809" y="79"/>
                  <a:pt x="809" y="79"/>
                </a:cubicBezTo>
                <a:cubicBezTo>
                  <a:pt x="808" y="79"/>
                  <a:pt x="808" y="79"/>
                  <a:pt x="808" y="79"/>
                </a:cubicBezTo>
                <a:cubicBezTo>
                  <a:pt x="808" y="79"/>
                  <a:pt x="808" y="79"/>
                  <a:pt x="807" y="79"/>
                </a:cubicBezTo>
                <a:cubicBezTo>
                  <a:pt x="808" y="79"/>
                  <a:pt x="808" y="79"/>
                  <a:pt x="808" y="79"/>
                </a:cubicBezTo>
                <a:cubicBezTo>
                  <a:pt x="809" y="79"/>
                  <a:pt x="809" y="79"/>
                  <a:pt x="809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10" y="79"/>
                  <a:pt x="810" y="79"/>
                  <a:pt x="810" y="78"/>
                </a:cubicBezTo>
                <a:cubicBezTo>
                  <a:pt x="810" y="78"/>
                  <a:pt x="810" y="78"/>
                  <a:pt x="810" y="78"/>
                </a:cubicBezTo>
                <a:cubicBezTo>
                  <a:pt x="810" y="78"/>
                  <a:pt x="811" y="78"/>
                  <a:pt x="811" y="78"/>
                </a:cubicBezTo>
                <a:cubicBezTo>
                  <a:pt x="811" y="78"/>
                  <a:pt x="812" y="78"/>
                  <a:pt x="812" y="78"/>
                </a:cubicBezTo>
                <a:cubicBezTo>
                  <a:pt x="812" y="78"/>
                  <a:pt x="812" y="78"/>
                  <a:pt x="813" y="78"/>
                </a:cubicBezTo>
                <a:cubicBezTo>
                  <a:pt x="813" y="78"/>
                  <a:pt x="813" y="79"/>
                  <a:pt x="813" y="79"/>
                </a:cubicBezTo>
                <a:cubicBezTo>
                  <a:pt x="813" y="78"/>
                  <a:pt x="814" y="78"/>
                  <a:pt x="814" y="78"/>
                </a:cubicBezTo>
                <a:cubicBezTo>
                  <a:pt x="814" y="78"/>
                  <a:pt x="814" y="78"/>
                  <a:pt x="814" y="78"/>
                </a:cubicBezTo>
                <a:cubicBezTo>
                  <a:pt x="814" y="79"/>
                  <a:pt x="815" y="79"/>
                  <a:pt x="815" y="79"/>
                </a:cubicBezTo>
                <a:cubicBezTo>
                  <a:pt x="815" y="79"/>
                  <a:pt x="815" y="79"/>
                  <a:pt x="815" y="79"/>
                </a:cubicBezTo>
                <a:cubicBezTo>
                  <a:pt x="815" y="79"/>
                  <a:pt x="815" y="80"/>
                  <a:pt x="815" y="80"/>
                </a:cubicBezTo>
                <a:cubicBezTo>
                  <a:pt x="815" y="80"/>
                  <a:pt x="816" y="80"/>
                  <a:pt x="816" y="80"/>
                </a:cubicBezTo>
                <a:cubicBezTo>
                  <a:pt x="816" y="80"/>
                  <a:pt x="816" y="80"/>
                  <a:pt x="816" y="80"/>
                </a:cubicBezTo>
                <a:cubicBezTo>
                  <a:pt x="817" y="80"/>
                  <a:pt x="817" y="80"/>
                  <a:pt x="817" y="80"/>
                </a:cubicBezTo>
                <a:cubicBezTo>
                  <a:pt x="817" y="80"/>
                  <a:pt x="817" y="80"/>
                  <a:pt x="817" y="80"/>
                </a:cubicBezTo>
                <a:cubicBezTo>
                  <a:pt x="818" y="80"/>
                  <a:pt x="818" y="80"/>
                  <a:pt x="819" y="80"/>
                </a:cubicBezTo>
                <a:cubicBezTo>
                  <a:pt x="819" y="80"/>
                  <a:pt x="819" y="81"/>
                  <a:pt x="819" y="81"/>
                </a:cubicBezTo>
                <a:cubicBezTo>
                  <a:pt x="819" y="81"/>
                  <a:pt x="820" y="81"/>
                  <a:pt x="820" y="81"/>
                </a:cubicBezTo>
                <a:cubicBezTo>
                  <a:pt x="820" y="81"/>
                  <a:pt x="820" y="81"/>
                  <a:pt x="820" y="81"/>
                </a:cubicBezTo>
                <a:cubicBezTo>
                  <a:pt x="820" y="80"/>
                  <a:pt x="820" y="80"/>
                  <a:pt x="820" y="80"/>
                </a:cubicBezTo>
                <a:cubicBezTo>
                  <a:pt x="820" y="80"/>
                  <a:pt x="820" y="80"/>
                  <a:pt x="821" y="79"/>
                </a:cubicBezTo>
                <a:cubicBezTo>
                  <a:pt x="821" y="79"/>
                  <a:pt x="821" y="79"/>
                  <a:pt x="821" y="78"/>
                </a:cubicBezTo>
                <a:cubicBezTo>
                  <a:pt x="821" y="78"/>
                  <a:pt x="821" y="78"/>
                  <a:pt x="821" y="78"/>
                </a:cubicBezTo>
                <a:cubicBezTo>
                  <a:pt x="821" y="78"/>
                  <a:pt x="821" y="78"/>
                  <a:pt x="821" y="77"/>
                </a:cubicBezTo>
                <a:cubicBezTo>
                  <a:pt x="821" y="77"/>
                  <a:pt x="821" y="77"/>
                  <a:pt x="821" y="76"/>
                </a:cubicBezTo>
                <a:cubicBezTo>
                  <a:pt x="821" y="76"/>
                  <a:pt x="821" y="76"/>
                  <a:pt x="822" y="76"/>
                </a:cubicBezTo>
                <a:cubicBezTo>
                  <a:pt x="822" y="76"/>
                  <a:pt x="822" y="76"/>
                  <a:pt x="822" y="75"/>
                </a:cubicBezTo>
                <a:cubicBezTo>
                  <a:pt x="821" y="75"/>
                  <a:pt x="821" y="75"/>
                  <a:pt x="821" y="75"/>
                </a:cubicBezTo>
                <a:cubicBezTo>
                  <a:pt x="821" y="75"/>
                  <a:pt x="821" y="75"/>
                  <a:pt x="820" y="75"/>
                </a:cubicBezTo>
                <a:cubicBezTo>
                  <a:pt x="820" y="75"/>
                  <a:pt x="820" y="74"/>
                  <a:pt x="820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8" y="74"/>
                  <a:pt x="818" y="74"/>
                </a:cubicBezTo>
                <a:cubicBezTo>
                  <a:pt x="818" y="74"/>
                  <a:pt x="818" y="74"/>
                  <a:pt x="818" y="74"/>
                </a:cubicBezTo>
                <a:cubicBezTo>
                  <a:pt x="817" y="75"/>
                  <a:pt x="817" y="75"/>
                  <a:pt x="817" y="75"/>
                </a:cubicBezTo>
                <a:cubicBezTo>
                  <a:pt x="817" y="75"/>
                  <a:pt x="816" y="75"/>
                  <a:pt x="816" y="75"/>
                </a:cubicBezTo>
                <a:cubicBezTo>
                  <a:pt x="816" y="75"/>
                  <a:pt x="816" y="75"/>
                  <a:pt x="816" y="75"/>
                </a:cubicBezTo>
                <a:cubicBezTo>
                  <a:pt x="816" y="75"/>
                  <a:pt x="816" y="75"/>
                  <a:pt x="816" y="75"/>
                </a:cubicBezTo>
                <a:cubicBezTo>
                  <a:pt x="816" y="75"/>
                  <a:pt x="816" y="75"/>
                  <a:pt x="816" y="74"/>
                </a:cubicBezTo>
                <a:cubicBezTo>
                  <a:pt x="816" y="74"/>
                  <a:pt x="815" y="74"/>
                  <a:pt x="815" y="74"/>
                </a:cubicBezTo>
                <a:cubicBezTo>
                  <a:pt x="815" y="74"/>
                  <a:pt x="815" y="74"/>
                  <a:pt x="814" y="74"/>
                </a:cubicBezTo>
                <a:cubicBezTo>
                  <a:pt x="814" y="74"/>
                  <a:pt x="814" y="74"/>
                  <a:pt x="813" y="74"/>
                </a:cubicBezTo>
                <a:cubicBezTo>
                  <a:pt x="813" y="74"/>
                  <a:pt x="813" y="74"/>
                  <a:pt x="813" y="74"/>
                </a:cubicBezTo>
                <a:cubicBezTo>
                  <a:pt x="813" y="74"/>
                  <a:pt x="813" y="74"/>
                  <a:pt x="814" y="74"/>
                </a:cubicBezTo>
                <a:cubicBezTo>
                  <a:pt x="814" y="74"/>
                  <a:pt x="814" y="74"/>
                  <a:pt x="814" y="73"/>
                </a:cubicBezTo>
                <a:cubicBezTo>
                  <a:pt x="813" y="73"/>
                  <a:pt x="813" y="73"/>
                  <a:pt x="813" y="73"/>
                </a:cubicBezTo>
                <a:cubicBezTo>
                  <a:pt x="813" y="73"/>
                  <a:pt x="813" y="73"/>
                  <a:pt x="812" y="73"/>
                </a:cubicBezTo>
                <a:cubicBezTo>
                  <a:pt x="812" y="73"/>
                  <a:pt x="813" y="73"/>
                  <a:pt x="813" y="73"/>
                </a:cubicBezTo>
                <a:cubicBezTo>
                  <a:pt x="813" y="73"/>
                  <a:pt x="813" y="73"/>
                  <a:pt x="813" y="73"/>
                </a:cubicBezTo>
                <a:cubicBezTo>
                  <a:pt x="813" y="73"/>
                  <a:pt x="814" y="73"/>
                  <a:pt x="814" y="73"/>
                </a:cubicBezTo>
                <a:cubicBezTo>
                  <a:pt x="814" y="73"/>
                  <a:pt x="814" y="73"/>
                  <a:pt x="814" y="72"/>
                </a:cubicBezTo>
                <a:cubicBezTo>
                  <a:pt x="814" y="72"/>
                  <a:pt x="813" y="72"/>
                  <a:pt x="813" y="72"/>
                </a:cubicBezTo>
                <a:cubicBezTo>
                  <a:pt x="813" y="72"/>
                  <a:pt x="813" y="72"/>
                  <a:pt x="813" y="72"/>
                </a:cubicBezTo>
                <a:cubicBezTo>
                  <a:pt x="813" y="71"/>
                  <a:pt x="813" y="71"/>
                  <a:pt x="813" y="71"/>
                </a:cubicBezTo>
                <a:cubicBezTo>
                  <a:pt x="813" y="71"/>
                  <a:pt x="813" y="71"/>
                  <a:pt x="814" y="71"/>
                </a:cubicBezTo>
                <a:cubicBezTo>
                  <a:pt x="814" y="71"/>
                  <a:pt x="814" y="71"/>
                  <a:pt x="814" y="71"/>
                </a:cubicBezTo>
                <a:cubicBezTo>
                  <a:pt x="814" y="71"/>
                  <a:pt x="814" y="71"/>
                  <a:pt x="815" y="71"/>
                </a:cubicBezTo>
                <a:cubicBezTo>
                  <a:pt x="815" y="71"/>
                  <a:pt x="815" y="72"/>
                  <a:pt x="815" y="72"/>
                </a:cubicBezTo>
                <a:cubicBezTo>
                  <a:pt x="815" y="72"/>
                  <a:pt x="816" y="72"/>
                  <a:pt x="816" y="72"/>
                </a:cubicBezTo>
                <a:cubicBezTo>
                  <a:pt x="816" y="73"/>
                  <a:pt x="817" y="73"/>
                  <a:pt x="817" y="73"/>
                </a:cubicBezTo>
                <a:cubicBezTo>
                  <a:pt x="817" y="73"/>
                  <a:pt x="817" y="73"/>
                  <a:pt x="818" y="73"/>
                </a:cubicBezTo>
                <a:cubicBezTo>
                  <a:pt x="818" y="72"/>
                  <a:pt x="818" y="72"/>
                  <a:pt x="818" y="72"/>
                </a:cubicBezTo>
                <a:cubicBezTo>
                  <a:pt x="818" y="72"/>
                  <a:pt x="818" y="72"/>
                  <a:pt x="817" y="71"/>
                </a:cubicBezTo>
                <a:cubicBezTo>
                  <a:pt x="817" y="71"/>
                  <a:pt x="817" y="71"/>
                  <a:pt x="816" y="71"/>
                </a:cubicBezTo>
                <a:cubicBezTo>
                  <a:pt x="816" y="71"/>
                  <a:pt x="816" y="71"/>
                  <a:pt x="815" y="70"/>
                </a:cubicBezTo>
                <a:cubicBezTo>
                  <a:pt x="815" y="70"/>
                  <a:pt x="815" y="70"/>
                  <a:pt x="814" y="70"/>
                </a:cubicBezTo>
                <a:cubicBezTo>
                  <a:pt x="814" y="70"/>
                  <a:pt x="814" y="70"/>
                  <a:pt x="814" y="69"/>
                </a:cubicBezTo>
                <a:cubicBezTo>
                  <a:pt x="814" y="69"/>
                  <a:pt x="813" y="69"/>
                  <a:pt x="813" y="69"/>
                </a:cubicBezTo>
                <a:cubicBezTo>
                  <a:pt x="813" y="69"/>
                  <a:pt x="813" y="69"/>
                  <a:pt x="812" y="69"/>
                </a:cubicBezTo>
                <a:cubicBezTo>
                  <a:pt x="812" y="69"/>
                  <a:pt x="812" y="68"/>
                  <a:pt x="812" y="68"/>
                </a:cubicBezTo>
                <a:cubicBezTo>
                  <a:pt x="811" y="68"/>
                  <a:pt x="811" y="68"/>
                  <a:pt x="811" y="68"/>
                </a:cubicBezTo>
                <a:cubicBezTo>
                  <a:pt x="811" y="68"/>
                  <a:pt x="811" y="68"/>
                  <a:pt x="811" y="68"/>
                </a:cubicBezTo>
                <a:cubicBezTo>
                  <a:pt x="811" y="68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6"/>
                  <a:pt x="811" y="66"/>
                  <a:pt x="811" y="66"/>
                </a:cubicBezTo>
                <a:cubicBezTo>
                  <a:pt x="812" y="66"/>
                  <a:pt x="812" y="66"/>
                  <a:pt x="812" y="66"/>
                </a:cubicBezTo>
                <a:cubicBezTo>
                  <a:pt x="812" y="66"/>
                  <a:pt x="812" y="66"/>
                  <a:pt x="813" y="66"/>
                </a:cubicBezTo>
                <a:cubicBezTo>
                  <a:pt x="813" y="66"/>
                  <a:pt x="813" y="66"/>
                  <a:pt x="813" y="66"/>
                </a:cubicBezTo>
                <a:cubicBezTo>
                  <a:pt x="813" y="66"/>
                  <a:pt x="814" y="66"/>
                  <a:pt x="814" y="66"/>
                </a:cubicBezTo>
                <a:cubicBezTo>
                  <a:pt x="814" y="66"/>
                  <a:pt x="813" y="67"/>
                  <a:pt x="813" y="67"/>
                </a:cubicBezTo>
                <a:cubicBezTo>
                  <a:pt x="813" y="67"/>
                  <a:pt x="813" y="67"/>
                  <a:pt x="813" y="67"/>
                </a:cubicBezTo>
                <a:cubicBezTo>
                  <a:pt x="814" y="67"/>
                  <a:pt x="814" y="67"/>
                  <a:pt x="814" y="67"/>
                </a:cubicBezTo>
                <a:cubicBezTo>
                  <a:pt x="814" y="67"/>
                  <a:pt x="814" y="67"/>
                  <a:pt x="814" y="67"/>
                </a:cubicBezTo>
                <a:cubicBezTo>
                  <a:pt x="814" y="68"/>
                  <a:pt x="814" y="68"/>
                  <a:pt x="814" y="68"/>
                </a:cubicBezTo>
                <a:cubicBezTo>
                  <a:pt x="815" y="68"/>
                  <a:pt x="815" y="68"/>
                  <a:pt x="815" y="68"/>
                </a:cubicBezTo>
                <a:cubicBezTo>
                  <a:pt x="816" y="68"/>
                  <a:pt x="816" y="68"/>
                  <a:pt x="816" y="67"/>
                </a:cubicBezTo>
                <a:cubicBezTo>
                  <a:pt x="816" y="67"/>
                  <a:pt x="817" y="67"/>
                  <a:pt x="817" y="66"/>
                </a:cubicBezTo>
                <a:cubicBezTo>
                  <a:pt x="817" y="66"/>
                  <a:pt x="817" y="66"/>
                  <a:pt x="817" y="66"/>
                </a:cubicBezTo>
                <a:cubicBezTo>
                  <a:pt x="817" y="65"/>
                  <a:pt x="817" y="65"/>
                  <a:pt x="817" y="65"/>
                </a:cubicBezTo>
                <a:cubicBezTo>
                  <a:pt x="817" y="65"/>
                  <a:pt x="817" y="65"/>
                  <a:pt x="818" y="65"/>
                </a:cubicBezTo>
                <a:cubicBezTo>
                  <a:pt x="817" y="64"/>
                  <a:pt x="817" y="64"/>
                  <a:pt x="817" y="64"/>
                </a:cubicBezTo>
                <a:cubicBezTo>
                  <a:pt x="817" y="64"/>
                  <a:pt x="818" y="63"/>
                  <a:pt x="818" y="63"/>
                </a:cubicBezTo>
                <a:cubicBezTo>
                  <a:pt x="818" y="63"/>
                  <a:pt x="818" y="63"/>
                  <a:pt x="819" y="63"/>
                </a:cubicBezTo>
                <a:cubicBezTo>
                  <a:pt x="819" y="63"/>
                  <a:pt x="819" y="62"/>
                  <a:pt x="819" y="62"/>
                </a:cubicBezTo>
                <a:cubicBezTo>
                  <a:pt x="819" y="62"/>
                  <a:pt x="819" y="61"/>
                  <a:pt x="819" y="61"/>
                </a:cubicBezTo>
                <a:cubicBezTo>
                  <a:pt x="819" y="61"/>
                  <a:pt x="818" y="61"/>
                  <a:pt x="818" y="61"/>
                </a:cubicBezTo>
                <a:cubicBezTo>
                  <a:pt x="818" y="60"/>
                  <a:pt x="819" y="60"/>
                  <a:pt x="819" y="59"/>
                </a:cubicBezTo>
                <a:cubicBezTo>
                  <a:pt x="819" y="59"/>
                  <a:pt x="819" y="59"/>
                  <a:pt x="819" y="58"/>
                </a:cubicBezTo>
                <a:cubicBezTo>
                  <a:pt x="819" y="58"/>
                  <a:pt x="819" y="58"/>
                  <a:pt x="819" y="57"/>
                </a:cubicBezTo>
                <a:cubicBezTo>
                  <a:pt x="819" y="57"/>
                  <a:pt x="820" y="57"/>
                  <a:pt x="820" y="57"/>
                </a:cubicBezTo>
                <a:cubicBezTo>
                  <a:pt x="820" y="57"/>
                  <a:pt x="820" y="56"/>
                  <a:pt x="820" y="56"/>
                </a:cubicBezTo>
                <a:cubicBezTo>
                  <a:pt x="820" y="56"/>
                  <a:pt x="820" y="56"/>
                  <a:pt x="820" y="55"/>
                </a:cubicBezTo>
                <a:cubicBezTo>
                  <a:pt x="820" y="55"/>
                  <a:pt x="820" y="55"/>
                  <a:pt x="820" y="55"/>
                </a:cubicBezTo>
                <a:cubicBezTo>
                  <a:pt x="820" y="54"/>
                  <a:pt x="821" y="54"/>
                  <a:pt x="821" y="54"/>
                </a:cubicBezTo>
                <a:cubicBezTo>
                  <a:pt x="821" y="54"/>
                  <a:pt x="821" y="53"/>
                  <a:pt x="822" y="53"/>
                </a:cubicBezTo>
                <a:cubicBezTo>
                  <a:pt x="822" y="53"/>
                  <a:pt x="823" y="52"/>
                  <a:pt x="824" y="51"/>
                </a:cubicBezTo>
                <a:cubicBezTo>
                  <a:pt x="824" y="51"/>
                  <a:pt x="824" y="51"/>
                  <a:pt x="824" y="50"/>
                </a:cubicBezTo>
                <a:cubicBezTo>
                  <a:pt x="825" y="50"/>
                  <a:pt x="826" y="50"/>
                  <a:pt x="826" y="49"/>
                </a:cubicBezTo>
                <a:cubicBezTo>
                  <a:pt x="826" y="49"/>
                  <a:pt x="826" y="49"/>
                  <a:pt x="826" y="49"/>
                </a:cubicBezTo>
                <a:cubicBezTo>
                  <a:pt x="827" y="49"/>
                  <a:pt x="827" y="48"/>
                  <a:pt x="827" y="48"/>
                </a:cubicBezTo>
                <a:cubicBezTo>
                  <a:pt x="828" y="48"/>
                  <a:pt x="828" y="48"/>
                  <a:pt x="828" y="47"/>
                </a:cubicBezTo>
                <a:cubicBezTo>
                  <a:pt x="828" y="47"/>
                  <a:pt x="829" y="47"/>
                  <a:pt x="829" y="47"/>
                </a:cubicBezTo>
                <a:cubicBezTo>
                  <a:pt x="829" y="46"/>
                  <a:pt x="829" y="46"/>
                  <a:pt x="830" y="46"/>
                </a:cubicBezTo>
                <a:cubicBezTo>
                  <a:pt x="830" y="46"/>
                  <a:pt x="829" y="46"/>
                  <a:pt x="829" y="46"/>
                </a:cubicBezTo>
                <a:cubicBezTo>
                  <a:pt x="829" y="46"/>
                  <a:pt x="829" y="46"/>
                  <a:pt x="829" y="46"/>
                </a:cubicBezTo>
                <a:cubicBezTo>
                  <a:pt x="828" y="46"/>
                  <a:pt x="828" y="46"/>
                  <a:pt x="827" y="46"/>
                </a:cubicBezTo>
                <a:cubicBezTo>
                  <a:pt x="827" y="45"/>
                  <a:pt x="827" y="45"/>
                  <a:pt x="827" y="45"/>
                </a:cubicBezTo>
                <a:cubicBezTo>
                  <a:pt x="827" y="45"/>
                  <a:pt x="827" y="45"/>
                  <a:pt x="826" y="45"/>
                </a:cubicBezTo>
                <a:cubicBezTo>
                  <a:pt x="826" y="45"/>
                  <a:pt x="826" y="45"/>
                  <a:pt x="826" y="45"/>
                </a:cubicBezTo>
                <a:cubicBezTo>
                  <a:pt x="825" y="45"/>
                  <a:pt x="824" y="45"/>
                  <a:pt x="824" y="46"/>
                </a:cubicBezTo>
                <a:cubicBezTo>
                  <a:pt x="823" y="46"/>
                  <a:pt x="823" y="46"/>
                  <a:pt x="822" y="46"/>
                </a:cubicBezTo>
                <a:cubicBezTo>
                  <a:pt x="822" y="46"/>
                  <a:pt x="821" y="46"/>
                  <a:pt x="821" y="46"/>
                </a:cubicBezTo>
                <a:cubicBezTo>
                  <a:pt x="821" y="47"/>
                  <a:pt x="820" y="47"/>
                  <a:pt x="820" y="47"/>
                </a:cubicBezTo>
                <a:cubicBezTo>
                  <a:pt x="820" y="47"/>
                  <a:pt x="819" y="47"/>
                  <a:pt x="819" y="48"/>
                </a:cubicBezTo>
                <a:cubicBezTo>
                  <a:pt x="819" y="48"/>
                  <a:pt x="819" y="48"/>
                  <a:pt x="819" y="48"/>
                </a:cubicBezTo>
                <a:cubicBezTo>
                  <a:pt x="818" y="48"/>
                  <a:pt x="818" y="48"/>
                  <a:pt x="818" y="48"/>
                </a:cubicBezTo>
                <a:cubicBezTo>
                  <a:pt x="818" y="48"/>
                  <a:pt x="817" y="48"/>
                  <a:pt x="817" y="48"/>
                </a:cubicBezTo>
                <a:cubicBezTo>
                  <a:pt x="817" y="48"/>
                  <a:pt x="817" y="48"/>
                  <a:pt x="816" y="48"/>
                </a:cubicBezTo>
                <a:cubicBezTo>
                  <a:pt x="816" y="47"/>
                  <a:pt x="816" y="47"/>
                  <a:pt x="816" y="47"/>
                </a:cubicBezTo>
                <a:cubicBezTo>
                  <a:pt x="817" y="47"/>
                  <a:pt x="817" y="47"/>
                  <a:pt x="817" y="47"/>
                </a:cubicBezTo>
                <a:cubicBezTo>
                  <a:pt x="817" y="47"/>
                  <a:pt x="817" y="47"/>
                  <a:pt x="818" y="47"/>
                </a:cubicBezTo>
                <a:cubicBezTo>
                  <a:pt x="818" y="47"/>
                  <a:pt x="817" y="47"/>
                  <a:pt x="817" y="46"/>
                </a:cubicBezTo>
                <a:cubicBezTo>
                  <a:pt x="817" y="46"/>
                  <a:pt x="817" y="46"/>
                  <a:pt x="817" y="46"/>
                </a:cubicBezTo>
                <a:cubicBezTo>
                  <a:pt x="817" y="46"/>
                  <a:pt x="817" y="46"/>
                  <a:pt x="816" y="46"/>
                </a:cubicBezTo>
                <a:cubicBezTo>
                  <a:pt x="816" y="46"/>
                  <a:pt x="816" y="46"/>
                  <a:pt x="816" y="46"/>
                </a:cubicBezTo>
                <a:cubicBezTo>
                  <a:pt x="816" y="46"/>
                  <a:pt x="816" y="46"/>
                  <a:pt x="817" y="46"/>
                </a:cubicBezTo>
                <a:cubicBezTo>
                  <a:pt x="817" y="46"/>
                  <a:pt x="817" y="45"/>
                  <a:pt x="817" y="45"/>
                </a:cubicBezTo>
                <a:cubicBezTo>
                  <a:pt x="817" y="45"/>
                  <a:pt x="818" y="45"/>
                  <a:pt x="818" y="45"/>
                </a:cubicBezTo>
                <a:cubicBezTo>
                  <a:pt x="818" y="44"/>
                  <a:pt x="819" y="44"/>
                  <a:pt x="819" y="44"/>
                </a:cubicBezTo>
                <a:cubicBezTo>
                  <a:pt x="819" y="44"/>
                  <a:pt x="820" y="43"/>
                  <a:pt x="820" y="43"/>
                </a:cubicBezTo>
                <a:cubicBezTo>
                  <a:pt x="820" y="43"/>
                  <a:pt x="821" y="43"/>
                  <a:pt x="821" y="43"/>
                </a:cubicBezTo>
                <a:cubicBezTo>
                  <a:pt x="821" y="43"/>
                  <a:pt x="822" y="43"/>
                  <a:pt x="822" y="43"/>
                </a:cubicBezTo>
                <a:cubicBezTo>
                  <a:pt x="823" y="44"/>
                  <a:pt x="824" y="44"/>
                  <a:pt x="825" y="44"/>
                </a:cubicBezTo>
                <a:cubicBezTo>
                  <a:pt x="825" y="44"/>
                  <a:pt x="825" y="44"/>
                  <a:pt x="826" y="45"/>
                </a:cubicBezTo>
                <a:cubicBezTo>
                  <a:pt x="826" y="45"/>
                  <a:pt x="827" y="45"/>
                  <a:pt x="828" y="44"/>
                </a:cubicBezTo>
                <a:cubicBezTo>
                  <a:pt x="828" y="44"/>
                  <a:pt x="828" y="44"/>
                  <a:pt x="829" y="44"/>
                </a:cubicBezTo>
                <a:cubicBezTo>
                  <a:pt x="829" y="44"/>
                  <a:pt x="830" y="44"/>
                  <a:pt x="830" y="44"/>
                </a:cubicBezTo>
                <a:cubicBezTo>
                  <a:pt x="831" y="44"/>
                  <a:pt x="831" y="44"/>
                  <a:pt x="832" y="44"/>
                </a:cubicBezTo>
                <a:cubicBezTo>
                  <a:pt x="832" y="44"/>
                  <a:pt x="833" y="44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4" y="42"/>
                  <a:pt x="834" y="42"/>
                  <a:pt x="834" y="42"/>
                </a:cubicBezTo>
                <a:cubicBezTo>
                  <a:pt x="835" y="42"/>
                  <a:pt x="835" y="42"/>
                  <a:pt x="835" y="42"/>
                </a:cubicBezTo>
                <a:cubicBezTo>
                  <a:pt x="835" y="42"/>
                  <a:pt x="835" y="41"/>
                  <a:pt x="835" y="41"/>
                </a:cubicBezTo>
                <a:cubicBezTo>
                  <a:pt x="835" y="41"/>
                  <a:pt x="835" y="41"/>
                  <a:pt x="835" y="41"/>
                </a:cubicBezTo>
                <a:cubicBezTo>
                  <a:pt x="834" y="41"/>
                  <a:pt x="834" y="41"/>
                  <a:pt x="833" y="41"/>
                </a:cubicBezTo>
                <a:cubicBezTo>
                  <a:pt x="833" y="41"/>
                  <a:pt x="833" y="40"/>
                  <a:pt x="833" y="40"/>
                </a:cubicBezTo>
                <a:cubicBezTo>
                  <a:pt x="833" y="40"/>
                  <a:pt x="832" y="40"/>
                  <a:pt x="832" y="40"/>
                </a:cubicBezTo>
                <a:cubicBezTo>
                  <a:pt x="832" y="40"/>
                  <a:pt x="832" y="40"/>
                  <a:pt x="831" y="40"/>
                </a:cubicBezTo>
                <a:cubicBezTo>
                  <a:pt x="831" y="40"/>
                  <a:pt x="831" y="41"/>
                  <a:pt x="831" y="41"/>
                </a:cubicBezTo>
                <a:cubicBezTo>
                  <a:pt x="830" y="41"/>
                  <a:pt x="830" y="41"/>
                  <a:pt x="830" y="41"/>
                </a:cubicBezTo>
                <a:cubicBezTo>
                  <a:pt x="830" y="41"/>
                  <a:pt x="830" y="41"/>
                  <a:pt x="829" y="40"/>
                </a:cubicBezTo>
                <a:cubicBezTo>
                  <a:pt x="828" y="40"/>
                  <a:pt x="828" y="41"/>
                  <a:pt x="827" y="41"/>
                </a:cubicBezTo>
                <a:cubicBezTo>
                  <a:pt x="826" y="41"/>
                  <a:pt x="826" y="41"/>
                  <a:pt x="825" y="40"/>
                </a:cubicBezTo>
                <a:cubicBezTo>
                  <a:pt x="825" y="40"/>
                  <a:pt x="825" y="40"/>
                  <a:pt x="824" y="40"/>
                </a:cubicBezTo>
                <a:cubicBezTo>
                  <a:pt x="824" y="40"/>
                  <a:pt x="824" y="40"/>
                  <a:pt x="823" y="40"/>
                </a:cubicBezTo>
                <a:cubicBezTo>
                  <a:pt x="823" y="40"/>
                  <a:pt x="823" y="40"/>
                  <a:pt x="823" y="41"/>
                </a:cubicBezTo>
                <a:cubicBezTo>
                  <a:pt x="822" y="41"/>
                  <a:pt x="821" y="41"/>
                  <a:pt x="820" y="41"/>
                </a:cubicBezTo>
                <a:cubicBezTo>
                  <a:pt x="820" y="41"/>
                  <a:pt x="820" y="41"/>
                  <a:pt x="819" y="41"/>
                </a:cubicBezTo>
                <a:cubicBezTo>
                  <a:pt x="819" y="41"/>
                  <a:pt x="819" y="41"/>
                  <a:pt x="818" y="41"/>
                </a:cubicBezTo>
                <a:cubicBezTo>
                  <a:pt x="819" y="41"/>
                  <a:pt x="819" y="40"/>
                  <a:pt x="819" y="40"/>
                </a:cubicBezTo>
                <a:cubicBezTo>
                  <a:pt x="820" y="40"/>
                  <a:pt x="820" y="40"/>
                  <a:pt x="820" y="41"/>
                </a:cubicBezTo>
                <a:cubicBezTo>
                  <a:pt x="821" y="40"/>
                  <a:pt x="821" y="40"/>
                  <a:pt x="821" y="40"/>
                </a:cubicBezTo>
                <a:cubicBezTo>
                  <a:pt x="822" y="40"/>
                  <a:pt x="822" y="40"/>
                  <a:pt x="823" y="40"/>
                </a:cubicBezTo>
                <a:cubicBezTo>
                  <a:pt x="823" y="40"/>
                  <a:pt x="823" y="40"/>
                  <a:pt x="824" y="40"/>
                </a:cubicBezTo>
                <a:cubicBezTo>
                  <a:pt x="824" y="40"/>
                  <a:pt x="824" y="40"/>
                  <a:pt x="825" y="40"/>
                </a:cubicBezTo>
                <a:cubicBezTo>
                  <a:pt x="825" y="40"/>
                  <a:pt x="825" y="40"/>
                  <a:pt x="825" y="40"/>
                </a:cubicBezTo>
                <a:cubicBezTo>
                  <a:pt x="826" y="40"/>
                  <a:pt x="826" y="40"/>
                  <a:pt x="826" y="40"/>
                </a:cubicBezTo>
                <a:cubicBezTo>
                  <a:pt x="826" y="40"/>
                  <a:pt x="826" y="40"/>
                  <a:pt x="827" y="40"/>
                </a:cubicBezTo>
                <a:cubicBezTo>
                  <a:pt x="827" y="40"/>
                  <a:pt x="827" y="40"/>
                  <a:pt x="827" y="40"/>
                </a:cubicBezTo>
                <a:cubicBezTo>
                  <a:pt x="827" y="39"/>
                  <a:pt x="828" y="39"/>
                  <a:pt x="828" y="39"/>
                </a:cubicBezTo>
                <a:cubicBezTo>
                  <a:pt x="828" y="39"/>
                  <a:pt x="828" y="39"/>
                  <a:pt x="828" y="39"/>
                </a:cubicBezTo>
                <a:cubicBezTo>
                  <a:pt x="828" y="39"/>
                  <a:pt x="829" y="39"/>
                  <a:pt x="829" y="39"/>
                </a:cubicBezTo>
                <a:cubicBezTo>
                  <a:pt x="829" y="39"/>
                  <a:pt x="829" y="39"/>
                  <a:pt x="829" y="39"/>
                </a:cubicBezTo>
                <a:cubicBezTo>
                  <a:pt x="829" y="39"/>
                  <a:pt x="830" y="39"/>
                  <a:pt x="830" y="39"/>
                </a:cubicBezTo>
                <a:cubicBezTo>
                  <a:pt x="830" y="39"/>
                  <a:pt x="830" y="39"/>
                  <a:pt x="830" y="39"/>
                </a:cubicBezTo>
                <a:cubicBezTo>
                  <a:pt x="830" y="39"/>
                  <a:pt x="830" y="39"/>
                  <a:pt x="831" y="39"/>
                </a:cubicBezTo>
                <a:cubicBezTo>
                  <a:pt x="831" y="39"/>
                  <a:pt x="831" y="39"/>
                  <a:pt x="831" y="39"/>
                </a:cubicBezTo>
                <a:cubicBezTo>
                  <a:pt x="831" y="39"/>
                  <a:pt x="831" y="39"/>
                  <a:pt x="831" y="39"/>
                </a:cubicBezTo>
                <a:cubicBezTo>
                  <a:pt x="832" y="39"/>
                  <a:pt x="832" y="39"/>
                  <a:pt x="832" y="39"/>
                </a:cubicBezTo>
                <a:cubicBezTo>
                  <a:pt x="832" y="39"/>
                  <a:pt x="833" y="39"/>
                  <a:pt x="833" y="39"/>
                </a:cubicBezTo>
                <a:cubicBezTo>
                  <a:pt x="833" y="39"/>
                  <a:pt x="834" y="39"/>
                  <a:pt x="834" y="39"/>
                </a:cubicBezTo>
                <a:cubicBezTo>
                  <a:pt x="834" y="39"/>
                  <a:pt x="834" y="39"/>
                  <a:pt x="835" y="39"/>
                </a:cubicBezTo>
                <a:cubicBezTo>
                  <a:pt x="835" y="39"/>
                  <a:pt x="835" y="39"/>
                  <a:pt x="835" y="39"/>
                </a:cubicBezTo>
                <a:cubicBezTo>
                  <a:pt x="836" y="39"/>
                  <a:pt x="836" y="39"/>
                  <a:pt x="836" y="39"/>
                </a:cubicBezTo>
                <a:cubicBezTo>
                  <a:pt x="837" y="39"/>
                  <a:pt x="837" y="39"/>
                  <a:pt x="838" y="39"/>
                </a:cubicBezTo>
                <a:cubicBezTo>
                  <a:pt x="838" y="38"/>
                  <a:pt x="839" y="38"/>
                  <a:pt x="839" y="38"/>
                </a:cubicBezTo>
                <a:cubicBezTo>
                  <a:pt x="840" y="38"/>
                  <a:pt x="840" y="38"/>
                  <a:pt x="840" y="38"/>
                </a:cubicBezTo>
                <a:cubicBezTo>
                  <a:pt x="840" y="38"/>
                  <a:pt x="841" y="38"/>
                  <a:pt x="841" y="38"/>
                </a:cubicBezTo>
                <a:cubicBezTo>
                  <a:pt x="841" y="38"/>
                  <a:pt x="841" y="38"/>
                  <a:pt x="841" y="37"/>
                </a:cubicBezTo>
                <a:cubicBezTo>
                  <a:pt x="841" y="37"/>
                  <a:pt x="841" y="37"/>
                  <a:pt x="841" y="37"/>
                </a:cubicBezTo>
                <a:cubicBezTo>
                  <a:pt x="841" y="37"/>
                  <a:pt x="841" y="37"/>
                  <a:pt x="841" y="37"/>
                </a:cubicBezTo>
                <a:cubicBezTo>
                  <a:pt x="841" y="37"/>
                  <a:pt x="840" y="36"/>
                  <a:pt x="840" y="36"/>
                </a:cubicBezTo>
                <a:cubicBezTo>
                  <a:pt x="840" y="36"/>
                  <a:pt x="840" y="36"/>
                  <a:pt x="840" y="36"/>
                </a:cubicBezTo>
                <a:cubicBezTo>
                  <a:pt x="840" y="36"/>
                  <a:pt x="840" y="36"/>
                  <a:pt x="840" y="36"/>
                </a:cubicBezTo>
                <a:cubicBezTo>
                  <a:pt x="840" y="36"/>
                  <a:pt x="840" y="36"/>
                  <a:pt x="840" y="35"/>
                </a:cubicBezTo>
                <a:cubicBezTo>
                  <a:pt x="840" y="35"/>
                  <a:pt x="840" y="35"/>
                  <a:pt x="840" y="35"/>
                </a:cubicBezTo>
                <a:cubicBezTo>
                  <a:pt x="841" y="35"/>
                  <a:pt x="841" y="34"/>
                  <a:pt x="841" y="34"/>
                </a:cubicBezTo>
                <a:cubicBezTo>
                  <a:pt x="841" y="34"/>
                  <a:pt x="842" y="34"/>
                  <a:pt x="842" y="34"/>
                </a:cubicBezTo>
                <a:cubicBezTo>
                  <a:pt x="842" y="34"/>
                  <a:pt x="843" y="35"/>
                  <a:pt x="844" y="35"/>
                </a:cubicBezTo>
                <a:cubicBezTo>
                  <a:pt x="844" y="35"/>
                  <a:pt x="844" y="35"/>
                  <a:pt x="844" y="35"/>
                </a:cubicBezTo>
                <a:cubicBezTo>
                  <a:pt x="845" y="35"/>
                  <a:pt x="845" y="35"/>
                  <a:pt x="845" y="35"/>
                </a:cubicBezTo>
                <a:cubicBezTo>
                  <a:pt x="845" y="35"/>
                  <a:pt x="845" y="34"/>
                  <a:pt x="845" y="34"/>
                </a:cubicBezTo>
                <a:cubicBezTo>
                  <a:pt x="846" y="34"/>
                  <a:pt x="846" y="34"/>
                  <a:pt x="847" y="33"/>
                </a:cubicBezTo>
                <a:cubicBezTo>
                  <a:pt x="847" y="33"/>
                  <a:pt x="847" y="33"/>
                  <a:pt x="848" y="33"/>
                </a:cubicBezTo>
                <a:cubicBezTo>
                  <a:pt x="848" y="33"/>
                  <a:pt x="848" y="33"/>
                  <a:pt x="848" y="32"/>
                </a:cubicBezTo>
                <a:cubicBezTo>
                  <a:pt x="849" y="32"/>
                  <a:pt x="849" y="32"/>
                  <a:pt x="849" y="32"/>
                </a:cubicBezTo>
                <a:cubicBezTo>
                  <a:pt x="849" y="32"/>
                  <a:pt x="849" y="32"/>
                  <a:pt x="850" y="32"/>
                </a:cubicBezTo>
                <a:cubicBezTo>
                  <a:pt x="850" y="31"/>
                  <a:pt x="850" y="31"/>
                  <a:pt x="851" y="31"/>
                </a:cubicBezTo>
                <a:cubicBezTo>
                  <a:pt x="851" y="31"/>
                  <a:pt x="851" y="31"/>
                  <a:pt x="851" y="31"/>
                </a:cubicBezTo>
                <a:cubicBezTo>
                  <a:pt x="851" y="31"/>
                  <a:pt x="851" y="30"/>
                  <a:pt x="851" y="30"/>
                </a:cubicBezTo>
                <a:cubicBezTo>
                  <a:pt x="851" y="30"/>
                  <a:pt x="851" y="29"/>
                  <a:pt x="851" y="29"/>
                </a:cubicBezTo>
                <a:cubicBezTo>
                  <a:pt x="851" y="29"/>
                  <a:pt x="850" y="29"/>
                  <a:pt x="850" y="28"/>
                </a:cubicBezTo>
                <a:cubicBezTo>
                  <a:pt x="850" y="28"/>
                  <a:pt x="850" y="28"/>
                  <a:pt x="850" y="28"/>
                </a:cubicBezTo>
                <a:cubicBezTo>
                  <a:pt x="849" y="28"/>
                  <a:pt x="848" y="28"/>
                  <a:pt x="848" y="27"/>
                </a:cubicBezTo>
                <a:cubicBezTo>
                  <a:pt x="848" y="27"/>
                  <a:pt x="848" y="27"/>
                  <a:pt x="848" y="27"/>
                </a:cubicBezTo>
                <a:cubicBezTo>
                  <a:pt x="847" y="27"/>
                  <a:pt x="847" y="26"/>
                  <a:pt x="847" y="26"/>
                </a:cubicBezTo>
                <a:cubicBezTo>
                  <a:pt x="847" y="26"/>
                  <a:pt x="846" y="26"/>
                  <a:pt x="846" y="26"/>
                </a:cubicBezTo>
                <a:cubicBezTo>
                  <a:pt x="846" y="26"/>
                  <a:pt x="845" y="26"/>
                  <a:pt x="845" y="26"/>
                </a:cubicBezTo>
                <a:cubicBezTo>
                  <a:pt x="845" y="26"/>
                  <a:pt x="845" y="26"/>
                  <a:pt x="845" y="26"/>
                </a:cubicBezTo>
                <a:cubicBezTo>
                  <a:pt x="844" y="25"/>
                  <a:pt x="844" y="25"/>
                  <a:pt x="843" y="25"/>
                </a:cubicBezTo>
                <a:cubicBezTo>
                  <a:pt x="843" y="25"/>
                  <a:pt x="843" y="25"/>
                  <a:pt x="842" y="25"/>
                </a:cubicBezTo>
                <a:cubicBezTo>
                  <a:pt x="842" y="25"/>
                  <a:pt x="841" y="25"/>
                  <a:pt x="840" y="25"/>
                </a:cubicBezTo>
                <a:cubicBezTo>
                  <a:pt x="840" y="25"/>
                  <a:pt x="839" y="25"/>
                  <a:pt x="839" y="25"/>
                </a:cubicBezTo>
                <a:cubicBezTo>
                  <a:pt x="838" y="25"/>
                  <a:pt x="838" y="25"/>
                  <a:pt x="837" y="25"/>
                </a:cubicBezTo>
                <a:cubicBezTo>
                  <a:pt x="837" y="25"/>
                  <a:pt x="837" y="25"/>
                  <a:pt x="837" y="25"/>
                </a:cubicBezTo>
                <a:cubicBezTo>
                  <a:pt x="836" y="25"/>
                  <a:pt x="836" y="25"/>
                  <a:pt x="835" y="25"/>
                </a:cubicBezTo>
                <a:cubicBezTo>
                  <a:pt x="835" y="25"/>
                  <a:pt x="834" y="25"/>
                  <a:pt x="834" y="25"/>
                </a:cubicBezTo>
                <a:cubicBezTo>
                  <a:pt x="833" y="25"/>
                  <a:pt x="833" y="26"/>
                  <a:pt x="833" y="26"/>
                </a:cubicBezTo>
                <a:cubicBezTo>
                  <a:pt x="833" y="26"/>
                  <a:pt x="832" y="26"/>
                  <a:pt x="832" y="26"/>
                </a:cubicBezTo>
                <a:cubicBezTo>
                  <a:pt x="831" y="26"/>
                  <a:pt x="831" y="26"/>
                  <a:pt x="831" y="26"/>
                </a:cubicBezTo>
                <a:cubicBezTo>
                  <a:pt x="831" y="26"/>
                  <a:pt x="830" y="26"/>
                  <a:pt x="830" y="25"/>
                </a:cubicBezTo>
                <a:cubicBezTo>
                  <a:pt x="830" y="26"/>
                  <a:pt x="830" y="26"/>
                  <a:pt x="830" y="26"/>
                </a:cubicBezTo>
                <a:cubicBezTo>
                  <a:pt x="830" y="26"/>
                  <a:pt x="829" y="26"/>
                  <a:pt x="829" y="26"/>
                </a:cubicBezTo>
                <a:cubicBezTo>
                  <a:pt x="829" y="26"/>
                  <a:pt x="829" y="26"/>
                  <a:pt x="830" y="27"/>
                </a:cubicBezTo>
                <a:cubicBezTo>
                  <a:pt x="829" y="27"/>
                  <a:pt x="829" y="27"/>
                  <a:pt x="829" y="27"/>
                </a:cubicBezTo>
                <a:cubicBezTo>
                  <a:pt x="829" y="28"/>
                  <a:pt x="829" y="28"/>
                  <a:pt x="829" y="28"/>
                </a:cubicBezTo>
                <a:cubicBezTo>
                  <a:pt x="829" y="28"/>
                  <a:pt x="829" y="28"/>
                  <a:pt x="828" y="28"/>
                </a:cubicBezTo>
                <a:cubicBezTo>
                  <a:pt x="828" y="28"/>
                  <a:pt x="828" y="28"/>
                  <a:pt x="828" y="28"/>
                </a:cubicBezTo>
                <a:cubicBezTo>
                  <a:pt x="828" y="28"/>
                  <a:pt x="829" y="28"/>
                  <a:pt x="829" y="29"/>
                </a:cubicBezTo>
                <a:cubicBezTo>
                  <a:pt x="829" y="29"/>
                  <a:pt x="829" y="29"/>
                  <a:pt x="828" y="29"/>
                </a:cubicBezTo>
                <a:cubicBezTo>
                  <a:pt x="828" y="29"/>
                  <a:pt x="828" y="29"/>
                  <a:pt x="827" y="29"/>
                </a:cubicBezTo>
                <a:cubicBezTo>
                  <a:pt x="827" y="29"/>
                  <a:pt x="827" y="29"/>
                  <a:pt x="826" y="29"/>
                </a:cubicBezTo>
                <a:cubicBezTo>
                  <a:pt x="826" y="29"/>
                  <a:pt x="826" y="29"/>
                  <a:pt x="826" y="29"/>
                </a:cubicBezTo>
                <a:cubicBezTo>
                  <a:pt x="825" y="29"/>
                  <a:pt x="825" y="29"/>
                  <a:pt x="825" y="29"/>
                </a:cubicBezTo>
                <a:cubicBezTo>
                  <a:pt x="825" y="29"/>
                  <a:pt x="825" y="28"/>
                  <a:pt x="825" y="28"/>
                </a:cubicBezTo>
                <a:cubicBezTo>
                  <a:pt x="825" y="29"/>
                  <a:pt x="825" y="29"/>
                  <a:pt x="824" y="29"/>
                </a:cubicBezTo>
                <a:cubicBezTo>
                  <a:pt x="824" y="29"/>
                  <a:pt x="824" y="29"/>
                  <a:pt x="824" y="29"/>
                </a:cubicBezTo>
                <a:cubicBezTo>
                  <a:pt x="825" y="29"/>
                  <a:pt x="825" y="30"/>
                  <a:pt x="825" y="30"/>
                </a:cubicBezTo>
                <a:cubicBezTo>
                  <a:pt x="825" y="30"/>
                  <a:pt x="824" y="30"/>
                  <a:pt x="824" y="30"/>
                </a:cubicBezTo>
                <a:cubicBezTo>
                  <a:pt x="824" y="30"/>
                  <a:pt x="824" y="31"/>
                  <a:pt x="824" y="31"/>
                </a:cubicBezTo>
                <a:cubicBezTo>
                  <a:pt x="824" y="31"/>
                  <a:pt x="824" y="31"/>
                  <a:pt x="824" y="31"/>
                </a:cubicBezTo>
                <a:cubicBezTo>
                  <a:pt x="824" y="31"/>
                  <a:pt x="824" y="31"/>
                  <a:pt x="824" y="31"/>
                </a:cubicBezTo>
                <a:cubicBezTo>
                  <a:pt x="824" y="31"/>
                  <a:pt x="824" y="30"/>
                  <a:pt x="824" y="30"/>
                </a:cubicBezTo>
                <a:cubicBezTo>
                  <a:pt x="824" y="30"/>
                  <a:pt x="824" y="30"/>
                  <a:pt x="824" y="30"/>
                </a:cubicBezTo>
                <a:cubicBezTo>
                  <a:pt x="823" y="29"/>
                  <a:pt x="823" y="29"/>
                  <a:pt x="823" y="29"/>
                </a:cubicBezTo>
                <a:cubicBezTo>
                  <a:pt x="823" y="29"/>
                  <a:pt x="823" y="29"/>
                  <a:pt x="823" y="29"/>
                </a:cubicBezTo>
                <a:cubicBezTo>
                  <a:pt x="823" y="28"/>
                  <a:pt x="823" y="28"/>
                  <a:pt x="823" y="28"/>
                </a:cubicBezTo>
                <a:cubicBezTo>
                  <a:pt x="823" y="28"/>
                  <a:pt x="823" y="28"/>
                  <a:pt x="823" y="28"/>
                </a:cubicBezTo>
                <a:cubicBezTo>
                  <a:pt x="823" y="28"/>
                  <a:pt x="823" y="27"/>
                  <a:pt x="823" y="27"/>
                </a:cubicBezTo>
                <a:cubicBezTo>
                  <a:pt x="823" y="27"/>
                  <a:pt x="822" y="27"/>
                  <a:pt x="822" y="27"/>
                </a:cubicBezTo>
                <a:cubicBezTo>
                  <a:pt x="822" y="28"/>
                  <a:pt x="822" y="28"/>
                  <a:pt x="822" y="28"/>
                </a:cubicBezTo>
                <a:cubicBezTo>
                  <a:pt x="822" y="28"/>
                  <a:pt x="821" y="28"/>
                  <a:pt x="821" y="28"/>
                </a:cubicBezTo>
                <a:cubicBezTo>
                  <a:pt x="821" y="29"/>
                  <a:pt x="821" y="29"/>
                  <a:pt x="821" y="29"/>
                </a:cubicBezTo>
                <a:cubicBezTo>
                  <a:pt x="821" y="29"/>
                  <a:pt x="821" y="29"/>
                  <a:pt x="821" y="30"/>
                </a:cubicBezTo>
                <a:cubicBezTo>
                  <a:pt x="820" y="30"/>
                  <a:pt x="820" y="30"/>
                  <a:pt x="819" y="31"/>
                </a:cubicBezTo>
                <a:cubicBezTo>
                  <a:pt x="819" y="31"/>
                  <a:pt x="819" y="31"/>
                  <a:pt x="818" y="31"/>
                </a:cubicBezTo>
                <a:cubicBezTo>
                  <a:pt x="818" y="31"/>
                  <a:pt x="818" y="31"/>
                  <a:pt x="817" y="31"/>
                </a:cubicBezTo>
                <a:cubicBezTo>
                  <a:pt x="817" y="32"/>
                  <a:pt x="817" y="32"/>
                  <a:pt x="817" y="32"/>
                </a:cubicBezTo>
                <a:cubicBezTo>
                  <a:pt x="817" y="32"/>
                  <a:pt x="816" y="32"/>
                  <a:pt x="816" y="32"/>
                </a:cubicBezTo>
                <a:cubicBezTo>
                  <a:pt x="816" y="32"/>
                  <a:pt x="815" y="32"/>
                  <a:pt x="815" y="32"/>
                </a:cubicBezTo>
                <a:cubicBezTo>
                  <a:pt x="814" y="33"/>
                  <a:pt x="814" y="33"/>
                  <a:pt x="814" y="33"/>
                </a:cubicBezTo>
                <a:cubicBezTo>
                  <a:pt x="813" y="33"/>
                  <a:pt x="813" y="34"/>
                  <a:pt x="812" y="34"/>
                </a:cubicBezTo>
                <a:cubicBezTo>
                  <a:pt x="812" y="34"/>
                  <a:pt x="811" y="34"/>
                  <a:pt x="811" y="34"/>
                </a:cubicBezTo>
                <a:cubicBezTo>
                  <a:pt x="810" y="34"/>
                  <a:pt x="810" y="34"/>
                  <a:pt x="809" y="34"/>
                </a:cubicBezTo>
                <a:cubicBezTo>
                  <a:pt x="809" y="34"/>
                  <a:pt x="809" y="34"/>
                  <a:pt x="809" y="34"/>
                </a:cubicBezTo>
                <a:cubicBezTo>
                  <a:pt x="809" y="34"/>
                  <a:pt x="809" y="35"/>
                  <a:pt x="808" y="35"/>
                </a:cubicBezTo>
                <a:cubicBezTo>
                  <a:pt x="808" y="35"/>
                  <a:pt x="808" y="35"/>
                  <a:pt x="807" y="35"/>
                </a:cubicBezTo>
                <a:cubicBezTo>
                  <a:pt x="807" y="35"/>
                  <a:pt x="807" y="35"/>
                  <a:pt x="807" y="35"/>
                </a:cubicBezTo>
                <a:cubicBezTo>
                  <a:pt x="806" y="35"/>
                  <a:pt x="806" y="35"/>
                  <a:pt x="806" y="35"/>
                </a:cubicBezTo>
                <a:cubicBezTo>
                  <a:pt x="805" y="35"/>
                  <a:pt x="805" y="36"/>
                  <a:pt x="804" y="36"/>
                </a:cubicBezTo>
                <a:cubicBezTo>
                  <a:pt x="804" y="36"/>
                  <a:pt x="803" y="37"/>
                  <a:pt x="802" y="37"/>
                </a:cubicBezTo>
                <a:cubicBezTo>
                  <a:pt x="802" y="37"/>
                  <a:pt x="802" y="38"/>
                  <a:pt x="802" y="38"/>
                </a:cubicBezTo>
                <a:cubicBezTo>
                  <a:pt x="802" y="38"/>
                  <a:pt x="802" y="38"/>
                  <a:pt x="802" y="38"/>
                </a:cubicBezTo>
                <a:cubicBezTo>
                  <a:pt x="801" y="38"/>
                  <a:pt x="800" y="39"/>
                  <a:pt x="800" y="39"/>
                </a:cubicBezTo>
                <a:cubicBezTo>
                  <a:pt x="799" y="39"/>
                  <a:pt x="799" y="40"/>
                  <a:pt x="799" y="40"/>
                </a:cubicBezTo>
                <a:cubicBezTo>
                  <a:pt x="799" y="40"/>
                  <a:pt x="798" y="40"/>
                  <a:pt x="798" y="40"/>
                </a:cubicBezTo>
                <a:cubicBezTo>
                  <a:pt x="798" y="40"/>
                  <a:pt x="798" y="40"/>
                  <a:pt x="798" y="40"/>
                </a:cubicBezTo>
                <a:cubicBezTo>
                  <a:pt x="798" y="40"/>
                  <a:pt x="797" y="40"/>
                  <a:pt x="797" y="40"/>
                </a:cubicBezTo>
                <a:cubicBezTo>
                  <a:pt x="796" y="40"/>
                  <a:pt x="796" y="41"/>
                  <a:pt x="796" y="41"/>
                </a:cubicBezTo>
                <a:cubicBezTo>
                  <a:pt x="796" y="41"/>
                  <a:pt x="795" y="42"/>
                  <a:pt x="795" y="42"/>
                </a:cubicBezTo>
                <a:cubicBezTo>
                  <a:pt x="795" y="42"/>
                  <a:pt x="795" y="42"/>
                  <a:pt x="795" y="42"/>
                </a:cubicBezTo>
                <a:cubicBezTo>
                  <a:pt x="795" y="43"/>
                  <a:pt x="794" y="43"/>
                  <a:pt x="794" y="43"/>
                </a:cubicBezTo>
                <a:cubicBezTo>
                  <a:pt x="794" y="43"/>
                  <a:pt x="794" y="43"/>
                  <a:pt x="794" y="43"/>
                </a:cubicBezTo>
                <a:cubicBezTo>
                  <a:pt x="794" y="42"/>
                  <a:pt x="794" y="42"/>
                  <a:pt x="795" y="42"/>
                </a:cubicBezTo>
                <a:cubicBezTo>
                  <a:pt x="794" y="42"/>
                  <a:pt x="794" y="41"/>
                  <a:pt x="794" y="41"/>
                </a:cubicBezTo>
                <a:cubicBezTo>
                  <a:pt x="794" y="41"/>
                  <a:pt x="794" y="41"/>
                  <a:pt x="794" y="40"/>
                </a:cubicBezTo>
                <a:cubicBezTo>
                  <a:pt x="795" y="40"/>
                  <a:pt x="795" y="40"/>
                  <a:pt x="795" y="40"/>
                </a:cubicBezTo>
                <a:cubicBezTo>
                  <a:pt x="795" y="40"/>
                  <a:pt x="795" y="40"/>
                  <a:pt x="796" y="40"/>
                </a:cubicBezTo>
                <a:cubicBezTo>
                  <a:pt x="796" y="40"/>
                  <a:pt x="797" y="39"/>
                  <a:pt x="797" y="39"/>
                </a:cubicBezTo>
                <a:cubicBezTo>
                  <a:pt x="797" y="39"/>
                  <a:pt x="798" y="39"/>
                  <a:pt x="798" y="39"/>
                </a:cubicBezTo>
                <a:cubicBezTo>
                  <a:pt x="798" y="39"/>
                  <a:pt x="799" y="39"/>
                  <a:pt x="799" y="38"/>
                </a:cubicBezTo>
                <a:cubicBezTo>
                  <a:pt x="800" y="38"/>
                  <a:pt x="800" y="38"/>
                  <a:pt x="801" y="37"/>
                </a:cubicBezTo>
                <a:cubicBezTo>
                  <a:pt x="801" y="37"/>
                  <a:pt x="801" y="37"/>
                  <a:pt x="801" y="37"/>
                </a:cubicBezTo>
                <a:cubicBezTo>
                  <a:pt x="801" y="37"/>
                  <a:pt x="802" y="36"/>
                  <a:pt x="802" y="36"/>
                </a:cubicBezTo>
                <a:cubicBezTo>
                  <a:pt x="802" y="36"/>
                  <a:pt x="803" y="36"/>
                  <a:pt x="803" y="35"/>
                </a:cubicBezTo>
                <a:cubicBezTo>
                  <a:pt x="803" y="35"/>
                  <a:pt x="803" y="35"/>
                  <a:pt x="803" y="35"/>
                </a:cubicBezTo>
                <a:cubicBezTo>
                  <a:pt x="803" y="35"/>
                  <a:pt x="803" y="34"/>
                  <a:pt x="803" y="34"/>
                </a:cubicBezTo>
                <a:cubicBezTo>
                  <a:pt x="803" y="34"/>
                  <a:pt x="803" y="34"/>
                  <a:pt x="804" y="34"/>
                </a:cubicBezTo>
                <a:cubicBezTo>
                  <a:pt x="804" y="34"/>
                  <a:pt x="804" y="34"/>
                  <a:pt x="804" y="34"/>
                </a:cubicBezTo>
                <a:cubicBezTo>
                  <a:pt x="804" y="34"/>
                  <a:pt x="804" y="34"/>
                  <a:pt x="805" y="34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6" y="34"/>
                  <a:pt x="806" y="33"/>
                  <a:pt x="806" y="33"/>
                </a:cubicBezTo>
                <a:cubicBezTo>
                  <a:pt x="806" y="33"/>
                  <a:pt x="806" y="33"/>
                  <a:pt x="806" y="33"/>
                </a:cubicBezTo>
                <a:cubicBezTo>
                  <a:pt x="807" y="33"/>
                  <a:pt x="807" y="32"/>
                  <a:pt x="807" y="32"/>
                </a:cubicBezTo>
                <a:cubicBezTo>
                  <a:pt x="807" y="32"/>
                  <a:pt x="807" y="32"/>
                  <a:pt x="808" y="32"/>
                </a:cubicBezTo>
                <a:cubicBezTo>
                  <a:pt x="808" y="32"/>
                  <a:pt x="808" y="32"/>
                  <a:pt x="808" y="32"/>
                </a:cubicBezTo>
                <a:cubicBezTo>
                  <a:pt x="809" y="32"/>
                  <a:pt x="809" y="32"/>
                  <a:pt x="809" y="31"/>
                </a:cubicBezTo>
                <a:cubicBezTo>
                  <a:pt x="809" y="31"/>
                  <a:pt x="810" y="31"/>
                  <a:pt x="810" y="31"/>
                </a:cubicBezTo>
                <a:cubicBezTo>
                  <a:pt x="810" y="31"/>
                  <a:pt x="810" y="31"/>
                  <a:pt x="810" y="31"/>
                </a:cubicBezTo>
                <a:cubicBezTo>
                  <a:pt x="811" y="31"/>
                  <a:pt x="811" y="31"/>
                  <a:pt x="811" y="31"/>
                </a:cubicBezTo>
                <a:cubicBezTo>
                  <a:pt x="812" y="30"/>
                  <a:pt x="813" y="30"/>
                  <a:pt x="814" y="29"/>
                </a:cubicBezTo>
                <a:cubicBezTo>
                  <a:pt x="815" y="29"/>
                  <a:pt x="815" y="29"/>
                  <a:pt x="815" y="28"/>
                </a:cubicBezTo>
                <a:cubicBezTo>
                  <a:pt x="815" y="28"/>
                  <a:pt x="815" y="28"/>
                  <a:pt x="815" y="28"/>
                </a:cubicBezTo>
                <a:cubicBezTo>
                  <a:pt x="815" y="27"/>
                  <a:pt x="816" y="27"/>
                  <a:pt x="816" y="26"/>
                </a:cubicBezTo>
                <a:cubicBezTo>
                  <a:pt x="816" y="26"/>
                  <a:pt x="817" y="26"/>
                  <a:pt x="817" y="25"/>
                </a:cubicBezTo>
                <a:cubicBezTo>
                  <a:pt x="817" y="25"/>
                  <a:pt x="817" y="25"/>
                  <a:pt x="817" y="25"/>
                </a:cubicBezTo>
                <a:cubicBezTo>
                  <a:pt x="817" y="24"/>
                  <a:pt x="817" y="24"/>
                  <a:pt x="817" y="23"/>
                </a:cubicBezTo>
                <a:cubicBezTo>
                  <a:pt x="817" y="23"/>
                  <a:pt x="817" y="23"/>
                  <a:pt x="816" y="23"/>
                </a:cubicBezTo>
                <a:cubicBezTo>
                  <a:pt x="816" y="23"/>
                  <a:pt x="816" y="23"/>
                  <a:pt x="816" y="23"/>
                </a:cubicBezTo>
                <a:cubicBezTo>
                  <a:pt x="815" y="23"/>
                  <a:pt x="815" y="23"/>
                  <a:pt x="814" y="23"/>
                </a:cubicBezTo>
                <a:cubicBezTo>
                  <a:pt x="814" y="23"/>
                  <a:pt x="813" y="23"/>
                  <a:pt x="813" y="23"/>
                </a:cubicBezTo>
                <a:cubicBezTo>
                  <a:pt x="812" y="23"/>
                  <a:pt x="812" y="23"/>
                  <a:pt x="811" y="23"/>
                </a:cubicBezTo>
                <a:cubicBezTo>
                  <a:pt x="811" y="23"/>
                  <a:pt x="810" y="23"/>
                  <a:pt x="810" y="23"/>
                </a:cubicBezTo>
                <a:cubicBezTo>
                  <a:pt x="810" y="23"/>
                  <a:pt x="809" y="23"/>
                  <a:pt x="809" y="23"/>
                </a:cubicBezTo>
                <a:cubicBezTo>
                  <a:pt x="809" y="23"/>
                  <a:pt x="809" y="24"/>
                  <a:pt x="809" y="24"/>
                </a:cubicBezTo>
                <a:cubicBezTo>
                  <a:pt x="809" y="24"/>
                  <a:pt x="809" y="24"/>
                  <a:pt x="809" y="24"/>
                </a:cubicBezTo>
                <a:cubicBezTo>
                  <a:pt x="809" y="24"/>
                  <a:pt x="809" y="24"/>
                  <a:pt x="809" y="25"/>
                </a:cubicBezTo>
                <a:cubicBezTo>
                  <a:pt x="809" y="25"/>
                  <a:pt x="809" y="25"/>
                  <a:pt x="809" y="26"/>
                </a:cubicBezTo>
                <a:cubicBezTo>
                  <a:pt x="809" y="26"/>
                  <a:pt x="809" y="26"/>
                  <a:pt x="809" y="27"/>
                </a:cubicBezTo>
                <a:cubicBezTo>
                  <a:pt x="808" y="27"/>
                  <a:pt x="808" y="27"/>
                  <a:pt x="808" y="28"/>
                </a:cubicBezTo>
                <a:cubicBezTo>
                  <a:pt x="807" y="27"/>
                  <a:pt x="807" y="27"/>
                  <a:pt x="807" y="27"/>
                </a:cubicBezTo>
                <a:cubicBezTo>
                  <a:pt x="807" y="27"/>
                  <a:pt x="806" y="27"/>
                  <a:pt x="806" y="27"/>
                </a:cubicBezTo>
                <a:cubicBezTo>
                  <a:pt x="806" y="27"/>
                  <a:pt x="806" y="27"/>
                  <a:pt x="806" y="27"/>
                </a:cubicBezTo>
                <a:cubicBezTo>
                  <a:pt x="806" y="27"/>
                  <a:pt x="806" y="28"/>
                  <a:pt x="805" y="28"/>
                </a:cubicBezTo>
                <a:cubicBezTo>
                  <a:pt x="805" y="28"/>
                  <a:pt x="805" y="28"/>
                  <a:pt x="805" y="28"/>
                </a:cubicBezTo>
                <a:cubicBezTo>
                  <a:pt x="805" y="28"/>
                  <a:pt x="804" y="28"/>
                  <a:pt x="804" y="28"/>
                </a:cubicBezTo>
                <a:cubicBezTo>
                  <a:pt x="804" y="28"/>
                  <a:pt x="803" y="28"/>
                  <a:pt x="803" y="28"/>
                </a:cubicBezTo>
                <a:cubicBezTo>
                  <a:pt x="803" y="28"/>
                  <a:pt x="801" y="27"/>
                  <a:pt x="801" y="27"/>
                </a:cubicBezTo>
                <a:cubicBezTo>
                  <a:pt x="801" y="27"/>
                  <a:pt x="799" y="28"/>
                  <a:pt x="799" y="28"/>
                </a:cubicBezTo>
                <a:cubicBezTo>
                  <a:pt x="799" y="28"/>
                  <a:pt x="798" y="28"/>
                  <a:pt x="798" y="28"/>
                </a:cubicBezTo>
                <a:cubicBezTo>
                  <a:pt x="797" y="28"/>
                  <a:pt x="797" y="28"/>
                  <a:pt x="796" y="28"/>
                </a:cubicBezTo>
                <a:cubicBezTo>
                  <a:pt x="796" y="28"/>
                  <a:pt x="795" y="29"/>
                  <a:pt x="795" y="29"/>
                </a:cubicBezTo>
                <a:cubicBezTo>
                  <a:pt x="795" y="29"/>
                  <a:pt x="795" y="29"/>
                  <a:pt x="794" y="29"/>
                </a:cubicBezTo>
                <a:cubicBezTo>
                  <a:pt x="794" y="28"/>
                  <a:pt x="794" y="28"/>
                  <a:pt x="794" y="28"/>
                </a:cubicBezTo>
                <a:cubicBezTo>
                  <a:pt x="794" y="28"/>
                  <a:pt x="794" y="28"/>
                  <a:pt x="794" y="28"/>
                </a:cubicBezTo>
                <a:cubicBezTo>
                  <a:pt x="794" y="27"/>
                  <a:pt x="794" y="27"/>
                  <a:pt x="794" y="27"/>
                </a:cubicBezTo>
                <a:cubicBezTo>
                  <a:pt x="794" y="27"/>
                  <a:pt x="795" y="27"/>
                  <a:pt x="795" y="27"/>
                </a:cubicBezTo>
                <a:cubicBezTo>
                  <a:pt x="795" y="27"/>
                  <a:pt x="795" y="27"/>
                  <a:pt x="795" y="27"/>
                </a:cubicBezTo>
                <a:cubicBezTo>
                  <a:pt x="795" y="27"/>
                  <a:pt x="795" y="27"/>
                  <a:pt x="795" y="27"/>
                </a:cubicBezTo>
                <a:cubicBezTo>
                  <a:pt x="796" y="27"/>
                  <a:pt x="796" y="27"/>
                  <a:pt x="796" y="27"/>
                </a:cubicBezTo>
                <a:cubicBezTo>
                  <a:pt x="796" y="26"/>
                  <a:pt x="797" y="26"/>
                  <a:pt x="797" y="26"/>
                </a:cubicBezTo>
                <a:cubicBezTo>
                  <a:pt x="798" y="26"/>
                  <a:pt x="799" y="26"/>
                  <a:pt x="800" y="26"/>
                </a:cubicBezTo>
                <a:cubicBezTo>
                  <a:pt x="801" y="26"/>
                  <a:pt x="801" y="26"/>
                  <a:pt x="801" y="26"/>
                </a:cubicBezTo>
                <a:cubicBezTo>
                  <a:pt x="801" y="25"/>
                  <a:pt x="801" y="25"/>
                  <a:pt x="802" y="25"/>
                </a:cubicBezTo>
                <a:cubicBezTo>
                  <a:pt x="802" y="25"/>
                  <a:pt x="802" y="24"/>
                  <a:pt x="802" y="24"/>
                </a:cubicBezTo>
                <a:cubicBezTo>
                  <a:pt x="802" y="24"/>
                  <a:pt x="802" y="24"/>
                  <a:pt x="802" y="24"/>
                </a:cubicBezTo>
                <a:cubicBezTo>
                  <a:pt x="803" y="24"/>
                  <a:pt x="803" y="23"/>
                  <a:pt x="803" y="23"/>
                </a:cubicBezTo>
                <a:cubicBezTo>
                  <a:pt x="802" y="23"/>
                  <a:pt x="802" y="23"/>
                  <a:pt x="802" y="23"/>
                </a:cubicBezTo>
                <a:cubicBezTo>
                  <a:pt x="802" y="23"/>
                  <a:pt x="802" y="23"/>
                  <a:pt x="802" y="23"/>
                </a:cubicBezTo>
                <a:cubicBezTo>
                  <a:pt x="802" y="23"/>
                  <a:pt x="801" y="23"/>
                  <a:pt x="801" y="23"/>
                </a:cubicBezTo>
                <a:cubicBezTo>
                  <a:pt x="800" y="23"/>
                  <a:pt x="800" y="23"/>
                  <a:pt x="799" y="23"/>
                </a:cubicBezTo>
                <a:cubicBezTo>
                  <a:pt x="798" y="23"/>
                  <a:pt x="797" y="23"/>
                  <a:pt x="797" y="23"/>
                </a:cubicBezTo>
                <a:cubicBezTo>
                  <a:pt x="796" y="23"/>
                  <a:pt x="796" y="23"/>
                  <a:pt x="796" y="23"/>
                </a:cubicBezTo>
                <a:cubicBezTo>
                  <a:pt x="795" y="23"/>
                  <a:pt x="795" y="22"/>
                  <a:pt x="795" y="22"/>
                </a:cubicBezTo>
                <a:cubicBezTo>
                  <a:pt x="794" y="23"/>
                  <a:pt x="793" y="23"/>
                  <a:pt x="792" y="23"/>
                </a:cubicBezTo>
                <a:cubicBezTo>
                  <a:pt x="791" y="23"/>
                  <a:pt x="791" y="23"/>
                  <a:pt x="790" y="23"/>
                </a:cubicBezTo>
                <a:cubicBezTo>
                  <a:pt x="790" y="23"/>
                  <a:pt x="790" y="23"/>
                  <a:pt x="789" y="23"/>
                </a:cubicBezTo>
                <a:cubicBezTo>
                  <a:pt x="789" y="23"/>
                  <a:pt x="788" y="23"/>
                  <a:pt x="788" y="23"/>
                </a:cubicBezTo>
                <a:cubicBezTo>
                  <a:pt x="787" y="23"/>
                  <a:pt x="787" y="23"/>
                  <a:pt x="786" y="23"/>
                </a:cubicBezTo>
                <a:cubicBezTo>
                  <a:pt x="786" y="23"/>
                  <a:pt x="786" y="23"/>
                  <a:pt x="786" y="23"/>
                </a:cubicBezTo>
                <a:cubicBezTo>
                  <a:pt x="785" y="23"/>
                  <a:pt x="785" y="23"/>
                  <a:pt x="785" y="23"/>
                </a:cubicBezTo>
                <a:cubicBezTo>
                  <a:pt x="784" y="23"/>
                  <a:pt x="784" y="23"/>
                  <a:pt x="784" y="23"/>
                </a:cubicBezTo>
                <a:cubicBezTo>
                  <a:pt x="784" y="23"/>
                  <a:pt x="783" y="23"/>
                  <a:pt x="783" y="24"/>
                </a:cubicBezTo>
                <a:cubicBezTo>
                  <a:pt x="783" y="24"/>
                  <a:pt x="783" y="24"/>
                  <a:pt x="783" y="24"/>
                </a:cubicBezTo>
                <a:cubicBezTo>
                  <a:pt x="783" y="24"/>
                  <a:pt x="783" y="25"/>
                  <a:pt x="782" y="25"/>
                </a:cubicBezTo>
                <a:cubicBezTo>
                  <a:pt x="782" y="25"/>
                  <a:pt x="782" y="25"/>
                  <a:pt x="782" y="25"/>
                </a:cubicBezTo>
                <a:cubicBezTo>
                  <a:pt x="782" y="25"/>
                  <a:pt x="782" y="24"/>
                  <a:pt x="782" y="24"/>
                </a:cubicBezTo>
                <a:cubicBezTo>
                  <a:pt x="782" y="24"/>
                  <a:pt x="782" y="24"/>
                  <a:pt x="782" y="24"/>
                </a:cubicBezTo>
                <a:cubicBezTo>
                  <a:pt x="782" y="24"/>
                  <a:pt x="782" y="24"/>
                  <a:pt x="781" y="24"/>
                </a:cubicBezTo>
                <a:cubicBezTo>
                  <a:pt x="780" y="24"/>
                  <a:pt x="780" y="25"/>
                  <a:pt x="779" y="25"/>
                </a:cubicBezTo>
                <a:cubicBezTo>
                  <a:pt x="778" y="25"/>
                  <a:pt x="778" y="25"/>
                  <a:pt x="777" y="25"/>
                </a:cubicBezTo>
                <a:cubicBezTo>
                  <a:pt x="777" y="25"/>
                  <a:pt x="777" y="26"/>
                  <a:pt x="777" y="26"/>
                </a:cubicBezTo>
                <a:cubicBezTo>
                  <a:pt x="776" y="26"/>
                  <a:pt x="776" y="26"/>
                  <a:pt x="776" y="26"/>
                </a:cubicBezTo>
                <a:cubicBezTo>
                  <a:pt x="776" y="26"/>
                  <a:pt x="775" y="26"/>
                  <a:pt x="775" y="26"/>
                </a:cubicBezTo>
                <a:cubicBezTo>
                  <a:pt x="775" y="26"/>
                  <a:pt x="774" y="26"/>
                  <a:pt x="774" y="26"/>
                </a:cubicBezTo>
                <a:cubicBezTo>
                  <a:pt x="774" y="26"/>
                  <a:pt x="773" y="27"/>
                  <a:pt x="773" y="27"/>
                </a:cubicBezTo>
                <a:cubicBezTo>
                  <a:pt x="773" y="27"/>
                  <a:pt x="773" y="27"/>
                  <a:pt x="772" y="27"/>
                </a:cubicBezTo>
                <a:cubicBezTo>
                  <a:pt x="772" y="27"/>
                  <a:pt x="772" y="27"/>
                  <a:pt x="771" y="27"/>
                </a:cubicBezTo>
                <a:cubicBezTo>
                  <a:pt x="771" y="28"/>
                  <a:pt x="771" y="28"/>
                  <a:pt x="771" y="28"/>
                </a:cubicBezTo>
                <a:cubicBezTo>
                  <a:pt x="771" y="28"/>
                  <a:pt x="771" y="28"/>
                  <a:pt x="771" y="28"/>
                </a:cubicBezTo>
                <a:cubicBezTo>
                  <a:pt x="771" y="28"/>
                  <a:pt x="770" y="28"/>
                  <a:pt x="770" y="28"/>
                </a:cubicBezTo>
                <a:cubicBezTo>
                  <a:pt x="770" y="28"/>
                  <a:pt x="770" y="28"/>
                  <a:pt x="770" y="28"/>
                </a:cubicBezTo>
                <a:cubicBezTo>
                  <a:pt x="770" y="28"/>
                  <a:pt x="770" y="28"/>
                  <a:pt x="770" y="27"/>
                </a:cubicBezTo>
                <a:cubicBezTo>
                  <a:pt x="770" y="27"/>
                  <a:pt x="770" y="27"/>
                  <a:pt x="769" y="27"/>
                </a:cubicBezTo>
                <a:cubicBezTo>
                  <a:pt x="769" y="27"/>
                  <a:pt x="769" y="27"/>
                  <a:pt x="769" y="27"/>
                </a:cubicBezTo>
                <a:cubicBezTo>
                  <a:pt x="769" y="27"/>
                  <a:pt x="769" y="26"/>
                  <a:pt x="769" y="26"/>
                </a:cubicBezTo>
                <a:cubicBezTo>
                  <a:pt x="769" y="26"/>
                  <a:pt x="769" y="26"/>
                  <a:pt x="769" y="26"/>
                </a:cubicBezTo>
                <a:cubicBezTo>
                  <a:pt x="770" y="26"/>
                  <a:pt x="770" y="26"/>
                  <a:pt x="770" y="26"/>
                </a:cubicBezTo>
                <a:cubicBezTo>
                  <a:pt x="771" y="25"/>
                  <a:pt x="771" y="25"/>
                  <a:pt x="771" y="25"/>
                </a:cubicBezTo>
                <a:cubicBezTo>
                  <a:pt x="772" y="25"/>
                  <a:pt x="772" y="25"/>
                  <a:pt x="772" y="25"/>
                </a:cubicBezTo>
                <a:cubicBezTo>
                  <a:pt x="773" y="25"/>
                  <a:pt x="773" y="25"/>
                  <a:pt x="773" y="25"/>
                </a:cubicBezTo>
                <a:cubicBezTo>
                  <a:pt x="773" y="25"/>
                  <a:pt x="774" y="24"/>
                  <a:pt x="774" y="24"/>
                </a:cubicBezTo>
                <a:cubicBezTo>
                  <a:pt x="774" y="24"/>
                  <a:pt x="774" y="24"/>
                  <a:pt x="775" y="24"/>
                </a:cubicBezTo>
                <a:cubicBezTo>
                  <a:pt x="775" y="24"/>
                  <a:pt x="776" y="24"/>
                  <a:pt x="776" y="24"/>
                </a:cubicBezTo>
                <a:cubicBezTo>
                  <a:pt x="777" y="24"/>
                  <a:pt x="777" y="23"/>
                  <a:pt x="777" y="23"/>
                </a:cubicBezTo>
                <a:cubicBezTo>
                  <a:pt x="778" y="23"/>
                  <a:pt x="778" y="23"/>
                  <a:pt x="778" y="23"/>
                </a:cubicBezTo>
                <a:cubicBezTo>
                  <a:pt x="779" y="23"/>
                  <a:pt x="779" y="23"/>
                  <a:pt x="779" y="23"/>
                </a:cubicBezTo>
                <a:cubicBezTo>
                  <a:pt x="780" y="23"/>
                  <a:pt x="780" y="23"/>
                  <a:pt x="780" y="23"/>
                </a:cubicBezTo>
                <a:cubicBezTo>
                  <a:pt x="780" y="23"/>
                  <a:pt x="780" y="23"/>
                  <a:pt x="781" y="22"/>
                </a:cubicBezTo>
                <a:cubicBezTo>
                  <a:pt x="781" y="22"/>
                  <a:pt x="781" y="22"/>
                  <a:pt x="781" y="22"/>
                </a:cubicBezTo>
                <a:cubicBezTo>
                  <a:pt x="781" y="22"/>
                  <a:pt x="781" y="22"/>
                  <a:pt x="781" y="22"/>
                </a:cubicBezTo>
                <a:cubicBezTo>
                  <a:pt x="780" y="22"/>
                  <a:pt x="780" y="22"/>
                  <a:pt x="780" y="21"/>
                </a:cubicBezTo>
                <a:cubicBezTo>
                  <a:pt x="780" y="21"/>
                  <a:pt x="779" y="22"/>
                  <a:pt x="779" y="22"/>
                </a:cubicBezTo>
                <a:cubicBezTo>
                  <a:pt x="779" y="22"/>
                  <a:pt x="779" y="22"/>
                  <a:pt x="778" y="22"/>
                </a:cubicBezTo>
                <a:cubicBezTo>
                  <a:pt x="778" y="21"/>
                  <a:pt x="778" y="21"/>
                  <a:pt x="779" y="21"/>
                </a:cubicBezTo>
                <a:cubicBezTo>
                  <a:pt x="779" y="21"/>
                  <a:pt x="779" y="21"/>
                  <a:pt x="779" y="21"/>
                </a:cubicBezTo>
                <a:cubicBezTo>
                  <a:pt x="780" y="21"/>
                  <a:pt x="780" y="21"/>
                  <a:pt x="780" y="21"/>
                </a:cubicBezTo>
                <a:cubicBezTo>
                  <a:pt x="780" y="21"/>
                  <a:pt x="780" y="21"/>
                  <a:pt x="781" y="21"/>
                </a:cubicBezTo>
                <a:cubicBezTo>
                  <a:pt x="781" y="21"/>
                  <a:pt x="781" y="21"/>
                  <a:pt x="781" y="21"/>
                </a:cubicBezTo>
                <a:cubicBezTo>
                  <a:pt x="781" y="22"/>
                  <a:pt x="782" y="22"/>
                  <a:pt x="782" y="22"/>
                </a:cubicBezTo>
                <a:cubicBezTo>
                  <a:pt x="782" y="22"/>
                  <a:pt x="782" y="22"/>
                  <a:pt x="782" y="22"/>
                </a:cubicBezTo>
                <a:cubicBezTo>
                  <a:pt x="782" y="22"/>
                  <a:pt x="782" y="22"/>
                  <a:pt x="782" y="22"/>
                </a:cubicBezTo>
                <a:cubicBezTo>
                  <a:pt x="783" y="22"/>
                  <a:pt x="783" y="21"/>
                  <a:pt x="783" y="21"/>
                </a:cubicBezTo>
                <a:cubicBezTo>
                  <a:pt x="784" y="21"/>
                  <a:pt x="784" y="21"/>
                  <a:pt x="785" y="21"/>
                </a:cubicBezTo>
                <a:cubicBezTo>
                  <a:pt x="785" y="21"/>
                  <a:pt x="785" y="21"/>
                  <a:pt x="786" y="21"/>
                </a:cubicBezTo>
                <a:cubicBezTo>
                  <a:pt x="786" y="21"/>
                  <a:pt x="786" y="21"/>
                  <a:pt x="786" y="21"/>
                </a:cubicBezTo>
                <a:cubicBezTo>
                  <a:pt x="786" y="20"/>
                  <a:pt x="787" y="20"/>
                  <a:pt x="787" y="20"/>
                </a:cubicBezTo>
                <a:cubicBezTo>
                  <a:pt x="787" y="20"/>
                  <a:pt x="788" y="20"/>
                  <a:pt x="788" y="21"/>
                </a:cubicBezTo>
                <a:cubicBezTo>
                  <a:pt x="788" y="21"/>
                  <a:pt x="789" y="21"/>
                  <a:pt x="789" y="21"/>
                </a:cubicBezTo>
                <a:cubicBezTo>
                  <a:pt x="790" y="20"/>
                  <a:pt x="790" y="20"/>
                  <a:pt x="790" y="20"/>
                </a:cubicBezTo>
                <a:cubicBezTo>
                  <a:pt x="791" y="20"/>
                  <a:pt x="791" y="20"/>
                  <a:pt x="791" y="20"/>
                </a:cubicBezTo>
                <a:cubicBezTo>
                  <a:pt x="791" y="20"/>
                  <a:pt x="792" y="20"/>
                  <a:pt x="792" y="20"/>
                </a:cubicBezTo>
                <a:cubicBezTo>
                  <a:pt x="793" y="20"/>
                  <a:pt x="793" y="20"/>
                  <a:pt x="794" y="20"/>
                </a:cubicBezTo>
                <a:cubicBezTo>
                  <a:pt x="794" y="20"/>
                  <a:pt x="794" y="20"/>
                  <a:pt x="794" y="21"/>
                </a:cubicBezTo>
                <a:cubicBezTo>
                  <a:pt x="794" y="20"/>
                  <a:pt x="794" y="20"/>
                  <a:pt x="795" y="20"/>
                </a:cubicBezTo>
                <a:cubicBezTo>
                  <a:pt x="795" y="21"/>
                  <a:pt x="796" y="21"/>
                  <a:pt x="796" y="21"/>
                </a:cubicBezTo>
                <a:cubicBezTo>
                  <a:pt x="796" y="21"/>
                  <a:pt x="797" y="21"/>
                  <a:pt x="797" y="21"/>
                </a:cubicBezTo>
                <a:cubicBezTo>
                  <a:pt x="797" y="21"/>
                  <a:pt x="798" y="21"/>
                  <a:pt x="798" y="21"/>
                </a:cubicBezTo>
                <a:cubicBezTo>
                  <a:pt x="798" y="21"/>
                  <a:pt x="799" y="21"/>
                  <a:pt x="799" y="21"/>
                </a:cubicBezTo>
                <a:cubicBezTo>
                  <a:pt x="799" y="21"/>
                  <a:pt x="799" y="21"/>
                  <a:pt x="800" y="21"/>
                </a:cubicBezTo>
                <a:cubicBezTo>
                  <a:pt x="800" y="21"/>
                  <a:pt x="800" y="21"/>
                  <a:pt x="801" y="21"/>
                </a:cubicBezTo>
                <a:cubicBezTo>
                  <a:pt x="801" y="21"/>
                  <a:pt x="801" y="21"/>
                  <a:pt x="801" y="21"/>
                </a:cubicBezTo>
                <a:cubicBezTo>
                  <a:pt x="802" y="21"/>
                  <a:pt x="802" y="21"/>
                  <a:pt x="802" y="21"/>
                </a:cubicBezTo>
                <a:cubicBezTo>
                  <a:pt x="802" y="21"/>
                  <a:pt x="803" y="21"/>
                  <a:pt x="803" y="21"/>
                </a:cubicBezTo>
                <a:cubicBezTo>
                  <a:pt x="804" y="21"/>
                  <a:pt x="804" y="20"/>
                  <a:pt x="805" y="20"/>
                </a:cubicBezTo>
                <a:cubicBezTo>
                  <a:pt x="805" y="20"/>
                  <a:pt x="805" y="20"/>
                  <a:pt x="805" y="20"/>
                </a:cubicBezTo>
                <a:cubicBezTo>
                  <a:pt x="806" y="20"/>
                  <a:pt x="806" y="20"/>
                  <a:pt x="807" y="20"/>
                </a:cubicBezTo>
                <a:cubicBezTo>
                  <a:pt x="807" y="20"/>
                  <a:pt x="807" y="20"/>
                  <a:pt x="807" y="20"/>
                </a:cubicBezTo>
                <a:cubicBezTo>
                  <a:pt x="808" y="20"/>
                  <a:pt x="808" y="20"/>
                  <a:pt x="808" y="20"/>
                </a:cubicBezTo>
                <a:cubicBezTo>
                  <a:pt x="808" y="20"/>
                  <a:pt x="808" y="20"/>
                  <a:pt x="809" y="20"/>
                </a:cubicBezTo>
                <a:cubicBezTo>
                  <a:pt x="809" y="20"/>
                  <a:pt x="810" y="20"/>
                  <a:pt x="810" y="20"/>
                </a:cubicBezTo>
                <a:cubicBezTo>
                  <a:pt x="810" y="20"/>
                  <a:pt x="811" y="20"/>
                  <a:pt x="811" y="20"/>
                </a:cubicBezTo>
                <a:cubicBezTo>
                  <a:pt x="811" y="20"/>
                  <a:pt x="811" y="19"/>
                  <a:pt x="811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0" y="19"/>
                  <a:pt x="810" y="19"/>
                  <a:pt x="810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2" y="19"/>
                  <a:pt x="812" y="19"/>
                  <a:pt x="812" y="19"/>
                </a:cubicBezTo>
                <a:cubicBezTo>
                  <a:pt x="812" y="19"/>
                  <a:pt x="813" y="19"/>
                  <a:pt x="813" y="19"/>
                </a:cubicBezTo>
                <a:cubicBezTo>
                  <a:pt x="813" y="19"/>
                  <a:pt x="813" y="19"/>
                  <a:pt x="813" y="19"/>
                </a:cubicBezTo>
                <a:cubicBezTo>
                  <a:pt x="814" y="19"/>
                  <a:pt x="814" y="19"/>
                  <a:pt x="815" y="19"/>
                </a:cubicBezTo>
                <a:cubicBezTo>
                  <a:pt x="816" y="19"/>
                  <a:pt x="816" y="19"/>
                  <a:pt x="817" y="18"/>
                </a:cubicBezTo>
                <a:cubicBezTo>
                  <a:pt x="817" y="18"/>
                  <a:pt x="818" y="18"/>
                  <a:pt x="818" y="18"/>
                </a:cubicBezTo>
                <a:cubicBezTo>
                  <a:pt x="818" y="18"/>
                  <a:pt x="818" y="18"/>
                  <a:pt x="818" y="18"/>
                </a:cubicBezTo>
                <a:cubicBezTo>
                  <a:pt x="818" y="17"/>
                  <a:pt x="818" y="17"/>
                  <a:pt x="818" y="17"/>
                </a:cubicBezTo>
                <a:cubicBezTo>
                  <a:pt x="819" y="17"/>
                  <a:pt x="819" y="17"/>
                  <a:pt x="819" y="17"/>
                </a:cubicBezTo>
                <a:cubicBezTo>
                  <a:pt x="819" y="17"/>
                  <a:pt x="819" y="17"/>
                  <a:pt x="819" y="17"/>
                </a:cubicBezTo>
                <a:cubicBezTo>
                  <a:pt x="820" y="17"/>
                  <a:pt x="820" y="17"/>
                  <a:pt x="820" y="17"/>
                </a:cubicBezTo>
                <a:cubicBezTo>
                  <a:pt x="821" y="17"/>
                  <a:pt x="821" y="17"/>
                  <a:pt x="821" y="16"/>
                </a:cubicBezTo>
                <a:cubicBezTo>
                  <a:pt x="822" y="16"/>
                  <a:pt x="822" y="16"/>
                  <a:pt x="822" y="16"/>
                </a:cubicBezTo>
                <a:cubicBezTo>
                  <a:pt x="822" y="16"/>
                  <a:pt x="822" y="16"/>
                  <a:pt x="822" y="16"/>
                </a:cubicBezTo>
                <a:cubicBezTo>
                  <a:pt x="822" y="15"/>
                  <a:pt x="822" y="15"/>
                  <a:pt x="822" y="15"/>
                </a:cubicBezTo>
                <a:cubicBezTo>
                  <a:pt x="822" y="15"/>
                  <a:pt x="823" y="15"/>
                  <a:pt x="823" y="15"/>
                </a:cubicBezTo>
                <a:cubicBezTo>
                  <a:pt x="823" y="15"/>
                  <a:pt x="823" y="14"/>
                  <a:pt x="823" y="14"/>
                </a:cubicBezTo>
                <a:cubicBezTo>
                  <a:pt x="823" y="14"/>
                  <a:pt x="822" y="14"/>
                  <a:pt x="822" y="14"/>
                </a:cubicBezTo>
                <a:cubicBezTo>
                  <a:pt x="822" y="14"/>
                  <a:pt x="822" y="14"/>
                  <a:pt x="821" y="13"/>
                </a:cubicBezTo>
                <a:cubicBezTo>
                  <a:pt x="821" y="13"/>
                  <a:pt x="820" y="13"/>
                  <a:pt x="820" y="13"/>
                </a:cubicBezTo>
                <a:cubicBezTo>
                  <a:pt x="819" y="13"/>
                  <a:pt x="819" y="13"/>
                  <a:pt x="818" y="13"/>
                </a:cubicBezTo>
                <a:cubicBezTo>
                  <a:pt x="818" y="13"/>
                  <a:pt x="818" y="12"/>
                  <a:pt x="818" y="12"/>
                </a:cubicBezTo>
                <a:cubicBezTo>
                  <a:pt x="818" y="12"/>
                  <a:pt x="818" y="12"/>
                  <a:pt x="818" y="12"/>
                </a:cubicBezTo>
                <a:cubicBezTo>
                  <a:pt x="817" y="12"/>
                  <a:pt x="816" y="12"/>
                  <a:pt x="816" y="12"/>
                </a:cubicBezTo>
                <a:cubicBezTo>
                  <a:pt x="816" y="12"/>
                  <a:pt x="815" y="12"/>
                  <a:pt x="815" y="11"/>
                </a:cubicBezTo>
                <a:cubicBezTo>
                  <a:pt x="815" y="11"/>
                  <a:pt x="815" y="11"/>
                  <a:pt x="815" y="11"/>
                </a:cubicBezTo>
                <a:cubicBezTo>
                  <a:pt x="815" y="11"/>
                  <a:pt x="814" y="11"/>
                  <a:pt x="814" y="11"/>
                </a:cubicBezTo>
                <a:cubicBezTo>
                  <a:pt x="814" y="11"/>
                  <a:pt x="814" y="11"/>
                  <a:pt x="814" y="11"/>
                </a:cubicBezTo>
                <a:cubicBezTo>
                  <a:pt x="814" y="11"/>
                  <a:pt x="813" y="11"/>
                  <a:pt x="813" y="11"/>
                </a:cubicBezTo>
                <a:cubicBezTo>
                  <a:pt x="813" y="11"/>
                  <a:pt x="813" y="11"/>
                  <a:pt x="813" y="11"/>
                </a:cubicBezTo>
                <a:cubicBezTo>
                  <a:pt x="813" y="11"/>
                  <a:pt x="812" y="11"/>
                  <a:pt x="812" y="11"/>
                </a:cubicBezTo>
                <a:cubicBezTo>
                  <a:pt x="812" y="11"/>
                  <a:pt x="812" y="11"/>
                  <a:pt x="812" y="10"/>
                </a:cubicBezTo>
                <a:cubicBezTo>
                  <a:pt x="811" y="11"/>
                  <a:pt x="810" y="11"/>
                  <a:pt x="809" y="11"/>
                </a:cubicBezTo>
                <a:cubicBezTo>
                  <a:pt x="809" y="11"/>
                  <a:pt x="809" y="11"/>
                  <a:pt x="808" y="11"/>
                </a:cubicBezTo>
                <a:cubicBezTo>
                  <a:pt x="808" y="11"/>
                  <a:pt x="808" y="11"/>
                  <a:pt x="808" y="11"/>
                </a:cubicBezTo>
                <a:cubicBezTo>
                  <a:pt x="808" y="11"/>
                  <a:pt x="808" y="11"/>
                  <a:pt x="808" y="12"/>
                </a:cubicBezTo>
                <a:cubicBezTo>
                  <a:pt x="808" y="11"/>
                  <a:pt x="808" y="11"/>
                  <a:pt x="808" y="11"/>
                </a:cubicBezTo>
                <a:cubicBezTo>
                  <a:pt x="807" y="11"/>
                  <a:pt x="807" y="11"/>
                  <a:pt x="807" y="11"/>
                </a:cubicBezTo>
                <a:cubicBezTo>
                  <a:pt x="806" y="12"/>
                  <a:pt x="806" y="12"/>
                  <a:pt x="805" y="12"/>
                </a:cubicBezTo>
                <a:cubicBezTo>
                  <a:pt x="805" y="12"/>
                  <a:pt x="805" y="12"/>
                  <a:pt x="804" y="12"/>
                </a:cubicBezTo>
                <a:cubicBezTo>
                  <a:pt x="804" y="12"/>
                  <a:pt x="803" y="12"/>
                  <a:pt x="803" y="12"/>
                </a:cubicBezTo>
                <a:cubicBezTo>
                  <a:pt x="803" y="12"/>
                  <a:pt x="802" y="12"/>
                  <a:pt x="802" y="12"/>
                </a:cubicBezTo>
                <a:cubicBezTo>
                  <a:pt x="801" y="12"/>
                  <a:pt x="801" y="12"/>
                  <a:pt x="801" y="12"/>
                </a:cubicBezTo>
                <a:cubicBezTo>
                  <a:pt x="801" y="12"/>
                  <a:pt x="800" y="11"/>
                  <a:pt x="800" y="11"/>
                </a:cubicBezTo>
                <a:cubicBezTo>
                  <a:pt x="800" y="11"/>
                  <a:pt x="800" y="11"/>
                  <a:pt x="800" y="11"/>
                </a:cubicBezTo>
                <a:cubicBezTo>
                  <a:pt x="801" y="11"/>
                  <a:pt x="801" y="11"/>
                  <a:pt x="801" y="11"/>
                </a:cubicBezTo>
                <a:cubicBezTo>
                  <a:pt x="801" y="11"/>
                  <a:pt x="801" y="11"/>
                  <a:pt x="802" y="11"/>
                </a:cubicBezTo>
                <a:cubicBezTo>
                  <a:pt x="802" y="11"/>
                  <a:pt x="802" y="11"/>
                  <a:pt x="803" y="11"/>
                </a:cubicBezTo>
                <a:cubicBezTo>
                  <a:pt x="803" y="11"/>
                  <a:pt x="803" y="11"/>
                  <a:pt x="803" y="11"/>
                </a:cubicBezTo>
                <a:cubicBezTo>
                  <a:pt x="803" y="11"/>
                  <a:pt x="803" y="11"/>
                  <a:pt x="803" y="11"/>
                </a:cubicBezTo>
                <a:cubicBezTo>
                  <a:pt x="802" y="11"/>
                  <a:pt x="802" y="11"/>
                  <a:pt x="802" y="10"/>
                </a:cubicBezTo>
                <a:cubicBezTo>
                  <a:pt x="802" y="10"/>
                  <a:pt x="802" y="10"/>
                  <a:pt x="802" y="10"/>
                </a:cubicBezTo>
                <a:cubicBezTo>
                  <a:pt x="802" y="10"/>
                  <a:pt x="802" y="10"/>
                  <a:pt x="802" y="10"/>
                </a:cubicBezTo>
                <a:cubicBezTo>
                  <a:pt x="802" y="10"/>
                  <a:pt x="803" y="10"/>
                  <a:pt x="803" y="10"/>
                </a:cubicBezTo>
                <a:cubicBezTo>
                  <a:pt x="803" y="10"/>
                  <a:pt x="803" y="10"/>
                  <a:pt x="804" y="10"/>
                </a:cubicBezTo>
                <a:cubicBezTo>
                  <a:pt x="804" y="10"/>
                  <a:pt x="804" y="10"/>
                  <a:pt x="805" y="10"/>
                </a:cubicBezTo>
                <a:cubicBezTo>
                  <a:pt x="805" y="10"/>
                  <a:pt x="806" y="10"/>
                  <a:pt x="807" y="10"/>
                </a:cubicBezTo>
                <a:cubicBezTo>
                  <a:pt x="807" y="10"/>
                  <a:pt x="808" y="9"/>
                  <a:pt x="808" y="9"/>
                </a:cubicBezTo>
                <a:cubicBezTo>
                  <a:pt x="808" y="9"/>
                  <a:pt x="808" y="9"/>
                  <a:pt x="808" y="9"/>
                </a:cubicBezTo>
                <a:cubicBezTo>
                  <a:pt x="808" y="9"/>
                  <a:pt x="808" y="8"/>
                  <a:pt x="808" y="8"/>
                </a:cubicBezTo>
                <a:cubicBezTo>
                  <a:pt x="808" y="8"/>
                  <a:pt x="807" y="8"/>
                  <a:pt x="807" y="8"/>
                </a:cubicBezTo>
                <a:cubicBezTo>
                  <a:pt x="807" y="8"/>
                  <a:pt x="807" y="8"/>
                  <a:pt x="807" y="8"/>
                </a:cubicBezTo>
                <a:cubicBezTo>
                  <a:pt x="807" y="8"/>
                  <a:pt x="808" y="8"/>
                  <a:pt x="808" y="7"/>
                </a:cubicBezTo>
                <a:cubicBezTo>
                  <a:pt x="808" y="7"/>
                  <a:pt x="808" y="7"/>
                  <a:pt x="808" y="7"/>
                </a:cubicBezTo>
                <a:cubicBezTo>
                  <a:pt x="807" y="7"/>
                  <a:pt x="807" y="7"/>
                  <a:pt x="807" y="7"/>
                </a:cubicBezTo>
                <a:cubicBezTo>
                  <a:pt x="806" y="7"/>
                  <a:pt x="806" y="6"/>
                  <a:pt x="806" y="6"/>
                </a:cubicBezTo>
                <a:cubicBezTo>
                  <a:pt x="806" y="6"/>
                  <a:pt x="806" y="6"/>
                  <a:pt x="805" y="6"/>
                </a:cubicBezTo>
                <a:cubicBezTo>
                  <a:pt x="805" y="6"/>
                  <a:pt x="805" y="6"/>
                  <a:pt x="805" y="6"/>
                </a:cubicBezTo>
                <a:cubicBezTo>
                  <a:pt x="804" y="6"/>
                  <a:pt x="804" y="7"/>
                  <a:pt x="804" y="7"/>
                </a:cubicBezTo>
                <a:cubicBezTo>
                  <a:pt x="803" y="7"/>
                  <a:pt x="803" y="7"/>
                  <a:pt x="802" y="8"/>
                </a:cubicBezTo>
                <a:cubicBezTo>
                  <a:pt x="802" y="8"/>
                  <a:pt x="801" y="8"/>
                  <a:pt x="801" y="8"/>
                </a:cubicBezTo>
                <a:cubicBezTo>
                  <a:pt x="801" y="8"/>
                  <a:pt x="801" y="8"/>
                  <a:pt x="800" y="8"/>
                </a:cubicBezTo>
                <a:cubicBezTo>
                  <a:pt x="800" y="8"/>
                  <a:pt x="800" y="8"/>
                  <a:pt x="799" y="8"/>
                </a:cubicBezTo>
                <a:cubicBezTo>
                  <a:pt x="799" y="8"/>
                  <a:pt x="799" y="8"/>
                  <a:pt x="799" y="8"/>
                </a:cubicBezTo>
                <a:cubicBezTo>
                  <a:pt x="799" y="8"/>
                  <a:pt x="798" y="8"/>
                  <a:pt x="798" y="8"/>
                </a:cubicBezTo>
                <a:cubicBezTo>
                  <a:pt x="798" y="8"/>
                  <a:pt x="798" y="8"/>
                  <a:pt x="798" y="8"/>
                </a:cubicBezTo>
                <a:cubicBezTo>
                  <a:pt x="797" y="8"/>
                  <a:pt x="797" y="8"/>
                  <a:pt x="797" y="8"/>
                </a:cubicBezTo>
                <a:cubicBezTo>
                  <a:pt x="797" y="8"/>
                  <a:pt x="796" y="8"/>
                  <a:pt x="796" y="8"/>
                </a:cubicBezTo>
                <a:cubicBezTo>
                  <a:pt x="796" y="8"/>
                  <a:pt x="796" y="8"/>
                  <a:pt x="795" y="8"/>
                </a:cubicBezTo>
                <a:cubicBezTo>
                  <a:pt x="795" y="8"/>
                  <a:pt x="795" y="8"/>
                  <a:pt x="794" y="8"/>
                </a:cubicBezTo>
                <a:cubicBezTo>
                  <a:pt x="794" y="8"/>
                  <a:pt x="794" y="8"/>
                  <a:pt x="793" y="8"/>
                </a:cubicBezTo>
                <a:cubicBezTo>
                  <a:pt x="793" y="8"/>
                  <a:pt x="793" y="8"/>
                  <a:pt x="792" y="7"/>
                </a:cubicBezTo>
                <a:cubicBezTo>
                  <a:pt x="792" y="7"/>
                  <a:pt x="792" y="7"/>
                  <a:pt x="791" y="7"/>
                </a:cubicBezTo>
                <a:cubicBezTo>
                  <a:pt x="791" y="7"/>
                  <a:pt x="790" y="7"/>
                  <a:pt x="790" y="7"/>
                </a:cubicBezTo>
                <a:cubicBezTo>
                  <a:pt x="789" y="7"/>
                  <a:pt x="789" y="7"/>
                  <a:pt x="788" y="7"/>
                </a:cubicBezTo>
                <a:cubicBezTo>
                  <a:pt x="787" y="7"/>
                  <a:pt x="787" y="7"/>
                  <a:pt x="786" y="7"/>
                </a:cubicBezTo>
                <a:cubicBezTo>
                  <a:pt x="786" y="7"/>
                  <a:pt x="785" y="7"/>
                  <a:pt x="785" y="8"/>
                </a:cubicBezTo>
                <a:cubicBezTo>
                  <a:pt x="784" y="8"/>
                  <a:pt x="784" y="8"/>
                  <a:pt x="783" y="8"/>
                </a:cubicBezTo>
                <a:cubicBezTo>
                  <a:pt x="783" y="8"/>
                  <a:pt x="782" y="8"/>
                  <a:pt x="782" y="8"/>
                </a:cubicBezTo>
                <a:cubicBezTo>
                  <a:pt x="781" y="8"/>
                  <a:pt x="781" y="8"/>
                  <a:pt x="780" y="9"/>
                </a:cubicBezTo>
                <a:cubicBezTo>
                  <a:pt x="780" y="9"/>
                  <a:pt x="779" y="9"/>
                  <a:pt x="779" y="9"/>
                </a:cubicBezTo>
                <a:cubicBezTo>
                  <a:pt x="779" y="9"/>
                  <a:pt x="778" y="9"/>
                  <a:pt x="778" y="9"/>
                </a:cubicBezTo>
                <a:cubicBezTo>
                  <a:pt x="778" y="9"/>
                  <a:pt x="778" y="9"/>
                  <a:pt x="777" y="9"/>
                </a:cubicBezTo>
                <a:cubicBezTo>
                  <a:pt x="778" y="9"/>
                  <a:pt x="778" y="10"/>
                  <a:pt x="778" y="10"/>
                </a:cubicBezTo>
                <a:cubicBezTo>
                  <a:pt x="778" y="10"/>
                  <a:pt x="778" y="10"/>
                  <a:pt x="778" y="10"/>
                </a:cubicBezTo>
                <a:cubicBezTo>
                  <a:pt x="778" y="10"/>
                  <a:pt x="778" y="10"/>
                  <a:pt x="777" y="10"/>
                </a:cubicBezTo>
                <a:cubicBezTo>
                  <a:pt x="777" y="10"/>
                  <a:pt x="777" y="10"/>
                  <a:pt x="777" y="10"/>
                </a:cubicBezTo>
                <a:cubicBezTo>
                  <a:pt x="777" y="10"/>
                  <a:pt x="776" y="10"/>
                  <a:pt x="776" y="9"/>
                </a:cubicBezTo>
                <a:cubicBezTo>
                  <a:pt x="776" y="9"/>
                  <a:pt x="776" y="9"/>
                  <a:pt x="776" y="9"/>
                </a:cubicBezTo>
                <a:cubicBezTo>
                  <a:pt x="775" y="9"/>
                  <a:pt x="775" y="9"/>
                  <a:pt x="775" y="9"/>
                </a:cubicBezTo>
                <a:cubicBezTo>
                  <a:pt x="775" y="9"/>
                  <a:pt x="775" y="9"/>
                  <a:pt x="774" y="9"/>
                </a:cubicBezTo>
                <a:cubicBezTo>
                  <a:pt x="774" y="9"/>
                  <a:pt x="774" y="9"/>
                  <a:pt x="773" y="9"/>
                </a:cubicBezTo>
                <a:cubicBezTo>
                  <a:pt x="773" y="9"/>
                  <a:pt x="772" y="9"/>
                  <a:pt x="772" y="9"/>
                </a:cubicBezTo>
                <a:cubicBezTo>
                  <a:pt x="771" y="9"/>
                  <a:pt x="771" y="9"/>
                  <a:pt x="771" y="9"/>
                </a:cubicBezTo>
                <a:cubicBezTo>
                  <a:pt x="771" y="9"/>
                  <a:pt x="770" y="10"/>
                  <a:pt x="770" y="10"/>
                </a:cubicBezTo>
                <a:cubicBezTo>
                  <a:pt x="770" y="10"/>
                  <a:pt x="769" y="11"/>
                  <a:pt x="769" y="11"/>
                </a:cubicBezTo>
                <a:cubicBezTo>
                  <a:pt x="769" y="11"/>
                  <a:pt x="769" y="11"/>
                  <a:pt x="769" y="12"/>
                </a:cubicBezTo>
                <a:cubicBezTo>
                  <a:pt x="768" y="12"/>
                  <a:pt x="768" y="12"/>
                  <a:pt x="768" y="12"/>
                </a:cubicBezTo>
                <a:cubicBezTo>
                  <a:pt x="768" y="12"/>
                  <a:pt x="768" y="12"/>
                  <a:pt x="768" y="12"/>
                </a:cubicBezTo>
                <a:cubicBezTo>
                  <a:pt x="768" y="12"/>
                  <a:pt x="768" y="12"/>
                  <a:pt x="767" y="12"/>
                </a:cubicBezTo>
                <a:cubicBezTo>
                  <a:pt x="768" y="12"/>
                  <a:pt x="768" y="12"/>
                  <a:pt x="768" y="11"/>
                </a:cubicBezTo>
                <a:cubicBezTo>
                  <a:pt x="768" y="11"/>
                  <a:pt x="768" y="11"/>
                  <a:pt x="768" y="11"/>
                </a:cubicBezTo>
                <a:cubicBezTo>
                  <a:pt x="768" y="11"/>
                  <a:pt x="768" y="11"/>
                  <a:pt x="768" y="11"/>
                </a:cubicBezTo>
                <a:cubicBezTo>
                  <a:pt x="768" y="11"/>
                  <a:pt x="767" y="11"/>
                  <a:pt x="767" y="11"/>
                </a:cubicBezTo>
                <a:cubicBezTo>
                  <a:pt x="767" y="11"/>
                  <a:pt x="766" y="11"/>
                  <a:pt x="766" y="11"/>
                </a:cubicBezTo>
                <a:cubicBezTo>
                  <a:pt x="766" y="11"/>
                  <a:pt x="765" y="11"/>
                  <a:pt x="765" y="11"/>
                </a:cubicBezTo>
                <a:cubicBezTo>
                  <a:pt x="765" y="11"/>
                  <a:pt x="765" y="12"/>
                  <a:pt x="765" y="12"/>
                </a:cubicBezTo>
                <a:cubicBezTo>
                  <a:pt x="765" y="12"/>
                  <a:pt x="765" y="12"/>
                  <a:pt x="765" y="12"/>
                </a:cubicBezTo>
                <a:cubicBezTo>
                  <a:pt x="765" y="12"/>
                  <a:pt x="765" y="13"/>
                  <a:pt x="765" y="13"/>
                </a:cubicBezTo>
                <a:cubicBezTo>
                  <a:pt x="765" y="13"/>
                  <a:pt x="764" y="13"/>
                  <a:pt x="764" y="13"/>
                </a:cubicBezTo>
                <a:cubicBezTo>
                  <a:pt x="764" y="13"/>
                  <a:pt x="764" y="13"/>
                  <a:pt x="764" y="13"/>
                </a:cubicBezTo>
                <a:cubicBezTo>
                  <a:pt x="764" y="13"/>
                  <a:pt x="764" y="13"/>
                  <a:pt x="764" y="12"/>
                </a:cubicBezTo>
                <a:cubicBezTo>
                  <a:pt x="764" y="12"/>
                  <a:pt x="764" y="12"/>
                  <a:pt x="764" y="12"/>
                </a:cubicBezTo>
                <a:cubicBezTo>
                  <a:pt x="764" y="11"/>
                  <a:pt x="764" y="11"/>
                  <a:pt x="764" y="11"/>
                </a:cubicBezTo>
                <a:cubicBezTo>
                  <a:pt x="764" y="11"/>
                  <a:pt x="764" y="10"/>
                  <a:pt x="764" y="10"/>
                </a:cubicBezTo>
                <a:cubicBezTo>
                  <a:pt x="765" y="10"/>
                  <a:pt x="766" y="10"/>
                  <a:pt x="766" y="9"/>
                </a:cubicBezTo>
                <a:cubicBezTo>
                  <a:pt x="767" y="9"/>
                  <a:pt x="767" y="9"/>
                  <a:pt x="768" y="9"/>
                </a:cubicBezTo>
                <a:cubicBezTo>
                  <a:pt x="769" y="9"/>
                  <a:pt x="769" y="9"/>
                  <a:pt x="770" y="9"/>
                </a:cubicBezTo>
                <a:cubicBezTo>
                  <a:pt x="770" y="9"/>
                  <a:pt x="770" y="9"/>
                  <a:pt x="771" y="9"/>
                </a:cubicBezTo>
                <a:cubicBezTo>
                  <a:pt x="771" y="9"/>
                  <a:pt x="772" y="9"/>
                  <a:pt x="772" y="8"/>
                </a:cubicBezTo>
                <a:cubicBezTo>
                  <a:pt x="772" y="8"/>
                  <a:pt x="772" y="8"/>
                  <a:pt x="772" y="8"/>
                </a:cubicBezTo>
                <a:cubicBezTo>
                  <a:pt x="773" y="8"/>
                  <a:pt x="773" y="8"/>
                  <a:pt x="774" y="8"/>
                </a:cubicBezTo>
                <a:cubicBezTo>
                  <a:pt x="774" y="8"/>
                  <a:pt x="774" y="8"/>
                  <a:pt x="775" y="8"/>
                </a:cubicBezTo>
                <a:cubicBezTo>
                  <a:pt x="775" y="8"/>
                  <a:pt x="775" y="8"/>
                  <a:pt x="775" y="8"/>
                </a:cubicBezTo>
                <a:cubicBezTo>
                  <a:pt x="776" y="8"/>
                  <a:pt x="776" y="8"/>
                  <a:pt x="776" y="8"/>
                </a:cubicBezTo>
                <a:cubicBezTo>
                  <a:pt x="776" y="7"/>
                  <a:pt x="776" y="7"/>
                  <a:pt x="777" y="7"/>
                </a:cubicBezTo>
                <a:cubicBezTo>
                  <a:pt x="776" y="7"/>
                  <a:pt x="776" y="7"/>
                  <a:pt x="776" y="7"/>
                </a:cubicBezTo>
                <a:cubicBezTo>
                  <a:pt x="776" y="7"/>
                  <a:pt x="775" y="7"/>
                  <a:pt x="775" y="7"/>
                </a:cubicBezTo>
                <a:cubicBezTo>
                  <a:pt x="775" y="6"/>
                  <a:pt x="775" y="6"/>
                  <a:pt x="775" y="6"/>
                </a:cubicBezTo>
                <a:cubicBezTo>
                  <a:pt x="775" y="6"/>
                  <a:pt x="776" y="6"/>
                  <a:pt x="776" y="5"/>
                </a:cubicBezTo>
                <a:cubicBezTo>
                  <a:pt x="776" y="5"/>
                  <a:pt x="777" y="5"/>
                  <a:pt x="777" y="5"/>
                </a:cubicBezTo>
                <a:cubicBezTo>
                  <a:pt x="777" y="5"/>
                  <a:pt x="777" y="5"/>
                  <a:pt x="778" y="5"/>
                </a:cubicBezTo>
                <a:cubicBezTo>
                  <a:pt x="778" y="5"/>
                  <a:pt x="778" y="5"/>
                  <a:pt x="778" y="5"/>
                </a:cubicBezTo>
                <a:cubicBezTo>
                  <a:pt x="778" y="6"/>
                  <a:pt x="778" y="6"/>
                  <a:pt x="778" y="6"/>
                </a:cubicBezTo>
                <a:cubicBezTo>
                  <a:pt x="778" y="6"/>
                  <a:pt x="778" y="6"/>
                  <a:pt x="777" y="6"/>
                </a:cubicBezTo>
                <a:cubicBezTo>
                  <a:pt x="777" y="6"/>
                  <a:pt x="777" y="6"/>
                  <a:pt x="777" y="6"/>
                </a:cubicBezTo>
                <a:cubicBezTo>
                  <a:pt x="777" y="6"/>
                  <a:pt x="777" y="7"/>
                  <a:pt x="777" y="7"/>
                </a:cubicBezTo>
                <a:cubicBezTo>
                  <a:pt x="777" y="7"/>
                  <a:pt x="777" y="7"/>
                  <a:pt x="778" y="7"/>
                </a:cubicBezTo>
                <a:cubicBezTo>
                  <a:pt x="778" y="7"/>
                  <a:pt x="779" y="7"/>
                  <a:pt x="779" y="7"/>
                </a:cubicBezTo>
                <a:cubicBezTo>
                  <a:pt x="780" y="7"/>
                  <a:pt x="780" y="7"/>
                  <a:pt x="781" y="7"/>
                </a:cubicBezTo>
                <a:cubicBezTo>
                  <a:pt x="781" y="7"/>
                  <a:pt x="781" y="7"/>
                  <a:pt x="782" y="7"/>
                </a:cubicBezTo>
                <a:cubicBezTo>
                  <a:pt x="782" y="7"/>
                  <a:pt x="782" y="7"/>
                  <a:pt x="783" y="7"/>
                </a:cubicBezTo>
                <a:cubicBezTo>
                  <a:pt x="783" y="7"/>
                  <a:pt x="783" y="7"/>
                  <a:pt x="784" y="7"/>
                </a:cubicBezTo>
                <a:cubicBezTo>
                  <a:pt x="784" y="6"/>
                  <a:pt x="785" y="6"/>
                  <a:pt x="785" y="6"/>
                </a:cubicBezTo>
                <a:cubicBezTo>
                  <a:pt x="786" y="6"/>
                  <a:pt x="786" y="6"/>
                  <a:pt x="787" y="6"/>
                </a:cubicBezTo>
                <a:cubicBezTo>
                  <a:pt x="787" y="6"/>
                  <a:pt x="787" y="6"/>
                  <a:pt x="787" y="6"/>
                </a:cubicBezTo>
                <a:cubicBezTo>
                  <a:pt x="787" y="6"/>
                  <a:pt x="788" y="6"/>
                  <a:pt x="788" y="6"/>
                </a:cubicBezTo>
                <a:cubicBezTo>
                  <a:pt x="788" y="6"/>
                  <a:pt x="788" y="6"/>
                  <a:pt x="789" y="6"/>
                </a:cubicBezTo>
                <a:cubicBezTo>
                  <a:pt x="789" y="6"/>
                  <a:pt x="789" y="6"/>
                  <a:pt x="790" y="6"/>
                </a:cubicBezTo>
                <a:cubicBezTo>
                  <a:pt x="790" y="6"/>
                  <a:pt x="791" y="6"/>
                  <a:pt x="791" y="6"/>
                </a:cubicBezTo>
                <a:cubicBezTo>
                  <a:pt x="791" y="6"/>
                  <a:pt x="791" y="6"/>
                  <a:pt x="792" y="6"/>
                </a:cubicBezTo>
                <a:cubicBezTo>
                  <a:pt x="792" y="6"/>
                  <a:pt x="792" y="6"/>
                  <a:pt x="793" y="6"/>
                </a:cubicBezTo>
                <a:cubicBezTo>
                  <a:pt x="794" y="6"/>
                  <a:pt x="794" y="6"/>
                  <a:pt x="795" y="6"/>
                </a:cubicBezTo>
                <a:cubicBezTo>
                  <a:pt x="796" y="6"/>
                  <a:pt x="796" y="6"/>
                  <a:pt x="797" y="6"/>
                </a:cubicBezTo>
                <a:cubicBezTo>
                  <a:pt x="797" y="6"/>
                  <a:pt x="797" y="6"/>
                  <a:pt x="798" y="6"/>
                </a:cubicBezTo>
                <a:cubicBezTo>
                  <a:pt x="798" y="6"/>
                  <a:pt x="798" y="6"/>
                  <a:pt x="798" y="6"/>
                </a:cubicBezTo>
                <a:cubicBezTo>
                  <a:pt x="799" y="6"/>
                  <a:pt x="799" y="6"/>
                  <a:pt x="799" y="6"/>
                </a:cubicBezTo>
                <a:cubicBezTo>
                  <a:pt x="799" y="6"/>
                  <a:pt x="800" y="6"/>
                  <a:pt x="800" y="5"/>
                </a:cubicBezTo>
                <a:cubicBezTo>
                  <a:pt x="800" y="5"/>
                  <a:pt x="800" y="5"/>
                  <a:pt x="801" y="5"/>
                </a:cubicBezTo>
                <a:cubicBezTo>
                  <a:pt x="801" y="5"/>
                  <a:pt x="801" y="5"/>
                  <a:pt x="802" y="5"/>
                </a:cubicBezTo>
                <a:cubicBezTo>
                  <a:pt x="802" y="5"/>
                  <a:pt x="802" y="5"/>
                  <a:pt x="803" y="5"/>
                </a:cubicBezTo>
                <a:cubicBezTo>
                  <a:pt x="803" y="5"/>
                  <a:pt x="803" y="5"/>
                  <a:pt x="803" y="4"/>
                </a:cubicBezTo>
                <a:cubicBezTo>
                  <a:pt x="803" y="4"/>
                  <a:pt x="803" y="4"/>
                  <a:pt x="803" y="4"/>
                </a:cubicBezTo>
                <a:cubicBezTo>
                  <a:pt x="803" y="4"/>
                  <a:pt x="802" y="4"/>
                  <a:pt x="802" y="4"/>
                </a:cubicBezTo>
                <a:cubicBezTo>
                  <a:pt x="801" y="3"/>
                  <a:pt x="801" y="3"/>
                  <a:pt x="801" y="3"/>
                </a:cubicBezTo>
                <a:cubicBezTo>
                  <a:pt x="801" y="3"/>
                  <a:pt x="800" y="3"/>
                  <a:pt x="800" y="3"/>
                </a:cubicBezTo>
                <a:cubicBezTo>
                  <a:pt x="800" y="2"/>
                  <a:pt x="799" y="2"/>
                  <a:pt x="799" y="2"/>
                </a:cubicBezTo>
                <a:cubicBezTo>
                  <a:pt x="798" y="2"/>
                  <a:pt x="797" y="2"/>
                  <a:pt x="797" y="2"/>
                </a:cubicBezTo>
                <a:cubicBezTo>
                  <a:pt x="797" y="2"/>
                  <a:pt x="796" y="2"/>
                  <a:pt x="796" y="2"/>
                </a:cubicBezTo>
                <a:cubicBezTo>
                  <a:pt x="795" y="2"/>
                  <a:pt x="795" y="1"/>
                  <a:pt x="795" y="1"/>
                </a:cubicBezTo>
                <a:cubicBezTo>
                  <a:pt x="794" y="2"/>
                  <a:pt x="794" y="2"/>
                  <a:pt x="794" y="2"/>
                </a:cubicBezTo>
                <a:cubicBezTo>
                  <a:pt x="793" y="2"/>
                  <a:pt x="793" y="2"/>
                  <a:pt x="793" y="1"/>
                </a:cubicBezTo>
                <a:cubicBezTo>
                  <a:pt x="793" y="1"/>
                  <a:pt x="793" y="1"/>
                  <a:pt x="793" y="1"/>
                </a:cubicBezTo>
                <a:cubicBezTo>
                  <a:pt x="792" y="1"/>
                  <a:pt x="792" y="1"/>
                  <a:pt x="791" y="1"/>
                </a:cubicBezTo>
                <a:cubicBezTo>
                  <a:pt x="791" y="1"/>
                  <a:pt x="791" y="1"/>
                  <a:pt x="791" y="1"/>
                </a:cubicBezTo>
                <a:cubicBezTo>
                  <a:pt x="790" y="1"/>
                  <a:pt x="789" y="1"/>
                  <a:pt x="788" y="1"/>
                </a:cubicBezTo>
                <a:cubicBezTo>
                  <a:pt x="788" y="1"/>
                  <a:pt x="787" y="1"/>
                  <a:pt x="787" y="1"/>
                </a:cubicBezTo>
                <a:cubicBezTo>
                  <a:pt x="786" y="1"/>
                  <a:pt x="786" y="1"/>
                  <a:pt x="786" y="1"/>
                </a:cubicBezTo>
                <a:cubicBezTo>
                  <a:pt x="785" y="1"/>
                  <a:pt x="785" y="0"/>
                  <a:pt x="784" y="0"/>
                </a:cubicBezTo>
                <a:cubicBezTo>
                  <a:pt x="784" y="0"/>
                  <a:pt x="784" y="0"/>
                  <a:pt x="783" y="0"/>
                </a:cubicBezTo>
                <a:cubicBezTo>
                  <a:pt x="783" y="0"/>
                  <a:pt x="783" y="0"/>
                  <a:pt x="783" y="1"/>
                </a:cubicBezTo>
                <a:cubicBezTo>
                  <a:pt x="783" y="1"/>
                  <a:pt x="783" y="1"/>
                  <a:pt x="783" y="1"/>
                </a:cubicBezTo>
                <a:cubicBezTo>
                  <a:pt x="782" y="1"/>
                  <a:pt x="781" y="0"/>
                  <a:pt x="781" y="0"/>
                </a:cubicBezTo>
                <a:cubicBezTo>
                  <a:pt x="781" y="0"/>
                  <a:pt x="781" y="0"/>
                  <a:pt x="780" y="0"/>
                </a:cubicBezTo>
                <a:cubicBezTo>
                  <a:pt x="780" y="0"/>
                  <a:pt x="780" y="0"/>
                  <a:pt x="780" y="0"/>
                </a:cubicBezTo>
                <a:cubicBezTo>
                  <a:pt x="780" y="0"/>
                  <a:pt x="779" y="0"/>
                  <a:pt x="779" y="0"/>
                </a:cubicBezTo>
                <a:cubicBezTo>
                  <a:pt x="779" y="0"/>
                  <a:pt x="778" y="0"/>
                  <a:pt x="778" y="0"/>
                </a:cubicBezTo>
                <a:cubicBezTo>
                  <a:pt x="778" y="0"/>
                  <a:pt x="778" y="0"/>
                  <a:pt x="778" y="0"/>
                </a:cubicBezTo>
                <a:cubicBezTo>
                  <a:pt x="777" y="0"/>
                  <a:pt x="776" y="0"/>
                  <a:pt x="775" y="0"/>
                </a:cubicBezTo>
                <a:cubicBezTo>
                  <a:pt x="775" y="0"/>
                  <a:pt x="775" y="0"/>
                  <a:pt x="774" y="0"/>
                </a:cubicBezTo>
                <a:cubicBezTo>
                  <a:pt x="774" y="0"/>
                  <a:pt x="774" y="0"/>
                  <a:pt x="773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72" y="0"/>
                  <a:pt x="772" y="0"/>
                  <a:pt x="772" y="0"/>
                </a:cubicBezTo>
                <a:cubicBezTo>
                  <a:pt x="771" y="0"/>
                  <a:pt x="770" y="0"/>
                  <a:pt x="770" y="0"/>
                </a:cubicBezTo>
                <a:cubicBezTo>
                  <a:pt x="769" y="0"/>
                  <a:pt x="769" y="0"/>
                  <a:pt x="768" y="0"/>
                </a:cubicBezTo>
                <a:cubicBezTo>
                  <a:pt x="768" y="0"/>
                  <a:pt x="768" y="0"/>
                  <a:pt x="767" y="0"/>
                </a:cubicBezTo>
                <a:cubicBezTo>
                  <a:pt x="767" y="0"/>
                  <a:pt x="767" y="0"/>
                  <a:pt x="767" y="0"/>
                </a:cubicBezTo>
                <a:cubicBezTo>
                  <a:pt x="767" y="0"/>
                  <a:pt x="767" y="1"/>
                  <a:pt x="767" y="1"/>
                </a:cubicBezTo>
                <a:cubicBezTo>
                  <a:pt x="767" y="1"/>
                  <a:pt x="767" y="1"/>
                  <a:pt x="768" y="1"/>
                </a:cubicBezTo>
                <a:cubicBezTo>
                  <a:pt x="768" y="2"/>
                  <a:pt x="768" y="2"/>
                  <a:pt x="768" y="2"/>
                </a:cubicBezTo>
                <a:cubicBezTo>
                  <a:pt x="767" y="2"/>
                  <a:pt x="767" y="2"/>
                  <a:pt x="767" y="2"/>
                </a:cubicBezTo>
                <a:cubicBezTo>
                  <a:pt x="767" y="2"/>
                  <a:pt x="767" y="2"/>
                  <a:pt x="766" y="2"/>
                </a:cubicBezTo>
                <a:cubicBezTo>
                  <a:pt x="766" y="2"/>
                  <a:pt x="766" y="1"/>
                  <a:pt x="766" y="1"/>
                </a:cubicBezTo>
                <a:cubicBezTo>
                  <a:pt x="766" y="1"/>
                  <a:pt x="765" y="1"/>
                  <a:pt x="765" y="1"/>
                </a:cubicBezTo>
                <a:cubicBezTo>
                  <a:pt x="765" y="1"/>
                  <a:pt x="765" y="1"/>
                  <a:pt x="765" y="1"/>
                </a:cubicBezTo>
                <a:cubicBezTo>
                  <a:pt x="765" y="1"/>
                  <a:pt x="764" y="1"/>
                  <a:pt x="764" y="0"/>
                </a:cubicBezTo>
                <a:cubicBezTo>
                  <a:pt x="764" y="0"/>
                  <a:pt x="764" y="0"/>
                  <a:pt x="763" y="0"/>
                </a:cubicBezTo>
                <a:cubicBezTo>
                  <a:pt x="763" y="0"/>
                  <a:pt x="763" y="1"/>
                  <a:pt x="763" y="1"/>
                </a:cubicBezTo>
                <a:cubicBezTo>
                  <a:pt x="763" y="1"/>
                  <a:pt x="763" y="1"/>
                  <a:pt x="763" y="1"/>
                </a:cubicBezTo>
                <a:cubicBezTo>
                  <a:pt x="763" y="2"/>
                  <a:pt x="763" y="2"/>
                  <a:pt x="762" y="2"/>
                </a:cubicBezTo>
                <a:cubicBezTo>
                  <a:pt x="762" y="2"/>
                  <a:pt x="762" y="2"/>
                  <a:pt x="762" y="2"/>
                </a:cubicBezTo>
                <a:cubicBezTo>
                  <a:pt x="761" y="2"/>
                  <a:pt x="761" y="2"/>
                  <a:pt x="761" y="2"/>
                </a:cubicBezTo>
                <a:cubicBezTo>
                  <a:pt x="761" y="2"/>
                  <a:pt x="761" y="2"/>
                  <a:pt x="761" y="3"/>
                </a:cubicBezTo>
                <a:cubicBezTo>
                  <a:pt x="761" y="3"/>
                  <a:pt x="761" y="3"/>
                  <a:pt x="761" y="3"/>
                </a:cubicBezTo>
                <a:cubicBezTo>
                  <a:pt x="761" y="3"/>
                  <a:pt x="761" y="3"/>
                  <a:pt x="761" y="3"/>
                </a:cubicBezTo>
                <a:cubicBezTo>
                  <a:pt x="761" y="4"/>
                  <a:pt x="761" y="4"/>
                  <a:pt x="761" y="4"/>
                </a:cubicBezTo>
                <a:cubicBezTo>
                  <a:pt x="760" y="4"/>
                  <a:pt x="760" y="4"/>
                  <a:pt x="760" y="5"/>
                </a:cubicBezTo>
                <a:cubicBezTo>
                  <a:pt x="760" y="5"/>
                  <a:pt x="760" y="5"/>
                  <a:pt x="760" y="5"/>
                </a:cubicBezTo>
                <a:cubicBezTo>
                  <a:pt x="760" y="5"/>
                  <a:pt x="760" y="5"/>
                  <a:pt x="761" y="5"/>
                </a:cubicBezTo>
                <a:cubicBezTo>
                  <a:pt x="761" y="5"/>
                  <a:pt x="761" y="5"/>
                  <a:pt x="761" y="6"/>
                </a:cubicBezTo>
                <a:cubicBezTo>
                  <a:pt x="761" y="6"/>
                  <a:pt x="761" y="6"/>
                  <a:pt x="761" y="6"/>
                </a:cubicBezTo>
                <a:cubicBezTo>
                  <a:pt x="760" y="6"/>
                  <a:pt x="760" y="6"/>
                  <a:pt x="759" y="6"/>
                </a:cubicBezTo>
                <a:cubicBezTo>
                  <a:pt x="759" y="6"/>
                  <a:pt x="758" y="6"/>
                  <a:pt x="758" y="6"/>
                </a:cubicBezTo>
                <a:cubicBezTo>
                  <a:pt x="757" y="6"/>
                  <a:pt x="757" y="6"/>
                  <a:pt x="756" y="6"/>
                </a:cubicBezTo>
                <a:cubicBezTo>
                  <a:pt x="756" y="6"/>
                  <a:pt x="756" y="6"/>
                  <a:pt x="755" y="6"/>
                </a:cubicBezTo>
                <a:cubicBezTo>
                  <a:pt x="755" y="6"/>
                  <a:pt x="755" y="7"/>
                  <a:pt x="755" y="7"/>
                </a:cubicBezTo>
                <a:cubicBezTo>
                  <a:pt x="755" y="7"/>
                  <a:pt x="755" y="7"/>
                  <a:pt x="755" y="8"/>
                </a:cubicBezTo>
                <a:cubicBezTo>
                  <a:pt x="756" y="8"/>
                  <a:pt x="756" y="8"/>
                  <a:pt x="756" y="9"/>
                </a:cubicBezTo>
                <a:cubicBezTo>
                  <a:pt x="757" y="9"/>
                  <a:pt x="757" y="9"/>
                  <a:pt x="758" y="9"/>
                </a:cubicBezTo>
                <a:cubicBezTo>
                  <a:pt x="758" y="9"/>
                  <a:pt x="758" y="9"/>
                  <a:pt x="759" y="9"/>
                </a:cubicBezTo>
                <a:cubicBezTo>
                  <a:pt x="759" y="9"/>
                  <a:pt x="759" y="9"/>
                  <a:pt x="759" y="10"/>
                </a:cubicBezTo>
                <a:cubicBezTo>
                  <a:pt x="758" y="10"/>
                  <a:pt x="758" y="9"/>
                  <a:pt x="757" y="9"/>
                </a:cubicBezTo>
                <a:cubicBezTo>
                  <a:pt x="757" y="9"/>
                  <a:pt x="756" y="9"/>
                  <a:pt x="756" y="9"/>
                </a:cubicBezTo>
                <a:cubicBezTo>
                  <a:pt x="755" y="9"/>
                  <a:pt x="755" y="8"/>
                  <a:pt x="754" y="8"/>
                </a:cubicBezTo>
                <a:cubicBezTo>
                  <a:pt x="754" y="8"/>
                  <a:pt x="753" y="8"/>
                  <a:pt x="752" y="7"/>
                </a:cubicBezTo>
                <a:cubicBezTo>
                  <a:pt x="752" y="7"/>
                  <a:pt x="752" y="7"/>
                  <a:pt x="752" y="7"/>
                </a:cubicBezTo>
                <a:cubicBezTo>
                  <a:pt x="752" y="7"/>
                  <a:pt x="752" y="7"/>
                  <a:pt x="751" y="7"/>
                </a:cubicBezTo>
                <a:cubicBezTo>
                  <a:pt x="752" y="8"/>
                  <a:pt x="752" y="8"/>
                  <a:pt x="752" y="8"/>
                </a:cubicBezTo>
                <a:cubicBezTo>
                  <a:pt x="752" y="8"/>
                  <a:pt x="752" y="8"/>
                  <a:pt x="752" y="8"/>
                </a:cubicBezTo>
                <a:cubicBezTo>
                  <a:pt x="752" y="9"/>
                  <a:pt x="752" y="9"/>
                  <a:pt x="752" y="9"/>
                </a:cubicBezTo>
                <a:cubicBezTo>
                  <a:pt x="752" y="9"/>
                  <a:pt x="753" y="9"/>
                  <a:pt x="753" y="9"/>
                </a:cubicBezTo>
                <a:cubicBezTo>
                  <a:pt x="753" y="10"/>
                  <a:pt x="753" y="10"/>
                  <a:pt x="753" y="10"/>
                </a:cubicBezTo>
                <a:cubicBezTo>
                  <a:pt x="753" y="10"/>
                  <a:pt x="752" y="11"/>
                  <a:pt x="752" y="11"/>
                </a:cubicBezTo>
                <a:cubicBezTo>
                  <a:pt x="752" y="11"/>
                  <a:pt x="752" y="10"/>
                  <a:pt x="752" y="10"/>
                </a:cubicBezTo>
                <a:cubicBezTo>
                  <a:pt x="752" y="10"/>
                  <a:pt x="752" y="9"/>
                  <a:pt x="751" y="9"/>
                </a:cubicBezTo>
                <a:cubicBezTo>
                  <a:pt x="751" y="9"/>
                  <a:pt x="751" y="8"/>
                  <a:pt x="751" y="8"/>
                </a:cubicBezTo>
                <a:cubicBezTo>
                  <a:pt x="751" y="8"/>
                  <a:pt x="751" y="8"/>
                  <a:pt x="751" y="8"/>
                </a:cubicBezTo>
                <a:cubicBezTo>
                  <a:pt x="750" y="7"/>
                  <a:pt x="750" y="7"/>
                  <a:pt x="750" y="7"/>
                </a:cubicBezTo>
                <a:cubicBezTo>
                  <a:pt x="749" y="7"/>
                  <a:pt x="749" y="7"/>
                  <a:pt x="748" y="7"/>
                </a:cubicBezTo>
                <a:cubicBezTo>
                  <a:pt x="748" y="7"/>
                  <a:pt x="748" y="7"/>
                  <a:pt x="747" y="8"/>
                </a:cubicBezTo>
                <a:cubicBezTo>
                  <a:pt x="747" y="8"/>
                  <a:pt x="747" y="8"/>
                  <a:pt x="747" y="8"/>
                </a:cubicBezTo>
                <a:cubicBezTo>
                  <a:pt x="747" y="8"/>
                  <a:pt x="747" y="8"/>
                  <a:pt x="747" y="8"/>
                </a:cubicBezTo>
                <a:cubicBezTo>
                  <a:pt x="747" y="8"/>
                  <a:pt x="747" y="7"/>
                  <a:pt x="747" y="7"/>
                </a:cubicBezTo>
                <a:cubicBezTo>
                  <a:pt x="747" y="7"/>
                  <a:pt x="747" y="7"/>
                  <a:pt x="747" y="7"/>
                </a:cubicBezTo>
                <a:cubicBezTo>
                  <a:pt x="747" y="7"/>
                  <a:pt x="747" y="7"/>
                  <a:pt x="746" y="7"/>
                </a:cubicBezTo>
                <a:cubicBezTo>
                  <a:pt x="746" y="6"/>
                  <a:pt x="746" y="6"/>
                  <a:pt x="746" y="6"/>
                </a:cubicBezTo>
                <a:cubicBezTo>
                  <a:pt x="746" y="6"/>
                  <a:pt x="746" y="6"/>
                  <a:pt x="746" y="6"/>
                </a:cubicBezTo>
                <a:cubicBezTo>
                  <a:pt x="745" y="6"/>
                  <a:pt x="745" y="6"/>
                  <a:pt x="744" y="6"/>
                </a:cubicBezTo>
                <a:cubicBezTo>
                  <a:pt x="744" y="6"/>
                  <a:pt x="744" y="6"/>
                  <a:pt x="744" y="6"/>
                </a:cubicBezTo>
                <a:cubicBezTo>
                  <a:pt x="743" y="6"/>
                  <a:pt x="743" y="6"/>
                  <a:pt x="743" y="6"/>
                </a:cubicBezTo>
                <a:cubicBezTo>
                  <a:pt x="743" y="6"/>
                  <a:pt x="743" y="6"/>
                  <a:pt x="744" y="6"/>
                </a:cubicBezTo>
                <a:cubicBezTo>
                  <a:pt x="744" y="5"/>
                  <a:pt x="744" y="5"/>
                  <a:pt x="744" y="5"/>
                </a:cubicBezTo>
                <a:cubicBezTo>
                  <a:pt x="744" y="5"/>
                  <a:pt x="744" y="5"/>
                  <a:pt x="743" y="5"/>
                </a:cubicBezTo>
                <a:cubicBezTo>
                  <a:pt x="743" y="6"/>
                  <a:pt x="743" y="6"/>
                  <a:pt x="742" y="6"/>
                </a:cubicBezTo>
                <a:cubicBezTo>
                  <a:pt x="742" y="6"/>
                  <a:pt x="742" y="6"/>
                  <a:pt x="742" y="7"/>
                </a:cubicBezTo>
                <a:cubicBezTo>
                  <a:pt x="742" y="7"/>
                  <a:pt x="741" y="7"/>
                  <a:pt x="741" y="7"/>
                </a:cubicBezTo>
                <a:cubicBezTo>
                  <a:pt x="741" y="7"/>
                  <a:pt x="740" y="7"/>
                  <a:pt x="740" y="7"/>
                </a:cubicBezTo>
                <a:cubicBezTo>
                  <a:pt x="740" y="8"/>
                  <a:pt x="739" y="8"/>
                  <a:pt x="739" y="8"/>
                </a:cubicBezTo>
                <a:cubicBezTo>
                  <a:pt x="739" y="9"/>
                  <a:pt x="739" y="9"/>
                  <a:pt x="738" y="9"/>
                </a:cubicBezTo>
                <a:cubicBezTo>
                  <a:pt x="738" y="8"/>
                  <a:pt x="738" y="8"/>
                  <a:pt x="738" y="8"/>
                </a:cubicBezTo>
                <a:cubicBezTo>
                  <a:pt x="737" y="8"/>
                  <a:pt x="737" y="8"/>
                  <a:pt x="737" y="7"/>
                </a:cubicBezTo>
                <a:cubicBezTo>
                  <a:pt x="737" y="7"/>
                  <a:pt x="736" y="7"/>
                  <a:pt x="736" y="7"/>
                </a:cubicBezTo>
                <a:cubicBezTo>
                  <a:pt x="736" y="8"/>
                  <a:pt x="736" y="8"/>
                  <a:pt x="736" y="8"/>
                </a:cubicBezTo>
                <a:cubicBezTo>
                  <a:pt x="736" y="8"/>
                  <a:pt x="736" y="8"/>
                  <a:pt x="736" y="9"/>
                </a:cubicBezTo>
                <a:cubicBezTo>
                  <a:pt x="736" y="9"/>
                  <a:pt x="736" y="9"/>
                  <a:pt x="736" y="9"/>
                </a:cubicBezTo>
                <a:cubicBezTo>
                  <a:pt x="737" y="10"/>
                  <a:pt x="737" y="10"/>
                  <a:pt x="738" y="10"/>
                </a:cubicBezTo>
                <a:cubicBezTo>
                  <a:pt x="738" y="10"/>
                  <a:pt x="738" y="10"/>
                  <a:pt x="738" y="10"/>
                </a:cubicBezTo>
                <a:cubicBezTo>
                  <a:pt x="738" y="10"/>
                  <a:pt x="737" y="10"/>
                  <a:pt x="737" y="11"/>
                </a:cubicBezTo>
                <a:cubicBezTo>
                  <a:pt x="737" y="11"/>
                  <a:pt x="737" y="11"/>
                  <a:pt x="736" y="11"/>
                </a:cubicBezTo>
                <a:cubicBezTo>
                  <a:pt x="736" y="12"/>
                  <a:pt x="736" y="12"/>
                  <a:pt x="736" y="12"/>
                </a:cubicBezTo>
                <a:cubicBezTo>
                  <a:pt x="737" y="12"/>
                  <a:pt x="737" y="12"/>
                  <a:pt x="738" y="13"/>
                </a:cubicBezTo>
                <a:cubicBezTo>
                  <a:pt x="738" y="13"/>
                  <a:pt x="738" y="12"/>
                  <a:pt x="739" y="12"/>
                </a:cubicBezTo>
                <a:cubicBezTo>
                  <a:pt x="739" y="12"/>
                  <a:pt x="739" y="12"/>
                  <a:pt x="740" y="12"/>
                </a:cubicBezTo>
                <a:cubicBezTo>
                  <a:pt x="740" y="12"/>
                  <a:pt x="740" y="12"/>
                  <a:pt x="741" y="12"/>
                </a:cubicBezTo>
                <a:cubicBezTo>
                  <a:pt x="741" y="12"/>
                  <a:pt x="741" y="12"/>
                  <a:pt x="741" y="12"/>
                </a:cubicBezTo>
                <a:cubicBezTo>
                  <a:pt x="742" y="12"/>
                  <a:pt x="742" y="13"/>
                  <a:pt x="743" y="13"/>
                </a:cubicBezTo>
                <a:cubicBezTo>
                  <a:pt x="743" y="13"/>
                  <a:pt x="744" y="13"/>
                  <a:pt x="744" y="13"/>
                </a:cubicBezTo>
                <a:cubicBezTo>
                  <a:pt x="744" y="13"/>
                  <a:pt x="744" y="13"/>
                  <a:pt x="745" y="13"/>
                </a:cubicBezTo>
                <a:cubicBezTo>
                  <a:pt x="745" y="14"/>
                  <a:pt x="744" y="14"/>
                  <a:pt x="744" y="14"/>
                </a:cubicBezTo>
                <a:cubicBezTo>
                  <a:pt x="744" y="14"/>
                  <a:pt x="744" y="14"/>
                  <a:pt x="744" y="14"/>
                </a:cubicBezTo>
                <a:cubicBezTo>
                  <a:pt x="744" y="15"/>
                  <a:pt x="745" y="15"/>
                  <a:pt x="745" y="15"/>
                </a:cubicBezTo>
                <a:cubicBezTo>
                  <a:pt x="744" y="15"/>
                  <a:pt x="744" y="16"/>
                  <a:pt x="744" y="16"/>
                </a:cubicBezTo>
                <a:cubicBezTo>
                  <a:pt x="744" y="16"/>
                  <a:pt x="744" y="16"/>
                  <a:pt x="744" y="17"/>
                </a:cubicBezTo>
                <a:cubicBezTo>
                  <a:pt x="745" y="17"/>
                  <a:pt x="745" y="17"/>
                  <a:pt x="745" y="17"/>
                </a:cubicBezTo>
                <a:cubicBezTo>
                  <a:pt x="745" y="18"/>
                  <a:pt x="745" y="18"/>
                  <a:pt x="745" y="18"/>
                </a:cubicBezTo>
                <a:cubicBezTo>
                  <a:pt x="745" y="18"/>
                  <a:pt x="745" y="18"/>
                  <a:pt x="745" y="19"/>
                </a:cubicBezTo>
                <a:cubicBezTo>
                  <a:pt x="746" y="19"/>
                  <a:pt x="746" y="19"/>
                  <a:pt x="747" y="19"/>
                </a:cubicBezTo>
                <a:cubicBezTo>
                  <a:pt x="747" y="19"/>
                  <a:pt x="747" y="19"/>
                  <a:pt x="748" y="19"/>
                </a:cubicBezTo>
                <a:cubicBezTo>
                  <a:pt x="748" y="19"/>
                  <a:pt x="748" y="19"/>
                  <a:pt x="748" y="19"/>
                </a:cubicBezTo>
                <a:cubicBezTo>
                  <a:pt x="749" y="19"/>
                  <a:pt x="749" y="20"/>
                  <a:pt x="750" y="20"/>
                </a:cubicBezTo>
                <a:cubicBezTo>
                  <a:pt x="750" y="20"/>
                  <a:pt x="750" y="20"/>
                  <a:pt x="750" y="20"/>
                </a:cubicBezTo>
                <a:cubicBezTo>
                  <a:pt x="750" y="20"/>
                  <a:pt x="750" y="20"/>
                  <a:pt x="750" y="20"/>
                </a:cubicBezTo>
                <a:cubicBezTo>
                  <a:pt x="750" y="20"/>
                  <a:pt x="749" y="20"/>
                  <a:pt x="749" y="20"/>
                </a:cubicBezTo>
                <a:cubicBezTo>
                  <a:pt x="748" y="20"/>
                  <a:pt x="747" y="20"/>
                  <a:pt x="747" y="19"/>
                </a:cubicBezTo>
                <a:cubicBezTo>
                  <a:pt x="746" y="20"/>
                  <a:pt x="746" y="20"/>
                  <a:pt x="745" y="20"/>
                </a:cubicBezTo>
                <a:cubicBezTo>
                  <a:pt x="745" y="20"/>
                  <a:pt x="745" y="19"/>
                  <a:pt x="744" y="19"/>
                </a:cubicBezTo>
                <a:cubicBezTo>
                  <a:pt x="744" y="19"/>
                  <a:pt x="744" y="19"/>
                  <a:pt x="744" y="19"/>
                </a:cubicBezTo>
                <a:cubicBezTo>
                  <a:pt x="744" y="19"/>
                  <a:pt x="744" y="18"/>
                  <a:pt x="744" y="18"/>
                </a:cubicBezTo>
                <a:cubicBezTo>
                  <a:pt x="744" y="18"/>
                  <a:pt x="743" y="17"/>
                  <a:pt x="743" y="17"/>
                </a:cubicBezTo>
                <a:cubicBezTo>
                  <a:pt x="743" y="17"/>
                  <a:pt x="743" y="16"/>
                  <a:pt x="743" y="16"/>
                </a:cubicBezTo>
                <a:cubicBezTo>
                  <a:pt x="743" y="16"/>
                  <a:pt x="743" y="16"/>
                  <a:pt x="743" y="16"/>
                </a:cubicBezTo>
                <a:cubicBezTo>
                  <a:pt x="743" y="15"/>
                  <a:pt x="743" y="15"/>
                  <a:pt x="742" y="15"/>
                </a:cubicBezTo>
                <a:cubicBezTo>
                  <a:pt x="742" y="15"/>
                  <a:pt x="742" y="15"/>
                  <a:pt x="742" y="14"/>
                </a:cubicBezTo>
                <a:cubicBezTo>
                  <a:pt x="742" y="14"/>
                  <a:pt x="742" y="14"/>
                  <a:pt x="741" y="13"/>
                </a:cubicBezTo>
                <a:cubicBezTo>
                  <a:pt x="741" y="13"/>
                  <a:pt x="741" y="13"/>
                  <a:pt x="741" y="13"/>
                </a:cubicBezTo>
                <a:cubicBezTo>
                  <a:pt x="740" y="13"/>
                  <a:pt x="740" y="13"/>
                  <a:pt x="740" y="13"/>
                </a:cubicBezTo>
                <a:cubicBezTo>
                  <a:pt x="739" y="13"/>
                  <a:pt x="739" y="13"/>
                  <a:pt x="739" y="13"/>
                </a:cubicBezTo>
                <a:cubicBezTo>
                  <a:pt x="738" y="13"/>
                  <a:pt x="738" y="13"/>
                  <a:pt x="738" y="13"/>
                </a:cubicBezTo>
                <a:cubicBezTo>
                  <a:pt x="737" y="13"/>
                  <a:pt x="737" y="13"/>
                  <a:pt x="737" y="13"/>
                </a:cubicBezTo>
                <a:cubicBezTo>
                  <a:pt x="736" y="13"/>
                  <a:pt x="736" y="13"/>
                  <a:pt x="735" y="14"/>
                </a:cubicBezTo>
                <a:cubicBezTo>
                  <a:pt x="735" y="14"/>
                  <a:pt x="735" y="14"/>
                  <a:pt x="734" y="13"/>
                </a:cubicBezTo>
                <a:cubicBezTo>
                  <a:pt x="734" y="14"/>
                  <a:pt x="734" y="14"/>
                  <a:pt x="734" y="14"/>
                </a:cubicBezTo>
                <a:cubicBezTo>
                  <a:pt x="733" y="14"/>
                  <a:pt x="733" y="14"/>
                  <a:pt x="733" y="15"/>
                </a:cubicBezTo>
                <a:cubicBezTo>
                  <a:pt x="733" y="15"/>
                  <a:pt x="734" y="15"/>
                  <a:pt x="734" y="15"/>
                </a:cubicBezTo>
                <a:cubicBezTo>
                  <a:pt x="734" y="15"/>
                  <a:pt x="734" y="15"/>
                  <a:pt x="734" y="16"/>
                </a:cubicBezTo>
                <a:cubicBezTo>
                  <a:pt x="734" y="16"/>
                  <a:pt x="733" y="16"/>
                  <a:pt x="733" y="16"/>
                </a:cubicBezTo>
                <a:cubicBezTo>
                  <a:pt x="733" y="16"/>
                  <a:pt x="732" y="16"/>
                  <a:pt x="731" y="16"/>
                </a:cubicBezTo>
                <a:cubicBezTo>
                  <a:pt x="731" y="15"/>
                  <a:pt x="730" y="15"/>
                  <a:pt x="729" y="15"/>
                </a:cubicBezTo>
                <a:cubicBezTo>
                  <a:pt x="729" y="15"/>
                  <a:pt x="729" y="15"/>
                  <a:pt x="729" y="15"/>
                </a:cubicBezTo>
                <a:cubicBezTo>
                  <a:pt x="729" y="15"/>
                  <a:pt x="728" y="15"/>
                  <a:pt x="728" y="15"/>
                </a:cubicBezTo>
                <a:cubicBezTo>
                  <a:pt x="728" y="15"/>
                  <a:pt x="728" y="15"/>
                  <a:pt x="728" y="15"/>
                </a:cubicBezTo>
                <a:cubicBezTo>
                  <a:pt x="728" y="15"/>
                  <a:pt x="727" y="15"/>
                  <a:pt x="727" y="15"/>
                </a:cubicBezTo>
                <a:cubicBezTo>
                  <a:pt x="726" y="15"/>
                  <a:pt x="726" y="15"/>
                  <a:pt x="725" y="15"/>
                </a:cubicBezTo>
                <a:cubicBezTo>
                  <a:pt x="725" y="15"/>
                  <a:pt x="725" y="15"/>
                  <a:pt x="725" y="15"/>
                </a:cubicBezTo>
                <a:cubicBezTo>
                  <a:pt x="725" y="15"/>
                  <a:pt x="725" y="16"/>
                  <a:pt x="725" y="16"/>
                </a:cubicBezTo>
                <a:cubicBezTo>
                  <a:pt x="725" y="16"/>
                  <a:pt x="725" y="16"/>
                  <a:pt x="726" y="17"/>
                </a:cubicBezTo>
                <a:cubicBezTo>
                  <a:pt x="725" y="17"/>
                  <a:pt x="725" y="17"/>
                  <a:pt x="725" y="17"/>
                </a:cubicBezTo>
                <a:cubicBezTo>
                  <a:pt x="725" y="17"/>
                  <a:pt x="726" y="18"/>
                  <a:pt x="726" y="18"/>
                </a:cubicBezTo>
                <a:cubicBezTo>
                  <a:pt x="726" y="18"/>
                  <a:pt x="726" y="18"/>
                  <a:pt x="727" y="19"/>
                </a:cubicBezTo>
                <a:cubicBezTo>
                  <a:pt x="727" y="19"/>
                  <a:pt x="727" y="19"/>
                  <a:pt x="726" y="19"/>
                </a:cubicBezTo>
                <a:cubicBezTo>
                  <a:pt x="727" y="20"/>
                  <a:pt x="727" y="20"/>
                  <a:pt x="727" y="20"/>
                </a:cubicBezTo>
                <a:cubicBezTo>
                  <a:pt x="727" y="20"/>
                  <a:pt x="727" y="20"/>
                  <a:pt x="727" y="21"/>
                </a:cubicBezTo>
                <a:cubicBezTo>
                  <a:pt x="727" y="21"/>
                  <a:pt x="727" y="21"/>
                  <a:pt x="727" y="21"/>
                </a:cubicBezTo>
                <a:cubicBezTo>
                  <a:pt x="727" y="21"/>
                  <a:pt x="727" y="21"/>
                  <a:pt x="727" y="22"/>
                </a:cubicBezTo>
                <a:cubicBezTo>
                  <a:pt x="728" y="22"/>
                  <a:pt x="728" y="22"/>
                  <a:pt x="728" y="22"/>
                </a:cubicBezTo>
                <a:cubicBezTo>
                  <a:pt x="728" y="23"/>
                  <a:pt x="728" y="23"/>
                  <a:pt x="729" y="23"/>
                </a:cubicBezTo>
                <a:cubicBezTo>
                  <a:pt x="728" y="23"/>
                  <a:pt x="728" y="24"/>
                  <a:pt x="728" y="24"/>
                </a:cubicBezTo>
                <a:cubicBezTo>
                  <a:pt x="728" y="24"/>
                  <a:pt x="728" y="24"/>
                  <a:pt x="728" y="25"/>
                </a:cubicBezTo>
                <a:cubicBezTo>
                  <a:pt x="729" y="25"/>
                  <a:pt x="729" y="25"/>
                  <a:pt x="729" y="25"/>
                </a:cubicBezTo>
                <a:cubicBezTo>
                  <a:pt x="729" y="25"/>
                  <a:pt x="729" y="26"/>
                  <a:pt x="730" y="26"/>
                </a:cubicBezTo>
                <a:cubicBezTo>
                  <a:pt x="730" y="26"/>
                  <a:pt x="730" y="26"/>
                  <a:pt x="730" y="26"/>
                </a:cubicBezTo>
                <a:cubicBezTo>
                  <a:pt x="730" y="27"/>
                  <a:pt x="731" y="27"/>
                  <a:pt x="731" y="27"/>
                </a:cubicBezTo>
                <a:cubicBezTo>
                  <a:pt x="731" y="27"/>
                  <a:pt x="731" y="27"/>
                  <a:pt x="732" y="27"/>
                </a:cubicBezTo>
                <a:cubicBezTo>
                  <a:pt x="732" y="28"/>
                  <a:pt x="732" y="28"/>
                  <a:pt x="732" y="28"/>
                </a:cubicBezTo>
                <a:cubicBezTo>
                  <a:pt x="732" y="28"/>
                  <a:pt x="732" y="28"/>
                  <a:pt x="732" y="28"/>
                </a:cubicBezTo>
                <a:cubicBezTo>
                  <a:pt x="732" y="28"/>
                  <a:pt x="733" y="28"/>
                  <a:pt x="733" y="28"/>
                </a:cubicBezTo>
                <a:cubicBezTo>
                  <a:pt x="733" y="28"/>
                  <a:pt x="733" y="29"/>
                  <a:pt x="733" y="29"/>
                </a:cubicBezTo>
                <a:cubicBezTo>
                  <a:pt x="733" y="29"/>
                  <a:pt x="733" y="29"/>
                  <a:pt x="733" y="29"/>
                </a:cubicBezTo>
                <a:cubicBezTo>
                  <a:pt x="734" y="29"/>
                  <a:pt x="734" y="29"/>
                  <a:pt x="735" y="29"/>
                </a:cubicBezTo>
                <a:cubicBezTo>
                  <a:pt x="735" y="29"/>
                  <a:pt x="735" y="29"/>
                  <a:pt x="735" y="30"/>
                </a:cubicBezTo>
                <a:cubicBezTo>
                  <a:pt x="735" y="30"/>
                  <a:pt x="735" y="30"/>
                  <a:pt x="735" y="30"/>
                </a:cubicBezTo>
                <a:cubicBezTo>
                  <a:pt x="734" y="30"/>
                  <a:pt x="734" y="30"/>
                  <a:pt x="734" y="30"/>
                </a:cubicBezTo>
                <a:cubicBezTo>
                  <a:pt x="733" y="30"/>
                  <a:pt x="733" y="30"/>
                  <a:pt x="733" y="30"/>
                </a:cubicBezTo>
                <a:cubicBezTo>
                  <a:pt x="733" y="30"/>
                  <a:pt x="732" y="30"/>
                  <a:pt x="732" y="30"/>
                </a:cubicBezTo>
                <a:cubicBezTo>
                  <a:pt x="732" y="30"/>
                  <a:pt x="732" y="30"/>
                  <a:pt x="731" y="30"/>
                </a:cubicBezTo>
                <a:cubicBezTo>
                  <a:pt x="731" y="29"/>
                  <a:pt x="731" y="29"/>
                  <a:pt x="731" y="29"/>
                </a:cubicBezTo>
                <a:cubicBezTo>
                  <a:pt x="731" y="29"/>
                  <a:pt x="731" y="29"/>
                  <a:pt x="731" y="29"/>
                </a:cubicBezTo>
                <a:cubicBezTo>
                  <a:pt x="731" y="29"/>
                  <a:pt x="731" y="29"/>
                  <a:pt x="730" y="29"/>
                </a:cubicBezTo>
                <a:cubicBezTo>
                  <a:pt x="730" y="29"/>
                  <a:pt x="730" y="29"/>
                  <a:pt x="730" y="29"/>
                </a:cubicBezTo>
                <a:cubicBezTo>
                  <a:pt x="729" y="29"/>
                  <a:pt x="729" y="29"/>
                  <a:pt x="729" y="29"/>
                </a:cubicBezTo>
                <a:cubicBezTo>
                  <a:pt x="729" y="29"/>
                  <a:pt x="729" y="29"/>
                  <a:pt x="729" y="29"/>
                </a:cubicBezTo>
                <a:cubicBezTo>
                  <a:pt x="729" y="28"/>
                  <a:pt x="729" y="28"/>
                  <a:pt x="729" y="28"/>
                </a:cubicBezTo>
                <a:cubicBezTo>
                  <a:pt x="729" y="28"/>
                  <a:pt x="729" y="28"/>
                  <a:pt x="729" y="28"/>
                </a:cubicBezTo>
                <a:cubicBezTo>
                  <a:pt x="728" y="28"/>
                  <a:pt x="728" y="28"/>
                  <a:pt x="728" y="28"/>
                </a:cubicBezTo>
                <a:cubicBezTo>
                  <a:pt x="728" y="29"/>
                  <a:pt x="728" y="29"/>
                  <a:pt x="727" y="29"/>
                </a:cubicBezTo>
                <a:cubicBezTo>
                  <a:pt x="727" y="29"/>
                  <a:pt x="726" y="30"/>
                  <a:pt x="726" y="30"/>
                </a:cubicBezTo>
                <a:cubicBezTo>
                  <a:pt x="726" y="30"/>
                  <a:pt x="725" y="30"/>
                  <a:pt x="725" y="30"/>
                </a:cubicBezTo>
                <a:cubicBezTo>
                  <a:pt x="725" y="30"/>
                  <a:pt x="724" y="29"/>
                  <a:pt x="724" y="29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22" y="29"/>
                  <a:pt x="722" y="29"/>
                  <a:pt x="722" y="29"/>
                </a:cubicBezTo>
                <a:cubicBezTo>
                  <a:pt x="722" y="29"/>
                  <a:pt x="722" y="29"/>
                  <a:pt x="722" y="28"/>
                </a:cubicBezTo>
                <a:cubicBezTo>
                  <a:pt x="722" y="28"/>
                  <a:pt x="722" y="28"/>
                  <a:pt x="722" y="27"/>
                </a:cubicBezTo>
                <a:cubicBezTo>
                  <a:pt x="722" y="27"/>
                  <a:pt x="721" y="27"/>
                  <a:pt x="721" y="26"/>
                </a:cubicBezTo>
                <a:cubicBezTo>
                  <a:pt x="721" y="26"/>
                  <a:pt x="721" y="26"/>
                  <a:pt x="720" y="26"/>
                </a:cubicBezTo>
                <a:cubicBezTo>
                  <a:pt x="720" y="26"/>
                  <a:pt x="720" y="26"/>
                  <a:pt x="720" y="25"/>
                </a:cubicBezTo>
                <a:cubicBezTo>
                  <a:pt x="720" y="25"/>
                  <a:pt x="720" y="25"/>
                  <a:pt x="720" y="25"/>
                </a:cubicBezTo>
                <a:cubicBezTo>
                  <a:pt x="720" y="25"/>
                  <a:pt x="720" y="24"/>
                  <a:pt x="721" y="24"/>
                </a:cubicBezTo>
                <a:cubicBezTo>
                  <a:pt x="721" y="24"/>
                  <a:pt x="721" y="24"/>
                  <a:pt x="721" y="24"/>
                </a:cubicBezTo>
                <a:cubicBezTo>
                  <a:pt x="721" y="23"/>
                  <a:pt x="721" y="23"/>
                  <a:pt x="720" y="22"/>
                </a:cubicBezTo>
                <a:cubicBezTo>
                  <a:pt x="720" y="22"/>
                  <a:pt x="720" y="22"/>
                  <a:pt x="720" y="21"/>
                </a:cubicBezTo>
                <a:cubicBezTo>
                  <a:pt x="719" y="21"/>
                  <a:pt x="719" y="21"/>
                  <a:pt x="718" y="21"/>
                </a:cubicBezTo>
                <a:cubicBezTo>
                  <a:pt x="718" y="20"/>
                  <a:pt x="718" y="20"/>
                  <a:pt x="718" y="20"/>
                </a:cubicBezTo>
                <a:cubicBezTo>
                  <a:pt x="718" y="19"/>
                  <a:pt x="717" y="19"/>
                  <a:pt x="717" y="19"/>
                </a:cubicBezTo>
                <a:cubicBezTo>
                  <a:pt x="717" y="18"/>
                  <a:pt x="717" y="18"/>
                  <a:pt x="716" y="18"/>
                </a:cubicBezTo>
                <a:cubicBezTo>
                  <a:pt x="716" y="18"/>
                  <a:pt x="716" y="18"/>
                  <a:pt x="715" y="18"/>
                </a:cubicBezTo>
                <a:cubicBezTo>
                  <a:pt x="715" y="18"/>
                  <a:pt x="715" y="17"/>
                  <a:pt x="715" y="17"/>
                </a:cubicBezTo>
                <a:cubicBezTo>
                  <a:pt x="715" y="17"/>
                  <a:pt x="714" y="17"/>
                  <a:pt x="714" y="17"/>
                </a:cubicBezTo>
                <a:cubicBezTo>
                  <a:pt x="714" y="17"/>
                  <a:pt x="713" y="17"/>
                  <a:pt x="713" y="17"/>
                </a:cubicBezTo>
                <a:cubicBezTo>
                  <a:pt x="713" y="17"/>
                  <a:pt x="713" y="17"/>
                  <a:pt x="712" y="17"/>
                </a:cubicBezTo>
                <a:cubicBezTo>
                  <a:pt x="712" y="17"/>
                  <a:pt x="712" y="17"/>
                  <a:pt x="711" y="17"/>
                </a:cubicBezTo>
                <a:cubicBezTo>
                  <a:pt x="711" y="17"/>
                  <a:pt x="711" y="18"/>
                  <a:pt x="711" y="18"/>
                </a:cubicBezTo>
                <a:cubicBezTo>
                  <a:pt x="711" y="18"/>
                  <a:pt x="711" y="18"/>
                  <a:pt x="711" y="19"/>
                </a:cubicBezTo>
                <a:cubicBezTo>
                  <a:pt x="711" y="19"/>
                  <a:pt x="711" y="19"/>
                  <a:pt x="711" y="19"/>
                </a:cubicBezTo>
                <a:cubicBezTo>
                  <a:pt x="711" y="19"/>
                  <a:pt x="711" y="19"/>
                  <a:pt x="711" y="19"/>
                </a:cubicBezTo>
                <a:cubicBezTo>
                  <a:pt x="711" y="20"/>
                  <a:pt x="711" y="20"/>
                  <a:pt x="711" y="20"/>
                </a:cubicBezTo>
                <a:cubicBezTo>
                  <a:pt x="711" y="20"/>
                  <a:pt x="710" y="21"/>
                  <a:pt x="710" y="21"/>
                </a:cubicBezTo>
                <a:cubicBezTo>
                  <a:pt x="710" y="22"/>
                  <a:pt x="710" y="22"/>
                  <a:pt x="710" y="22"/>
                </a:cubicBezTo>
                <a:cubicBezTo>
                  <a:pt x="710" y="22"/>
                  <a:pt x="710" y="23"/>
                  <a:pt x="711" y="23"/>
                </a:cubicBezTo>
                <a:cubicBezTo>
                  <a:pt x="711" y="23"/>
                  <a:pt x="711" y="23"/>
                  <a:pt x="711" y="23"/>
                </a:cubicBezTo>
                <a:cubicBezTo>
                  <a:pt x="711" y="24"/>
                  <a:pt x="711" y="24"/>
                  <a:pt x="711" y="24"/>
                </a:cubicBezTo>
                <a:cubicBezTo>
                  <a:pt x="711" y="25"/>
                  <a:pt x="711" y="25"/>
                  <a:pt x="711" y="25"/>
                </a:cubicBezTo>
                <a:cubicBezTo>
                  <a:pt x="711" y="26"/>
                  <a:pt x="711" y="26"/>
                  <a:pt x="711" y="26"/>
                </a:cubicBezTo>
                <a:cubicBezTo>
                  <a:pt x="711" y="26"/>
                  <a:pt x="711" y="27"/>
                  <a:pt x="711" y="27"/>
                </a:cubicBezTo>
                <a:cubicBezTo>
                  <a:pt x="711" y="27"/>
                  <a:pt x="711" y="27"/>
                  <a:pt x="711" y="28"/>
                </a:cubicBezTo>
                <a:cubicBezTo>
                  <a:pt x="711" y="27"/>
                  <a:pt x="710" y="27"/>
                  <a:pt x="710" y="27"/>
                </a:cubicBezTo>
                <a:cubicBezTo>
                  <a:pt x="710" y="27"/>
                  <a:pt x="710" y="27"/>
                  <a:pt x="710" y="27"/>
                </a:cubicBezTo>
                <a:cubicBezTo>
                  <a:pt x="710" y="27"/>
                  <a:pt x="710" y="27"/>
                  <a:pt x="709" y="28"/>
                </a:cubicBezTo>
                <a:cubicBezTo>
                  <a:pt x="709" y="28"/>
                  <a:pt x="709" y="28"/>
                  <a:pt x="709" y="28"/>
                </a:cubicBezTo>
                <a:cubicBezTo>
                  <a:pt x="708" y="28"/>
                  <a:pt x="708" y="27"/>
                  <a:pt x="708" y="27"/>
                </a:cubicBezTo>
                <a:cubicBezTo>
                  <a:pt x="708" y="27"/>
                  <a:pt x="708" y="27"/>
                  <a:pt x="708" y="27"/>
                </a:cubicBezTo>
                <a:cubicBezTo>
                  <a:pt x="707" y="27"/>
                  <a:pt x="707" y="27"/>
                  <a:pt x="706" y="27"/>
                </a:cubicBezTo>
                <a:cubicBezTo>
                  <a:pt x="706" y="27"/>
                  <a:pt x="706" y="27"/>
                  <a:pt x="705" y="27"/>
                </a:cubicBezTo>
                <a:cubicBezTo>
                  <a:pt x="705" y="27"/>
                  <a:pt x="705" y="27"/>
                  <a:pt x="705" y="27"/>
                </a:cubicBezTo>
                <a:cubicBezTo>
                  <a:pt x="705" y="27"/>
                  <a:pt x="705" y="27"/>
                  <a:pt x="705" y="27"/>
                </a:cubicBezTo>
                <a:cubicBezTo>
                  <a:pt x="705" y="27"/>
                  <a:pt x="705" y="28"/>
                  <a:pt x="705" y="28"/>
                </a:cubicBezTo>
                <a:cubicBezTo>
                  <a:pt x="705" y="28"/>
                  <a:pt x="705" y="28"/>
                  <a:pt x="706" y="28"/>
                </a:cubicBezTo>
                <a:cubicBezTo>
                  <a:pt x="706" y="28"/>
                  <a:pt x="706" y="28"/>
                  <a:pt x="706" y="28"/>
                </a:cubicBezTo>
                <a:cubicBezTo>
                  <a:pt x="706" y="28"/>
                  <a:pt x="706" y="29"/>
                  <a:pt x="706" y="29"/>
                </a:cubicBezTo>
                <a:cubicBezTo>
                  <a:pt x="706" y="29"/>
                  <a:pt x="706" y="29"/>
                  <a:pt x="705" y="29"/>
                </a:cubicBezTo>
                <a:cubicBezTo>
                  <a:pt x="705" y="29"/>
                  <a:pt x="705" y="29"/>
                  <a:pt x="705" y="29"/>
                </a:cubicBezTo>
                <a:cubicBezTo>
                  <a:pt x="705" y="29"/>
                  <a:pt x="705" y="29"/>
                  <a:pt x="705" y="29"/>
                </a:cubicBezTo>
                <a:cubicBezTo>
                  <a:pt x="704" y="29"/>
                  <a:pt x="704" y="29"/>
                  <a:pt x="704" y="29"/>
                </a:cubicBezTo>
                <a:cubicBezTo>
                  <a:pt x="703" y="29"/>
                  <a:pt x="703" y="29"/>
                  <a:pt x="703" y="29"/>
                </a:cubicBezTo>
                <a:cubicBezTo>
                  <a:pt x="703" y="28"/>
                  <a:pt x="703" y="28"/>
                  <a:pt x="703" y="28"/>
                </a:cubicBezTo>
                <a:cubicBezTo>
                  <a:pt x="702" y="28"/>
                  <a:pt x="702" y="27"/>
                  <a:pt x="702" y="27"/>
                </a:cubicBezTo>
                <a:cubicBezTo>
                  <a:pt x="702" y="27"/>
                  <a:pt x="702" y="27"/>
                  <a:pt x="701" y="26"/>
                </a:cubicBezTo>
                <a:cubicBezTo>
                  <a:pt x="701" y="26"/>
                  <a:pt x="701" y="26"/>
                  <a:pt x="701" y="26"/>
                </a:cubicBezTo>
                <a:cubicBezTo>
                  <a:pt x="701" y="26"/>
                  <a:pt x="700" y="25"/>
                  <a:pt x="700" y="25"/>
                </a:cubicBezTo>
                <a:cubicBezTo>
                  <a:pt x="700" y="25"/>
                  <a:pt x="700" y="25"/>
                  <a:pt x="700" y="25"/>
                </a:cubicBezTo>
                <a:cubicBezTo>
                  <a:pt x="700" y="25"/>
                  <a:pt x="700" y="24"/>
                  <a:pt x="700" y="24"/>
                </a:cubicBezTo>
                <a:cubicBezTo>
                  <a:pt x="699" y="25"/>
                  <a:pt x="699" y="25"/>
                  <a:pt x="699" y="25"/>
                </a:cubicBezTo>
                <a:cubicBezTo>
                  <a:pt x="699" y="25"/>
                  <a:pt x="699" y="25"/>
                  <a:pt x="699" y="26"/>
                </a:cubicBezTo>
                <a:cubicBezTo>
                  <a:pt x="698" y="26"/>
                  <a:pt x="698" y="26"/>
                  <a:pt x="698" y="26"/>
                </a:cubicBezTo>
                <a:cubicBezTo>
                  <a:pt x="698" y="26"/>
                  <a:pt x="698" y="26"/>
                  <a:pt x="698" y="26"/>
                </a:cubicBezTo>
                <a:cubicBezTo>
                  <a:pt x="698" y="27"/>
                  <a:pt x="698" y="27"/>
                  <a:pt x="698" y="27"/>
                </a:cubicBezTo>
                <a:cubicBezTo>
                  <a:pt x="698" y="27"/>
                  <a:pt x="697" y="27"/>
                  <a:pt x="697" y="27"/>
                </a:cubicBezTo>
                <a:cubicBezTo>
                  <a:pt x="697" y="27"/>
                  <a:pt x="697" y="28"/>
                  <a:pt x="696" y="28"/>
                </a:cubicBezTo>
                <a:cubicBezTo>
                  <a:pt x="696" y="28"/>
                  <a:pt x="696" y="28"/>
                  <a:pt x="696" y="28"/>
                </a:cubicBezTo>
                <a:cubicBezTo>
                  <a:pt x="696" y="29"/>
                  <a:pt x="695" y="29"/>
                  <a:pt x="695" y="29"/>
                </a:cubicBezTo>
                <a:cubicBezTo>
                  <a:pt x="695" y="30"/>
                  <a:pt x="694" y="30"/>
                  <a:pt x="694" y="30"/>
                </a:cubicBezTo>
                <a:cubicBezTo>
                  <a:pt x="694" y="30"/>
                  <a:pt x="694" y="30"/>
                  <a:pt x="694" y="31"/>
                </a:cubicBezTo>
                <a:cubicBezTo>
                  <a:pt x="694" y="31"/>
                  <a:pt x="694" y="31"/>
                  <a:pt x="694" y="31"/>
                </a:cubicBezTo>
                <a:cubicBezTo>
                  <a:pt x="693" y="31"/>
                  <a:pt x="693" y="32"/>
                  <a:pt x="693" y="32"/>
                </a:cubicBezTo>
                <a:cubicBezTo>
                  <a:pt x="693" y="32"/>
                  <a:pt x="692" y="32"/>
                  <a:pt x="692" y="32"/>
                </a:cubicBezTo>
                <a:cubicBezTo>
                  <a:pt x="692" y="32"/>
                  <a:pt x="692" y="32"/>
                  <a:pt x="692" y="32"/>
                </a:cubicBezTo>
                <a:cubicBezTo>
                  <a:pt x="692" y="32"/>
                  <a:pt x="692" y="31"/>
                  <a:pt x="692" y="31"/>
                </a:cubicBezTo>
                <a:cubicBezTo>
                  <a:pt x="692" y="31"/>
                  <a:pt x="693" y="31"/>
                  <a:pt x="693" y="30"/>
                </a:cubicBezTo>
                <a:cubicBezTo>
                  <a:pt x="693" y="30"/>
                  <a:pt x="693" y="30"/>
                  <a:pt x="693" y="30"/>
                </a:cubicBezTo>
                <a:cubicBezTo>
                  <a:pt x="693" y="29"/>
                  <a:pt x="693" y="29"/>
                  <a:pt x="693" y="29"/>
                </a:cubicBezTo>
                <a:cubicBezTo>
                  <a:pt x="694" y="29"/>
                  <a:pt x="694" y="29"/>
                  <a:pt x="694" y="29"/>
                </a:cubicBezTo>
                <a:cubicBezTo>
                  <a:pt x="694" y="28"/>
                  <a:pt x="695" y="28"/>
                  <a:pt x="695" y="28"/>
                </a:cubicBezTo>
                <a:cubicBezTo>
                  <a:pt x="695" y="27"/>
                  <a:pt x="695" y="27"/>
                  <a:pt x="696" y="27"/>
                </a:cubicBezTo>
                <a:cubicBezTo>
                  <a:pt x="696" y="27"/>
                  <a:pt x="696" y="27"/>
                  <a:pt x="696" y="26"/>
                </a:cubicBezTo>
                <a:cubicBezTo>
                  <a:pt x="696" y="26"/>
                  <a:pt x="696" y="26"/>
                  <a:pt x="696" y="26"/>
                </a:cubicBezTo>
                <a:cubicBezTo>
                  <a:pt x="696" y="26"/>
                  <a:pt x="695" y="26"/>
                  <a:pt x="695" y="26"/>
                </a:cubicBezTo>
                <a:cubicBezTo>
                  <a:pt x="695" y="26"/>
                  <a:pt x="695" y="25"/>
                  <a:pt x="695" y="25"/>
                </a:cubicBezTo>
                <a:cubicBezTo>
                  <a:pt x="696" y="25"/>
                  <a:pt x="696" y="25"/>
                  <a:pt x="696" y="25"/>
                </a:cubicBezTo>
                <a:cubicBezTo>
                  <a:pt x="696" y="25"/>
                  <a:pt x="696" y="25"/>
                  <a:pt x="697" y="25"/>
                </a:cubicBezTo>
                <a:cubicBezTo>
                  <a:pt x="696" y="24"/>
                  <a:pt x="696" y="24"/>
                  <a:pt x="696" y="24"/>
                </a:cubicBezTo>
                <a:cubicBezTo>
                  <a:pt x="697" y="24"/>
                  <a:pt x="697" y="24"/>
                  <a:pt x="697" y="23"/>
                </a:cubicBezTo>
                <a:cubicBezTo>
                  <a:pt x="697" y="23"/>
                  <a:pt x="697" y="22"/>
                  <a:pt x="698" y="22"/>
                </a:cubicBezTo>
                <a:cubicBezTo>
                  <a:pt x="698" y="22"/>
                  <a:pt x="698" y="22"/>
                  <a:pt x="698" y="21"/>
                </a:cubicBezTo>
                <a:cubicBezTo>
                  <a:pt x="698" y="21"/>
                  <a:pt x="698" y="21"/>
                  <a:pt x="698" y="20"/>
                </a:cubicBezTo>
                <a:cubicBezTo>
                  <a:pt x="698" y="20"/>
                  <a:pt x="698" y="19"/>
                  <a:pt x="698" y="19"/>
                </a:cubicBezTo>
                <a:cubicBezTo>
                  <a:pt x="698" y="18"/>
                  <a:pt x="698" y="18"/>
                  <a:pt x="698" y="18"/>
                </a:cubicBezTo>
                <a:cubicBezTo>
                  <a:pt x="697" y="18"/>
                  <a:pt x="696" y="18"/>
                  <a:pt x="696" y="18"/>
                </a:cubicBezTo>
                <a:cubicBezTo>
                  <a:pt x="695" y="18"/>
                  <a:pt x="695" y="18"/>
                  <a:pt x="695" y="19"/>
                </a:cubicBezTo>
                <a:cubicBezTo>
                  <a:pt x="694" y="19"/>
                  <a:pt x="694" y="19"/>
                  <a:pt x="694" y="19"/>
                </a:cubicBezTo>
                <a:cubicBezTo>
                  <a:pt x="693" y="19"/>
                  <a:pt x="693" y="19"/>
                  <a:pt x="693" y="19"/>
                </a:cubicBezTo>
                <a:cubicBezTo>
                  <a:pt x="692" y="19"/>
                  <a:pt x="692" y="19"/>
                  <a:pt x="692" y="19"/>
                </a:cubicBezTo>
                <a:cubicBezTo>
                  <a:pt x="691" y="19"/>
                  <a:pt x="691" y="19"/>
                  <a:pt x="691" y="19"/>
                </a:cubicBezTo>
                <a:cubicBezTo>
                  <a:pt x="691" y="19"/>
                  <a:pt x="691" y="20"/>
                  <a:pt x="691" y="20"/>
                </a:cubicBezTo>
                <a:cubicBezTo>
                  <a:pt x="692" y="20"/>
                  <a:pt x="692" y="20"/>
                  <a:pt x="692" y="20"/>
                </a:cubicBezTo>
                <a:cubicBezTo>
                  <a:pt x="692" y="20"/>
                  <a:pt x="692" y="21"/>
                  <a:pt x="693" y="21"/>
                </a:cubicBezTo>
                <a:cubicBezTo>
                  <a:pt x="692" y="21"/>
                  <a:pt x="692" y="21"/>
                  <a:pt x="692" y="22"/>
                </a:cubicBezTo>
                <a:cubicBezTo>
                  <a:pt x="692" y="22"/>
                  <a:pt x="692" y="21"/>
                  <a:pt x="692" y="21"/>
                </a:cubicBezTo>
                <a:cubicBezTo>
                  <a:pt x="692" y="21"/>
                  <a:pt x="691" y="21"/>
                  <a:pt x="691" y="21"/>
                </a:cubicBezTo>
                <a:cubicBezTo>
                  <a:pt x="691" y="20"/>
                  <a:pt x="691" y="20"/>
                  <a:pt x="690" y="20"/>
                </a:cubicBezTo>
                <a:cubicBezTo>
                  <a:pt x="690" y="20"/>
                  <a:pt x="690" y="20"/>
                  <a:pt x="690" y="20"/>
                </a:cubicBezTo>
                <a:cubicBezTo>
                  <a:pt x="689" y="20"/>
                  <a:pt x="688" y="21"/>
                  <a:pt x="688" y="21"/>
                </a:cubicBezTo>
                <a:cubicBezTo>
                  <a:pt x="688" y="21"/>
                  <a:pt x="688" y="22"/>
                  <a:pt x="688" y="22"/>
                </a:cubicBezTo>
                <a:cubicBezTo>
                  <a:pt x="688" y="22"/>
                  <a:pt x="688" y="22"/>
                  <a:pt x="689" y="22"/>
                </a:cubicBezTo>
                <a:cubicBezTo>
                  <a:pt x="688" y="22"/>
                  <a:pt x="688" y="23"/>
                  <a:pt x="688" y="23"/>
                </a:cubicBezTo>
                <a:cubicBezTo>
                  <a:pt x="688" y="23"/>
                  <a:pt x="687" y="23"/>
                  <a:pt x="687" y="23"/>
                </a:cubicBezTo>
                <a:cubicBezTo>
                  <a:pt x="687" y="23"/>
                  <a:pt x="687" y="23"/>
                  <a:pt x="687" y="23"/>
                </a:cubicBezTo>
                <a:cubicBezTo>
                  <a:pt x="687" y="22"/>
                  <a:pt x="687" y="22"/>
                  <a:pt x="687" y="22"/>
                </a:cubicBezTo>
                <a:cubicBezTo>
                  <a:pt x="687" y="22"/>
                  <a:pt x="687" y="22"/>
                  <a:pt x="687" y="21"/>
                </a:cubicBezTo>
                <a:cubicBezTo>
                  <a:pt x="686" y="21"/>
                  <a:pt x="686" y="21"/>
                  <a:pt x="686" y="21"/>
                </a:cubicBezTo>
                <a:cubicBezTo>
                  <a:pt x="685" y="21"/>
                  <a:pt x="684" y="21"/>
                  <a:pt x="684" y="21"/>
                </a:cubicBezTo>
                <a:cubicBezTo>
                  <a:pt x="683" y="22"/>
                  <a:pt x="682" y="22"/>
                  <a:pt x="681" y="22"/>
                </a:cubicBezTo>
                <a:cubicBezTo>
                  <a:pt x="681" y="22"/>
                  <a:pt x="680" y="23"/>
                  <a:pt x="679" y="23"/>
                </a:cubicBezTo>
                <a:cubicBezTo>
                  <a:pt x="678" y="23"/>
                  <a:pt x="678" y="23"/>
                  <a:pt x="677" y="23"/>
                </a:cubicBezTo>
                <a:cubicBezTo>
                  <a:pt x="677" y="23"/>
                  <a:pt x="677" y="23"/>
                  <a:pt x="676" y="23"/>
                </a:cubicBezTo>
                <a:cubicBezTo>
                  <a:pt x="676" y="23"/>
                  <a:pt x="676" y="23"/>
                  <a:pt x="675" y="23"/>
                </a:cubicBezTo>
                <a:cubicBezTo>
                  <a:pt x="675" y="23"/>
                  <a:pt x="675" y="23"/>
                  <a:pt x="675" y="23"/>
                </a:cubicBezTo>
                <a:cubicBezTo>
                  <a:pt x="674" y="23"/>
                  <a:pt x="674" y="23"/>
                  <a:pt x="673" y="23"/>
                </a:cubicBezTo>
                <a:cubicBezTo>
                  <a:pt x="673" y="23"/>
                  <a:pt x="673" y="24"/>
                  <a:pt x="672" y="24"/>
                </a:cubicBezTo>
                <a:cubicBezTo>
                  <a:pt x="672" y="24"/>
                  <a:pt x="672" y="24"/>
                  <a:pt x="672" y="24"/>
                </a:cubicBezTo>
                <a:cubicBezTo>
                  <a:pt x="672" y="24"/>
                  <a:pt x="673" y="25"/>
                  <a:pt x="673" y="25"/>
                </a:cubicBezTo>
                <a:cubicBezTo>
                  <a:pt x="673" y="25"/>
                  <a:pt x="673" y="25"/>
                  <a:pt x="673" y="25"/>
                </a:cubicBezTo>
                <a:cubicBezTo>
                  <a:pt x="673" y="25"/>
                  <a:pt x="673" y="26"/>
                  <a:pt x="673" y="26"/>
                </a:cubicBezTo>
                <a:cubicBezTo>
                  <a:pt x="674" y="26"/>
                  <a:pt x="674" y="26"/>
                  <a:pt x="674" y="26"/>
                </a:cubicBezTo>
                <a:cubicBezTo>
                  <a:pt x="674" y="26"/>
                  <a:pt x="674" y="27"/>
                  <a:pt x="674" y="27"/>
                </a:cubicBezTo>
                <a:cubicBezTo>
                  <a:pt x="674" y="27"/>
                  <a:pt x="673" y="27"/>
                  <a:pt x="673" y="28"/>
                </a:cubicBezTo>
                <a:cubicBezTo>
                  <a:pt x="673" y="28"/>
                  <a:pt x="673" y="28"/>
                  <a:pt x="673" y="29"/>
                </a:cubicBezTo>
                <a:cubicBezTo>
                  <a:pt x="674" y="29"/>
                  <a:pt x="675" y="29"/>
                  <a:pt x="675" y="30"/>
                </a:cubicBezTo>
                <a:cubicBezTo>
                  <a:pt x="675" y="30"/>
                  <a:pt x="675" y="30"/>
                  <a:pt x="675" y="30"/>
                </a:cubicBezTo>
                <a:cubicBezTo>
                  <a:pt x="675" y="31"/>
                  <a:pt x="675" y="31"/>
                  <a:pt x="676" y="32"/>
                </a:cubicBezTo>
                <a:cubicBezTo>
                  <a:pt x="676" y="32"/>
                  <a:pt x="675" y="32"/>
                  <a:pt x="675" y="32"/>
                </a:cubicBezTo>
                <a:cubicBezTo>
                  <a:pt x="675" y="32"/>
                  <a:pt x="675" y="32"/>
                  <a:pt x="675" y="32"/>
                </a:cubicBezTo>
                <a:cubicBezTo>
                  <a:pt x="675" y="32"/>
                  <a:pt x="674" y="31"/>
                  <a:pt x="674" y="31"/>
                </a:cubicBezTo>
                <a:cubicBezTo>
                  <a:pt x="674" y="31"/>
                  <a:pt x="673" y="31"/>
                  <a:pt x="673" y="30"/>
                </a:cubicBezTo>
                <a:cubicBezTo>
                  <a:pt x="672" y="30"/>
                  <a:pt x="672" y="30"/>
                  <a:pt x="672" y="30"/>
                </a:cubicBezTo>
                <a:cubicBezTo>
                  <a:pt x="672" y="30"/>
                  <a:pt x="672" y="29"/>
                  <a:pt x="672" y="29"/>
                </a:cubicBezTo>
                <a:cubicBezTo>
                  <a:pt x="672" y="28"/>
                  <a:pt x="672" y="28"/>
                  <a:pt x="672" y="28"/>
                </a:cubicBezTo>
                <a:cubicBezTo>
                  <a:pt x="672" y="27"/>
                  <a:pt x="672" y="27"/>
                  <a:pt x="672" y="27"/>
                </a:cubicBezTo>
                <a:cubicBezTo>
                  <a:pt x="671" y="27"/>
                  <a:pt x="671" y="26"/>
                  <a:pt x="670" y="26"/>
                </a:cubicBezTo>
                <a:cubicBezTo>
                  <a:pt x="670" y="26"/>
                  <a:pt x="670" y="26"/>
                  <a:pt x="670" y="26"/>
                </a:cubicBezTo>
                <a:cubicBezTo>
                  <a:pt x="670" y="25"/>
                  <a:pt x="670" y="25"/>
                  <a:pt x="670" y="25"/>
                </a:cubicBezTo>
                <a:cubicBezTo>
                  <a:pt x="670" y="25"/>
                  <a:pt x="670" y="25"/>
                  <a:pt x="669" y="25"/>
                </a:cubicBezTo>
                <a:cubicBezTo>
                  <a:pt x="669" y="25"/>
                  <a:pt x="669" y="25"/>
                  <a:pt x="668" y="26"/>
                </a:cubicBezTo>
                <a:cubicBezTo>
                  <a:pt x="668" y="26"/>
                  <a:pt x="667" y="26"/>
                  <a:pt x="667" y="26"/>
                </a:cubicBezTo>
                <a:cubicBezTo>
                  <a:pt x="666" y="26"/>
                  <a:pt x="666" y="26"/>
                  <a:pt x="665" y="27"/>
                </a:cubicBezTo>
                <a:cubicBezTo>
                  <a:pt x="665" y="27"/>
                  <a:pt x="665" y="27"/>
                  <a:pt x="664" y="27"/>
                </a:cubicBezTo>
                <a:cubicBezTo>
                  <a:pt x="664" y="27"/>
                  <a:pt x="664" y="28"/>
                  <a:pt x="664" y="28"/>
                </a:cubicBezTo>
                <a:cubicBezTo>
                  <a:pt x="664" y="28"/>
                  <a:pt x="664" y="28"/>
                  <a:pt x="664" y="29"/>
                </a:cubicBezTo>
                <a:cubicBezTo>
                  <a:pt x="664" y="29"/>
                  <a:pt x="664" y="29"/>
                  <a:pt x="664" y="29"/>
                </a:cubicBezTo>
                <a:cubicBezTo>
                  <a:pt x="664" y="30"/>
                  <a:pt x="664" y="30"/>
                  <a:pt x="663" y="30"/>
                </a:cubicBezTo>
                <a:cubicBezTo>
                  <a:pt x="663" y="30"/>
                  <a:pt x="663" y="30"/>
                  <a:pt x="663" y="31"/>
                </a:cubicBezTo>
                <a:cubicBezTo>
                  <a:pt x="663" y="31"/>
                  <a:pt x="663" y="31"/>
                  <a:pt x="664" y="31"/>
                </a:cubicBezTo>
                <a:cubicBezTo>
                  <a:pt x="664" y="31"/>
                  <a:pt x="664" y="31"/>
                  <a:pt x="664" y="31"/>
                </a:cubicBezTo>
                <a:cubicBezTo>
                  <a:pt x="664" y="31"/>
                  <a:pt x="664" y="31"/>
                  <a:pt x="665" y="31"/>
                </a:cubicBezTo>
                <a:cubicBezTo>
                  <a:pt x="665" y="31"/>
                  <a:pt x="665" y="31"/>
                  <a:pt x="665" y="32"/>
                </a:cubicBezTo>
                <a:cubicBezTo>
                  <a:pt x="665" y="32"/>
                  <a:pt x="664" y="32"/>
                  <a:pt x="664" y="32"/>
                </a:cubicBezTo>
                <a:cubicBezTo>
                  <a:pt x="664" y="33"/>
                  <a:pt x="663" y="33"/>
                  <a:pt x="663" y="33"/>
                </a:cubicBezTo>
                <a:cubicBezTo>
                  <a:pt x="662" y="33"/>
                  <a:pt x="662" y="33"/>
                  <a:pt x="662" y="33"/>
                </a:cubicBezTo>
                <a:cubicBezTo>
                  <a:pt x="662" y="33"/>
                  <a:pt x="661" y="34"/>
                  <a:pt x="661" y="34"/>
                </a:cubicBezTo>
                <a:cubicBezTo>
                  <a:pt x="661" y="34"/>
                  <a:pt x="661" y="34"/>
                  <a:pt x="661" y="34"/>
                </a:cubicBezTo>
                <a:cubicBezTo>
                  <a:pt x="661" y="35"/>
                  <a:pt x="661" y="35"/>
                  <a:pt x="661" y="35"/>
                </a:cubicBezTo>
                <a:cubicBezTo>
                  <a:pt x="661" y="35"/>
                  <a:pt x="660" y="35"/>
                  <a:pt x="660" y="35"/>
                </a:cubicBezTo>
                <a:cubicBezTo>
                  <a:pt x="661" y="35"/>
                  <a:pt x="661" y="35"/>
                  <a:pt x="661" y="36"/>
                </a:cubicBezTo>
                <a:cubicBezTo>
                  <a:pt x="661" y="36"/>
                  <a:pt x="661" y="36"/>
                  <a:pt x="661" y="36"/>
                </a:cubicBezTo>
                <a:cubicBezTo>
                  <a:pt x="660" y="36"/>
                  <a:pt x="660" y="36"/>
                  <a:pt x="660" y="36"/>
                </a:cubicBezTo>
                <a:cubicBezTo>
                  <a:pt x="660" y="36"/>
                  <a:pt x="660" y="36"/>
                  <a:pt x="659" y="36"/>
                </a:cubicBezTo>
                <a:cubicBezTo>
                  <a:pt x="659" y="36"/>
                  <a:pt x="658" y="37"/>
                  <a:pt x="658" y="37"/>
                </a:cubicBezTo>
                <a:cubicBezTo>
                  <a:pt x="657" y="37"/>
                  <a:pt x="657" y="37"/>
                  <a:pt x="657" y="36"/>
                </a:cubicBezTo>
                <a:cubicBezTo>
                  <a:pt x="657" y="36"/>
                  <a:pt x="656" y="36"/>
                  <a:pt x="656" y="36"/>
                </a:cubicBezTo>
                <a:cubicBezTo>
                  <a:pt x="656" y="36"/>
                  <a:pt x="656" y="36"/>
                  <a:pt x="656" y="36"/>
                </a:cubicBezTo>
                <a:cubicBezTo>
                  <a:pt x="656" y="36"/>
                  <a:pt x="656" y="36"/>
                  <a:pt x="656" y="36"/>
                </a:cubicBezTo>
                <a:cubicBezTo>
                  <a:pt x="656" y="36"/>
                  <a:pt x="655" y="36"/>
                  <a:pt x="655" y="36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4" y="35"/>
                  <a:pt x="654" y="35"/>
                  <a:pt x="654" y="35"/>
                </a:cubicBezTo>
                <a:cubicBezTo>
                  <a:pt x="654" y="35"/>
                  <a:pt x="654" y="35"/>
                  <a:pt x="654" y="35"/>
                </a:cubicBezTo>
                <a:cubicBezTo>
                  <a:pt x="654" y="35"/>
                  <a:pt x="654" y="36"/>
                  <a:pt x="653" y="36"/>
                </a:cubicBezTo>
                <a:cubicBezTo>
                  <a:pt x="653" y="36"/>
                  <a:pt x="653" y="36"/>
                  <a:pt x="653" y="36"/>
                </a:cubicBezTo>
                <a:cubicBezTo>
                  <a:pt x="653" y="36"/>
                  <a:pt x="652" y="36"/>
                  <a:pt x="652" y="36"/>
                </a:cubicBezTo>
                <a:cubicBezTo>
                  <a:pt x="652" y="36"/>
                  <a:pt x="652" y="37"/>
                  <a:pt x="652" y="37"/>
                </a:cubicBezTo>
                <a:cubicBezTo>
                  <a:pt x="652" y="37"/>
                  <a:pt x="652" y="37"/>
                  <a:pt x="652" y="38"/>
                </a:cubicBezTo>
                <a:cubicBezTo>
                  <a:pt x="652" y="38"/>
                  <a:pt x="652" y="38"/>
                  <a:pt x="652" y="38"/>
                </a:cubicBezTo>
                <a:cubicBezTo>
                  <a:pt x="653" y="39"/>
                  <a:pt x="653" y="39"/>
                  <a:pt x="653" y="39"/>
                </a:cubicBezTo>
                <a:cubicBezTo>
                  <a:pt x="653" y="40"/>
                  <a:pt x="653" y="40"/>
                  <a:pt x="653" y="40"/>
                </a:cubicBezTo>
                <a:cubicBezTo>
                  <a:pt x="653" y="41"/>
                  <a:pt x="653" y="41"/>
                  <a:pt x="652" y="41"/>
                </a:cubicBezTo>
                <a:cubicBezTo>
                  <a:pt x="652" y="41"/>
                  <a:pt x="652" y="41"/>
                  <a:pt x="652" y="41"/>
                </a:cubicBezTo>
                <a:cubicBezTo>
                  <a:pt x="652" y="41"/>
                  <a:pt x="652" y="40"/>
                  <a:pt x="652" y="40"/>
                </a:cubicBezTo>
                <a:cubicBezTo>
                  <a:pt x="652" y="39"/>
                  <a:pt x="652" y="39"/>
                  <a:pt x="652" y="39"/>
                </a:cubicBezTo>
                <a:cubicBezTo>
                  <a:pt x="652" y="38"/>
                  <a:pt x="652" y="38"/>
                  <a:pt x="651" y="38"/>
                </a:cubicBezTo>
                <a:cubicBezTo>
                  <a:pt x="651" y="38"/>
                  <a:pt x="651" y="37"/>
                  <a:pt x="651" y="37"/>
                </a:cubicBezTo>
                <a:cubicBezTo>
                  <a:pt x="651" y="37"/>
                  <a:pt x="651" y="36"/>
                  <a:pt x="651" y="36"/>
                </a:cubicBezTo>
                <a:cubicBezTo>
                  <a:pt x="651" y="36"/>
                  <a:pt x="651" y="36"/>
                  <a:pt x="651" y="36"/>
                </a:cubicBezTo>
                <a:cubicBezTo>
                  <a:pt x="650" y="36"/>
                  <a:pt x="650" y="36"/>
                  <a:pt x="650" y="36"/>
                </a:cubicBezTo>
                <a:cubicBezTo>
                  <a:pt x="650" y="36"/>
                  <a:pt x="649" y="36"/>
                  <a:pt x="649" y="36"/>
                </a:cubicBezTo>
                <a:cubicBezTo>
                  <a:pt x="649" y="37"/>
                  <a:pt x="649" y="37"/>
                  <a:pt x="648" y="37"/>
                </a:cubicBezTo>
                <a:cubicBezTo>
                  <a:pt x="648" y="37"/>
                  <a:pt x="648" y="37"/>
                  <a:pt x="647" y="37"/>
                </a:cubicBezTo>
                <a:cubicBezTo>
                  <a:pt x="647" y="38"/>
                  <a:pt x="647" y="38"/>
                  <a:pt x="646" y="38"/>
                </a:cubicBezTo>
                <a:cubicBezTo>
                  <a:pt x="646" y="38"/>
                  <a:pt x="646" y="38"/>
                  <a:pt x="646" y="39"/>
                </a:cubicBezTo>
                <a:cubicBezTo>
                  <a:pt x="646" y="39"/>
                  <a:pt x="646" y="39"/>
                  <a:pt x="646" y="39"/>
                </a:cubicBezTo>
                <a:cubicBezTo>
                  <a:pt x="646" y="39"/>
                  <a:pt x="645" y="40"/>
                  <a:pt x="645" y="40"/>
                </a:cubicBezTo>
                <a:cubicBezTo>
                  <a:pt x="645" y="40"/>
                  <a:pt x="645" y="40"/>
                  <a:pt x="644" y="40"/>
                </a:cubicBezTo>
                <a:cubicBezTo>
                  <a:pt x="644" y="40"/>
                  <a:pt x="644" y="40"/>
                  <a:pt x="644" y="40"/>
                </a:cubicBezTo>
                <a:cubicBezTo>
                  <a:pt x="644" y="40"/>
                  <a:pt x="643" y="40"/>
                  <a:pt x="643" y="40"/>
                </a:cubicBezTo>
                <a:cubicBezTo>
                  <a:pt x="643" y="40"/>
                  <a:pt x="643" y="40"/>
                  <a:pt x="642" y="41"/>
                </a:cubicBezTo>
                <a:cubicBezTo>
                  <a:pt x="642" y="41"/>
                  <a:pt x="642" y="41"/>
                  <a:pt x="642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2" y="41"/>
                  <a:pt x="642" y="42"/>
                  <a:pt x="641" y="42"/>
                </a:cubicBezTo>
                <a:cubicBezTo>
                  <a:pt x="641" y="42"/>
                  <a:pt x="640" y="42"/>
                  <a:pt x="640" y="42"/>
                </a:cubicBezTo>
                <a:cubicBezTo>
                  <a:pt x="640" y="42"/>
                  <a:pt x="640" y="42"/>
                  <a:pt x="640" y="43"/>
                </a:cubicBezTo>
                <a:cubicBezTo>
                  <a:pt x="639" y="43"/>
                  <a:pt x="638" y="43"/>
                  <a:pt x="638" y="43"/>
                </a:cubicBezTo>
                <a:cubicBezTo>
                  <a:pt x="638" y="43"/>
                  <a:pt x="638" y="43"/>
                  <a:pt x="638" y="44"/>
                </a:cubicBezTo>
                <a:cubicBezTo>
                  <a:pt x="638" y="44"/>
                  <a:pt x="637" y="44"/>
                  <a:pt x="637" y="44"/>
                </a:cubicBezTo>
                <a:cubicBezTo>
                  <a:pt x="637" y="44"/>
                  <a:pt x="636" y="44"/>
                  <a:pt x="636" y="45"/>
                </a:cubicBezTo>
                <a:cubicBezTo>
                  <a:pt x="636" y="45"/>
                  <a:pt x="635" y="45"/>
                  <a:pt x="635" y="45"/>
                </a:cubicBezTo>
                <a:cubicBezTo>
                  <a:pt x="635" y="45"/>
                  <a:pt x="635" y="45"/>
                  <a:pt x="635" y="45"/>
                </a:cubicBezTo>
                <a:cubicBezTo>
                  <a:pt x="635" y="45"/>
                  <a:pt x="635" y="45"/>
                  <a:pt x="635" y="45"/>
                </a:cubicBezTo>
                <a:cubicBezTo>
                  <a:pt x="635" y="46"/>
                  <a:pt x="635" y="46"/>
                  <a:pt x="636" y="46"/>
                </a:cubicBezTo>
                <a:cubicBezTo>
                  <a:pt x="635" y="46"/>
                  <a:pt x="635" y="46"/>
                  <a:pt x="635" y="46"/>
                </a:cubicBezTo>
                <a:cubicBezTo>
                  <a:pt x="635" y="46"/>
                  <a:pt x="635" y="46"/>
                  <a:pt x="635" y="46"/>
                </a:cubicBezTo>
                <a:cubicBezTo>
                  <a:pt x="635" y="47"/>
                  <a:pt x="635" y="47"/>
                  <a:pt x="634" y="47"/>
                </a:cubicBezTo>
                <a:cubicBezTo>
                  <a:pt x="634" y="47"/>
                  <a:pt x="634" y="47"/>
                  <a:pt x="634" y="47"/>
                </a:cubicBezTo>
                <a:cubicBezTo>
                  <a:pt x="634" y="48"/>
                  <a:pt x="633" y="48"/>
                  <a:pt x="633" y="48"/>
                </a:cubicBezTo>
                <a:cubicBezTo>
                  <a:pt x="633" y="48"/>
                  <a:pt x="633" y="48"/>
                  <a:pt x="633" y="48"/>
                </a:cubicBezTo>
                <a:cubicBezTo>
                  <a:pt x="633" y="48"/>
                  <a:pt x="633" y="48"/>
                  <a:pt x="633" y="49"/>
                </a:cubicBezTo>
                <a:cubicBezTo>
                  <a:pt x="633" y="49"/>
                  <a:pt x="633" y="49"/>
                  <a:pt x="633" y="49"/>
                </a:cubicBezTo>
                <a:cubicBezTo>
                  <a:pt x="633" y="49"/>
                  <a:pt x="633" y="49"/>
                  <a:pt x="633" y="49"/>
                </a:cubicBezTo>
                <a:cubicBezTo>
                  <a:pt x="633" y="49"/>
                  <a:pt x="633" y="49"/>
                  <a:pt x="633" y="50"/>
                </a:cubicBezTo>
                <a:cubicBezTo>
                  <a:pt x="634" y="50"/>
                  <a:pt x="634" y="50"/>
                  <a:pt x="634" y="50"/>
                </a:cubicBezTo>
                <a:cubicBezTo>
                  <a:pt x="634" y="49"/>
                  <a:pt x="634" y="49"/>
                  <a:pt x="635" y="49"/>
                </a:cubicBezTo>
                <a:cubicBezTo>
                  <a:pt x="635" y="49"/>
                  <a:pt x="635" y="49"/>
                  <a:pt x="635" y="50"/>
                </a:cubicBezTo>
                <a:cubicBezTo>
                  <a:pt x="636" y="50"/>
                  <a:pt x="636" y="50"/>
                  <a:pt x="636" y="50"/>
                </a:cubicBezTo>
                <a:cubicBezTo>
                  <a:pt x="636" y="49"/>
                  <a:pt x="636" y="49"/>
                  <a:pt x="637" y="49"/>
                </a:cubicBezTo>
                <a:cubicBezTo>
                  <a:pt x="637" y="49"/>
                  <a:pt x="637" y="49"/>
                  <a:pt x="637" y="49"/>
                </a:cubicBezTo>
                <a:cubicBezTo>
                  <a:pt x="638" y="49"/>
                  <a:pt x="638" y="49"/>
                  <a:pt x="638" y="49"/>
                </a:cubicBezTo>
                <a:cubicBezTo>
                  <a:pt x="639" y="49"/>
                  <a:pt x="639" y="49"/>
                  <a:pt x="639" y="50"/>
                </a:cubicBezTo>
                <a:cubicBezTo>
                  <a:pt x="639" y="50"/>
                  <a:pt x="640" y="50"/>
                  <a:pt x="640" y="49"/>
                </a:cubicBezTo>
                <a:cubicBezTo>
                  <a:pt x="640" y="49"/>
                  <a:pt x="641" y="49"/>
                  <a:pt x="641" y="49"/>
                </a:cubicBezTo>
                <a:cubicBezTo>
                  <a:pt x="641" y="49"/>
                  <a:pt x="641" y="49"/>
                  <a:pt x="641" y="49"/>
                </a:cubicBezTo>
                <a:cubicBezTo>
                  <a:pt x="642" y="49"/>
                  <a:pt x="642" y="49"/>
                  <a:pt x="643" y="49"/>
                </a:cubicBezTo>
                <a:cubicBezTo>
                  <a:pt x="643" y="49"/>
                  <a:pt x="644" y="48"/>
                  <a:pt x="644" y="48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5" y="48"/>
                  <a:pt x="645" y="47"/>
                </a:cubicBezTo>
                <a:cubicBezTo>
                  <a:pt x="645" y="47"/>
                  <a:pt x="645" y="47"/>
                  <a:pt x="646" y="47"/>
                </a:cubicBezTo>
                <a:cubicBezTo>
                  <a:pt x="646" y="47"/>
                  <a:pt x="646" y="47"/>
                  <a:pt x="646" y="47"/>
                </a:cubicBezTo>
                <a:cubicBezTo>
                  <a:pt x="646" y="47"/>
                  <a:pt x="646" y="47"/>
                  <a:pt x="646" y="47"/>
                </a:cubicBezTo>
                <a:cubicBezTo>
                  <a:pt x="646" y="48"/>
                  <a:pt x="646" y="48"/>
                  <a:pt x="646" y="48"/>
                </a:cubicBezTo>
                <a:cubicBezTo>
                  <a:pt x="646" y="48"/>
                  <a:pt x="646" y="48"/>
                  <a:pt x="646" y="48"/>
                </a:cubicBezTo>
                <a:cubicBezTo>
                  <a:pt x="646" y="48"/>
                  <a:pt x="645" y="48"/>
                  <a:pt x="645" y="49"/>
                </a:cubicBezTo>
                <a:cubicBezTo>
                  <a:pt x="644" y="49"/>
                  <a:pt x="644" y="49"/>
                  <a:pt x="644" y="49"/>
                </a:cubicBezTo>
                <a:cubicBezTo>
                  <a:pt x="643" y="49"/>
                  <a:pt x="643" y="49"/>
                  <a:pt x="642" y="49"/>
                </a:cubicBezTo>
                <a:cubicBezTo>
                  <a:pt x="642" y="49"/>
                  <a:pt x="641" y="49"/>
                  <a:pt x="641" y="50"/>
                </a:cubicBezTo>
                <a:cubicBezTo>
                  <a:pt x="641" y="50"/>
                  <a:pt x="641" y="50"/>
                  <a:pt x="641" y="50"/>
                </a:cubicBezTo>
                <a:cubicBezTo>
                  <a:pt x="641" y="50"/>
                  <a:pt x="641" y="50"/>
                  <a:pt x="641" y="50"/>
                </a:cubicBezTo>
                <a:cubicBezTo>
                  <a:pt x="642" y="50"/>
                  <a:pt x="642" y="51"/>
                  <a:pt x="642" y="51"/>
                </a:cubicBezTo>
                <a:cubicBezTo>
                  <a:pt x="643" y="51"/>
                  <a:pt x="643" y="51"/>
                  <a:pt x="644" y="50"/>
                </a:cubicBezTo>
                <a:cubicBezTo>
                  <a:pt x="644" y="51"/>
                  <a:pt x="644" y="51"/>
                  <a:pt x="644" y="51"/>
                </a:cubicBezTo>
                <a:cubicBezTo>
                  <a:pt x="644" y="51"/>
                  <a:pt x="644" y="51"/>
                  <a:pt x="644" y="51"/>
                </a:cubicBezTo>
                <a:cubicBezTo>
                  <a:pt x="643" y="51"/>
                  <a:pt x="643" y="52"/>
                  <a:pt x="642" y="52"/>
                </a:cubicBezTo>
                <a:cubicBezTo>
                  <a:pt x="642" y="52"/>
                  <a:pt x="642" y="52"/>
                  <a:pt x="641" y="52"/>
                </a:cubicBezTo>
                <a:cubicBezTo>
                  <a:pt x="641" y="52"/>
                  <a:pt x="640" y="52"/>
                  <a:pt x="640" y="52"/>
                </a:cubicBezTo>
                <a:cubicBezTo>
                  <a:pt x="640" y="53"/>
                  <a:pt x="639" y="53"/>
                  <a:pt x="639" y="53"/>
                </a:cubicBezTo>
                <a:cubicBezTo>
                  <a:pt x="639" y="53"/>
                  <a:pt x="639" y="53"/>
                  <a:pt x="639" y="54"/>
                </a:cubicBezTo>
                <a:cubicBezTo>
                  <a:pt x="640" y="54"/>
                  <a:pt x="640" y="54"/>
                  <a:pt x="640" y="54"/>
                </a:cubicBezTo>
                <a:cubicBezTo>
                  <a:pt x="640" y="54"/>
                  <a:pt x="640" y="54"/>
                  <a:pt x="640" y="55"/>
                </a:cubicBezTo>
                <a:cubicBezTo>
                  <a:pt x="640" y="55"/>
                  <a:pt x="639" y="55"/>
                  <a:pt x="639" y="55"/>
                </a:cubicBezTo>
                <a:cubicBezTo>
                  <a:pt x="639" y="55"/>
                  <a:pt x="638" y="56"/>
                  <a:pt x="638" y="56"/>
                </a:cubicBezTo>
                <a:cubicBezTo>
                  <a:pt x="638" y="56"/>
                  <a:pt x="638" y="56"/>
                  <a:pt x="638" y="57"/>
                </a:cubicBezTo>
                <a:cubicBezTo>
                  <a:pt x="637" y="57"/>
                  <a:pt x="637" y="57"/>
                  <a:pt x="636" y="57"/>
                </a:cubicBezTo>
                <a:cubicBezTo>
                  <a:pt x="636" y="57"/>
                  <a:pt x="636" y="58"/>
                  <a:pt x="635" y="58"/>
                </a:cubicBezTo>
                <a:cubicBezTo>
                  <a:pt x="635" y="58"/>
                  <a:pt x="635" y="59"/>
                  <a:pt x="635" y="59"/>
                </a:cubicBezTo>
                <a:cubicBezTo>
                  <a:pt x="634" y="59"/>
                  <a:pt x="634" y="59"/>
                  <a:pt x="634" y="60"/>
                </a:cubicBezTo>
                <a:cubicBezTo>
                  <a:pt x="634" y="60"/>
                  <a:pt x="634" y="60"/>
                  <a:pt x="634" y="60"/>
                </a:cubicBezTo>
                <a:cubicBezTo>
                  <a:pt x="634" y="60"/>
                  <a:pt x="633" y="60"/>
                  <a:pt x="633" y="60"/>
                </a:cubicBezTo>
                <a:cubicBezTo>
                  <a:pt x="633" y="60"/>
                  <a:pt x="633" y="60"/>
                  <a:pt x="632" y="60"/>
                </a:cubicBezTo>
                <a:cubicBezTo>
                  <a:pt x="632" y="60"/>
                  <a:pt x="631" y="60"/>
                  <a:pt x="631" y="60"/>
                </a:cubicBezTo>
                <a:cubicBezTo>
                  <a:pt x="631" y="60"/>
                  <a:pt x="630" y="60"/>
                  <a:pt x="630" y="60"/>
                </a:cubicBezTo>
                <a:cubicBezTo>
                  <a:pt x="630" y="60"/>
                  <a:pt x="630" y="60"/>
                  <a:pt x="629" y="60"/>
                </a:cubicBezTo>
                <a:cubicBezTo>
                  <a:pt x="629" y="60"/>
                  <a:pt x="629" y="60"/>
                  <a:pt x="629" y="60"/>
                </a:cubicBezTo>
                <a:cubicBezTo>
                  <a:pt x="628" y="60"/>
                  <a:pt x="628" y="60"/>
                  <a:pt x="627" y="60"/>
                </a:cubicBezTo>
                <a:cubicBezTo>
                  <a:pt x="627" y="60"/>
                  <a:pt x="626" y="60"/>
                  <a:pt x="626" y="60"/>
                </a:cubicBezTo>
                <a:cubicBezTo>
                  <a:pt x="626" y="60"/>
                  <a:pt x="625" y="60"/>
                  <a:pt x="625" y="61"/>
                </a:cubicBezTo>
                <a:cubicBezTo>
                  <a:pt x="625" y="61"/>
                  <a:pt x="624" y="61"/>
                  <a:pt x="624" y="61"/>
                </a:cubicBezTo>
                <a:cubicBezTo>
                  <a:pt x="624" y="61"/>
                  <a:pt x="623" y="61"/>
                  <a:pt x="623" y="61"/>
                </a:cubicBezTo>
                <a:cubicBezTo>
                  <a:pt x="623" y="61"/>
                  <a:pt x="622" y="61"/>
                  <a:pt x="622" y="61"/>
                </a:cubicBezTo>
                <a:cubicBezTo>
                  <a:pt x="621" y="61"/>
                  <a:pt x="621" y="61"/>
                  <a:pt x="620" y="61"/>
                </a:cubicBezTo>
                <a:cubicBezTo>
                  <a:pt x="619" y="61"/>
                  <a:pt x="619" y="62"/>
                  <a:pt x="618" y="62"/>
                </a:cubicBezTo>
                <a:cubicBezTo>
                  <a:pt x="618" y="62"/>
                  <a:pt x="618" y="62"/>
                  <a:pt x="618" y="62"/>
                </a:cubicBezTo>
                <a:cubicBezTo>
                  <a:pt x="618" y="62"/>
                  <a:pt x="619" y="63"/>
                  <a:pt x="619" y="63"/>
                </a:cubicBezTo>
                <a:cubicBezTo>
                  <a:pt x="619" y="63"/>
                  <a:pt x="619" y="63"/>
                  <a:pt x="618" y="63"/>
                </a:cubicBezTo>
                <a:cubicBezTo>
                  <a:pt x="618" y="63"/>
                  <a:pt x="618" y="63"/>
                  <a:pt x="618" y="63"/>
                </a:cubicBezTo>
                <a:cubicBezTo>
                  <a:pt x="618" y="63"/>
                  <a:pt x="617" y="63"/>
                  <a:pt x="617" y="63"/>
                </a:cubicBezTo>
                <a:cubicBezTo>
                  <a:pt x="616" y="63"/>
                  <a:pt x="614" y="64"/>
                  <a:pt x="613" y="64"/>
                </a:cubicBezTo>
                <a:cubicBezTo>
                  <a:pt x="612" y="64"/>
                  <a:pt x="612" y="64"/>
                  <a:pt x="612" y="65"/>
                </a:cubicBezTo>
                <a:cubicBezTo>
                  <a:pt x="612" y="65"/>
                  <a:pt x="612" y="65"/>
                  <a:pt x="611" y="65"/>
                </a:cubicBezTo>
                <a:cubicBezTo>
                  <a:pt x="611" y="65"/>
                  <a:pt x="611" y="65"/>
                  <a:pt x="611" y="65"/>
                </a:cubicBezTo>
                <a:cubicBezTo>
                  <a:pt x="611" y="65"/>
                  <a:pt x="611" y="65"/>
                  <a:pt x="610" y="65"/>
                </a:cubicBezTo>
                <a:cubicBezTo>
                  <a:pt x="610" y="65"/>
                  <a:pt x="610" y="65"/>
                  <a:pt x="610" y="65"/>
                </a:cubicBezTo>
                <a:cubicBezTo>
                  <a:pt x="609" y="65"/>
                  <a:pt x="609" y="65"/>
                  <a:pt x="609" y="65"/>
                </a:cubicBezTo>
                <a:cubicBezTo>
                  <a:pt x="609" y="66"/>
                  <a:pt x="609" y="66"/>
                  <a:pt x="609" y="66"/>
                </a:cubicBezTo>
                <a:cubicBezTo>
                  <a:pt x="608" y="66"/>
                  <a:pt x="608" y="66"/>
                  <a:pt x="608" y="66"/>
                </a:cubicBezTo>
                <a:cubicBezTo>
                  <a:pt x="608" y="66"/>
                  <a:pt x="608" y="66"/>
                  <a:pt x="607" y="66"/>
                </a:cubicBezTo>
                <a:cubicBezTo>
                  <a:pt x="607" y="66"/>
                  <a:pt x="607" y="66"/>
                  <a:pt x="607" y="66"/>
                </a:cubicBezTo>
                <a:cubicBezTo>
                  <a:pt x="607" y="66"/>
                  <a:pt x="607" y="66"/>
                  <a:pt x="607" y="66"/>
                </a:cubicBezTo>
                <a:cubicBezTo>
                  <a:pt x="606" y="66"/>
                  <a:pt x="606" y="66"/>
                  <a:pt x="606" y="66"/>
                </a:cubicBezTo>
                <a:cubicBezTo>
                  <a:pt x="606" y="66"/>
                  <a:pt x="605" y="66"/>
                  <a:pt x="605" y="66"/>
                </a:cubicBezTo>
                <a:cubicBezTo>
                  <a:pt x="605" y="67"/>
                  <a:pt x="605" y="67"/>
                  <a:pt x="604" y="67"/>
                </a:cubicBezTo>
                <a:cubicBezTo>
                  <a:pt x="604" y="67"/>
                  <a:pt x="604" y="67"/>
                  <a:pt x="604" y="67"/>
                </a:cubicBezTo>
                <a:cubicBezTo>
                  <a:pt x="603" y="67"/>
                  <a:pt x="603" y="67"/>
                  <a:pt x="603" y="67"/>
                </a:cubicBezTo>
                <a:cubicBezTo>
                  <a:pt x="603" y="67"/>
                  <a:pt x="602" y="67"/>
                  <a:pt x="602" y="67"/>
                </a:cubicBezTo>
                <a:cubicBezTo>
                  <a:pt x="602" y="67"/>
                  <a:pt x="602" y="67"/>
                  <a:pt x="601" y="67"/>
                </a:cubicBezTo>
                <a:cubicBezTo>
                  <a:pt x="601" y="68"/>
                  <a:pt x="601" y="68"/>
                  <a:pt x="602" y="68"/>
                </a:cubicBezTo>
                <a:cubicBezTo>
                  <a:pt x="601" y="68"/>
                  <a:pt x="601" y="68"/>
                  <a:pt x="601" y="68"/>
                </a:cubicBezTo>
                <a:cubicBezTo>
                  <a:pt x="601" y="68"/>
                  <a:pt x="600" y="69"/>
                  <a:pt x="600" y="69"/>
                </a:cubicBezTo>
                <a:cubicBezTo>
                  <a:pt x="599" y="69"/>
                  <a:pt x="599" y="69"/>
                  <a:pt x="599" y="69"/>
                </a:cubicBezTo>
                <a:cubicBezTo>
                  <a:pt x="599" y="69"/>
                  <a:pt x="598" y="69"/>
                  <a:pt x="598" y="69"/>
                </a:cubicBezTo>
                <a:cubicBezTo>
                  <a:pt x="599" y="70"/>
                  <a:pt x="599" y="70"/>
                  <a:pt x="599" y="70"/>
                </a:cubicBezTo>
                <a:cubicBezTo>
                  <a:pt x="599" y="70"/>
                  <a:pt x="599" y="70"/>
                  <a:pt x="600" y="70"/>
                </a:cubicBezTo>
                <a:cubicBezTo>
                  <a:pt x="600" y="70"/>
                  <a:pt x="600" y="70"/>
                  <a:pt x="601" y="70"/>
                </a:cubicBezTo>
                <a:cubicBezTo>
                  <a:pt x="601" y="70"/>
                  <a:pt x="601" y="70"/>
                  <a:pt x="601" y="70"/>
                </a:cubicBezTo>
                <a:cubicBezTo>
                  <a:pt x="600" y="70"/>
                  <a:pt x="600" y="70"/>
                  <a:pt x="600" y="70"/>
                </a:cubicBezTo>
                <a:cubicBezTo>
                  <a:pt x="600" y="70"/>
                  <a:pt x="600" y="70"/>
                  <a:pt x="600" y="70"/>
                </a:cubicBezTo>
                <a:cubicBezTo>
                  <a:pt x="599" y="70"/>
                  <a:pt x="599" y="70"/>
                  <a:pt x="599" y="70"/>
                </a:cubicBezTo>
                <a:cubicBezTo>
                  <a:pt x="599" y="71"/>
                  <a:pt x="599" y="71"/>
                  <a:pt x="599" y="71"/>
                </a:cubicBezTo>
                <a:cubicBezTo>
                  <a:pt x="598" y="71"/>
                  <a:pt x="598" y="71"/>
                  <a:pt x="598" y="72"/>
                </a:cubicBezTo>
                <a:cubicBezTo>
                  <a:pt x="598" y="72"/>
                  <a:pt x="597" y="72"/>
                  <a:pt x="597" y="72"/>
                </a:cubicBezTo>
                <a:cubicBezTo>
                  <a:pt x="597" y="72"/>
                  <a:pt x="597" y="72"/>
                  <a:pt x="598" y="72"/>
                </a:cubicBezTo>
                <a:cubicBezTo>
                  <a:pt x="598" y="72"/>
                  <a:pt x="598" y="72"/>
                  <a:pt x="599" y="72"/>
                </a:cubicBezTo>
                <a:cubicBezTo>
                  <a:pt x="599" y="72"/>
                  <a:pt x="599" y="72"/>
                  <a:pt x="599" y="73"/>
                </a:cubicBezTo>
                <a:cubicBezTo>
                  <a:pt x="600" y="73"/>
                  <a:pt x="600" y="73"/>
                  <a:pt x="601" y="74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602" y="74"/>
                  <a:pt x="602" y="74"/>
                  <a:pt x="602" y="74"/>
                </a:cubicBezTo>
                <a:cubicBezTo>
                  <a:pt x="603" y="74"/>
                  <a:pt x="603" y="74"/>
                  <a:pt x="603" y="74"/>
                </a:cubicBezTo>
                <a:cubicBezTo>
                  <a:pt x="603" y="74"/>
                  <a:pt x="603" y="74"/>
                  <a:pt x="603" y="74"/>
                </a:cubicBezTo>
                <a:cubicBezTo>
                  <a:pt x="603" y="74"/>
                  <a:pt x="603" y="74"/>
                  <a:pt x="603" y="75"/>
                </a:cubicBezTo>
                <a:cubicBezTo>
                  <a:pt x="603" y="75"/>
                  <a:pt x="602" y="75"/>
                  <a:pt x="602" y="75"/>
                </a:cubicBezTo>
                <a:cubicBezTo>
                  <a:pt x="602" y="75"/>
                  <a:pt x="602" y="75"/>
                  <a:pt x="602" y="75"/>
                </a:cubicBezTo>
                <a:cubicBezTo>
                  <a:pt x="602" y="76"/>
                  <a:pt x="602" y="76"/>
                  <a:pt x="603" y="76"/>
                </a:cubicBezTo>
                <a:cubicBezTo>
                  <a:pt x="603" y="76"/>
                  <a:pt x="603" y="76"/>
                  <a:pt x="604" y="76"/>
                </a:cubicBezTo>
                <a:cubicBezTo>
                  <a:pt x="604" y="76"/>
                  <a:pt x="605" y="76"/>
                  <a:pt x="605" y="75"/>
                </a:cubicBezTo>
                <a:cubicBezTo>
                  <a:pt x="605" y="75"/>
                  <a:pt x="606" y="75"/>
                  <a:pt x="606" y="75"/>
                </a:cubicBezTo>
                <a:cubicBezTo>
                  <a:pt x="606" y="75"/>
                  <a:pt x="606" y="74"/>
                  <a:pt x="606" y="74"/>
                </a:cubicBezTo>
                <a:cubicBezTo>
                  <a:pt x="607" y="74"/>
                  <a:pt x="607" y="74"/>
                  <a:pt x="607" y="74"/>
                </a:cubicBezTo>
                <a:cubicBezTo>
                  <a:pt x="607" y="74"/>
                  <a:pt x="607" y="74"/>
                  <a:pt x="607" y="74"/>
                </a:cubicBezTo>
                <a:cubicBezTo>
                  <a:pt x="608" y="74"/>
                  <a:pt x="608" y="74"/>
                  <a:pt x="608" y="74"/>
                </a:cubicBezTo>
                <a:cubicBezTo>
                  <a:pt x="608" y="75"/>
                  <a:pt x="607" y="75"/>
                  <a:pt x="607" y="75"/>
                </a:cubicBezTo>
                <a:cubicBezTo>
                  <a:pt x="607" y="76"/>
                  <a:pt x="606" y="76"/>
                  <a:pt x="606" y="76"/>
                </a:cubicBezTo>
                <a:cubicBezTo>
                  <a:pt x="606" y="76"/>
                  <a:pt x="605" y="76"/>
                  <a:pt x="605" y="76"/>
                </a:cubicBezTo>
                <a:cubicBezTo>
                  <a:pt x="605" y="76"/>
                  <a:pt x="605" y="77"/>
                  <a:pt x="605" y="77"/>
                </a:cubicBezTo>
                <a:cubicBezTo>
                  <a:pt x="605" y="77"/>
                  <a:pt x="605" y="77"/>
                  <a:pt x="605" y="77"/>
                </a:cubicBezTo>
                <a:cubicBezTo>
                  <a:pt x="605" y="77"/>
                  <a:pt x="606" y="77"/>
                  <a:pt x="606" y="77"/>
                </a:cubicBezTo>
                <a:cubicBezTo>
                  <a:pt x="606" y="77"/>
                  <a:pt x="607" y="77"/>
                  <a:pt x="607" y="77"/>
                </a:cubicBezTo>
                <a:cubicBezTo>
                  <a:pt x="607" y="77"/>
                  <a:pt x="608" y="76"/>
                  <a:pt x="608" y="76"/>
                </a:cubicBezTo>
                <a:cubicBezTo>
                  <a:pt x="608" y="76"/>
                  <a:pt x="609" y="76"/>
                  <a:pt x="609" y="76"/>
                </a:cubicBezTo>
                <a:cubicBezTo>
                  <a:pt x="609" y="76"/>
                  <a:pt x="609" y="76"/>
                  <a:pt x="609" y="76"/>
                </a:cubicBezTo>
                <a:cubicBezTo>
                  <a:pt x="608" y="77"/>
                  <a:pt x="608" y="77"/>
                  <a:pt x="607" y="77"/>
                </a:cubicBezTo>
                <a:cubicBezTo>
                  <a:pt x="607" y="77"/>
                  <a:pt x="606" y="78"/>
                  <a:pt x="606" y="78"/>
                </a:cubicBezTo>
                <a:cubicBezTo>
                  <a:pt x="606" y="78"/>
                  <a:pt x="606" y="78"/>
                  <a:pt x="606" y="78"/>
                </a:cubicBezTo>
                <a:cubicBezTo>
                  <a:pt x="606" y="78"/>
                  <a:pt x="607" y="79"/>
                  <a:pt x="608" y="79"/>
                </a:cubicBezTo>
                <a:cubicBezTo>
                  <a:pt x="608" y="79"/>
                  <a:pt x="609" y="79"/>
                  <a:pt x="609" y="79"/>
                </a:cubicBezTo>
                <a:cubicBezTo>
                  <a:pt x="610" y="79"/>
                  <a:pt x="610" y="79"/>
                  <a:pt x="611" y="79"/>
                </a:cubicBezTo>
                <a:cubicBezTo>
                  <a:pt x="611" y="79"/>
                  <a:pt x="611" y="78"/>
                  <a:pt x="611" y="78"/>
                </a:cubicBezTo>
                <a:cubicBezTo>
                  <a:pt x="611" y="78"/>
                  <a:pt x="611" y="78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2" y="77"/>
                  <a:pt x="612" y="77"/>
                  <a:pt x="612" y="77"/>
                </a:cubicBezTo>
                <a:cubicBezTo>
                  <a:pt x="613" y="77"/>
                  <a:pt x="613" y="77"/>
                  <a:pt x="613" y="77"/>
                </a:cubicBezTo>
                <a:cubicBezTo>
                  <a:pt x="613" y="77"/>
                  <a:pt x="613" y="78"/>
                  <a:pt x="613" y="78"/>
                </a:cubicBezTo>
                <a:cubicBezTo>
                  <a:pt x="613" y="78"/>
                  <a:pt x="613" y="78"/>
                  <a:pt x="614" y="78"/>
                </a:cubicBezTo>
                <a:cubicBezTo>
                  <a:pt x="614" y="78"/>
                  <a:pt x="615" y="78"/>
                  <a:pt x="616" y="78"/>
                </a:cubicBezTo>
                <a:cubicBezTo>
                  <a:pt x="616" y="78"/>
                  <a:pt x="616" y="78"/>
                  <a:pt x="617" y="77"/>
                </a:cubicBezTo>
                <a:cubicBezTo>
                  <a:pt x="617" y="77"/>
                  <a:pt x="618" y="77"/>
                  <a:pt x="618" y="77"/>
                </a:cubicBezTo>
                <a:cubicBezTo>
                  <a:pt x="618" y="77"/>
                  <a:pt x="618" y="77"/>
                  <a:pt x="619" y="77"/>
                </a:cubicBezTo>
                <a:cubicBezTo>
                  <a:pt x="619" y="77"/>
                  <a:pt x="619" y="77"/>
                  <a:pt x="619" y="77"/>
                </a:cubicBezTo>
                <a:cubicBezTo>
                  <a:pt x="619" y="77"/>
                  <a:pt x="619" y="77"/>
                  <a:pt x="619" y="77"/>
                </a:cubicBezTo>
                <a:cubicBezTo>
                  <a:pt x="620" y="77"/>
                  <a:pt x="620" y="77"/>
                  <a:pt x="620" y="77"/>
                </a:cubicBezTo>
                <a:cubicBezTo>
                  <a:pt x="620" y="77"/>
                  <a:pt x="620" y="77"/>
                  <a:pt x="620" y="77"/>
                </a:cubicBezTo>
                <a:cubicBezTo>
                  <a:pt x="621" y="77"/>
                  <a:pt x="621" y="77"/>
                  <a:pt x="621" y="77"/>
                </a:cubicBezTo>
                <a:cubicBezTo>
                  <a:pt x="621" y="78"/>
                  <a:pt x="621" y="78"/>
                  <a:pt x="622" y="78"/>
                </a:cubicBezTo>
                <a:cubicBezTo>
                  <a:pt x="621" y="78"/>
                  <a:pt x="621" y="78"/>
                  <a:pt x="621" y="78"/>
                </a:cubicBezTo>
                <a:cubicBezTo>
                  <a:pt x="621" y="79"/>
                  <a:pt x="620" y="79"/>
                  <a:pt x="620" y="79"/>
                </a:cubicBezTo>
                <a:cubicBezTo>
                  <a:pt x="620" y="79"/>
                  <a:pt x="620" y="79"/>
                  <a:pt x="620" y="80"/>
                </a:cubicBezTo>
                <a:cubicBezTo>
                  <a:pt x="620" y="80"/>
                  <a:pt x="620" y="80"/>
                  <a:pt x="620" y="80"/>
                </a:cubicBezTo>
                <a:cubicBezTo>
                  <a:pt x="620" y="80"/>
                  <a:pt x="620" y="80"/>
                  <a:pt x="620" y="80"/>
                </a:cubicBezTo>
                <a:cubicBezTo>
                  <a:pt x="620" y="80"/>
                  <a:pt x="620" y="80"/>
                  <a:pt x="619" y="80"/>
                </a:cubicBezTo>
                <a:cubicBezTo>
                  <a:pt x="619" y="80"/>
                  <a:pt x="619" y="80"/>
                  <a:pt x="619" y="80"/>
                </a:cubicBezTo>
                <a:cubicBezTo>
                  <a:pt x="619" y="80"/>
                  <a:pt x="619" y="80"/>
                  <a:pt x="618" y="80"/>
                </a:cubicBezTo>
                <a:cubicBezTo>
                  <a:pt x="618" y="80"/>
                  <a:pt x="618" y="80"/>
                  <a:pt x="617" y="79"/>
                </a:cubicBezTo>
                <a:cubicBezTo>
                  <a:pt x="617" y="79"/>
                  <a:pt x="616" y="79"/>
                  <a:pt x="615" y="79"/>
                </a:cubicBezTo>
                <a:cubicBezTo>
                  <a:pt x="615" y="79"/>
                  <a:pt x="614" y="79"/>
                  <a:pt x="613" y="80"/>
                </a:cubicBezTo>
                <a:cubicBezTo>
                  <a:pt x="612" y="80"/>
                  <a:pt x="612" y="80"/>
                  <a:pt x="611" y="80"/>
                </a:cubicBezTo>
                <a:cubicBezTo>
                  <a:pt x="611" y="80"/>
                  <a:pt x="610" y="80"/>
                  <a:pt x="609" y="80"/>
                </a:cubicBezTo>
                <a:cubicBezTo>
                  <a:pt x="609" y="81"/>
                  <a:pt x="609" y="81"/>
                  <a:pt x="609" y="81"/>
                </a:cubicBezTo>
                <a:cubicBezTo>
                  <a:pt x="610" y="81"/>
                  <a:pt x="610" y="81"/>
                  <a:pt x="610" y="81"/>
                </a:cubicBezTo>
                <a:cubicBezTo>
                  <a:pt x="611" y="81"/>
                  <a:pt x="612" y="81"/>
                  <a:pt x="612" y="81"/>
                </a:cubicBezTo>
                <a:cubicBezTo>
                  <a:pt x="613" y="81"/>
                  <a:pt x="613" y="81"/>
                  <a:pt x="613" y="81"/>
                </a:cubicBezTo>
                <a:cubicBezTo>
                  <a:pt x="614" y="81"/>
                  <a:pt x="615" y="81"/>
                  <a:pt x="615" y="81"/>
                </a:cubicBezTo>
                <a:cubicBezTo>
                  <a:pt x="616" y="81"/>
                  <a:pt x="616" y="82"/>
                  <a:pt x="617" y="82"/>
                </a:cubicBezTo>
                <a:cubicBezTo>
                  <a:pt x="617" y="82"/>
                  <a:pt x="618" y="82"/>
                  <a:pt x="618" y="81"/>
                </a:cubicBezTo>
                <a:cubicBezTo>
                  <a:pt x="618" y="81"/>
                  <a:pt x="619" y="81"/>
                  <a:pt x="619" y="81"/>
                </a:cubicBezTo>
                <a:cubicBezTo>
                  <a:pt x="619" y="82"/>
                  <a:pt x="618" y="82"/>
                  <a:pt x="618" y="82"/>
                </a:cubicBezTo>
                <a:cubicBezTo>
                  <a:pt x="617" y="82"/>
                  <a:pt x="617" y="82"/>
                  <a:pt x="617" y="82"/>
                </a:cubicBezTo>
                <a:cubicBezTo>
                  <a:pt x="617" y="82"/>
                  <a:pt x="616" y="82"/>
                  <a:pt x="616" y="82"/>
                </a:cubicBezTo>
                <a:cubicBezTo>
                  <a:pt x="615" y="82"/>
                  <a:pt x="615" y="82"/>
                  <a:pt x="614" y="82"/>
                </a:cubicBezTo>
                <a:cubicBezTo>
                  <a:pt x="614" y="82"/>
                  <a:pt x="613" y="82"/>
                  <a:pt x="613" y="82"/>
                </a:cubicBezTo>
                <a:cubicBezTo>
                  <a:pt x="612" y="82"/>
                  <a:pt x="612" y="82"/>
                  <a:pt x="611" y="82"/>
                </a:cubicBezTo>
                <a:cubicBezTo>
                  <a:pt x="611" y="82"/>
                  <a:pt x="610" y="82"/>
                  <a:pt x="609" y="82"/>
                </a:cubicBezTo>
                <a:cubicBezTo>
                  <a:pt x="608" y="82"/>
                  <a:pt x="608" y="82"/>
                  <a:pt x="607" y="82"/>
                </a:cubicBezTo>
                <a:cubicBezTo>
                  <a:pt x="606" y="82"/>
                  <a:pt x="606" y="82"/>
                  <a:pt x="605" y="81"/>
                </a:cubicBezTo>
                <a:cubicBezTo>
                  <a:pt x="605" y="81"/>
                  <a:pt x="604" y="82"/>
                  <a:pt x="603" y="82"/>
                </a:cubicBezTo>
                <a:cubicBezTo>
                  <a:pt x="603" y="82"/>
                  <a:pt x="602" y="82"/>
                  <a:pt x="602" y="82"/>
                </a:cubicBezTo>
                <a:cubicBezTo>
                  <a:pt x="602" y="83"/>
                  <a:pt x="602" y="83"/>
                  <a:pt x="602" y="83"/>
                </a:cubicBezTo>
                <a:cubicBezTo>
                  <a:pt x="602" y="83"/>
                  <a:pt x="601" y="83"/>
                  <a:pt x="601" y="83"/>
                </a:cubicBezTo>
                <a:cubicBezTo>
                  <a:pt x="601" y="83"/>
                  <a:pt x="601" y="83"/>
                  <a:pt x="600" y="83"/>
                </a:cubicBezTo>
                <a:cubicBezTo>
                  <a:pt x="600" y="83"/>
                  <a:pt x="600" y="83"/>
                  <a:pt x="600" y="83"/>
                </a:cubicBezTo>
                <a:cubicBezTo>
                  <a:pt x="600" y="83"/>
                  <a:pt x="600" y="83"/>
                  <a:pt x="599" y="83"/>
                </a:cubicBezTo>
                <a:cubicBezTo>
                  <a:pt x="599" y="84"/>
                  <a:pt x="599" y="84"/>
                  <a:pt x="599" y="84"/>
                </a:cubicBezTo>
                <a:cubicBezTo>
                  <a:pt x="599" y="84"/>
                  <a:pt x="599" y="84"/>
                  <a:pt x="599" y="85"/>
                </a:cubicBezTo>
                <a:cubicBezTo>
                  <a:pt x="599" y="85"/>
                  <a:pt x="599" y="85"/>
                  <a:pt x="599" y="85"/>
                </a:cubicBezTo>
                <a:cubicBezTo>
                  <a:pt x="599" y="85"/>
                  <a:pt x="600" y="85"/>
                  <a:pt x="600" y="85"/>
                </a:cubicBezTo>
                <a:cubicBezTo>
                  <a:pt x="600" y="85"/>
                  <a:pt x="600" y="85"/>
                  <a:pt x="600" y="85"/>
                </a:cubicBezTo>
                <a:cubicBezTo>
                  <a:pt x="600" y="85"/>
                  <a:pt x="601" y="85"/>
                  <a:pt x="601" y="85"/>
                </a:cubicBezTo>
                <a:cubicBezTo>
                  <a:pt x="600" y="85"/>
                  <a:pt x="600" y="85"/>
                  <a:pt x="600" y="85"/>
                </a:cubicBezTo>
                <a:cubicBezTo>
                  <a:pt x="600" y="85"/>
                  <a:pt x="600" y="86"/>
                  <a:pt x="600" y="86"/>
                </a:cubicBezTo>
                <a:cubicBezTo>
                  <a:pt x="600" y="86"/>
                  <a:pt x="600" y="86"/>
                  <a:pt x="600" y="86"/>
                </a:cubicBezTo>
                <a:cubicBezTo>
                  <a:pt x="601" y="86"/>
                  <a:pt x="601" y="87"/>
                  <a:pt x="602" y="87"/>
                </a:cubicBezTo>
                <a:cubicBezTo>
                  <a:pt x="602" y="86"/>
                  <a:pt x="602" y="86"/>
                  <a:pt x="602" y="86"/>
                </a:cubicBezTo>
                <a:cubicBezTo>
                  <a:pt x="602" y="86"/>
                  <a:pt x="602" y="86"/>
                  <a:pt x="603" y="86"/>
                </a:cubicBezTo>
                <a:cubicBezTo>
                  <a:pt x="603" y="86"/>
                  <a:pt x="603" y="86"/>
                  <a:pt x="603" y="86"/>
                </a:cubicBezTo>
                <a:cubicBezTo>
                  <a:pt x="603" y="85"/>
                  <a:pt x="604" y="85"/>
                  <a:pt x="604" y="85"/>
                </a:cubicBezTo>
                <a:cubicBezTo>
                  <a:pt x="604" y="84"/>
                  <a:pt x="604" y="84"/>
                  <a:pt x="604" y="84"/>
                </a:cubicBezTo>
                <a:cubicBezTo>
                  <a:pt x="605" y="84"/>
                  <a:pt x="605" y="84"/>
                  <a:pt x="605" y="84"/>
                </a:cubicBezTo>
                <a:cubicBezTo>
                  <a:pt x="605" y="84"/>
                  <a:pt x="605" y="84"/>
                  <a:pt x="605" y="85"/>
                </a:cubicBezTo>
                <a:cubicBezTo>
                  <a:pt x="605" y="85"/>
                  <a:pt x="605" y="85"/>
                  <a:pt x="604" y="85"/>
                </a:cubicBezTo>
                <a:cubicBezTo>
                  <a:pt x="604" y="86"/>
                  <a:pt x="604" y="86"/>
                  <a:pt x="604" y="86"/>
                </a:cubicBezTo>
                <a:cubicBezTo>
                  <a:pt x="603" y="86"/>
                  <a:pt x="603" y="86"/>
                  <a:pt x="603" y="86"/>
                </a:cubicBezTo>
                <a:cubicBezTo>
                  <a:pt x="603" y="87"/>
                  <a:pt x="603" y="87"/>
                  <a:pt x="603" y="87"/>
                </a:cubicBezTo>
                <a:cubicBezTo>
                  <a:pt x="604" y="88"/>
                  <a:pt x="605" y="88"/>
                  <a:pt x="605" y="88"/>
                </a:cubicBezTo>
                <a:cubicBezTo>
                  <a:pt x="605" y="88"/>
                  <a:pt x="606" y="88"/>
                  <a:pt x="606" y="88"/>
                </a:cubicBezTo>
                <a:cubicBezTo>
                  <a:pt x="606" y="88"/>
                  <a:pt x="606" y="88"/>
                  <a:pt x="606" y="88"/>
                </a:cubicBezTo>
                <a:cubicBezTo>
                  <a:pt x="607" y="88"/>
                  <a:pt x="607" y="88"/>
                  <a:pt x="608" y="88"/>
                </a:cubicBezTo>
                <a:cubicBezTo>
                  <a:pt x="608" y="88"/>
                  <a:pt x="609" y="88"/>
                  <a:pt x="609" y="88"/>
                </a:cubicBezTo>
                <a:cubicBezTo>
                  <a:pt x="609" y="88"/>
                  <a:pt x="609" y="88"/>
                  <a:pt x="609" y="88"/>
                </a:cubicBezTo>
                <a:cubicBezTo>
                  <a:pt x="609" y="88"/>
                  <a:pt x="609" y="88"/>
                  <a:pt x="609" y="88"/>
                </a:cubicBezTo>
                <a:cubicBezTo>
                  <a:pt x="609" y="89"/>
                  <a:pt x="608" y="89"/>
                  <a:pt x="608" y="89"/>
                </a:cubicBezTo>
                <a:cubicBezTo>
                  <a:pt x="608" y="89"/>
                  <a:pt x="608" y="89"/>
                  <a:pt x="608" y="89"/>
                </a:cubicBezTo>
                <a:cubicBezTo>
                  <a:pt x="607" y="89"/>
                  <a:pt x="607" y="89"/>
                  <a:pt x="606" y="89"/>
                </a:cubicBezTo>
                <a:cubicBezTo>
                  <a:pt x="606" y="89"/>
                  <a:pt x="605" y="89"/>
                  <a:pt x="605" y="89"/>
                </a:cubicBezTo>
                <a:cubicBezTo>
                  <a:pt x="605" y="89"/>
                  <a:pt x="605" y="90"/>
                  <a:pt x="605" y="90"/>
                </a:cubicBezTo>
                <a:cubicBezTo>
                  <a:pt x="604" y="90"/>
                  <a:pt x="604" y="90"/>
                  <a:pt x="603" y="90"/>
                </a:cubicBezTo>
                <a:cubicBezTo>
                  <a:pt x="603" y="90"/>
                  <a:pt x="603" y="90"/>
                  <a:pt x="603" y="91"/>
                </a:cubicBezTo>
                <a:cubicBezTo>
                  <a:pt x="603" y="91"/>
                  <a:pt x="603" y="91"/>
                  <a:pt x="603" y="91"/>
                </a:cubicBezTo>
                <a:cubicBezTo>
                  <a:pt x="603" y="92"/>
                  <a:pt x="603" y="92"/>
                  <a:pt x="604" y="92"/>
                </a:cubicBezTo>
                <a:cubicBezTo>
                  <a:pt x="604" y="92"/>
                  <a:pt x="604" y="92"/>
                  <a:pt x="604" y="92"/>
                </a:cubicBezTo>
                <a:cubicBezTo>
                  <a:pt x="605" y="93"/>
                  <a:pt x="605" y="93"/>
                  <a:pt x="605" y="93"/>
                </a:cubicBezTo>
                <a:cubicBezTo>
                  <a:pt x="606" y="93"/>
                  <a:pt x="606" y="93"/>
                  <a:pt x="607" y="93"/>
                </a:cubicBezTo>
                <a:cubicBezTo>
                  <a:pt x="607" y="93"/>
                  <a:pt x="606" y="93"/>
                  <a:pt x="606" y="94"/>
                </a:cubicBezTo>
                <a:cubicBezTo>
                  <a:pt x="606" y="94"/>
                  <a:pt x="606" y="94"/>
                  <a:pt x="606" y="94"/>
                </a:cubicBezTo>
                <a:cubicBezTo>
                  <a:pt x="607" y="94"/>
                  <a:pt x="607" y="94"/>
                  <a:pt x="607" y="94"/>
                </a:cubicBezTo>
                <a:cubicBezTo>
                  <a:pt x="607" y="94"/>
                  <a:pt x="608" y="94"/>
                  <a:pt x="608" y="94"/>
                </a:cubicBezTo>
                <a:cubicBezTo>
                  <a:pt x="609" y="94"/>
                  <a:pt x="609" y="95"/>
                  <a:pt x="609" y="95"/>
                </a:cubicBezTo>
                <a:cubicBezTo>
                  <a:pt x="610" y="95"/>
                  <a:pt x="610" y="95"/>
                  <a:pt x="611" y="95"/>
                </a:cubicBezTo>
                <a:cubicBezTo>
                  <a:pt x="611" y="95"/>
                  <a:pt x="611" y="95"/>
                  <a:pt x="612" y="95"/>
                </a:cubicBezTo>
                <a:cubicBezTo>
                  <a:pt x="612" y="95"/>
                  <a:pt x="612" y="95"/>
                  <a:pt x="613" y="95"/>
                </a:cubicBezTo>
                <a:cubicBezTo>
                  <a:pt x="613" y="95"/>
                  <a:pt x="613" y="95"/>
                  <a:pt x="613" y="95"/>
                </a:cubicBezTo>
                <a:cubicBezTo>
                  <a:pt x="613" y="95"/>
                  <a:pt x="613" y="95"/>
                  <a:pt x="613" y="95"/>
                </a:cubicBezTo>
                <a:cubicBezTo>
                  <a:pt x="613" y="94"/>
                  <a:pt x="613" y="94"/>
                  <a:pt x="612" y="94"/>
                </a:cubicBezTo>
                <a:cubicBezTo>
                  <a:pt x="612" y="94"/>
                  <a:pt x="612" y="93"/>
                  <a:pt x="612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2"/>
                  <a:pt x="613" y="92"/>
                </a:cubicBezTo>
                <a:cubicBezTo>
                  <a:pt x="613" y="92"/>
                  <a:pt x="613" y="92"/>
                  <a:pt x="613" y="92"/>
                </a:cubicBezTo>
                <a:cubicBezTo>
                  <a:pt x="613" y="92"/>
                  <a:pt x="613" y="91"/>
                  <a:pt x="614" y="91"/>
                </a:cubicBezTo>
                <a:cubicBezTo>
                  <a:pt x="614" y="91"/>
                  <a:pt x="614" y="91"/>
                  <a:pt x="614" y="91"/>
                </a:cubicBezTo>
                <a:cubicBezTo>
                  <a:pt x="614" y="92"/>
                  <a:pt x="614" y="92"/>
                  <a:pt x="614" y="92"/>
                </a:cubicBezTo>
                <a:cubicBezTo>
                  <a:pt x="615" y="92"/>
                  <a:pt x="615" y="92"/>
                  <a:pt x="615" y="92"/>
                </a:cubicBezTo>
                <a:cubicBezTo>
                  <a:pt x="615" y="93"/>
                  <a:pt x="615" y="93"/>
                  <a:pt x="615" y="93"/>
                </a:cubicBezTo>
                <a:cubicBezTo>
                  <a:pt x="615" y="93"/>
                  <a:pt x="615" y="93"/>
                  <a:pt x="615" y="93"/>
                </a:cubicBezTo>
                <a:cubicBezTo>
                  <a:pt x="615" y="93"/>
                  <a:pt x="616" y="93"/>
                  <a:pt x="616" y="93"/>
                </a:cubicBezTo>
                <a:cubicBezTo>
                  <a:pt x="616" y="93"/>
                  <a:pt x="616" y="93"/>
                  <a:pt x="616" y="93"/>
                </a:cubicBezTo>
                <a:cubicBezTo>
                  <a:pt x="616" y="93"/>
                  <a:pt x="616" y="92"/>
                  <a:pt x="617" y="92"/>
                </a:cubicBezTo>
                <a:cubicBezTo>
                  <a:pt x="617" y="92"/>
                  <a:pt x="617" y="92"/>
                  <a:pt x="618" y="92"/>
                </a:cubicBezTo>
                <a:cubicBezTo>
                  <a:pt x="618" y="92"/>
                  <a:pt x="618" y="92"/>
                  <a:pt x="618" y="92"/>
                </a:cubicBezTo>
                <a:cubicBezTo>
                  <a:pt x="618" y="92"/>
                  <a:pt x="619" y="92"/>
                  <a:pt x="619" y="92"/>
                </a:cubicBezTo>
                <a:cubicBezTo>
                  <a:pt x="619" y="92"/>
                  <a:pt x="619" y="92"/>
                  <a:pt x="619" y="92"/>
                </a:cubicBezTo>
                <a:cubicBezTo>
                  <a:pt x="619" y="92"/>
                  <a:pt x="619" y="92"/>
                  <a:pt x="618" y="93"/>
                </a:cubicBezTo>
                <a:cubicBezTo>
                  <a:pt x="618" y="93"/>
                  <a:pt x="618" y="93"/>
                  <a:pt x="618" y="93"/>
                </a:cubicBezTo>
                <a:cubicBezTo>
                  <a:pt x="618" y="94"/>
                  <a:pt x="618" y="94"/>
                  <a:pt x="618" y="94"/>
                </a:cubicBezTo>
                <a:cubicBezTo>
                  <a:pt x="618" y="94"/>
                  <a:pt x="619" y="94"/>
                  <a:pt x="619" y="94"/>
                </a:cubicBezTo>
                <a:cubicBezTo>
                  <a:pt x="619" y="94"/>
                  <a:pt x="619" y="94"/>
                  <a:pt x="619" y="94"/>
                </a:cubicBezTo>
                <a:cubicBezTo>
                  <a:pt x="620" y="93"/>
                  <a:pt x="620" y="93"/>
                  <a:pt x="620" y="92"/>
                </a:cubicBezTo>
                <a:cubicBezTo>
                  <a:pt x="620" y="92"/>
                  <a:pt x="620" y="92"/>
                  <a:pt x="620" y="92"/>
                </a:cubicBezTo>
                <a:cubicBezTo>
                  <a:pt x="620" y="92"/>
                  <a:pt x="620" y="92"/>
                  <a:pt x="621" y="92"/>
                </a:cubicBezTo>
                <a:cubicBezTo>
                  <a:pt x="621" y="92"/>
                  <a:pt x="621" y="93"/>
                  <a:pt x="621" y="93"/>
                </a:cubicBezTo>
                <a:cubicBezTo>
                  <a:pt x="622" y="93"/>
                  <a:pt x="622" y="93"/>
                  <a:pt x="622" y="93"/>
                </a:cubicBezTo>
                <a:cubicBezTo>
                  <a:pt x="622" y="93"/>
                  <a:pt x="623" y="93"/>
                  <a:pt x="623" y="93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24" y="91"/>
                  <a:pt x="624" y="91"/>
                  <a:pt x="624" y="91"/>
                </a:cubicBezTo>
                <a:cubicBezTo>
                  <a:pt x="625" y="91"/>
                  <a:pt x="625" y="91"/>
                  <a:pt x="625" y="92"/>
                </a:cubicBezTo>
                <a:cubicBezTo>
                  <a:pt x="625" y="92"/>
                  <a:pt x="625" y="92"/>
                  <a:pt x="625" y="92"/>
                </a:cubicBezTo>
                <a:cubicBezTo>
                  <a:pt x="625" y="92"/>
                  <a:pt x="625" y="93"/>
                  <a:pt x="625" y="93"/>
                </a:cubicBezTo>
                <a:cubicBezTo>
                  <a:pt x="625" y="93"/>
                  <a:pt x="625" y="93"/>
                  <a:pt x="625" y="94"/>
                </a:cubicBezTo>
                <a:cubicBezTo>
                  <a:pt x="625" y="93"/>
                  <a:pt x="625" y="93"/>
                  <a:pt x="625" y="93"/>
                </a:cubicBezTo>
                <a:cubicBezTo>
                  <a:pt x="625" y="93"/>
                  <a:pt x="626" y="93"/>
                  <a:pt x="626" y="92"/>
                </a:cubicBezTo>
                <a:cubicBezTo>
                  <a:pt x="626" y="92"/>
                  <a:pt x="627" y="92"/>
                  <a:pt x="627" y="92"/>
                </a:cubicBezTo>
                <a:cubicBezTo>
                  <a:pt x="627" y="91"/>
                  <a:pt x="627" y="91"/>
                  <a:pt x="627" y="91"/>
                </a:cubicBezTo>
                <a:cubicBezTo>
                  <a:pt x="628" y="91"/>
                  <a:pt x="628" y="91"/>
                  <a:pt x="629" y="91"/>
                </a:cubicBezTo>
                <a:cubicBezTo>
                  <a:pt x="629" y="91"/>
                  <a:pt x="629" y="91"/>
                  <a:pt x="630" y="91"/>
                </a:cubicBezTo>
                <a:cubicBezTo>
                  <a:pt x="630" y="91"/>
                  <a:pt x="630" y="91"/>
                  <a:pt x="631" y="91"/>
                </a:cubicBezTo>
                <a:cubicBezTo>
                  <a:pt x="631" y="91"/>
                  <a:pt x="632" y="91"/>
                  <a:pt x="632" y="91"/>
                </a:cubicBezTo>
                <a:cubicBezTo>
                  <a:pt x="633" y="91"/>
                  <a:pt x="633" y="92"/>
                  <a:pt x="634" y="92"/>
                </a:cubicBezTo>
                <a:cubicBezTo>
                  <a:pt x="634" y="92"/>
                  <a:pt x="634" y="92"/>
                  <a:pt x="635" y="92"/>
                </a:cubicBezTo>
                <a:cubicBezTo>
                  <a:pt x="635" y="92"/>
                  <a:pt x="635" y="92"/>
                  <a:pt x="635" y="91"/>
                </a:cubicBezTo>
                <a:cubicBezTo>
                  <a:pt x="635" y="91"/>
                  <a:pt x="636" y="91"/>
                  <a:pt x="636" y="91"/>
                </a:cubicBezTo>
                <a:cubicBezTo>
                  <a:pt x="636" y="92"/>
                  <a:pt x="637" y="92"/>
                  <a:pt x="637" y="92"/>
                </a:cubicBezTo>
                <a:cubicBezTo>
                  <a:pt x="637" y="92"/>
                  <a:pt x="638" y="92"/>
                  <a:pt x="638" y="92"/>
                </a:cubicBezTo>
                <a:cubicBezTo>
                  <a:pt x="638" y="93"/>
                  <a:pt x="638" y="93"/>
                  <a:pt x="638" y="93"/>
                </a:cubicBezTo>
                <a:cubicBezTo>
                  <a:pt x="638" y="93"/>
                  <a:pt x="638" y="93"/>
                  <a:pt x="638" y="93"/>
                </a:cubicBezTo>
                <a:cubicBezTo>
                  <a:pt x="639" y="93"/>
                  <a:pt x="639" y="93"/>
                  <a:pt x="639" y="93"/>
                </a:cubicBezTo>
                <a:cubicBezTo>
                  <a:pt x="639" y="93"/>
                  <a:pt x="639" y="93"/>
                  <a:pt x="639" y="93"/>
                </a:cubicBezTo>
                <a:cubicBezTo>
                  <a:pt x="639" y="93"/>
                  <a:pt x="640" y="93"/>
                  <a:pt x="640" y="93"/>
                </a:cubicBezTo>
                <a:cubicBezTo>
                  <a:pt x="640" y="93"/>
                  <a:pt x="640" y="93"/>
                  <a:pt x="640" y="93"/>
                </a:cubicBezTo>
                <a:cubicBezTo>
                  <a:pt x="641" y="93"/>
                  <a:pt x="641" y="93"/>
                  <a:pt x="641" y="93"/>
                </a:cubicBezTo>
                <a:cubicBezTo>
                  <a:pt x="641" y="94"/>
                  <a:pt x="642" y="94"/>
                  <a:pt x="642" y="94"/>
                </a:cubicBezTo>
                <a:cubicBezTo>
                  <a:pt x="642" y="94"/>
                  <a:pt x="642" y="94"/>
                  <a:pt x="642" y="94"/>
                </a:cubicBezTo>
                <a:cubicBezTo>
                  <a:pt x="642" y="94"/>
                  <a:pt x="642" y="94"/>
                  <a:pt x="643" y="94"/>
                </a:cubicBezTo>
                <a:cubicBezTo>
                  <a:pt x="643" y="94"/>
                  <a:pt x="643" y="94"/>
                  <a:pt x="643" y="94"/>
                </a:cubicBezTo>
                <a:cubicBezTo>
                  <a:pt x="643" y="94"/>
                  <a:pt x="643" y="94"/>
                  <a:pt x="643" y="94"/>
                </a:cubicBezTo>
                <a:cubicBezTo>
                  <a:pt x="643" y="94"/>
                  <a:pt x="643" y="94"/>
                  <a:pt x="644" y="94"/>
                </a:cubicBezTo>
                <a:cubicBezTo>
                  <a:pt x="644" y="94"/>
                  <a:pt x="644" y="94"/>
                  <a:pt x="644" y="94"/>
                </a:cubicBezTo>
                <a:cubicBezTo>
                  <a:pt x="644" y="94"/>
                  <a:pt x="644" y="94"/>
                  <a:pt x="645" y="94"/>
                </a:cubicBezTo>
                <a:cubicBezTo>
                  <a:pt x="645" y="95"/>
                  <a:pt x="645" y="95"/>
                  <a:pt x="646" y="95"/>
                </a:cubicBezTo>
                <a:cubicBezTo>
                  <a:pt x="646" y="95"/>
                  <a:pt x="647" y="95"/>
                  <a:pt x="647" y="95"/>
                </a:cubicBezTo>
                <a:cubicBezTo>
                  <a:pt x="647" y="95"/>
                  <a:pt x="647" y="95"/>
                  <a:pt x="648" y="95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7"/>
                  <a:pt x="648" y="97"/>
                </a:cubicBezTo>
                <a:cubicBezTo>
                  <a:pt x="648" y="97"/>
                  <a:pt x="648" y="97"/>
                  <a:pt x="648" y="97"/>
                </a:cubicBezTo>
                <a:cubicBezTo>
                  <a:pt x="647" y="97"/>
                  <a:pt x="647" y="98"/>
                  <a:pt x="647" y="98"/>
                </a:cubicBezTo>
                <a:cubicBezTo>
                  <a:pt x="647" y="98"/>
                  <a:pt x="647" y="98"/>
                  <a:pt x="647" y="98"/>
                </a:cubicBezTo>
                <a:cubicBezTo>
                  <a:pt x="647" y="98"/>
                  <a:pt x="647" y="99"/>
                  <a:pt x="647" y="99"/>
                </a:cubicBezTo>
                <a:cubicBezTo>
                  <a:pt x="647" y="99"/>
                  <a:pt x="647" y="98"/>
                  <a:pt x="648" y="98"/>
                </a:cubicBezTo>
                <a:cubicBezTo>
                  <a:pt x="648" y="98"/>
                  <a:pt x="648" y="99"/>
                  <a:pt x="648" y="99"/>
                </a:cubicBezTo>
                <a:cubicBezTo>
                  <a:pt x="648" y="99"/>
                  <a:pt x="648" y="99"/>
                  <a:pt x="648" y="99"/>
                </a:cubicBezTo>
                <a:cubicBezTo>
                  <a:pt x="647" y="99"/>
                  <a:pt x="647" y="99"/>
                  <a:pt x="647" y="99"/>
                </a:cubicBezTo>
                <a:cubicBezTo>
                  <a:pt x="647" y="100"/>
                  <a:pt x="646" y="100"/>
                  <a:pt x="646" y="100"/>
                </a:cubicBezTo>
                <a:cubicBezTo>
                  <a:pt x="646" y="100"/>
                  <a:pt x="646" y="100"/>
                  <a:pt x="645" y="100"/>
                </a:cubicBezTo>
                <a:cubicBezTo>
                  <a:pt x="645" y="100"/>
                  <a:pt x="646" y="101"/>
                  <a:pt x="646" y="101"/>
                </a:cubicBezTo>
                <a:cubicBezTo>
                  <a:pt x="646" y="101"/>
                  <a:pt x="646" y="101"/>
                  <a:pt x="646" y="101"/>
                </a:cubicBezTo>
                <a:cubicBezTo>
                  <a:pt x="646" y="101"/>
                  <a:pt x="646" y="101"/>
                  <a:pt x="647" y="101"/>
                </a:cubicBezTo>
                <a:cubicBezTo>
                  <a:pt x="647" y="101"/>
                  <a:pt x="647" y="101"/>
                  <a:pt x="647" y="102"/>
                </a:cubicBezTo>
                <a:cubicBezTo>
                  <a:pt x="647" y="102"/>
                  <a:pt x="648" y="102"/>
                  <a:pt x="649" y="102"/>
                </a:cubicBezTo>
                <a:cubicBezTo>
                  <a:pt x="649" y="102"/>
                  <a:pt x="649" y="103"/>
                  <a:pt x="649" y="103"/>
                </a:cubicBezTo>
                <a:cubicBezTo>
                  <a:pt x="649" y="103"/>
                  <a:pt x="649" y="103"/>
                  <a:pt x="649" y="103"/>
                </a:cubicBezTo>
                <a:cubicBezTo>
                  <a:pt x="650" y="104"/>
                  <a:pt x="650" y="104"/>
                  <a:pt x="650" y="104"/>
                </a:cubicBezTo>
                <a:cubicBezTo>
                  <a:pt x="650" y="104"/>
                  <a:pt x="650" y="104"/>
                  <a:pt x="649" y="104"/>
                </a:cubicBezTo>
                <a:cubicBezTo>
                  <a:pt x="649" y="104"/>
                  <a:pt x="649" y="104"/>
                  <a:pt x="649" y="105"/>
                </a:cubicBezTo>
                <a:cubicBezTo>
                  <a:pt x="650" y="105"/>
                  <a:pt x="650" y="105"/>
                  <a:pt x="650" y="105"/>
                </a:cubicBezTo>
                <a:cubicBezTo>
                  <a:pt x="650" y="105"/>
                  <a:pt x="651" y="105"/>
                  <a:pt x="651" y="105"/>
                </a:cubicBezTo>
                <a:cubicBezTo>
                  <a:pt x="651" y="105"/>
                  <a:pt x="651" y="105"/>
                  <a:pt x="651" y="105"/>
                </a:cubicBezTo>
                <a:cubicBezTo>
                  <a:pt x="651" y="105"/>
                  <a:pt x="651" y="105"/>
                  <a:pt x="651" y="106"/>
                </a:cubicBezTo>
                <a:cubicBezTo>
                  <a:pt x="652" y="106"/>
                  <a:pt x="652" y="106"/>
                  <a:pt x="652" y="106"/>
                </a:cubicBezTo>
                <a:cubicBezTo>
                  <a:pt x="652" y="106"/>
                  <a:pt x="653" y="106"/>
                  <a:pt x="653" y="106"/>
                </a:cubicBezTo>
                <a:cubicBezTo>
                  <a:pt x="653" y="106"/>
                  <a:pt x="653" y="107"/>
                  <a:pt x="653" y="107"/>
                </a:cubicBezTo>
                <a:cubicBezTo>
                  <a:pt x="653" y="107"/>
                  <a:pt x="653" y="107"/>
                  <a:pt x="653" y="107"/>
                </a:cubicBezTo>
                <a:cubicBezTo>
                  <a:pt x="652" y="107"/>
                  <a:pt x="652" y="108"/>
                  <a:pt x="652" y="108"/>
                </a:cubicBezTo>
                <a:cubicBezTo>
                  <a:pt x="652" y="108"/>
                  <a:pt x="651" y="108"/>
                  <a:pt x="651" y="108"/>
                </a:cubicBezTo>
                <a:cubicBezTo>
                  <a:pt x="651" y="109"/>
                  <a:pt x="651" y="109"/>
                  <a:pt x="651" y="109"/>
                </a:cubicBezTo>
                <a:cubicBezTo>
                  <a:pt x="651" y="109"/>
                  <a:pt x="650" y="109"/>
                  <a:pt x="650" y="109"/>
                </a:cubicBezTo>
                <a:cubicBezTo>
                  <a:pt x="650" y="109"/>
                  <a:pt x="650" y="110"/>
                  <a:pt x="650" y="110"/>
                </a:cubicBezTo>
                <a:cubicBezTo>
                  <a:pt x="649" y="110"/>
                  <a:pt x="649" y="110"/>
                  <a:pt x="649" y="110"/>
                </a:cubicBezTo>
                <a:cubicBezTo>
                  <a:pt x="649" y="110"/>
                  <a:pt x="648" y="110"/>
                  <a:pt x="648" y="111"/>
                </a:cubicBezTo>
                <a:cubicBezTo>
                  <a:pt x="649" y="111"/>
                  <a:pt x="649" y="111"/>
                  <a:pt x="649" y="111"/>
                </a:cubicBezTo>
                <a:cubicBezTo>
                  <a:pt x="649" y="111"/>
                  <a:pt x="649" y="111"/>
                  <a:pt x="649" y="110"/>
                </a:cubicBezTo>
                <a:cubicBezTo>
                  <a:pt x="650" y="110"/>
                  <a:pt x="650" y="110"/>
                  <a:pt x="650" y="110"/>
                </a:cubicBezTo>
                <a:cubicBezTo>
                  <a:pt x="650" y="110"/>
                  <a:pt x="650" y="110"/>
                  <a:pt x="650" y="110"/>
                </a:cubicBezTo>
                <a:cubicBezTo>
                  <a:pt x="651" y="110"/>
                  <a:pt x="651" y="109"/>
                  <a:pt x="651" y="109"/>
                </a:cubicBezTo>
                <a:cubicBezTo>
                  <a:pt x="652" y="109"/>
                  <a:pt x="652" y="109"/>
                  <a:pt x="652" y="109"/>
                </a:cubicBezTo>
                <a:cubicBezTo>
                  <a:pt x="652" y="109"/>
                  <a:pt x="652" y="109"/>
                  <a:pt x="652" y="109"/>
                </a:cubicBezTo>
                <a:cubicBezTo>
                  <a:pt x="652" y="109"/>
                  <a:pt x="652" y="110"/>
                  <a:pt x="652" y="110"/>
                </a:cubicBezTo>
                <a:cubicBezTo>
                  <a:pt x="652" y="110"/>
                  <a:pt x="652" y="110"/>
                  <a:pt x="652" y="110"/>
                </a:cubicBezTo>
                <a:cubicBezTo>
                  <a:pt x="652" y="110"/>
                  <a:pt x="652" y="111"/>
                  <a:pt x="652" y="111"/>
                </a:cubicBezTo>
                <a:cubicBezTo>
                  <a:pt x="652" y="111"/>
                  <a:pt x="652" y="111"/>
                  <a:pt x="652" y="111"/>
                </a:cubicBezTo>
                <a:cubicBezTo>
                  <a:pt x="652" y="111"/>
                  <a:pt x="653" y="111"/>
                  <a:pt x="653" y="112"/>
                </a:cubicBezTo>
                <a:cubicBezTo>
                  <a:pt x="653" y="112"/>
                  <a:pt x="653" y="112"/>
                  <a:pt x="653" y="112"/>
                </a:cubicBezTo>
                <a:cubicBezTo>
                  <a:pt x="653" y="113"/>
                  <a:pt x="653" y="113"/>
                  <a:pt x="653" y="113"/>
                </a:cubicBezTo>
                <a:cubicBezTo>
                  <a:pt x="653" y="113"/>
                  <a:pt x="653" y="113"/>
                  <a:pt x="653" y="113"/>
                </a:cubicBezTo>
                <a:cubicBezTo>
                  <a:pt x="653" y="113"/>
                  <a:pt x="653" y="114"/>
                  <a:pt x="653" y="114"/>
                </a:cubicBezTo>
                <a:cubicBezTo>
                  <a:pt x="653" y="114"/>
                  <a:pt x="653" y="114"/>
                  <a:pt x="653" y="114"/>
                </a:cubicBezTo>
                <a:cubicBezTo>
                  <a:pt x="653" y="114"/>
                  <a:pt x="653" y="114"/>
                  <a:pt x="653" y="114"/>
                </a:cubicBezTo>
                <a:cubicBezTo>
                  <a:pt x="652" y="114"/>
                  <a:pt x="652" y="114"/>
                  <a:pt x="652" y="114"/>
                </a:cubicBezTo>
                <a:cubicBezTo>
                  <a:pt x="652" y="114"/>
                  <a:pt x="652" y="114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6"/>
                  <a:pt x="653" y="116"/>
                </a:cubicBezTo>
                <a:cubicBezTo>
                  <a:pt x="653" y="116"/>
                  <a:pt x="653" y="116"/>
                  <a:pt x="653" y="116"/>
                </a:cubicBezTo>
                <a:cubicBezTo>
                  <a:pt x="653" y="116"/>
                  <a:pt x="653" y="116"/>
                  <a:pt x="653" y="116"/>
                </a:cubicBezTo>
                <a:cubicBezTo>
                  <a:pt x="653" y="116"/>
                  <a:pt x="654" y="116"/>
                  <a:pt x="654" y="116"/>
                </a:cubicBezTo>
                <a:cubicBezTo>
                  <a:pt x="654" y="116"/>
                  <a:pt x="654" y="117"/>
                  <a:pt x="654" y="117"/>
                </a:cubicBezTo>
                <a:cubicBezTo>
                  <a:pt x="654" y="117"/>
                  <a:pt x="654" y="117"/>
                  <a:pt x="654" y="117"/>
                </a:cubicBezTo>
                <a:cubicBezTo>
                  <a:pt x="654" y="117"/>
                  <a:pt x="654" y="117"/>
                  <a:pt x="654" y="117"/>
                </a:cubicBezTo>
                <a:cubicBezTo>
                  <a:pt x="654" y="118"/>
                  <a:pt x="654" y="118"/>
                  <a:pt x="654" y="118"/>
                </a:cubicBezTo>
                <a:cubicBezTo>
                  <a:pt x="654" y="118"/>
                  <a:pt x="654" y="118"/>
                  <a:pt x="653" y="119"/>
                </a:cubicBezTo>
                <a:cubicBezTo>
                  <a:pt x="653" y="119"/>
                  <a:pt x="653" y="119"/>
                  <a:pt x="653" y="119"/>
                </a:cubicBezTo>
                <a:cubicBezTo>
                  <a:pt x="653" y="119"/>
                  <a:pt x="652" y="119"/>
                  <a:pt x="652" y="119"/>
                </a:cubicBezTo>
                <a:cubicBezTo>
                  <a:pt x="652" y="119"/>
                  <a:pt x="652" y="119"/>
                  <a:pt x="652" y="119"/>
                </a:cubicBezTo>
                <a:cubicBezTo>
                  <a:pt x="651" y="119"/>
                  <a:pt x="651" y="119"/>
                  <a:pt x="651" y="119"/>
                </a:cubicBezTo>
                <a:cubicBezTo>
                  <a:pt x="652" y="119"/>
                  <a:pt x="652" y="119"/>
                  <a:pt x="652" y="120"/>
                </a:cubicBezTo>
                <a:cubicBezTo>
                  <a:pt x="652" y="119"/>
                  <a:pt x="653" y="119"/>
                  <a:pt x="653" y="119"/>
                </a:cubicBezTo>
                <a:cubicBezTo>
                  <a:pt x="653" y="120"/>
                  <a:pt x="653" y="120"/>
                  <a:pt x="654" y="120"/>
                </a:cubicBezTo>
                <a:cubicBezTo>
                  <a:pt x="654" y="120"/>
                  <a:pt x="654" y="120"/>
                  <a:pt x="654" y="120"/>
                </a:cubicBezTo>
                <a:cubicBezTo>
                  <a:pt x="655" y="120"/>
                  <a:pt x="655" y="120"/>
                  <a:pt x="655" y="120"/>
                </a:cubicBezTo>
                <a:cubicBezTo>
                  <a:pt x="655" y="120"/>
                  <a:pt x="655" y="120"/>
                  <a:pt x="655" y="120"/>
                </a:cubicBezTo>
                <a:cubicBezTo>
                  <a:pt x="655" y="120"/>
                  <a:pt x="655" y="120"/>
                  <a:pt x="655" y="121"/>
                </a:cubicBezTo>
                <a:cubicBezTo>
                  <a:pt x="655" y="121"/>
                  <a:pt x="656" y="121"/>
                  <a:pt x="656" y="121"/>
                </a:cubicBezTo>
                <a:cubicBezTo>
                  <a:pt x="655" y="122"/>
                  <a:pt x="655" y="122"/>
                  <a:pt x="655" y="122"/>
                </a:cubicBezTo>
                <a:cubicBezTo>
                  <a:pt x="655" y="122"/>
                  <a:pt x="655" y="123"/>
                  <a:pt x="655" y="123"/>
                </a:cubicBezTo>
                <a:cubicBezTo>
                  <a:pt x="655" y="123"/>
                  <a:pt x="655" y="123"/>
                  <a:pt x="655" y="123"/>
                </a:cubicBezTo>
                <a:cubicBezTo>
                  <a:pt x="655" y="123"/>
                  <a:pt x="655" y="124"/>
                  <a:pt x="655" y="124"/>
                </a:cubicBezTo>
                <a:cubicBezTo>
                  <a:pt x="654" y="124"/>
                  <a:pt x="654" y="124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2" y="125"/>
                  <a:pt x="652" y="125"/>
                  <a:pt x="652" y="125"/>
                </a:cubicBezTo>
                <a:cubicBezTo>
                  <a:pt x="652" y="125"/>
                  <a:pt x="652" y="125"/>
                  <a:pt x="651" y="125"/>
                </a:cubicBezTo>
                <a:cubicBezTo>
                  <a:pt x="651" y="125"/>
                  <a:pt x="651" y="125"/>
                  <a:pt x="650" y="125"/>
                </a:cubicBezTo>
                <a:cubicBezTo>
                  <a:pt x="650" y="125"/>
                  <a:pt x="650" y="126"/>
                  <a:pt x="650" y="126"/>
                </a:cubicBezTo>
                <a:cubicBezTo>
                  <a:pt x="650" y="126"/>
                  <a:pt x="650" y="126"/>
                  <a:pt x="650" y="126"/>
                </a:cubicBezTo>
                <a:cubicBezTo>
                  <a:pt x="651" y="126"/>
                  <a:pt x="651" y="126"/>
                  <a:pt x="651" y="126"/>
                </a:cubicBezTo>
                <a:cubicBezTo>
                  <a:pt x="651" y="126"/>
                  <a:pt x="652" y="126"/>
                  <a:pt x="652" y="126"/>
                </a:cubicBezTo>
                <a:cubicBezTo>
                  <a:pt x="653" y="126"/>
                  <a:pt x="653" y="125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4" y="125"/>
                  <a:pt x="654" y="126"/>
                  <a:pt x="654" y="126"/>
                </a:cubicBezTo>
                <a:cubicBezTo>
                  <a:pt x="654" y="126"/>
                  <a:pt x="654" y="126"/>
                  <a:pt x="654" y="126"/>
                </a:cubicBezTo>
                <a:cubicBezTo>
                  <a:pt x="654" y="126"/>
                  <a:pt x="654" y="126"/>
                  <a:pt x="654" y="126"/>
                </a:cubicBezTo>
                <a:cubicBezTo>
                  <a:pt x="653" y="126"/>
                  <a:pt x="653" y="126"/>
                  <a:pt x="653" y="126"/>
                </a:cubicBezTo>
                <a:cubicBezTo>
                  <a:pt x="653" y="126"/>
                  <a:pt x="653" y="126"/>
                  <a:pt x="653" y="127"/>
                </a:cubicBezTo>
                <a:cubicBezTo>
                  <a:pt x="653" y="127"/>
                  <a:pt x="653" y="127"/>
                  <a:pt x="653" y="127"/>
                </a:cubicBezTo>
                <a:cubicBezTo>
                  <a:pt x="653" y="127"/>
                  <a:pt x="653" y="127"/>
                  <a:pt x="653" y="127"/>
                </a:cubicBezTo>
                <a:cubicBezTo>
                  <a:pt x="652" y="127"/>
                  <a:pt x="652" y="127"/>
                  <a:pt x="652" y="127"/>
                </a:cubicBezTo>
                <a:cubicBezTo>
                  <a:pt x="652" y="128"/>
                  <a:pt x="651" y="128"/>
                  <a:pt x="651" y="128"/>
                </a:cubicBezTo>
                <a:cubicBezTo>
                  <a:pt x="650" y="128"/>
                  <a:pt x="650" y="129"/>
                  <a:pt x="650" y="129"/>
                </a:cubicBezTo>
                <a:cubicBezTo>
                  <a:pt x="650" y="129"/>
                  <a:pt x="650" y="129"/>
                  <a:pt x="650" y="129"/>
                </a:cubicBezTo>
                <a:cubicBezTo>
                  <a:pt x="650" y="129"/>
                  <a:pt x="650" y="129"/>
                  <a:pt x="651" y="130"/>
                </a:cubicBezTo>
                <a:cubicBezTo>
                  <a:pt x="651" y="130"/>
                  <a:pt x="652" y="130"/>
                  <a:pt x="652" y="130"/>
                </a:cubicBezTo>
                <a:cubicBezTo>
                  <a:pt x="653" y="129"/>
                  <a:pt x="653" y="129"/>
                  <a:pt x="653" y="129"/>
                </a:cubicBezTo>
                <a:cubicBezTo>
                  <a:pt x="654" y="129"/>
                  <a:pt x="654" y="129"/>
                  <a:pt x="654" y="128"/>
                </a:cubicBezTo>
                <a:cubicBezTo>
                  <a:pt x="654" y="128"/>
                  <a:pt x="654" y="128"/>
                  <a:pt x="655" y="128"/>
                </a:cubicBezTo>
                <a:cubicBezTo>
                  <a:pt x="655" y="127"/>
                  <a:pt x="655" y="127"/>
                  <a:pt x="655" y="127"/>
                </a:cubicBezTo>
                <a:cubicBezTo>
                  <a:pt x="655" y="127"/>
                  <a:pt x="655" y="127"/>
                  <a:pt x="655" y="127"/>
                </a:cubicBezTo>
                <a:cubicBezTo>
                  <a:pt x="656" y="127"/>
                  <a:pt x="656" y="127"/>
                  <a:pt x="656" y="128"/>
                </a:cubicBezTo>
                <a:cubicBezTo>
                  <a:pt x="655" y="128"/>
                  <a:pt x="655" y="128"/>
                  <a:pt x="655" y="129"/>
                </a:cubicBezTo>
                <a:cubicBezTo>
                  <a:pt x="654" y="129"/>
                  <a:pt x="654" y="129"/>
                  <a:pt x="654" y="130"/>
                </a:cubicBezTo>
                <a:cubicBezTo>
                  <a:pt x="653" y="130"/>
                  <a:pt x="653" y="130"/>
                  <a:pt x="653" y="130"/>
                </a:cubicBezTo>
                <a:cubicBezTo>
                  <a:pt x="652" y="130"/>
                  <a:pt x="652" y="130"/>
                  <a:pt x="651" y="130"/>
                </a:cubicBezTo>
                <a:cubicBezTo>
                  <a:pt x="651" y="130"/>
                  <a:pt x="651" y="130"/>
                  <a:pt x="651" y="130"/>
                </a:cubicBezTo>
                <a:cubicBezTo>
                  <a:pt x="651" y="131"/>
                  <a:pt x="650" y="131"/>
                  <a:pt x="650" y="131"/>
                </a:cubicBezTo>
                <a:cubicBezTo>
                  <a:pt x="650" y="131"/>
                  <a:pt x="650" y="131"/>
                  <a:pt x="650" y="131"/>
                </a:cubicBezTo>
                <a:cubicBezTo>
                  <a:pt x="650" y="131"/>
                  <a:pt x="649" y="131"/>
                  <a:pt x="649" y="131"/>
                </a:cubicBezTo>
                <a:cubicBezTo>
                  <a:pt x="649" y="131"/>
                  <a:pt x="648" y="131"/>
                  <a:pt x="648" y="132"/>
                </a:cubicBezTo>
                <a:cubicBezTo>
                  <a:pt x="648" y="132"/>
                  <a:pt x="648" y="132"/>
                  <a:pt x="648" y="132"/>
                </a:cubicBezTo>
                <a:cubicBezTo>
                  <a:pt x="648" y="132"/>
                  <a:pt x="648" y="132"/>
                  <a:pt x="648" y="132"/>
                </a:cubicBezTo>
                <a:cubicBezTo>
                  <a:pt x="649" y="132"/>
                  <a:pt x="649" y="132"/>
                  <a:pt x="649" y="133"/>
                </a:cubicBezTo>
                <a:cubicBezTo>
                  <a:pt x="649" y="133"/>
                  <a:pt x="649" y="133"/>
                  <a:pt x="649" y="133"/>
                </a:cubicBezTo>
                <a:cubicBezTo>
                  <a:pt x="649" y="133"/>
                  <a:pt x="649" y="134"/>
                  <a:pt x="649" y="134"/>
                </a:cubicBezTo>
                <a:cubicBezTo>
                  <a:pt x="649" y="134"/>
                  <a:pt x="649" y="134"/>
                  <a:pt x="649" y="134"/>
                </a:cubicBezTo>
                <a:cubicBezTo>
                  <a:pt x="649" y="134"/>
                  <a:pt x="650" y="134"/>
                  <a:pt x="650" y="133"/>
                </a:cubicBezTo>
                <a:cubicBezTo>
                  <a:pt x="650" y="133"/>
                  <a:pt x="650" y="133"/>
                  <a:pt x="650" y="133"/>
                </a:cubicBezTo>
                <a:cubicBezTo>
                  <a:pt x="650" y="133"/>
                  <a:pt x="650" y="133"/>
                  <a:pt x="651" y="133"/>
                </a:cubicBezTo>
                <a:cubicBezTo>
                  <a:pt x="651" y="134"/>
                  <a:pt x="651" y="134"/>
                  <a:pt x="651" y="134"/>
                </a:cubicBezTo>
                <a:cubicBezTo>
                  <a:pt x="651" y="134"/>
                  <a:pt x="651" y="134"/>
                  <a:pt x="651" y="134"/>
                </a:cubicBezTo>
                <a:cubicBezTo>
                  <a:pt x="651" y="134"/>
                  <a:pt x="651" y="135"/>
                  <a:pt x="652" y="135"/>
                </a:cubicBezTo>
                <a:cubicBezTo>
                  <a:pt x="652" y="135"/>
                  <a:pt x="652" y="134"/>
                  <a:pt x="653" y="134"/>
                </a:cubicBezTo>
                <a:cubicBezTo>
                  <a:pt x="653" y="134"/>
                  <a:pt x="653" y="134"/>
                  <a:pt x="654" y="134"/>
                </a:cubicBezTo>
                <a:cubicBezTo>
                  <a:pt x="654" y="134"/>
                  <a:pt x="654" y="134"/>
                  <a:pt x="654" y="134"/>
                </a:cubicBezTo>
                <a:cubicBezTo>
                  <a:pt x="654" y="134"/>
                  <a:pt x="654" y="134"/>
                  <a:pt x="655" y="134"/>
                </a:cubicBezTo>
                <a:cubicBezTo>
                  <a:pt x="655" y="134"/>
                  <a:pt x="655" y="134"/>
                  <a:pt x="655" y="133"/>
                </a:cubicBezTo>
                <a:cubicBezTo>
                  <a:pt x="656" y="133"/>
                  <a:pt x="656" y="133"/>
                  <a:pt x="656" y="133"/>
                </a:cubicBezTo>
                <a:cubicBezTo>
                  <a:pt x="656" y="133"/>
                  <a:pt x="656" y="133"/>
                  <a:pt x="656" y="132"/>
                </a:cubicBezTo>
                <a:cubicBezTo>
                  <a:pt x="656" y="132"/>
                  <a:pt x="656" y="132"/>
                  <a:pt x="656" y="132"/>
                </a:cubicBezTo>
                <a:cubicBezTo>
                  <a:pt x="656" y="132"/>
                  <a:pt x="655" y="132"/>
                  <a:pt x="655" y="132"/>
                </a:cubicBezTo>
                <a:cubicBezTo>
                  <a:pt x="655" y="132"/>
                  <a:pt x="656" y="132"/>
                  <a:pt x="656" y="132"/>
                </a:cubicBezTo>
                <a:cubicBezTo>
                  <a:pt x="656" y="132"/>
                  <a:pt x="656" y="132"/>
                  <a:pt x="656" y="132"/>
                </a:cubicBezTo>
                <a:cubicBezTo>
                  <a:pt x="656" y="132"/>
                  <a:pt x="656" y="131"/>
                  <a:pt x="656" y="131"/>
                </a:cubicBezTo>
                <a:cubicBezTo>
                  <a:pt x="656" y="131"/>
                  <a:pt x="656" y="131"/>
                  <a:pt x="656" y="130"/>
                </a:cubicBezTo>
                <a:cubicBezTo>
                  <a:pt x="657" y="130"/>
                  <a:pt x="657" y="131"/>
                  <a:pt x="657" y="131"/>
                </a:cubicBezTo>
                <a:cubicBezTo>
                  <a:pt x="657" y="131"/>
                  <a:pt x="657" y="131"/>
                  <a:pt x="658" y="131"/>
                </a:cubicBezTo>
                <a:cubicBezTo>
                  <a:pt x="658" y="131"/>
                  <a:pt x="658" y="131"/>
                  <a:pt x="658" y="131"/>
                </a:cubicBezTo>
                <a:cubicBezTo>
                  <a:pt x="658" y="131"/>
                  <a:pt x="658" y="130"/>
                  <a:pt x="659" y="130"/>
                </a:cubicBezTo>
                <a:cubicBezTo>
                  <a:pt x="659" y="130"/>
                  <a:pt x="658" y="130"/>
                  <a:pt x="658" y="129"/>
                </a:cubicBezTo>
                <a:cubicBezTo>
                  <a:pt x="658" y="129"/>
                  <a:pt x="658" y="129"/>
                  <a:pt x="658" y="129"/>
                </a:cubicBezTo>
                <a:cubicBezTo>
                  <a:pt x="658" y="128"/>
                  <a:pt x="658" y="128"/>
                  <a:pt x="658" y="128"/>
                </a:cubicBezTo>
                <a:cubicBezTo>
                  <a:pt x="658" y="128"/>
                  <a:pt x="658" y="128"/>
                  <a:pt x="657" y="128"/>
                </a:cubicBezTo>
                <a:cubicBezTo>
                  <a:pt x="658" y="127"/>
                  <a:pt x="658" y="127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7"/>
                  <a:pt x="658" y="127"/>
                  <a:pt x="658" y="127"/>
                </a:cubicBezTo>
                <a:cubicBezTo>
                  <a:pt x="658" y="127"/>
                  <a:pt x="658" y="127"/>
                  <a:pt x="658" y="128"/>
                </a:cubicBezTo>
                <a:cubicBezTo>
                  <a:pt x="658" y="128"/>
                  <a:pt x="659" y="128"/>
                  <a:pt x="659" y="128"/>
                </a:cubicBezTo>
                <a:cubicBezTo>
                  <a:pt x="659" y="129"/>
                  <a:pt x="659" y="129"/>
                  <a:pt x="659" y="129"/>
                </a:cubicBezTo>
                <a:cubicBezTo>
                  <a:pt x="659" y="129"/>
                  <a:pt x="659" y="130"/>
                  <a:pt x="659" y="130"/>
                </a:cubicBezTo>
                <a:cubicBezTo>
                  <a:pt x="659" y="130"/>
                  <a:pt x="659" y="130"/>
                  <a:pt x="659" y="131"/>
                </a:cubicBezTo>
                <a:cubicBezTo>
                  <a:pt x="659" y="131"/>
                  <a:pt x="659" y="131"/>
                  <a:pt x="659" y="131"/>
                </a:cubicBezTo>
                <a:cubicBezTo>
                  <a:pt x="659" y="131"/>
                  <a:pt x="659" y="130"/>
                  <a:pt x="660" y="130"/>
                </a:cubicBezTo>
                <a:cubicBezTo>
                  <a:pt x="660" y="130"/>
                  <a:pt x="660" y="130"/>
                  <a:pt x="660" y="130"/>
                </a:cubicBezTo>
                <a:cubicBezTo>
                  <a:pt x="660" y="130"/>
                  <a:pt x="660" y="130"/>
                  <a:pt x="660" y="130"/>
                </a:cubicBezTo>
                <a:cubicBezTo>
                  <a:pt x="661" y="129"/>
                  <a:pt x="661" y="129"/>
                  <a:pt x="661" y="129"/>
                </a:cubicBezTo>
                <a:cubicBezTo>
                  <a:pt x="662" y="128"/>
                  <a:pt x="662" y="128"/>
                  <a:pt x="662" y="128"/>
                </a:cubicBezTo>
                <a:cubicBezTo>
                  <a:pt x="662" y="128"/>
                  <a:pt x="662" y="128"/>
                  <a:pt x="663" y="128"/>
                </a:cubicBezTo>
                <a:cubicBezTo>
                  <a:pt x="663" y="128"/>
                  <a:pt x="663" y="128"/>
                  <a:pt x="663" y="128"/>
                </a:cubicBezTo>
                <a:cubicBezTo>
                  <a:pt x="662" y="128"/>
                  <a:pt x="662" y="129"/>
                  <a:pt x="662" y="129"/>
                </a:cubicBezTo>
                <a:cubicBezTo>
                  <a:pt x="662" y="129"/>
                  <a:pt x="662" y="129"/>
                  <a:pt x="661" y="129"/>
                </a:cubicBezTo>
                <a:cubicBezTo>
                  <a:pt x="661" y="129"/>
                  <a:pt x="661" y="130"/>
                  <a:pt x="661" y="130"/>
                </a:cubicBezTo>
                <a:cubicBezTo>
                  <a:pt x="661" y="130"/>
                  <a:pt x="661" y="130"/>
                  <a:pt x="660" y="130"/>
                </a:cubicBezTo>
                <a:cubicBezTo>
                  <a:pt x="660" y="131"/>
                  <a:pt x="660" y="131"/>
                  <a:pt x="660" y="131"/>
                </a:cubicBezTo>
                <a:cubicBezTo>
                  <a:pt x="660" y="131"/>
                  <a:pt x="661" y="131"/>
                  <a:pt x="661" y="131"/>
                </a:cubicBezTo>
                <a:cubicBezTo>
                  <a:pt x="661" y="131"/>
                  <a:pt x="661" y="131"/>
                  <a:pt x="662" y="131"/>
                </a:cubicBezTo>
                <a:cubicBezTo>
                  <a:pt x="662" y="131"/>
                  <a:pt x="662" y="131"/>
                  <a:pt x="662" y="131"/>
                </a:cubicBezTo>
                <a:cubicBezTo>
                  <a:pt x="662" y="131"/>
                  <a:pt x="663" y="131"/>
                  <a:pt x="663" y="131"/>
                </a:cubicBezTo>
                <a:cubicBezTo>
                  <a:pt x="663" y="131"/>
                  <a:pt x="663" y="131"/>
                  <a:pt x="663" y="131"/>
                </a:cubicBezTo>
                <a:cubicBezTo>
                  <a:pt x="664" y="131"/>
                  <a:pt x="664" y="131"/>
                  <a:pt x="664" y="131"/>
                </a:cubicBezTo>
                <a:cubicBezTo>
                  <a:pt x="665" y="131"/>
                  <a:pt x="665" y="131"/>
                  <a:pt x="665" y="130"/>
                </a:cubicBezTo>
                <a:cubicBezTo>
                  <a:pt x="665" y="130"/>
                  <a:pt x="666" y="130"/>
                  <a:pt x="666" y="130"/>
                </a:cubicBezTo>
                <a:cubicBezTo>
                  <a:pt x="666" y="130"/>
                  <a:pt x="666" y="130"/>
                  <a:pt x="666" y="130"/>
                </a:cubicBezTo>
                <a:cubicBezTo>
                  <a:pt x="666" y="131"/>
                  <a:pt x="666" y="131"/>
                  <a:pt x="666" y="131"/>
                </a:cubicBezTo>
                <a:cubicBezTo>
                  <a:pt x="666" y="131"/>
                  <a:pt x="665" y="131"/>
                  <a:pt x="665" y="131"/>
                </a:cubicBezTo>
                <a:cubicBezTo>
                  <a:pt x="664" y="132"/>
                  <a:pt x="664" y="132"/>
                  <a:pt x="663" y="132"/>
                </a:cubicBezTo>
                <a:cubicBezTo>
                  <a:pt x="663" y="132"/>
                  <a:pt x="662" y="132"/>
                  <a:pt x="662" y="132"/>
                </a:cubicBezTo>
                <a:cubicBezTo>
                  <a:pt x="661" y="132"/>
                  <a:pt x="661" y="132"/>
                  <a:pt x="661" y="133"/>
                </a:cubicBezTo>
                <a:cubicBezTo>
                  <a:pt x="661" y="133"/>
                  <a:pt x="661" y="133"/>
                  <a:pt x="660" y="133"/>
                </a:cubicBezTo>
                <a:cubicBezTo>
                  <a:pt x="660" y="133"/>
                  <a:pt x="660" y="133"/>
                  <a:pt x="660" y="133"/>
                </a:cubicBezTo>
                <a:cubicBezTo>
                  <a:pt x="661" y="133"/>
                  <a:pt x="661" y="133"/>
                  <a:pt x="661" y="134"/>
                </a:cubicBezTo>
                <a:cubicBezTo>
                  <a:pt x="661" y="133"/>
                  <a:pt x="662" y="133"/>
                  <a:pt x="662" y="133"/>
                </a:cubicBezTo>
                <a:cubicBezTo>
                  <a:pt x="662" y="133"/>
                  <a:pt x="663" y="133"/>
                  <a:pt x="663" y="133"/>
                </a:cubicBezTo>
                <a:cubicBezTo>
                  <a:pt x="663" y="133"/>
                  <a:pt x="663" y="133"/>
                  <a:pt x="663" y="133"/>
                </a:cubicBezTo>
                <a:cubicBezTo>
                  <a:pt x="664" y="133"/>
                  <a:pt x="664" y="133"/>
                  <a:pt x="664" y="133"/>
                </a:cubicBezTo>
                <a:cubicBezTo>
                  <a:pt x="665" y="133"/>
                  <a:pt x="665" y="133"/>
                  <a:pt x="665" y="132"/>
                </a:cubicBezTo>
                <a:cubicBezTo>
                  <a:pt x="666" y="132"/>
                  <a:pt x="666" y="133"/>
                  <a:pt x="666" y="133"/>
                </a:cubicBezTo>
                <a:cubicBezTo>
                  <a:pt x="666" y="133"/>
                  <a:pt x="665" y="133"/>
                  <a:pt x="665" y="133"/>
                </a:cubicBezTo>
                <a:cubicBezTo>
                  <a:pt x="665" y="133"/>
                  <a:pt x="665" y="133"/>
                  <a:pt x="665" y="133"/>
                </a:cubicBezTo>
                <a:cubicBezTo>
                  <a:pt x="664" y="133"/>
                  <a:pt x="664" y="133"/>
                  <a:pt x="664" y="134"/>
                </a:cubicBezTo>
                <a:cubicBezTo>
                  <a:pt x="664" y="134"/>
                  <a:pt x="663" y="134"/>
                  <a:pt x="663" y="134"/>
                </a:cubicBezTo>
                <a:cubicBezTo>
                  <a:pt x="663" y="134"/>
                  <a:pt x="663" y="134"/>
                  <a:pt x="663" y="134"/>
                </a:cubicBezTo>
                <a:cubicBezTo>
                  <a:pt x="663" y="134"/>
                  <a:pt x="662" y="134"/>
                  <a:pt x="662" y="134"/>
                </a:cubicBezTo>
                <a:cubicBezTo>
                  <a:pt x="662" y="135"/>
                  <a:pt x="662" y="135"/>
                  <a:pt x="662" y="135"/>
                </a:cubicBezTo>
                <a:cubicBezTo>
                  <a:pt x="662" y="135"/>
                  <a:pt x="661" y="135"/>
                  <a:pt x="661" y="135"/>
                </a:cubicBezTo>
                <a:cubicBezTo>
                  <a:pt x="661" y="135"/>
                  <a:pt x="661" y="136"/>
                  <a:pt x="661" y="136"/>
                </a:cubicBezTo>
                <a:cubicBezTo>
                  <a:pt x="662" y="136"/>
                  <a:pt x="662" y="136"/>
                  <a:pt x="662" y="136"/>
                </a:cubicBezTo>
                <a:cubicBezTo>
                  <a:pt x="662" y="135"/>
                  <a:pt x="663" y="135"/>
                  <a:pt x="663" y="135"/>
                </a:cubicBezTo>
                <a:cubicBezTo>
                  <a:pt x="663" y="134"/>
                  <a:pt x="664" y="134"/>
                  <a:pt x="664" y="134"/>
                </a:cubicBezTo>
                <a:cubicBezTo>
                  <a:pt x="664" y="134"/>
                  <a:pt x="664" y="134"/>
                  <a:pt x="665" y="134"/>
                </a:cubicBezTo>
                <a:cubicBezTo>
                  <a:pt x="665" y="134"/>
                  <a:pt x="665" y="134"/>
                  <a:pt x="665" y="134"/>
                </a:cubicBezTo>
                <a:cubicBezTo>
                  <a:pt x="665" y="134"/>
                  <a:pt x="665" y="134"/>
                  <a:pt x="665" y="134"/>
                </a:cubicBezTo>
                <a:cubicBezTo>
                  <a:pt x="665" y="134"/>
                  <a:pt x="666" y="134"/>
                  <a:pt x="666" y="134"/>
                </a:cubicBezTo>
                <a:cubicBezTo>
                  <a:pt x="666" y="134"/>
                  <a:pt x="666" y="134"/>
                  <a:pt x="666" y="135"/>
                </a:cubicBezTo>
                <a:cubicBezTo>
                  <a:pt x="666" y="135"/>
                  <a:pt x="666" y="135"/>
                  <a:pt x="666" y="135"/>
                </a:cubicBezTo>
                <a:cubicBezTo>
                  <a:pt x="666" y="135"/>
                  <a:pt x="665" y="135"/>
                  <a:pt x="665" y="135"/>
                </a:cubicBezTo>
                <a:cubicBezTo>
                  <a:pt x="665" y="135"/>
                  <a:pt x="665" y="135"/>
                  <a:pt x="665" y="135"/>
                </a:cubicBezTo>
                <a:cubicBezTo>
                  <a:pt x="664" y="135"/>
                  <a:pt x="664" y="135"/>
                  <a:pt x="663" y="135"/>
                </a:cubicBezTo>
                <a:cubicBezTo>
                  <a:pt x="663" y="135"/>
                  <a:pt x="663" y="135"/>
                  <a:pt x="663" y="136"/>
                </a:cubicBezTo>
                <a:cubicBezTo>
                  <a:pt x="663" y="136"/>
                  <a:pt x="663" y="136"/>
                  <a:pt x="663" y="136"/>
                </a:cubicBezTo>
                <a:cubicBezTo>
                  <a:pt x="664" y="136"/>
                  <a:pt x="664" y="136"/>
                  <a:pt x="664" y="136"/>
                </a:cubicBezTo>
                <a:cubicBezTo>
                  <a:pt x="665" y="136"/>
                  <a:pt x="665" y="136"/>
                  <a:pt x="665" y="136"/>
                </a:cubicBezTo>
                <a:cubicBezTo>
                  <a:pt x="666" y="136"/>
                  <a:pt x="666" y="135"/>
                  <a:pt x="666" y="135"/>
                </a:cubicBezTo>
                <a:cubicBezTo>
                  <a:pt x="666" y="135"/>
                  <a:pt x="666" y="135"/>
                  <a:pt x="666" y="135"/>
                </a:cubicBezTo>
                <a:cubicBezTo>
                  <a:pt x="667" y="135"/>
                  <a:pt x="667" y="136"/>
                  <a:pt x="667" y="136"/>
                </a:cubicBezTo>
                <a:cubicBezTo>
                  <a:pt x="667" y="136"/>
                  <a:pt x="667" y="136"/>
                  <a:pt x="667" y="136"/>
                </a:cubicBezTo>
                <a:cubicBezTo>
                  <a:pt x="667" y="136"/>
                  <a:pt x="667" y="136"/>
                  <a:pt x="667" y="137"/>
                </a:cubicBezTo>
                <a:cubicBezTo>
                  <a:pt x="666" y="136"/>
                  <a:pt x="665" y="136"/>
                  <a:pt x="665" y="136"/>
                </a:cubicBezTo>
                <a:cubicBezTo>
                  <a:pt x="664" y="136"/>
                  <a:pt x="664" y="136"/>
                  <a:pt x="663" y="136"/>
                </a:cubicBezTo>
                <a:cubicBezTo>
                  <a:pt x="663" y="136"/>
                  <a:pt x="663" y="136"/>
                  <a:pt x="663" y="137"/>
                </a:cubicBezTo>
                <a:cubicBezTo>
                  <a:pt x="663" y="137"/>
                  <a:pt x="663" y="137"/>
                  <a:pt x="664" y="137"/>
                </a:cubicBezTo>
                <a:cubicBezTo>
                  <a:pt x="664" y="137"/>
                  <a:pt x="664" y="137"/>
                  <a:pt x="665" y="137"/>
                </a:cubicBezTo>
                <a:cubicBezTo>
                  <a:pt x="665" y="137"/>
                  <a:pt x="665" y="138"/>
                  <a:pt x="666" y="138"/>
                </a:cubicBezTo>
                <a:cubicBezTo>
                  <a:pt x="666" y="138"/>
                  <a:pt x="666" y="138"/>
                  <a:pt x="666" y="138"/>
                </a:cubicBezTo>
                <a:cubicBezTo>
                  <a:pt x="666" y="138"/>
                  <a:pt x="666" y="138"/>
                  <a:pt x="666" y="139"/>
                </a:cubicBezTo>
                <a:cubicBezTo>
                  <a:pt x="665" y="138"/>
                  <a:pt x="665" y="138"/>
                  <a:pt x="665" y="138"/>
                </a:cubicBezTo>
                <a:cubicBezTo>
                  <a:pt x="665" y="138"/>
                  <a:pt x="665" y="138"/>
                  <a:pt x="665" y="138"/>
                </a:cubicBezTo>
                <a:cubicBezTo>
                  <a:pt x="665" y="138"/>
                  <a:pt x="664" y="138"/>
                  <a:pt x="664" y="138"/>
                </a:cubicBezTo>
                <a:cubicBezTo>
                  <a:pt x="665" y="138"/>
                  <a:pt x="665" y="139"/>
                  <a:pt x="665" y="139"/>
                </a:cubicBezTo>
                <a:cubicBezTo>
                  <a:pt x="665" y="139"/>
                  <a:pt x="666" y="139"/>
                  <a:pt x="666" y="139"/>
                </a:cubicBezTo>
                <a:cubicBezTo>
                  <a:pt x="667" y="139"/>
                  <a:pt x="667" y="139"/>
                  <a:pt x="668" y="140"/>
                </a:cubicBezTo>
                <a:cubicBezTo>
                  <a:pt x="668" y="140"/>
                  <a:pt x="668" y="140"/>
                  <a:pt x="668" y="140"/>
                </a:cubicBezTo>
                <a:cubicBezTo>
                  <a:pt x="667" y="140"/>
                  <a:pt x="667" y="140"/>
                  <a:pt x="667" y="140"/>
                </a:cubicBezTo>
                <a:cubicBezTo>
                  <a:pt x="667" y="140"/>
                  <a:pt x="667" y="140"/>
                  <a:pt x="667" y="140"/>
                </a:cubicBezTo>
                <a:cubicBezTo>
                  <a:pt x="667" y="140"/>
                  <a:pt x="667" y="140"/>
                  <a:pt x="666" y="140"/>
                </a:cubicBezTo>
                <a:cubicBezTo>
                  <a:pt x="666" y="140"/>
                  <a:pt x="666" y="140"/>
                  <a:pt x="665" y="140"/>
                </a:cubicBezTo>
                <a:cubicBezTo>
                  <a:pt x="665" y="140"/>
                  <a:pt x="665" y="140"/>
                  <a:pt x="665" y="140"/>
                </a:cubicBezTo>
                <a:cubicBezTo>
                  <a:pt x="665" y="140"/>
                  <a:pt x="665" y="140"/>
                  <a:pt x="665" y="140"/>
                </a:cubicBezTo>
                <a:cubicBezTo>
                  <a:pt x="665" y="140"/>
                  <a:pt x="666" y="141"/>
                  <a:pt x="666" y="141"/>
                </a:cubicBezTo>
                <a:cubicBezTo>
                  <a:pt x="667" y="141"/>
                  <a:pt x="667" y="141"/>
                  <a:pt x="667" y="141"/>
                </a:cubicBezTo>
                <a:cubicBezTo>
                  <a:pt x="667" y="141"/>
                  <a:pt x="667" y="141"/>
                  <a:pt x="667" y="141"/>
                </a:cubicBezTo>
                <a:cubicBezTo>
                  <a:pt x="668" y="141"/>
                  <a:pt x="668" y="141"/>
                  <a:pt x="668" y="141"/>
                </a:cubicBezTo>
                <a:cubicBezTo>
                  <a:pt x="668" y="141"/>
                  <a:pt x="668" y="141"/>
                  <a:pt x="668" y="141"/>
                </a:cubicBezTo>
                <a:cubicBezTo>
                  <a:pt x="668" y="141"/>
                  <a:pt x="668" y="141"/>
                  <a:pt x="668" y="142"/>
                </a:cubicBezTo>
                <a:cubicBezTo>
                  <a:pt x="668" y="142"/>
                  <a:pt x="668" y="142"/>
                  <a:pt x="667" y="142"/>
                </a:cubicBezTo>
                <a:cubicBezTo>
                  <a:pt x="667" y="142"/>
                  <a:pt x="667" y="142"/>
                  <a:pt x="666" y="142"/>
                </a:cubicBezTo>
                <a:cubicBezTo>
                  <a:pt x="666" y="142"/>
                  <a:pt x="666" y="141"/>
                  <a:pt x="665" y="141"/>
                </a:cubicBezTo>
                <a:cubicBezTo>
                  <a:pt x="665" y="141"/>
                  <a:pt x="665" y="141"/>
                  <a:pt x="664" y="141"/>
                </a:cubicBezTo>
                <a:cubicBezTo>
                  <a:pt x="664" y="141"/>
                  <a:pt x="664" y="141"/>
                  <a:pt x="663" y="140"/>
                </a:cubicBezTo>
                <a:cubicBezTo>
                  <a:pt x="663" y="140"/>
                  <a:pt x="663" y="140"/>
                  <a:pt x="662" y="139"/>
                </a:cubicBezTo>
                <a:cubicBezTo>
                  <a:pt x="662" y="139"/>
                  <a:pt x="662" y="139"/>
                  <a:pt x="662" y="139"/>
                </a:cubicBezTo>
                <a:cubicBezTo>
                  <a:pt x="661" y="139"/>
                  <a:pt x="661" y="139"/>
                  <a:pt x="661" y="139"/>
                </a:cubicBezTo>
                <a:cubicBezTo>
                  <a:pt x="661" y="139"/>
                  <a:pt x="661" y="139"/>
                  <a:pt x="660" y="139"/>
                </a:cubicBezTo>
                <a:cubicBezTo>
                  <a:pt x="660" y="139"/>
                  <a:pt x="660" y="139"/>
                  <a:pt x="659" y="139"/>
                </a:cubicBezTo>
                <a:cubicBezTo>
                  <a:pt x="659" y="139"/>
                  <a:pt x="659" y="139"/>
                  <a:pt x="658" y="139"/>
                </a:cubicBezTo>
                <a:cubicBezTo>
                  <a:pt x="658" y="139"/>
                  <a:pt x="658" y="139"/>
                  <a:pt x="658" y="139"/>
                </a:cubicBezTo>
                <a:cubicBezTo>
                  <a:pt x="658" y="139"/>
                  <a:pt x="657" y="139"/>
                  <a:pt x="657" y="139"/>
                </a:cubicBezTo>
                <a:cubicBezTo>
                  <a:pt x="657" y="139"/>
                  <a:pt x="656" y="139"/>
                  <a:pt x="656" y="139"/>
                </a:cubicBezTo>
                <a:cubicBezTo>
                  <a:pt x="655" y="139"/>
                  <a:pt x="655" y="138"/>
                  <a:pt x="655" y="138"/>
                </a:cubicBezTo>
                <a:cubicBezTo>
                  <a:pt x="654" y="138"/>
                  <a:pt x="654" y="138"/>
                  <a:pt x="654" y="138"/>
                </a:cubicBezTo>
                <a:cubicBezTo>
                  <a:pt x="653" y="138"/>
                  <a:pt x="653" y="138"/>
                  <a:pt x="653" y="138"/>
                </a:cubicBezTo>
                <a:cubicBezTo>
                  <a:pt x="653" y="138"/>
                  <a:pt x="653" y="138"/>
                  <a:pt x="652" y="138"/>
                </a:cubicBezTo>
                <a:cubicBezTo>
                  <a:pt x="652" y="139"/>
                  <a:pt x="652" y="139"/>
                  <a:pt x="651" y="139"/>
                </a:cubicBezTo>
                <a:cubicBezTo>
                  <a:pt x="651" y="139"/>
                  <a:pt x="651" y="139"/>
                  <a:pt x="650" y="140"/>
                </a:cubicBezTo>
                <a:cubicBezTo>
                  <a:pt x="650" y="140"/>
                  <a:pt x="650" y="140"/>
                  <a:pt x="650" y="140"/>
                </a:cubicBezTo>
                <a:cubicBezTo>
                  <a:pt x="650" y="140"/>
                  <a:pt x="651" y="140"/>
                  <a:pt x="651" y="140"/>
                </a:cubicBezTo>
                <a:cubicBezTo>
                  <a:pt x="651" y="140"/>
                  <a:pt x="651" y="140"/>
                  <a:pt x="652" y="141"/>
                </a:cubicBezTo>
                <a:cubicBezTo>
                  <a:pt x="652" y="141"/>
                  <a:pt x="652" y="141"/>
                  <a:pt x="652" y="141"/>
                </a:cubicBezTo>
                <a:cubicBezTo>
                  <a:pt x="652" y="142"/>
                  <a:pt x="652" y="142"/>
                  <a:pt x="652" y="142"/>
                </a:cubicBezTo>
                <a:cubicBezTo>
                  <a:pt x="653" y="142"/>
                  <a:pt x="653" y="142"/>
                  <a:pt x="653" y="142"/>
                </a:cubicBezTo>
                <a:cubicBezTo>
                  <a:pt x="654" y="142"/>
                  <a:pt x="654" y="142"/>
                  <a:pt x="655" y="142"/>
                </a:cubicBezTo>
                <a:cubicBezTo>
                  <a:pt x="656" y="143"/>
                  <a:pt x="656" y="143"/>
                  <a:pt x="657" y="143"/>
                </a:cubicBezTo>
                <a:cubicBezTo>
                  <a:pt x="658" y="143"/>
                  <a:pt x="658" y="143"/>
                  <a:pt x="658" y="143"/>
                </a:cubicBezTo>
                <a:cubicBezTo>
                  <a:pt x="659" y="143"/>
                  <a:pt x="659" y="143"/>
                  <a:pt x="659" y="144"/>
                </a:cubicBezTo>
                <a:cubicBezTo>
                  <a:pt x="659" y="144"/>
                  <a:pt x="659" y="144"/>
                  <a:pt x="659" y="144"/>
                </a:cubicBezTo>
                <a:cubicBezTo>
                  <a:pt x="659" y="144"/>
                  <a:pt x="660" y="144"/>
                  <a:pt x="660" y="144"/>
                </a:cubicBezTo>
                <a:cubicBezTo>
                  <a:pt x="660" y="144"/>
                  <a:pt x="660" y="144"/>
                  <a:pt x="661" y="144"/>
                </a:cubicBezTo>
                <a:cubicBezTo>
                  <a:pt x="661" y="144"/>
                  <a:pt x="661" y="144"/>
                  <a:pt x="662" y="144"/>
                </a:cubicBezTo>
                <a:cubicBezTo>
                  <a:pt x="662" y="144"/>
                  <a:pt x="662" y="144"/>
                  <a:pt x="662" y="144"/>
                </a:cubicBezTo>
                <a:cubicBezTo>
                  <a:pt x="663" y="144"/>
                  <a:pt x="663" y="144"/>
                  <a:pt x="663" y="144"/>
                </a:cubicBezTo>
                <a:cubicBezTo>
                  <a:pt x="663" y="144"/>
                  <a:pt x="663" y="144"/>
                  <a:pt x="664" y="144"/>
                </a:cubicBezTo>
                <a:cubicBezTo>
                  <a:pt x="664" y="144"/>
                  <a:pt x="664" y="144"/>
                  <a:pt x="665" y="144"/>
                </a:cubicBezTo>
                <a:cubicBezTo>
                  <a:pt x="665" y="144"/>
                  <a:pt x="665" y="144"/>
                  <a:pt x="665" y="144"/>
                </a:cubicBezTo>
                <a:cubicBezTo>
                  <a:pt x="665" y="144"/>
                  <a:pt x="666" y="144"/>
                  <a:pt x="666" y="144"/>
                </a:cubicBezTo>
                <a:cubicBezTo>
                  <a:pt x="666" y="144"/>
                  <a:pt x="666" y="144"/>
                  <a:pt x="667" y="144"/>
                </a:cubicBezTo>
                <a:cubicBezTo>
                  <a:pt x="667" y="144"/>
                  <a:pt x="667" y="144"/>
                  <a:pt x="668" y="144"/>
                </a:cubicBezTo>
                <a:cubicBezTo>
                  <a:pt x="668" y="144"/>
                  <a:pt x="668" y="144"/>
                  <a:pt x="669" y="143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8" y="144"/>
                  <a:pt x="668" y="144"/>
                  <a:pt x="668" y="144"/>
                </a:cubicBezTo>
                <a:cubicBezTo>
                  <a:pt x="668" y="144"/>
                  <a:pt x="668" y="145"/>
                  <a:pt x="668" y="145"/>
                </a:cubicBezTo>
                <a:cubicBezTo>
                  <a:pt x="668" y="145"/>
                  <a:pt x="668" y="145"/>
                  <a:pt x="669" y="145"/>
                </a:cubicBezTo>
                <a:cubicBezTo>
                  <a:pt x="669" y="145"/>
                  <a:pt x="669" y="145"/>
                  <a:pt x="669" y="145"/>
                </a:cubicBezTo>
                <a:cubicBezTo>
                  <a:pt x="669" y="145"/>
                  <a:pt x="669" y="145"/>
                  <a:pt x="669" y="145"/>
                </a:cubicBezTo>
                <a:cubicBezTo>
                  <a:pt x="669" y="145"/>
                  <a:pt x="669" y="146"/>
                  <a:pt x="669" y="146"/>
                </a:cubicBezTo>
                <a:cubicBezTo>
                  <a:pt x="668" y="146"/>
                  <a:pt x="668" y="146"/>
                  <a:pt x="668" y="146"/>
                </a:cubicBezTo>
                <a:cubicBezTo>
                  <a:pt x="668" y="146"/>
                  <a:pt x="668" y="146"/>
                  <a:pt x="667" y="146"/>
                </a:cubicBezTo>
                <a:cubicBezTo>
                  <a:pt x="667" y="146"/>
                  <a:pt x="667" y="147"/>
                  <a:pt x="666" y="147"/>
                </a:cubicBezTo>
                <a:cubicBezTo>
                  <a:pt x="666" y="147"/>
                  <a:pt x="666" y="147"/>
                  <a:pt x="666" y="147"/>
                </a:cubicBezTo>
                <a:cubicBezTo>
                  <a:pt x="666" y="147"/>
                  <a:pt x="666" y="147"/>
                  <a:pt x="666" y="147"/>
                </a:cubicBezTo>
                <a:cubicBezTo>
                  <a:pt x="667" y="147"/>
                  <a:pt x="667" y="147"/>
                  <a:pt x="667" y="147"/>
                </a:cubicBezTo>
                <a:cubicBezTo>
                  <a:pt x="668" y="147"/>
                  <a:pt x="668" y="147"/>
                  <a:pt x="668" y="147"/>
                </a:cubicBezTo>
                <a:cubicBezTo>
                  <a:pt x="668" y="147"/>
                  <a:pt x="668" y="147"/>
                  <a:pt x="668" y="148"/>
                </a:cubicBezTo>
                <a:cubicBezTo>
                  <a:pt x="668" y="148"/>
                  <a:pt x="668" y="148"/>
                  <a:pt x="668" y="148"/>
                </a:cubicBezTo>
                <a:cubicBezTo>
                  <a:pt x="667" y="148"/>
                  <a:pt x="667" y="148"/>
                  <a:pt x="667" y="148"/>
                </a:cubicBezTo>
                <a:cubicBezTo>
                  <a:pt x="667" y="148"/>
                  <a:pt x="667" y="148"/>
                  <a:pt x="667" y="148"/>
                </a:cubicBezTo>
                <a:cubicBezTo>
                  <a:pt x="666" y="148"/>
                  <a:pt x="666" y="148"/>
                  <a:pt x="666" y="148"/>
                </a:cubicBezTo>
                <a:cubicBezTo>
                  <a:pt x="666" y="148"/>
                  <a:pt x="666" y="149"/>
                  <a:pt x="665" y="149"/>
                </a:cubicBezTo>
                <a:cubicBezTo>
                  <a:pt x="665" y="149"/>
                  <a:pt x="665" y="149"/>
                  <a:pt x="665" y="149"/>
                </a:cubicBezTo>
                <a:cubicBezTo>
                  <a:pt x="665" y="149"/>
                  <a:pt x="664" y="149"/>
                  <a:pt x="664" y="150"/>
                </a:cubicBezTo>
                <a:cubicBezTo>
                  <a:pt x="664" y="150"/>
                  <a:pt x="664" y="150"/>
                  <a:pt x="664" y="150"/>
                </a:cubicBezTo>
                <a:cubicBezTo>
                  <a:pt x="665" y="150"/>
                  <a:pt x="665" y="150"/>
                  <a:pt x="665" y="150"/>
                </a:cubicBezTo>
                <a:cubicBezTo>
                  <a:pt x="665" y="150"/>
                  <a:pt x="666" y="150"/>
                  <a:pt x="666" y="150"/>
                </a:cubicBezTo>
                <a:cubicBezTo>
                  <a:pt x="666" y="150"/>
                  <a:pt x="666" y="150"/>
                  <a:pt x="666" y="150"/>
                </a:cubicBezTo>
                <a:cubicBezTo>
                  <a:pt x="666" y="150"/>
                  <a:pt x="666" y="150"/>
                  <a:pt x="667" y="150"/>
                </a:cubicBezTo>
                <a:cubicBezTo>
                  <a:pt x="667" y="150"/>
                  <a:pt x="667" y="150"/>
                  <a:pt x="667" y="150"/>
                </a:cubicBezTo>
                <a:cubicBezTo>
                  <a:pt x="667" y="150"/>
                  <a:pt x="667" y="150"/>
                  <a:pt x="668" y="150"/>
                </a:cubicBezTo>
                <a:cubicBezTo>
                  <a:pt x="668" y="150"/>
                  <a:pt x="668" y="150"/>
                  <a:pt x="668" y="150"/>
                </a:cubicBezTo>
                <a:cubicBezTo>
                  <a:pt x="668" y="150"/>
                  <a:pt x="668" y="150"/>
                  <a:pt x="668" y="150"/>
                </a:cubicBezTo>
                <a:cubicBezTo>
                  <a:pt x="668" y="150"/>
                  <a:pt x="667" y="150"/>
                  <a:pt x="667" y="151"/>
                </a:cubicBezTo>
                <a:cubicBezTo>
                  <a:pt x="667" y="151"/>
                  <a:pt x="666" y="151"/>
                  <a:pt x="666" y="151"/>
                </a:cubicBezTo>
                <a:cubicBezTo>
                  <a:pt x="666" y="151"/>
                  <a:pt x="666" y="151"/>
                  <a:pt x="666" y="151"/>
                </a:cubicBezTo>
                <a:cubicBezTo>
                  <a:pt x="667" y="151"/>
                  <a:pt x="667" y="151"/>
                  <a:pt x="668" y="151"/>
                </a:cubicBezTo>
                <a:cubicBezTo>
                  <a:pt x="668" y="151"/>
                  <a:pt x="668" y="151"/>
                  <a:pt x="668" y="151"/>
                </a:cubicBezTo>
                <a:cubicBezTo>
                  <a:pt x="668" y="151"/>
                  <a:pt x="668" y="151"/>
                  <a:pt x="669" y="151"/>
                </a:cubicBezTo>
                <a:cubicBezTo>
                  <a:pt x="668" y="151"/>
                  <a:pt x="668" y="151"/>
                  <a:pt x="668" y="151"/>
                </a:cubicBezTo>
                <a:cubicBezTo>
                  <a:pt x="668" y="151"/>
                  <a:pt x="668" y="151"/>
                  <a:pt x="667" y="151"/>
                </a:cubicBezTo>
                <a:cubicBezTo>
                  <a:pt x="667" y="151"/>
                  <a:pt x="667" y="152"/>
                  <a:pt x="667" y="152"/>
                </a:cubicBezTo>
                <a:cubicBezTo>
                  <a:pt x="667" y="152"/>
                  <a:pt x="667" y="152"/>
                  <a:pt x="667" y="152"/>
                </a:cubicBezTo>
                <a:cubicBezTo>
                  <a:pt x="667" y="152"/>
                  <a:pt x="666" y="152"/>
                  <a:pt x="666" y="151"/>
                </a:cubicBezTo>
                <a:cubicBezTo>
                  <a:pt x="666" y="151"/>
                  <a:pt x="666" y="152"/>
                  <a:pt x="666" y="152"/>
                </a:cubicBezTo>
                <a:cubicBezTo>
                  <a:pt x="665" y="152"/>
                  <a:pt x="665" y="152"/>
                  <a:pt x="665" y="152"/>
                </a:cubicBezTo>
                <a:cubicBezTo>
                  <a:pt x="665" y="151"/>
                  <a:pt x="664" y="151"/>
                  <a:pt x="664" y="151"/>
                </a:cubicBezTo>
                <a:cubicBezTo>
                  <a:pt x="665" y="151"/>
                  <a:pt x="665" y="151"/>
                  <a:pt x="665" y="151"/>
                </a:cubicBezTo>
                <a:cubicBezTo>
                  <a:pt x="664" y="151"/>
                  <a:pt x="664" y="151"/>
                  <a:pt x="664" y="150"/>
                </a:cubicBezTo>
                <a:cubicBezTo>
                  <a:pt x="664" y="150"/>
                  <a:pt x="664" y="150"/>
                  <a:pt x="664" y="150"/>
                </a:cubicBezTo>
                <a:cubicBezTo>
                  <a:pt x="663" y="150"/>
                  <a:pt x="663" y="150"/>
                  <a:pt x="663" y="151"/>
                </a:cubicBezTo>
                <a:cubicBezTo>
                  <a:pt x="663" y="151"/>
                  <a:pt x="663" y="151"/>
                  <a:pt x="663" y="151"/>
                </a:cubicBezTo>
                <a:cubicBezTo>
                  <a:pt x="663" y="152"/>
                  <a:pt x="663" y="152"/>
                  <a:pt x="663" y="153"/>
                </a:cubicBezTo>
                <a:cubicBezTo>
                  <a:pt x="663" y="153"/>
                  <a:pt x="663" y="153"/>
                  <a:pt x="662" y="153"/>
                </a:cubicBezTo>
                <a:cubicBezTo>
                  <a:pt x="663" y="153"/>
                  <a:pt x="663" y="153"/>
                  <a:pt x="663" y="154"/>
                </a:cubicBezTo>
                <a:cubicBezTo>
                  <a:pt x="663" y="154"/>
                  <a:pt x="663" y="153"/>
                  <a:pt x="663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4"/>
                  <a:pt x="664" y="154"/>
                  <a:pt x="663" y="154"/>
                </a:cubicBezTo>
                <a:cubicBezTo>
                  <a:pt x="663" y="154"/>
                  <a:pt x="663" y="154"/>
                  <a:pt x="663" y="154"/>
                </a:cubicBezTo>
                <a:cubicBezTo>
                  <a:pt x="663" y="154"/>
                  <a:pt x="663" y="154"/>
                  <a:pt x="662" y="154"/>
                </a:cubicBezTo>
                <a:cubicBezTo>
                  <a:pt x="662" y="155"/>
                  <a:pt x="662" y="155"/>
                  <a:pt x="662" y="155"/>
                </a:cubicBezTo>
                <a:cubicBezTo>
                  <a:pt x="662" y="155"/>
                  <a:pt x="662" y="155"/>
                  <a:pt x="661" y="155"/>
                </a:cubicBezTo>
                <a:cubicBezTo>
                  <a:pt x="661" y="155"/>
                  <a:pt x="661" y="155"/>
                  <a:pt x="660" y="155"/>
                </a:cubicBezTo>
                <a:cubicBezTo>
                  <a:pt x="660" y="155"/>
                  <a:pt x="660" y="155"/>
                  <a:pt x="659" y="155"/>
                </a:cubicBezTo>
                <a:cubicBezTo>
                  <a:pt x="659" y="155"/>
                  <a:pt x="659" y="155"/>
                  <a:pt x="659" y="155"/>
                </a:cubicBezTo>
                <a:cubicBezTo>
                  <a:pt x="658" y="155"/>
                  <a:pt x="658" y="155"/>
                  <a:pt x="658" y="155"/>
                </a:cubicBezTo>
                <a:cubicBezTo>
                  <a:pt x="657" y="155"/>
                  <a:pt x="657" y="156"/>
                  <a:pt x="657" y="156"/>
                </a:cubicBezTo>
                <a:cubicBezTo>
                  <a:pt x="656" y="156"/>
                  <a:pt x="656" y="156"/>
                  <a:pt x="655" y="156"/>
                </a:cubicBezTo>
                <a:cubicBezTo>
                  <a:pt x="655" y="156"/>
                  <a:pt x="655" y="157"/>
                  <a:pt x="654" y="157"/>
                </a:cubicBezTo>
                <a:cubicBezTo>
                  <a:pt x="654" y="157"/>
                  <a:pt x="654" y="157"/>
                  <a:pt x="654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6" y="156"/>
                  <a:pt x="656" y="156"/>
                  <a:pt x="656" y="156"/>
                </a:cubicBezTo>
                <a:cubicBezTo>
                  <a:pt x="656" y="157"/>
                  <a:pt x="656" y="157"/>
                  <a:pt x="656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6" y="157"/>
                  <a:pt x="656" y="157"/>
                  <a:pt x="656" y="157"/>
                </a:cubicBezTo>
                <a:cubicBezTo>
                  <a:pt x="656" y="158"/>
                  <a:pt x="657" y="158"/>
                  <a:pt x="657" y="158"/>
                </a:cubicBezTo>
                <a:cubicBezTo>
                  <a:pt x="657" y="158"/>
                  <a:pt x="658" y="158"/>
                  <a:pt x="658" y="158"/>
                </a:cubicBezTo>
                <a:cubicBezTo>
                  <a:pt x="658" y="158"/>
                  <a:pt x="658" y="158"/>
                  <a:pt x="659" y="158"/>
                </a:cubicBezTo>
                <a:cubicBezTo>
                  <a:pt x="659" y="157"/>
                  <a:pt x="659" y="157"/>
                  <a:pt x="659" y="157"/>
                </a:cubicBezTo>
                <a:cubicBezTo>
                  <a:pt x="660" y="157"/>
                  <a:pt x="660" y="157"/>
                  <a:pt x="661" y="157"/>
                </a:cubicBezTo>
                <a:cubicBezTo>
                  <a:pt x="661" y="157"/>
                  <a:pt x="661" y="157"/>
                  <a:pt x="661" y="157"/>
                </a:cubicBezTo>
                <a:cubicBezTo>
                  <a:pt x="661" y="157"/>
                  <a:pt x="660" y="157"/>
                  <a:pt x="660" y="157"/>
                </a:cubicBezTo>
                <a:cubicBezTo>
                  <a:pt x="660" y="157"/>
                  <a:pt x="660" y="156"/>
                  <a:pt x="660" y="156"/>
                </a:cubicBezTo>
                <a:cubicBezTo>
                  <a:pt x="660" y="156"/>
                  <a:pt x="660" y="156"/>
                  <a:pt x="660" y="156"/>
                </a:cubicBezTo>
                <a:cubicBezTo>
                  <a:pt x="661" y="156"/>
                  <a:pt x="661" y="156"/>
                  <a:pt x="662" y="156"/>
                </a:cubicBezTo>
                <a:cubicBezTo>
                  <a:pt x="662" y="156"/>
                  <a:pt x="662" y="156"/>
                  <a:pt x="662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2" y="156"/>
                  <a:pt x="662" y="156"/>
                </a:cubicBezTo>
                <a:cubicBezTo>
                  <a:pt x="662" y="157"/>
                  <a:pt x="662" y="157"/>
                  <a:pt x="662" y="157"/>
                </a:cubicBezTo>
                <a:cubicBezTo>
                  <a:pt x="662" y="157"/>
                  <a:pt x="661" y="157"/>
                  <a:pt x="661" y="157"/>
                </a:cubicBezTo>
                <a:cubicBezTo>
                  <a:pt x="661" y="157"/>
                  <a:pt x="661" y="158"/>
                  <a:pt x="661" y="158"/>
                </a:cubicBezTo>
                <a:cubicBezTo>
                  <a:pt x="661" y="158"/>
                  <a:pt x="661" y="158"/>
                  <a:pt x="661" y="158"/>
                </a:cubicBezTo>
                <a:cubicBezTo>
                  <a:pt x="662" y="158"/>
                  <a:pt x="663" y="158"/>
                  <a:pt x="664" y="159"/>
                </a:cubicBezTo>
                <a:cubicBezTo>
                  <a:pt x="664" y="159"/>
                  <a:pt x="664" y="159"/>
                  <a:pt x="665" y="159"/>
                </a:cubicBezTo>
                <a:cubicBezTo>
                  <a:pt x="665" y="159"/>
                  <a:pt x="665" y="159"/>
                  <a:pt x="665" y="159"/>
                </a:cubicBezTo>
                <a:cubicBezTo>
                  <a:pt x="665" y="159"/>
                  <a:pt x="664" y="160"/>
                  <a:pt x="664" y="160"/>
                </a:cubicBezTo>
                <a:cubicBezTo>
                  <a:pt x="664" y="159"/>
                  <a:pt x="664" y="159"/>
                  <a:pt x="664" y="159"/>
                </a:cubicBezTo>
                <a:cubicBezTo>
                  <a:pt x="663" y="159"/>
                  <a:pt x="663" y="159"/>
                  <a:pt x="663" y="159"/>
                </a:cubicBezTo>
                <a:cubicBezTo>
                  <a:pt x="662" y="159"/>
                  <a:pt x="662" y="159"/>
                  <a:pt x="661" y="159"/>
                </a:cubicBezTo>
                <a:cubicBezTo>
                  <a:pt x="661" y="159"/>
                  <a:pt x="661" y="159"/>
                  <a:pt x="661" y="159"/>
                </a:cubicBezTo>
                <a:cubicBezTo>
                  <a:pt x="661" y="159"/>
                  <a:pt x="660" y="159"/>
                  <a:pt x="660" y="159"/>
                </a:cubicBezTo>
                <a:cubicBezTo>
                  <a:pt x="660" y="159"/>
                  <a:pt x="660" y="159"/>
                  <a:pt x="659" y="159"/>
                </a:cubicBezTo>
                <a:cubicBezTo>
                  <a:pt x="659" y="159"/>
                  <a:pt x="659" y="159"/>
                  <a:pt x="659" y="159"/>
                </a:cubicBezTo>
                <a:cubicBezTo>
                  <a:pt x="658" y="159"/>
                  <a:pt x="657" y="159"/>
                  <a:pt x="657" y="159"/>
                </a:cubicBezTo>
                <a:cubicBezTo>
                  <a:pt x="656" y="159"/>
                  <a:pt x="656" y="159"/>
                  <a:pt x="656" y="158"/>
                </a:cubicBezTo>
                <a:cubicBezTo>
                  <a:pt x="656" y="158"/>
                  <a:pt x="656" y="158"/>
                  <a:pt x="656" y="158"/>
                </a:cubicBezTo>
                <a:cubicBezTo>
                  <a:pt x="655" y="158"/>
                  <a:pt x="655" y="158"/>
                  <a:pt x="655" y="158"/>
                </a:cubicBezTo>
                <a:cubicBezTo>
                  <a:pt x="655" y="158"/>
                  <a:pt x="655" y="158"/>
                  <a:pt x="656" y="159"/>
                </a:cubicBezTo>
                <a:cubicBezTo>
                  <a:pt x="656" y="159"/>
                  <a:pt x="656" y="159"/>
                  <a:pt x="656" y="159"/>
                </a:cubicBezTo>
                <a:cubicBezTo>
                  <a:pt x="656" y="159"/>
                  <a:pt x="656" y="159"/>
                  <a:pt x="656" y="159"/>
                </a:cubicBezTo>
                <a:cubicBezTo>
                  <a:pt x="655" y="159"/>
                  <a:pt x="655" y="159"/>
                  <a:pt x="655" y="159"/>
                </a:cubicBezTo>
                <a:cubicBezTo>
                  <a:pt x="654" y="159"/>
                  <a:pt x="654" y="158"/>
                  <a:pt x="653" y="158"/>
                </a:cubicBezTo>
                <a:cubicBezTo>
                  <a:pt x="653" y="158"/>
                  <a:pt x="653" y="158"/>
                  <a:pt x="652" y="158"/>
                </a:cubicBezTo>
                <a:cubicBezTo>
                  <a:pt x="652" y="158"/>
                  <a:pt x="652" y="158"/>
                  <a:pt x="652" y="158"/>
                </a:cubicBezTo>
                <a:cubicBezTo>
                  <a:pt x="652" y="158"/>
                  <a:pt x="652" y="158"/>
                  <a:pt x="652" y="159"/>
                </a:cubicBezTo>
                <a:cubicBezTo>
                  <a:pt x="652" y="159"/>
                  <a:pt x="652" y="159"/>
                  <a:pt x="653" y="159"/>
                </a:cubicBezTo>
                <a:cubicBezTo>
                  <a:pt x="653" y="159"/>
                  <a:pt x="653" y="159"/>
                  <a:pt x="653" y="159"/>
                </a:cubicBezTo>
                <a:cubicBezTo>
                  <a:pt x="653" y="159"/>
                  <a:pt x="654" y="160"/>
                  <a:pt x="654" y="160"/>
                </a:cubicBezTo>
                <a:cubicBezTo>
                  <a:pt x="655" y="160"/>
                  <a:pt x="655" y="160"/>
                  <a:pt x="655" y="160"/>
                </a:cubicBezTo>
                <a:cubicBezTo>
                  <a:pt x="655" y="160"/>
                  <a:pt x="656" y="160"/>
                  <a:pt x="656" y="160"/>
                </a:cubicBezTo>
                <a:cubicBezTo>
                  <a:pt x="656" y="160"/>
                  <a:pt x="656" y="160"/>
                  <a:pt x="656" y="160"/>
                </a:cubicBezTo>
                <a:cubicBezTo>
                  <a:pt x="657" y="160"/>
                  <a:pt x="657" y="160"/>
                  <a:pt x="657" y="160"/>
                </a:cubicBezTo>
                <a:cubicBezTo>
                  <a:pt x="656" y="160"/>
                  <a:pt x="656" y="160"/>
                  <a:pt x="655" y="160"/>
                </a:cubicBezTo>
                <a:cubicBezTo>
                  <a:pt x="655" y="160"/>
                  <a:pt x="654" y="160"/>
                  <a:pt x="654" y="160"/>
                </a:cubicBezTo>
                <a:cubicBezTo>
                  <a:pt x="654" y="160"/>
                  <a:pt x="653" y="160"/>
                  <a:pt x="653" y="160"/>
                </a:cubicBezTo>
                <a:cubicBezTo>
                  <a:pt x="653" y="160"/>
                  <a:pt x="653" y="160"/>
                  <a:pt x="652" y="160"/>
                </a:cubicBezTo>
                <a:cubicBezTo>
                  <a:pt x="652" y="160"/>
                  <a:pt x="652" y="160"/>
                  <a:pt x="652" y="160"/>
                </a:cubicBezTo>
                <a:cubicBezTo>
                  <a:pt x="652" y="160"/>
                  <a:pt x="652" y="161"/>
                  <a:pt x="652" y="161"/>
                </a:cubicBezTo>
                <a:cubicBezTo>
                  <a:pt x="652" y="161"/>
                  <a:pt x="652" y="161"/>
                  <a:pt x="652" y="161"/>
                </a:cubicBezTo>
                <a:cubicBezTo>
                  <a:pt x="652" y="161"/>
                  <a:pt x="651" y="161"/>
                  <a:pt x="651" y="161"/>
                </a:cubicBezTo>
                <a:cubicBezTo>
                  <a:pt x="651" y="161"/>
                  <a:pt x="651" y="161"/>
                  <a:pt x="651" y="162"/>
                </a:cubicBezTo>
                <a:cubicBezTo>
                  <a:pt x="651" y="162"/>
                  <a:pt x="651" y="162"/>
                  <a:pt x="651" y="162"/>
                </a:cubicBezTo>
                <a:cubicBezTo>
                  <a:pt x="651" y="162"/>
                  <a:pt x="651" y="162"/>
                  <a:pt x="651" y="162"/>
                </a:cubicBezTo>
                <a:cubicBezTo>
                  <a:pt x="650" y="162"/>
                  <a:pt x="650" y="163"/>
                  <a:pt x="649" y="163"/>
                </a:cubicBezTo>
                <a:cubicBezTo>
                  <a:pt x="649" y="163"/>
                  <a:pt x="649" y="163"/>
                  <a:pt x="649" y="164"/>
                </a:cubicBezTo>
                <a:cubicBezTo>
                  <a:pt x="650" y="164"/>
                  <a:pt x="650" y="164"/>
                  <a:pt x="650" y="164"/>
                </a:cubicBezTo>
                <a:cubicBezTo>
                  <a:pt x="650" y="164"/>
                  <a:pt x="650" y="163"/>
                  <a:pt x="651" y="163"/>
                </a:cubicBezTo>
                <a:cubicBezTo>
                  <a:pt x="651" y="163"/>
                  <a:pt x="651" y="163"/>
                  <a:pt x="652" y="162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4" y="162"/>
                  <a:pt x="654" y="162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6" y="161"/>
                  <a:pt x="656" y="161"/>
                  <a:pt x="656" y="161"/>
                </a:cubicBezTo>
                <a:cubicBezTo>
                  <a:pt x="656" y="161"/>
                  <a:pt x="657" y="161"/>
                  <a:pt x="657" y="161"/>
                </a:cubicBezTo>
                <a:cubicBezTo>
                  <a:pt x="657" y="162"/>
                  <a:pt x="658" y="162"/>
                  <a:pt x="658" y="162"/>
                </a:cubicBezTo>
                <a:cubicBezTo>
                  <a:pt x="658" y="162"/>
                  <a:pt x="659" y="162"/>
                  <a:pt x="659" y="162"/>
                </a:cubicBezTo>
                <a:cubicBezTo>
                  <a:pt x="659" y="162"/>
                  <a:pt x="659" y="162"/>
                  <a:pt x="660" y="162"/>
                </a:cubicBezTo>
                <a:cubicBezTo>
                  <a:pt x="660" y="161"/>
                  <a:pt x="660" y="161"/>
                  <a:pt x="660" y="161"/>
                </a:cubicBezTo>
                <a:cubicBezTo>
                  <a:pt x="660" y="161"/>
                  <a:pt x="660" y="161"/>
                  <a:pt x="660" y="161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1" y="160"/>
                  <a:pt x="661" y="160"/>
                </a:cubicBezTo>
                <a:cubicBezTo>
                  <a:pt x="661" y="160"/>
                  <a:pt x="661" y="160"/>
                  <a:pt x="661" y="160"/>
                </a:cubicBezTo>
                <a:cubicBezTo>
                  <a:pt x="661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1" y="160"/>
                  <a:pt x="661" y="160"/>
                  <a:pt x="661" y="160"/>
                </a:cubicBezTo>
                <a:cubicBezTo>
                  <a:pt x="661" y="161"/>
                  <a:pt x="661" y="161"/>
                  <a:pt x="661" y="161"/>
                </a:cubicBezTo>
                <a:cubicBezTo>
                  <a:pt x="661" y="161"/>
                  <a:pt x="662" y="161"/>
                  <a:pt x="662" y="161"/>
                </a:cubicBezTo>
                <a:cubicBezTo>
                  <a:pt x="662" y="161"/>
                  <a:pt x="663" y="161"/>
                  <a:pt x="663" y="161"/>
                </a:cubicBezTo>
                <a:cubicBezTo>
                  <a:pt x="663" y="161"/>
                  <a:pt x="664" y="161"/>
                  <a:pt x="664" y="161"/>
                </a:cubicBezTo>
                <a:cubicBezTo>
                  <a:pt x="664" y="161"/>
                  <a:pt x="663" y="161"/>
                  <a:pt x="663" y="160"/>
                </a:cubicBezTo>
                <a:cubicBezTo>
                  <a:pt x="663" y="160"/>
                  <a:pt x="663" y="160"/>
                  <a:pt x="663" y="160"/>
                </a:cubicBezTo>
                <a:cubicBezTo>
                  <a:pt x="663" y="160"/>
                  <a:pt x="664" y="160"/>
                  <a:pt x="664" y="160"/>
                </a:cubicBezTo>
                <a:cubicBezTo>
                  <a:pt x="664" y="160"/>
                  <a:pt x="665" y="160"/>
                  <a:pt x="665" y="160"/>
                </a:cubicBezTo>
                <a:cubicBezTo>
                  <a:pt x="665" y="160"/>
                  <a:pt x="665" y="160"/>
                  <a:pt x="666" y="160"/>
                </a:cubicBezTo>
                <a:cubicBezTo>
                  <a:pt x="665" y="160"/>
                  <a:pt x="665" y="161"/>
                  <a:pt x="665" y="161"/>
                </a:cubicBezTo>
                <a:cubicBezTo>
                  <a:pt x="665" y="161"/>
                  <a:pt x="664" y="161"/>
                  <a:pt x="664" y="161"/>
                </a:cubicBezTo>
                <a:cubicBezTo>
                  <a:pt x="663" y="161"/>
                  <a:pt x="663" y="161"/>
                  <a:pt x="662" y="162"/>
                </a:cubicBezTo>
                <a:cubicBezTo>
                  <a:pt x="662" y="162"/>
                  <a:pt x="662" y="162"/>
                  <a:pt x="661" y="162"/>
                </a:cubicBezTo>
                <a:cubicBezTo>
                  <a:pt x="661" y="162"/>
                  <a:pt x="661" y="162"/>
                  <a:pt x="661" y="162"/>
                </a:cubicBezTo>
                <a:cubicBezTo>
                  <a:pt x="662" y="162"/>
                  <a:pt x="662" y="162"/>
                  <a:pt x="663" y="163"/>
                </a:cubicBezTo>
                <a:cubicBezTo>
                  <a:pt x="663" y="163"/>
                  <a:pt x="663" y="163"/>
                  <a:pt x="664" y="163"/>
                </a:cubicBezTo>
                <a:cubicBezTo>
                  <a:pt x="664" y="163"/>
                  <a:pt x="664" y="163"/>
                  <a:pt x="665" y="163"/>
                </a:cubicBezTo>
                <a:cubicBezTo>
                  <a:pt x="665" y="163"/>
                  <a:pt x="665" y="163"/>
                  <a:pt x="665" y="163"/>
                </a:cubicBezTo>
                <a:cubicBezTo>
                  <a:pt x="665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5" y="163"/>
                  <a:pt x="665" y="163"/>
                  <a:pt x="665" y="163"/>
                </a:cubicBezTo>
                <a:cubicBezTo>
                  <a:pt x="664" y="163"/>
                  <a:pt x="664" y="163"/>
                  <a:pt x="663" y="163"/>
                </a:cubicBezTo>
                <a:cubicBezTo>
                  <a:pt x="663" y="163"/>
                  <a:pt x="662" y="163"/>
                  <a:pt x="662" y="163"/>
                </a:cubicBezTo>
                <a:cubicBezTo>
                  <a:pt x="662" y="163"/>
                  <a:pt x="661" y="163"/>
                  <a:pt x="661" y="162"/>
                </a:cubicBezTo>
                <a:cubicBezTo>
                  <a:pt x="660" y="162"/>
                  <a:pt x="660" y="162"/>
                  <a:pt x="660" y="162"/>
                </a:cubicBezTo>
                <a:cubicBezTo>
                  <a:pt x="659" y="162"/>
                  <a:pt x="659" y="163"/>
                  <a:pt x="658" y="163"/>
                </a:cubicBezTo>
                <a:cubicBezTo>
                  <a:pt x="658" y="162"/>
                  <a:pt x="658" y="162"/>
                  <a:pt x="657" y="162"/>
                </a:cubicBezTo>
                <a:cubicBezTo>
                  <a:pt x="657" y="162"/>
                  <a:pt x="656" y="162"/>
                  <a:pt x="656" y="162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62"/>
                  <a:pt x="655" y="162"/>
                  <a:pt x="655" y="162"/>
                </a:cubicBezTo>
                <a:cubicBezTo>
                  <a:pt x="655" y="162"/>
                  <a:pt x="655" y="162"/>
                  <a:pt x="654" y="162"/>
                </a:cubicBezTo>
                <a:cubicBezTo>
                  <a:pt x="654" y="162"/>
                  <a:pt x="654" y="162"/>
                  <a:pt x="653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2" y="163"/>
                  <a:pt x="652" y="163"/>
                  <a:pt x="652" y="163"/>
                </a:cubicBezTo>
                <a:cubicBezTo>
                  <a:pt x="652" y="163"/>
                  <a:pt x="651" y="163"/>
                  <a:pt x="651" y="164"/>
                </a:cubicBezTo>
                <a:cubicBezTo>
                  <a:pt x="651" y="164"/>
                  <a:pt x="651" y="164"/>
                  <a:pt x="650" y="164"/>
                </a:cubicBezTo>
                <a:cubicBezTo>
                  <a:pt x="650" y="164"/>
                  <a:pt x="650" y="164"/>
                  <a:pt x="650" y="165"/>
                </a:cubicBezTo>
                <a:cubicBezTo>
                  <a:pt x="649" y="165"/>
                  <a:pt x="649" y="165"/>
                  <a:pt x="649" y="165"/>
                </a:cubicBezTo>
                <a:cubicBezTo>
                  <a:pt x="648" y="165"/>
                  <a:pt x="648" y="165"/>
                  <a:pt x="648" y="166"/>
                </a:cubicBezTo>
                <a:cubicBezTo>
                  <a:pt x="648" y="166"/>
                  <a:pt x="648" y="166"/>
                  <a:pt x="648" y="166"/>
                </a:cubicBezTo>
                <a:cubicBezTo>
                  <a:pt x="648" y="166"/>
                  <a:pt x="648" y="166"/>
                  <a:pt x="648" y="166"/>
                </a:cubicBezTo>
                <a:cubicBezTo>
                  <a:pt x="649" y="166"/>
                  <a:pt x="649" y="166"/>
                  <a:pt x="649" y="166"/>
                </a:cubicBezTo>
                <a:cubicBezTo>
                  <a:pt x="649" y="166"/>
                  <a:pt x="650" y="166"/>
                  <a:pt x="650" y="165"/>
                </a:cubicBezTo>
                <a:cubicBezTo>
                  <a:pt x="650" y="165"/>
                  <a:pt x="651" y="165"/>
                  <a:pt x="651" y="165"/>
                </a:cubicBezTo>
                <a:cubicBezTo>
                  <a:pt x="651" y="166"/>
                  <a:pt x="651" y="166"/>
                  <a:pt x="651" y="166"/>
                </a:cubicBezTo>
                <a:cubicBezTo>
                  <a:pt x="651" y="166"/>
                  <a:pt x="652" y="165"/>
                  <a:pt x="652" y="165"/>
                </a:cubicBezTo>
                <a:cubicBezTo>
                  <a:pt x="653" y="165"/>
                  <a:pt x="653" y="165"/>
                  <a:pt x="654" y="165"/>
                </a:cubicBezTo>
                <a:cubicBezTo>
                  <a:pt x="655" y="165"/>
                  <a:pt x="655" y="165"/>
                  <a:pt x="656" y="165"/>
                </a:cubicBezTo>
                <a:cubicBezTo>
                  <a:pt x="656" y="165"/>
                  <a:pt x="657" y="165"/>
                  <a:pt x="657" y="165"/>
                </a:cubicBezTo>
                <a:cubicBezTo>
                  <a:pt x="657" y="165"/>
                  <a:pt x="657" y="165"/>
                  <a:pt x="657" y="165"/>
                </a:cubicBezTo>
                <a:cubicBezTo>
                  <a:pt x="657" y="165"/>
                  <a:pt x="657" y="165"/>
                  <a:pt x="657" y="165"/>
                </a:cubicBezTo>
                <a:cubicBezTo>
                  <a:pt x="656" y="165"/>
                  <a:pt x="656" y="165"/>
                  <a:pt x="656" y="165"/>
                </a:cubicBezTo>
                <a:cubicBezTo>
                  <a:pt x="655" y="165"/>
                  <a:pt x="655" y="166"/>
                  <a:pt x="655" y="166"/>
                </a:cubicBezTo>
                <a:cubicBezTo>
                  <a:pt x="654" y="166"/>
                  <a:pt x="652" y="166"/>
                  <a:pt x="651" y="166"/>
                </a:cubicBezTo>
                <a:cubicBezTo>
                  <a:pt x="651" y="166"/>
                  <a:pt x="650" y="166"/>
                  <a:pt x="650" y="166"/>
                </a:cubicBezTo>
                <a:cubicBezTo>
                  <a:pt x="650" y="166"/>
                  <a:pt x="650" y="166"/>
                  <a:pt x="650" y="166"/>
                </a:cubicBezTo>
                <a:cubicBezTo>
                  <a:pt x="649" y="167"/>
                  <a:pt x="649" y="167"/>
                  <a:pt x="648" y="167"/>
                </a:cubicBezTo>
                <a:cubicBezTo>
                  <a:pt x="648" y="167"/>
                  <a:pt x="648" y="167"/>
                  <a:pt x="648" y="167"/>
                </a:cubicBezTo>
                <a:cubicBezTo>
                  <a:pt x="648" y="167"/>
                  <a:pt x="648" y="167"/>
                  <a:pt x="648" y="167"/>
                </a:cubicBezTo>
                <a:cubicBezTo>
                  <a:pt x="649" y="167"/>
                  <a:pt x="649" y="167"/>
                  <a:pt x="649" y="167"/>
                </a:cubicBezTo>
                <a:cubicBezTo>
                  <a:pt x="649" y="167"/>
                  <a:pt x="650" y="167"/>
                  <a:pt x="650" y="167"/>
                </a:cubicBezTo>
                <a:cubicBezTo>
                  <a:pt x="650" y="167"/>
                  <a:pt x="649" y="167"/>
                  <a:pt x="649" y="168"/>
                </a:cubicBezTo>
                <a:cubicBezTo>
                  <a:pt x="649" y="167"/>
                  <a:pt x="649" y="167"/>
                  <a:pt x="649" y="167"/>
                </a:cubicBezTo>
                <a:cubicBezTo>
                  <a:pt x="648" y="168"/>
                  <a:pt x="648" y="168"/>
                  <a:pt x="647" y="168"/>
                </a:cubicBezTo>
                <a:cubicBezTo>
                  <a:pt x="647" y="168"/>
                  <a:pt x="647" y="168"/>
                  <a:pt x="647" y="168"/>
                </a:cubicBezTo>
                <a:cubicBezTo>
                  <a:pt x="648" y="168"/>
                  <a:pt x="648" y="168"/>
                  <a:pt x="648" y="168"/>
                </a:cubicBezTo>
                <a:cubicBezTo>
                  <a:pt x="648" y="168"/>
                  <a:pt x="649" y="168"/>
                  <a:pt x="649" y="168"/>
                </a:cubicBezTo>
                <a:cubicBezTo>
                  <a:pt x="650" y="168"/>
                  <a:pt x="651" y="168"/>
                  <a:pt x="652" y="168"/>
                </a:cubicBezTo>
                <a:cubicBezTo>
                  <a:pt x="652" y="168"/>
                  <a:pt x="652" y="168"/>
                  <a:pt x="653" y="168"/>
                </a:cubicBezTo>
                <a:cubicBezTo>
                  <a:pt x="653" y="168"/>
                  <a:pt x="653" y="168"/>
                  <a:pt x="653" y="168"/>
                </a:cubicBezTo>
                <a:cubicBezTo>
                  <a:pt x="653" y="168"/>
                  <a:pt x="653" y="168"/>
                  <a:pt x="654" y="168"/>
                </a:cubicBezTo>
                <a:cubicBezTo>
                  <a:pt x="654" y="168"/>
                  <a:pt x="654" y="168"/>
                  <a:pt x="654" y="168"/>
                </a:cubicBezTo>
                <a:cubicBezTo>
                  <a:pt x="654" y="168"/>
                  <a:pt x="654" y="168"/>
                  <a:pt x="654" y="168"/>
                </a:cubicBezTo>
                <a:cubicBezTo>
                  <a:pt x="654" y="168"/>
                  <a:pt x="654" y="168"/>
                  <a:pt x="654" y="169"/>
                </a:cubicBezTo>
                <a:cubicBezTo>
                  <a:pt x="654" y="169"/>
                  <a:pt x="654" y="169"/>
                  <a:pt x="654" y="169"/>
                </a:cubicBezTo>
                <a:cubicBezTo>
                  <a:pt x="653" y="169"/>
                  <a:pt x="653" y="169"/>
                  <a:pt x="653" y="169"/>
                </a:cubicBezTo>
                <a:cubicBezTo>
                  <a:pt x="653" y="169"/>
                  <a:pt x="653" y="169"/>
                  <a:pt x="652" y="169"/>
                </a:cubicBezTo>
                <a:cubicBezTo>
                  <a:pt x="652" y="169"/>
                  <a:pt x="652" y="169"/>
                  <a:pt x="652" y="169"/>
                </a:cubicBezTo>
                <a:cubicBezTo>
                  <a:pt x="652" y="169"/>
                  <a:pt x="651" y="169"/>
                  <a:pt x="651" y="169"/>
                </a:cubicBezTo>
                <a:cubicBezTo>
                  <a:pt x="651" y="169"/>
                  <a:pt x="651" y="169"/>
                  <a:pt x="651" y="169"/>
                </a:cubicBezTo>
                <a:cubicBezTo>
                  <a:pt x="651" y="170"/>
                  <a:pt x="651" y="170"/>
                  <a:pt x="651" y="170"/>
                </a:cubicBezTo>
                <a:cubicBezTo>
                  <a:pt x="652" y="170"/>
                  <a:pt x="652" y="169"/>
                  <a:pt x="652" y="169"/>
                </a:cubicBezTo>
                <a:cubicBezTo>
                  <a:pt x="652" y="169"/>
                  <a:pt x="652" y="169"/>
                  <a:pt x="653" y="170"/>
                </a:cubicBezTo>
                <a:cubicBezTo>
                  <a:pt x="653" y="170"/>
                  <a:pt x="653" y="170"/>
                  <a:pt x="653" y="170"/>
                </a:cubicBezTo>
                <a:cubicBezTo>
                  <a:pt x="653" y="170"/>
                  <a:pt x="652" y="170"/>
                  <a:pt x="652" y="170"/>
                </a:cubicBezTo>
                <a:cubicBezTo>
                  <a:pt x="652" y="170"/>
                  <a:pt x="651" y="170"/>
                  <a:pt x="651" y="170"/>
                </a:cubicBezTo>
                <a:cubicBezTo>
                  <a:pt x="651" y="170"/>
                  <a:pt x="650" y="170"/>
                  <a:pt x="650" y="170"/>
                </a:cubicBezTo>
                <a:cubicBezTo>
                  <a:pt x="650" y="170"/>
                  <a:pt x="649" y="170"/>
                  <a:pt x="649" y="170"/>
                </a:cubicBezTo>
                <a:cubicBezTo>
                  <a:pt x="649" y="170"/>
                  <a:pt x="649" y="170"/>
                  <a:pt x="649" y="171"/>
                </a:cubicBezTo>
                <a:cubicBezTo>
                  <a:pt x="649" y="171"/>
                  <a:pt x="649" y="171"/>
                  <a:pt x="649" y="171"/>
                </a:cubicBezTo>
                <a:cubicBezTo>
                  <a:pt x="649" y="171"/>
                  <a:pt x="650" y="171"/>
                  <a:pt x="650" y="171"/>
                </a:cubicBezTo>
                <a:cubicBezTo>
                  <a:pt x="650" y="171"/>
                  <a:pt x="650" y="171"/>
                  <a:pt x="650" y="171"/>
                </a:cubicBezTo>
                <a:cubicBezTo>
                  <a:pt x="651" y="171"/>
                  <a:pt x="651" y="171"/>
                  <a:pt x="651" y="171"/>
                </a:cubicBezTo>
                <a:cubicBezTo>
                  <a:pt x="652" y="171"/>
                  <a:pt x="652" y="171"/>
                  <a:pt x="652" y="171"/>
                </a:cubicBezTo>
                <a:cubicBezTo>
                  <a:pt x="652" y="171"/>
                  <a:pt x="652" y="171"/>
                  <a:pt x="653" y="171"/>
                </a:cubicBezTo>
                <a:cubicBezTo>
                  <a:pt x="652" y="171"/>
                  <a:pt x="652" y="171"/>
                  <a:pt x="652" y="171"/>
                </a:cubicBezTo>
                <a:cubicBezTo>
                  <a:pt x="651" y="171"/>
                  <a:pt x="651" y="171"/>
                  <a:pt x="650" y="171"/>
                </a:cubicBezTo>
                <a:cubicBezTo>
                  <a:pt x="650" y="171"/>
                  <a:pt x="650" y="172"/>
                  <a:pt x="650" y="172"/>
                </a:cubicBezTo>
                <a:cubicBezTo>
                  <a:pt x="649" y="172"/>
                  <a:pt x="649" y="171"/>
                  <a:pt x="649" y="171"/>
                </a:cubicBezTo>
                <a:cubicBezTo>
                  <a:pt x="649" y="171"/>
                  <a:pt x="648" y="171"/>
                  <a:pt x="648" y="171"/>
                </a:cubicBezTo>
                <a:cubicBezTo>
                  <a:pt x="648" y="172"/>
                  <a:pt x="648" y="172"/>
                  <a:pt x="648" y="172"/>
                </a:cubicBezTo>
                <a:cubicBezTo>
                  <a:pt x="648" y="172"/>
                  <a:pt x="648" y="173"/>
                  <a:pt x="648" y="173"/>
                </a:cubicBezTo>
                <a:cubicBezTo>
                  <a:pt x="648" y="173"/>
                  <a:pt x="648" y="174"/>
                  <a:pt x="648" y="174"/>
                </a:cubicBezTo>
                <a:cubicBezTo>
                  <a:pt x="648" y="174"/>
                  <a:pt x="648" y="174"/>
                  <a:pt x="648" y="174"/>
                </a:cubicBezTo>
                <a:cubicBezTo>
                  <a:pt x="648" y="174"/>
                  <a:pt x="648" y="174"/>
                  <a:pt x="649" y="174"/>
                </a:cubicBezTo>
                <a:cubicBezTo>
                  <a:pt x="649" y="173"/>
                  <a:pt x="650" y="173"/>
                  <a:pt x="651" y="173"/>
                </a:cubicBezTo>
                <a:cubicBezTo>
                  <a:pt x="651" y="173"/>
                  <a:pt x="651" y="173"/>
                  <a:pt x="651" y="173"/>
                </a:cubicBezTo>
                <a:cubicBezTo>
                  <a:pt x="652" y="172"/>
                  <a:pt x="653" y="172"/>
                  <a:pt x="653" y="172"/>
                </a:cubicBezTo>
                <a:cubicBezTo>
                  <a:pt x="654" y="172"/>
                  <a:pt x="654" y="172"/>
                  <a:pt x="654" y="171"/>
                </a:cubicBezTo>
                <a:cubicBezTo>
                  <a:pt x="654" y="171"/>
                  <a:pt x="655" y="171"/>
                  <a:pt x="655" y="170"/>
                </a:cubicBezTo>
                <a:cubicBezTo>
                  <a:pt x="655" y="170"/>
                  <a:pt x="656" y="170"/>
                  <a:pt x="656" y="169"/>
                </a:cubicBezTo>
                <a:cubicBezTo>
                  <a:pt x="657" y="169"/>
                  <a:pt x="658" y="169"/>
                  <a:pt x="659" y="168"/>
                </a:cubicBezTo>
                <a:cubicBezTo>
                  <a:pt x="659" y="168"/>
                  <a:pt x="660" y="168"/>
                  <a:pt x="660" y="168"/>
                </a:cubicBezTo>
                <a:cubicBezTo>
                  <a:pt x="660" y="168"/>
                  <a:pt x="661" y="168"/>
                  <a:pt x="661" y="168"/>
                </a:cubicBezTo>
                <a:cubicBezTo>
                  <a:pt x="661" y="168"/>
                  <a:pt x="661" y="168"/>
                  <a:pt x="661" y="168"/>
                </a:cubicBezTo>
                <a:cubicBezTo>
                  <a:pt x="661" y="168"/>
                  <a:pt x="661" y="168"/>
                  <a:pt x="661" y="168"/>
                </a:cubicBezTo>
                <a:cubicBezTo>
                  <a:pt x="660" y="168"/>
                  <a:pt x="660" y="168"/>
                  <a:pt x="660" y="168"/>
                </a:cubicBezTo>
                <a:cubicBezTo>
                  <a:pt x="659" y="169"/>
                  <a:pt x="659" y="169"/>
                  <a:pt x="658" y="169"/>
                </a:cubicBezTo>
                <a:cubicBezTo>
                  <a:pt x="658" y="169"/>
                  <a:pt x="657" y="170"/>
                  <a:pt x="657" y="170"/>
                </a:cubicBezTo>
                <a:cubicBezTo>
                  <a:pt x="656" y="170"/>
                  <a:pt x="656" y="171"/>
                  <a:pt x="655" y="171"/>
                </a:cubicBezTo>
                <a:cubicBezTo>
                  <a:pt x="655" y="172"/>
                  <a:pt x="655" y="172"/>
                  <a:pt x="654" y="172"/>
                </a:cubicBezTo>
                <a:cubicBezTo>
                  <a:pt x="654" y="172"/>
                  <a:pt x="653" y="172"/>
                  <a:pt x="653" y="173"/>
                </a:cubicBezTo>
                <a:cubicBezTo>
                  <a:pt x="652" y="173"/>
                  <a:pt x="652" y="173"/>
                  <a:pt x="652" y="173"/>
                </a:cubicBezTo>
                <a:cubicBezTo>
                  <a:pt x="651" y="173"/>
                  <a:pt x="651" y="174"/>
                  <a:pt x="650" y="174"/>
                </a:cubicBezTo>
                <a:cubicBezTo>
                  <a:pt x="650" y="174"/>
                  <a:pt x="649" y="174"/>
                  <a:pt x="649" y="174"/>
                </a:cubicBezTo>
                <a:cubicBezTo>
                  <a:pt x="649" y="174"/>
                  <a:pt x="649" y="175"/>
                  <a:pt x="648" y="175"/>
                </a:cubicBezTo>
                <a:cubicBezTo>
                  <a:pt x="648" y="175"/>
                  <a:pt x="648" y="175"/>
                  <a:pt x="648" y="175"/>
                </a:cubicBezTo>
                <a:cubicBezTo>
                  <a:pt x="648" y="175"/>
                  <a:pt x="649" y="175"/>
                  <a:pt x="649" y="175"/>
                </a:cubicBezTo>
                <a:cubicBezTo>
                  <a:pt x="649" y="175"/>
                  <a:pt x="649" y="175"/>
                  <a:pt x="649" y="175"/>
                </a:cubicBezTo>
                <a:cubicBezTo>
                  <a:pt x="650" y="175"/>
                  <a:pt x="650" y="175"/>
                  <a:pt x="650" y="175"/>
                </a:cubicBezTo>
                <a:cubicBezTo>
                  <a:pt x="650" y="175"/>
                  <a:pt x="650" y="175"/>
                  <a:pt x="650" y="175"/>
                </a:cubicBezTo>
                <a:cubicBezTo>
                  <a:pt x="650" y="175"/>
                  <a:pt x="651" y="175"/>
                  <a:pt x="651" y="174"/>
                </a:cubicBezTo>
                <a:cubicBezTo>
                  <a:pt x="651" y="174"/>
                  <a:pt x="651" y="174"/>
                  <a:pt x="651" y="174"/>
                </a:cubicBezTo>
                <a:cubicBezTo>
                  <a:pt x="652" y="174"/>
                  <a:pt x="652" y="174"/>
                  <a:pt x="652" y="174"/>
                </a:cubicBezTo>
                <a:cubicBezTo>
                  <a:pt x="652" y="174"/>
                  <a:pt x="652" y="174"/>
                  <a:pt x="653" y="174"/>
                </a:cubicBezTo>
                <a:cubicBezTo>
                  <a:pt x="653" y="174"/>
                  <a:pt x="653" y="174"/>
                  <a:pt x="653" y="174"/>
                </a:cubicBezTo>
                <a:cubicBezTo>
                  <a:pt x="653" y="174"/>
                  <a:pt x="654" y="174"/>
                  <a:pt x="654" y="174"/>
                </a:cubicBezTo>
                <a:cubicBezTo>
                  <a:pt x="654" y="174"/>
                  <a:pt x="655" y="173"/>
                  <a:pt x="655" y="173"/>
                </a:cubicBezTo>
                <a:cubicBezTo>
                  <a:pt x="655" y="173"/>
                  <a:pt x="655" y="173"/>
                  <a:pt x="656" y="173"/>
                </a:cubicBezTo>
                <a:cubicBezTo>
                  <a:pt x="656" y="173"/>
                  <a:pt x="656" y="173"/>
                  <a:pt x="656" y="173"/>
                </a:cubicBezTo>
                <a:cubicBezTo>
                  <a:pt x="656" y="173"/>
                  <a:pt x="656" y="174"/>
                  <a:pt x="656" y="174"/>
                </a:cubicBezTo>
                <a:cubicBezTo>
                  <a:pt x="655" y="174"/>
                  <a:pt x="655" y="174"/>
                  <a:pt x="655" y="174"/>
                </a:cubicBezTo>
                <a:cubicBezTo>
                  <a:pt x="655" y="174"/>
                  <a:pt x="654" y="174"/>
                  <a:pt x="654" y="174"/>
                </a:cubicBezTo>
                <a:cubicBezTo>
                  <a:pt x="654" y="175"/>
                  <a:pt x="654" y="175"/>
                  <a:pt x="653" y="175"/>
                </a:cubicBezTo>
                <a:cubicBezTo>
                  <a:pt x="653" y="175"/>
                  <a:pt x="653" y="175"/>
                  <a:pt x="652" y="175"/>
                </a:cubicBezTo>
                <a:cubicBezTo>
                  <a:pt x="652" y="175"/>
                  <a:pt x="652" y="175"/>
                  <a:pt x="652" y="175"/>
                </a:cubicBezTo>
                <a:cubicBezTo>
                  <a:pt x="652" y="175"/>
                  <a:pt x="652" y="175"/>
                  <a:pt x="651" y="175"/>
                </a:cubicBezTo>
                <a:cubicBezTo>
                  <a:pt x="651" y="175"/>
                  <a:pt x="651" y="175"/>
                  <a:pt x="651" y="175"/>
                </a:cubicBezTo>
                <a:cubicBezTo>
                  <a:pt x="650" y="175"/>
                  <a:pt x="650" y="176"/>
                  <a:pt x="650" y="176"/>
                </a:cubicBezTo>
                <a:cubicBezTo>
                  <a:pt x="650" y="176"/>
                  <a:pt x="649" y="176"/>
                  <a:pt x="649" y="176"/>
                </a:cubicBezTo>
                <a:cubicBezTo>
                  <a:pt x="650" y="176"/>
                  <a:pt x="650" y="176"/>
                  <a:pt x="650" y="176"/>
                </a:cubicBezTo>
                <a:cubicBezTo>
                  <a:pt x="650" y="176"/>
                  <a:pt x="651" y="176"/>
                  <a:pt x="651" y="176"/>
                </a:cubicBezTo>
                <a:cubicBezTo>
                  <a:pt x="651" y="176"/>
                  <a:pt x="651" y="176"/>
                  <a:pt x="652" y="176"/>
                </a:cubicBezTo>
                <a:cubicBezTo>
                  <a:pt x="652" y="177"/>
                  <a:pt x="651" y="177"/>
                  <a:pt x="651" y="177"/>
                </a:cubicBezTo>
                <a:cubicBezTo>
                  <a:pt x="651" y="177"/>
                  <a:pt x="651" y="177"/>
                  <a:pt x="651" y="177"/>
                </a:cubicBezTo>
                <a:cubicBezTo>
                  <a:pt x="651" y="177"/>
                  <a:pt x="652" y="177"/>
                  <a:pt x="652" y="177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3" y="178"/>
                  <a:pt x="653" y="178"/>
                  <a:pt x="653" y="177"/>
                </a:cubicBezTo>
                <a:cubicBezTo>
                  <a:pt x="653" y="177"/>
                  <a:pt x="654" y="177"/>
                  <a:pt x="654" y="177"/>
                </a:cubicBezTo>
                <a:cubicBezTo>
                  <a:pt x="654" y="177"/>
                  <a:pt x="654" y="177"/>
                  <a:pt x="655" y="177"/>
                </a:cubicBezTo>
                <a:cubicBezTo>
                  <a:pt x="655" y="177"/>
                  <a:pt x="655" y="176"/>
                  <a:pt x="655" y="176"/>
                </a:cubicBezTo>
                <a:cubicBezTo>
                  <a:pt x="655" y="176"/>
                  <a:pt x="655" y="176"/>
                  <a:pt x="655" y="176"/>
                </a:cubicBezTo>
                <a:cubicBezTo>
                  <a:pt x="655" y="176"/>
                  <a:pt x="656" y="176"/>
                  <a:pt x="656" y="176"/>
                </a:cubicBezTo>
                <a:cubicBezTo>
                  <a:pt x="657" y="175"/>
                  <a:pt x="657" y="175"/>
                  <a:pt x="658" y="175"/>
                </a:cubicBezTo>
                <a:cubicBezTo>
                  <a:pt x="658" y="175"/>
                  <a:pt x="658" y="175"/>
                  <a:pt x="659" y="175"/>
                </a:cubicBezTo>
                <a:cubicBezTo>
                  <a:pt x="659" y="175"/>
                  <a:pt x="659" y="175"/>
                  <a:pt x="659" y="175"/>
                </a:cubicBezTo>
                <a:cubicBezTo>
                  <a:pt x="659" y="175"/>
                  <a:pt x="660" y="175"/>
                  <a:pt x="660" y="175"/>
                </a:cubicBezTo>
                <a:cubicBezTo>
                  <a:pt x="660" y="175"/>
                  <a:pt x="660" y="175"/>
                  <a:pt x="660" y="175"/>
                </a:cubicBezTo>
                <a:cubicBezTo>
                  <a:pt x="660" y="175"/>
                  <a:pt x="660" y="176"/>
                  <a:pt x="659" y="176"/>
                </a:cubicBezTo>
                <a:cubicBezTo>
                  <a:pt x="659" y="176"/>
                  <a:pt x="659" y="175"/>
                  <a:pt x="659" y="175"/>
                </a:cubicBezTo>
                <a:cubicBezTo>
                  <a:pt x="658" y="176"/>
                  <a:pt x="658" y="176"/>
                  <a:pt x="657" y="176"/>
                </a:cubicBezTo>
                <a:cubicBezTo>
                  <a:pt x="657" y="176"/>
                  <a:pt x="657" y="176"/>
                  <a:pt x="657" y="176"/>
                </a:cubicBezTo>
                <a:cubicBezTo>
                  <a:pt x="657" y="176"/>
                  <a:pt x="656" y="176"/>
                  <a:pt x="656" y="176"/>
                </a:cubicBezTo>
                <a:cubicBezTo>
                  <a:pt x="656" y="176"/>
                  <a:pt x="656" y="176"/>
                  <a:pt x="656" y="176"/>
                </a:cubicBezTo>
                <a:cubicBezTo>
                  <a:pt x="656" y="176"/>
                  <a:pt x="656" y="177"/>
                  <a:pt x="656" y="177"/>
                </a:cubicBezTo>
                <a:cubicBezTo>
                  <a:pt x="655" y="177"/>
                  <a:pt x="655" y="177"/>
                  <a:pt x="655" y="177"/>
                </a:cubicBezTo>
                <a:cubicBezTo>
                  <a:pt x="655" y="177"/>
                  <a:pt x="655" y="177"/>
                  <a:pt x="655" y="177"/>
                </a:cubicBezTo>
                <a:cubicBezTo>
                  <a:pt x="654" y="178"/>
                  <a:pt x="654" y="178"/>
                  <a:pt x="653" y="178"/>
                </a:cubicBezTo>
                <a:cubicBezTo>
                  <a:pt x="653" y="178"/>
                  <a:pt x="653" y="178"/>
                  <a:pt x="653" y="178"/>
                </a:cubicBezTo>
                <a:cubicBezTo>
                  <a:pt x="652" y="178"/>
                  <a:pt x="652" y="178"/>
                  <a:pt x="652" y="179"/>
                </a:cubicBezTo>
                <a:cubicBezTo>
                  <a:pt x="651" y="179"/>
                  <a:pt x="651" y="179"/>
                  <a:pt x="651" y="179"/>
                </a:cubicBezTo>
                <a:cubicBezTo>
                  <a:pt x="651" y="179"/>
                  <a:pt x="651" y="179"/>
                  <a:pt x="651" y="180"/>
                </a:cubicBezTo>
                <a:cubicBezTo>
                  <a:pt x="651" y="179"/>
                  <a:pt x="652" y="179"/>
                  <a:pt x="652" y="179"/>
                </a:cubicBezTo>
                <a:cubicBezTo>
                  <a:pt x="652" y="179"/>
                  <a:pt x="652" y="179"/>
                  <a:pt x="652" y="179"/>
                </a:cubicBezTo>
                <a:cubicBezTo>
                  <a:pt x="652" y="179"/>
                  <a:pt x="652" y="179"/>
                  <a:pt x="653" y="179"/>
                </a:cubicBezTo>
                <a:cubicBezTo>
                  <a:pt x="653" y="179"/>
                  <a:pt x="653" y="179"/>
                  <a:pt x="653" y="180"/>
                </a:cubicBezTo>
                <a:cubicBezTo>
                  <a:pt x="653" y="180"/>
                  <a:pt x="653" y="180"/>
                  <a:pt x="653" y="180"/>
                </a:cubicBezTo>
                <a:cubicBezTo>
                  <a:pt x="653" y="180"/>
                  <a:pt x="653" y="180"/>
                  <a:pt x="652" y="180"/>
                </a:cubicBezTo>
                <a:cubicBezTo>
                  <a:pt x="652" y="181"/>
                  <a:pt x="652" y="181"/>
                  <a:pt x="653" y="181"/>
                </a:cubicBezTo>
                <a:cubicBezTo>
                  <a:pt x="653" y="182"/>
                  <a:pt x="653" y="182"/>
                  <a:pt x="653" y="182"/>
                </a:cubicBezTo>
                <a:cubicBezTo>
                  <a:pt x="653" y="182"/>
                  <a:pt x="654" y="182"/>
                  <a:pt x="654" y="182"/>
                </a:cubicBezTo>
                <a:cubicBezTo>
                  <a:pt x="654" y="182"/>
                  <a:pt x="654" y="181"/>
                  <a:pt x="655" y="181"/>
                </a:cubicBezTo>
                <a:cubicBezTo>
                  <a:pt x="655" y="181"/>
                  <a:pt x="655" y="181"/>
                  <a:pt x="655" y="181"/>
                </a:cubicBezTo>
                <a:cubicBezTo>
                  <a:pt x="655" y="181"/>
                  <a:pt x="655" y="181"/>
                  <a:pt x="655" y="181"/>
                </a:cubicBezTo>
                <a:cubicBezTo>
                  <a:pt x="656" y="181"/>
                  <a:pt x="656" y="181"/>
                  <a:pt x="656" y="180"/>
                </a:cubicBezTo>
                <a:cubicBezTo>
                  <a:pt x="656" y="180"/>
                  <a:pt x="656" y="180"/>
                  <a:pt x="657" y="180"/>
                </a:cubicBezTo>
                <a:cubicBezTo>
                  <a:pt x="657" y="180"/>
                  <a:pt x="657" y="180"/>
                  <a:pt x="657" y="181"/>
                </a:cubicBezTo>
                <a:cubicBezTo>
                  <a:pt x="657" y="181"/>
                  <a:pt x="657" y="181"/>
                  <a:pt x="657" y="181"/>
                </a:cubicBezTo>
                <a:cubicBezTo>
                  <a:pt x="656" y="181"/>
                  <a:pt x="656" y="181"/>
                  <a:pt x="656" y="181"/>
                </a:cubicBezTo>
                <a:cubicBezTo>
                  <a:pt x="656" y="181"/>
                  <a:pt x="655" y="181"/>
                  <a:pt x="655" y="182"/>
                </a:cubicBezTo>
                <a:cubicBezTo>
                  <a:pt x="655" y="182"/>
                  <a:pt x="654" y="182"/>
                  <a:pt x="654" y="182"/>
                </a:cubicBezTo>
                <a:cubicBezTo>
                  <a:pt x="653" y="182"/>
                  <a:pt x="653" y="182"/>
                  <a:pt x="653" y="182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3" y="184"/>
                  <a:pt x="653" y="184"/>
                  <a:pt x="653" y="184"/>
                </a:cubicBezTo>
                <a:cubicBezTo>
                  <a:pt x="653" y="184"/>
                  <a:pt x="653" y="184"/>
                  <a:pt x="653" y="184"/>
                </a:cubicBezTo>
                <a:cubicBezTo>
                  <a:pt x="653" y="184"/>
                  <a:pt x="653" y="185"/>
                  <a:pt x="653" y="185"/>
                </a:cubicBezTo>
                <a:cubicBezTo>
                  <a:pt x="653" y="185"/>
                  <a:pt x="653" y="185"/>
                  <a:pt x="653" y="186"/>
                </a:cubicBezTo>
                <a:cubicBezTo>
                  <a:pt x="654" y="186"/>
                  <a:pt x="654" y="186"/>
                  <a:pt x="654" y="186"/>
                </a:cubicBezTo>
                <a:cubicBezTo>
                  <a:pt x="654" y="185"/>
                  <a:pt x="654" y="185"/>
                  <a:pt x="655" y="184"/>
                </a:cubicBezTo>
                <a:cubicBezTo>
                  <a:pt x="655" y="184"/>
                  <a:pt x="655" y="184"/>
                  <a:pt x="655" y="184"/>
                </a:cubicBezTo>
                <a:cubicBezTo>
                  <a:pt x="656" y="184"/>
                  <a:pt x="656" y="184"/>
                  <a:pt x="656" y="183"/>
                </a:cubicBezTo>
                <a:cubicBezTo>
                  <a:pt x="656" y="183"/>
                  <a:pt x="657" y="183"/>
                  <a:pt x="657" y="183"/>
                </a:cubicBezTo>
                <a:cubicBezTo>
                  <a:pt x="657" y="183"/>
                  <a:pt x="657" y="183"/>
                  <a:pt x="657" y="183"/>
                </a:cubicBezTo>
                <a:cubicBezTo>
                  <a:pt x="657" y="182"/>
                  <a:pt x="658" y="182"/>
                  <a:pt x="658" y="182"/>
                </a:cubicBezTo>
                <a:cubicBezTo>
                  <a:pt x="658" y="182"/>
                  <a:pt x="658" y="182"/>
                  <a:pt x="658" y="182"/>
                </a:cubicBezTo>
                <a:cubicBezTo>
                  <a:pt x="658" y="182"/>
                  <a:pt x="658" y="183"/>
                  <a:pt x="657" y="183"/>
                </a:cubicBezTo>
                <a:cubicBezTo>
                  <a:pt x="657" y="183"/>
                  <a:pt x="657" y="183"/>
                  <a:pt x="657" y="183"/>
                </a:cubicBezTo>
                <a:cubicBezTo>
                  <a:pt x="657" y="183"/>
                  <a:pt x="658" y="183"/>
                  <a:pt x="658" y="183"/>
                </a:cubicBezTo>
                <a:cubicBezTo>
                  <a:pt x="658" y="183"/>
                  <a:pt x="658" y="183"/>
                  <a:pt x="659" y="183"/>
                </a:cubicBezTo>
                <a:cubicBezTo>
                  <a:pt x="659" y="183"/>
                  <a:pt x="659" y="182"/>
                  <a:pt x="660" y="182"/>
                </a:cubicBezTo>
                <a:cubicBezTo>
                  <a:pt x="660" y="182"/>
                  <a:pt x="660" y="182"/>
                  <a:pt x="660" y="181"/>
                </a:cubicBezTo>
                <a:cubicBezTo>
                  <a:pt x="660" y="182"/>
                  <a:pt x="660" y="182"/>
                  <a:pt x="661" y="182"/>
                </a:cubicBezTo>
                <a:cubicBezTo>
                  <a:pt x="661" y="182"/>
                  <a:pt x="661" y="182"/>
                  <a:pt x="661" y="182"/>
                </a:cubicBezTo>
                <a:cubicBezTo>
                  <a:pt x="661" y="182"/>
                  <a:pt x="661" y="181"/>
                  <a:pt x="662" y="181"/>
                </a:cubicBezTo>
                <a:cubicBezTo>
                  <a:pt x="662" y="181"/>
                  <a:pt x="662" y="181"/>
                  <a:pt x="662" y="181"/>
                </a:cubicBezTo>
                <a:cubicBezTo>
                  <a:pt x="662" y="181"/>
                  <a:pt x="662" y="181"/>
                  <a:pt x="662" y="181"/>
                </a:cubicBezTo>
                <a:cubicBezTo>
                  <a:pt x="662" y="182"/>
                  <a:pt x="662" y="182"/>
                  <a:pt x="662" y="182"/>
                </a:cubicBezTo>
                <a:cubicBezTo>
                  <a:pt x="662" y="182"/>
                  <a:pt x="662" y="183"/>
                  <a:pt x="662" y="183"/>
                </a:cubicBezTo>
                <a:cubicBezTo>
                  <a:pt x="662" y="183"/>
                  <a:pt x="662" y="183"/>
                  <a:pt x="662" y="183"/>
                </a:cubicBezTo>
                <a:cubicBezTo>
                  <a:pt x="663" y="183"/>
                  <a:pt x="663" y="184"/>
                  <a:pt x="663" y="184"/>
                </a:cubicBezTo>
                <a:cubicBezTo>
                  <a:pt x="663" y="184"/>
                  <a:pt x="663" y="184"/>
                  <a:pt x="663" y="184"/>
                </a:cubicBezTo>
                <a:cubicBezTo>
                  <a:pt x="662" y="184"/>
                  <a:pt x="662" y="184"/>
                  <a:pt x="662" y="184"/>
                </a:cubicBezTo>
                <a:cubicBezTo>
                  <a:pt x="662" y="184"/>
                  <a:pt x="661" y="183"/>
                  <a:pt x="661" y="183"/>
                </a:cubicBezTo>
                <a:cubicBezTo>
                  <a:pt x="661" y="183"/>
                  <a:pt x="661" y="183"/>
                  <a:pt x="660" y="183"/>
                </a:cubicBezTo>
                <a:cubicBezTo>
                  <a:pt x="660" y="183"/>
                  <a:pt x="660" y="183"/>
                  <a:pt x="660" y="183"/>
                </a:cubicBezTo>
                <a:cubicBezTo>
                  <a:pt x="660" y="183"/>
                  <a:pt x="660" y="183"/>
                  <a:pt x="660" y="183"/>
                </a:cubicBezTo>
                <a:cubicBezTo>
                  <a:pt x="659" y="183"/>
                  <a:pt x="659" y="183"/>
                  <a:pt x="659" y="183"/>
                </a:cubicBezTo>
                <a:cubicBezTo>
                  <a:pt x="659" y="183"/>
                  <a:pt x="659" y="183"/>
                  <a:pt x="659" y="184"/>
                </a:cubicBezTo>
                <a:cubicBezTo>
                  <a:pt x="659" y="184"/>
                  <a:pt x="659" y="184"/>
                  <a:pt x="659" y="184"/>
                </a:cubicBezTo>
                <a:cubicBezTo>
                  <a:pt x="660" y="184"/>
                  <a:pt x="660" y="184"/>
                  <a:pt x="660" y="184"/>
                </a:cubicBezTo>
                <a:cubicBezTo>
                  <a:pt x="660" y="184"/>
                  <a:pt x="660" y="184"/>
                  <a:pt x="661" y="184"/>
                </a:cubicBezTo>
                <a:cubicBezTo>
                  <a:pt x="661" y="184"/>
                  <a:pt x="661" y="184"/>
                  <a:pt x="661" y="184"/>
                </a:cubicBezTo>
                <a:cubicBezTo>
                  <a:pt x="661" y="184"/>
                  <a:pt x="661" y="184"/>
                  <a:pt x="661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0" y="185"/>
                  <a:pt x="660" y="184"/>
                  <a:pt x="660" y="184"/>
                </a:cubicBezTo>
                <a:cubicBezTo>
                  <a:pt x="660" y="184"/>
                  <a:pt x="659" y="184"/>
                  <a:pt x="659" y="184"/>
                </a:cubicBezTo>
                <a:cubicBezTo>
                  <a:pt x="659" y="184"/>
                  <a:pt x="659" y="184"/>
                  <a:pt x="658" y="184"/>
                </a:cubicBezTo>
                <a:cubicBezTo>
                  <a:pt x="658" y="185"/>
                  <a:pt x="658" y="185"/>
                  <a:pt x="657" y="185"/>
                </a:cubicBezTo>
                <a:cubicBezTo>
                  <a:pt x="657" y="186"/>
                  <a:pt x="657" y="186"/>
                  <a:pt x="657" y="186"/>
                </a:cubicBezTo>
                <a:cubicBezTo>
                  <a:pt x="656" y="186"/>
                  <a:pt x="656" y="186"/>
                  <a:pt x="655" y="186"/>
                </a:cubicBezTo>
                <a:cubicBezTo>
                  <a:pt x="655" y="186"/>
                  <a:pt x="655" y="186"/>
                  <a:pt x="655" y="186"/>
                </a:cubicBezTo>
                <a:cubicBezTo>
                  <a:pt x="655" y="186"/>
                  <a:pt x="655" y="186"/>
                  <a:pt x="655" y="186"/>
                </a:cubicBezTo>
                <a:cubicBezTo>
                  <a:pt x="656" y="186"/>
                  <a:pt x="656" y="186"/>
                  <a:pt x="656" y="186"/>
                </a:cubicBezTo>
                <a:cubicBezTo>
                  <a:pt x="657" y="186"/>
                  <a:pt x="657" y="186"/>
                  <a:pt x="657" y="186"/>
                </a:cubicBezTo>
                <a:cubicBezTo>
                  <a:pt x="658" y="186"/>
                  <a:pt x="658" y="186"/>
                  <a:pt x="659" y="186"/>
                </a:cubicBezTo>
                <a:cubicBezTo>
                  <a:pt x="659" y="185"/>
                  <a:pt x="659" y="185"/>
                  <a:pt x="660" y="185"/>
                </a:cubicBezTo>
                <a:cubicBezTo>
                  <a:pt x="660" y="185"/>
                  <a:pt x="660" y="185"/>
                  <a:pt x="660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1" y="185"/>
                  <a:pt x="661" y="186"/>
                  <a:pt x="660" y="186"/>
                </a:cubicBezTo>
                <a:cubicBezTo>
                  <a:pt x="660" y="186"/>
                  <a:pt x="659" y="186"/>
                  <a:pt x="659" y="186"/>
                </a:cubicBezTo>
                <a:cubicBezTo>
                  <a:pt x="659" y="186"/>
                  <a:pt x="658" y="186"/>
                  <a:pt x="658" y="186"/>
                </a:cubicBezTo>
                <a:cubicBezTo>
                  <a:pt x="657" y="186"/>
                  <a:pt x="656" y="187"/>
                  <a:pt x="656" y="187"/>
                </a:cubicBezTo>
                <a:cubicBezTo>
                  <a:pt x="655" y="187"/>
                  <a:pt x="655" y="187"/>
                  <a:pt x="655" y="187"/>
                </a:cubicBezTo>
                <a:cubicBezTo>
                  <a:pt x="655" y="187"/>
                  <a:pt x="655" y="187"/>
                  <a:pt x="654" y="187"/>
                </a:cubicBezTo>
                <a:cubicBezTo>
                  <a:pt x="655" y="188"/>
                  <a:pt x="655" y="188"/>
                  <a:pt x="655" y="188"/>
                </a:cubicBezTo>
                <a:cubicBezTo>
                  <a:pt x="655" y="188"/>
                  <a:pt x="655" y="188"/>
                  <a:pt x="656" y="188"/>
                </a:cubicBezTo>
                <a:cubicBezTo>
                  <a:pt x="656" y="188"/>
                  <a:pt x="656" y="188"/>
                  <a:pt x="657" y="188"/>
                </a:cubicBezTo>
                <a:cubicBezTo>
                  <a:pt x="657" y="188"/>
                  <a:pt x="657" y="188"/>
                  <a:pt x="657" y="188"/>
                </a:cubicBezTo>
                <a:cubicBezTo>
                  <a:pt x="657" y="188"/>
                  <a:pt x="657" y="188"/>
                  <a:pt x="656" y="188"/>
                </a:cubicBezTo>
                <a:cubicBezTo>
                  <a:pt x="656" y="188"/>
                  <a:pt x="656" y="188"/>
                  <a:pt x="655" y="188"/>
                </a:cubicBezTo>
                <a:cubicBezTo>
                  <a:pt x="655" y="189"/>
                  <a:pt x="655" y="189"/>
                  <a:pt x="655" y="189"/>
                </a:cubicBezTo>
                <a:cubicBezTo>
                  <a:pt x="655" y="189"/>
                  <a:pt x="655" y="189"/>
                  <a:pt x="655" y="189"/>
                </a:cubicBezTo>
                <a:cubicBezTo>
                  <a:pt x="655" y="190"/>
                  <a:pt x="655" y="190"/>
                  <a:pt x="656" y="190"/>
                </a:cubicBezTo>
                <a:cubicBezTo>
                  <a:pt x="656" y="190"/>
                  <a:pt x="656" y="189"/>
                  <a:pt x="656" y="189"/>
                </a:cubicBezTo>
                <a:cubicBezTo>
                  <a:pt x="656" y="189"/>
                  <a:pt x="657" y="189"/>
                  <a:pt x="657" y="189"/>
                </a:cubicBezTo>
                <a:cubicBezTo>
                  <a:pt x="657" y="189"/>
                  <a:pt x="657" y="189"/>
                  <a:pt x="657" y="189"/>
                </a:cubicBezTo>
                <a:cubicBezTo>
                  <a:pt x="658" y="189"/>
                  <a:pt x="658" y="189"/>
                  <a:pt x="658" y="189"/>
                </a:cubicBezTo>
                <a:cubicBezTo>
                  <a:pt x="658" y="189"/>
                  <a:pt x="658" y="189"/>
                  <a:pt x="659" y="189"/>
                </a:cubicBezTo>
                <a:cubicBezTo>
                  <a:pt x="659" y="189"/>
                  <a:pt x="659" y="189"/>
                  <a:pt x="659" y="188"/>
                </a:cubicBezTo>
                <a:cubicBezTo>
                  <a:pt x="659" y="188"/>
                  <a:pt x="660" y="188"/>
                  <a:pt x="660" y="188"/>
                </a:cubicBezTo>
                <a:cubicBezTo>
                  <a:pt x="660" y="188"/>
                  <a:pt x="660" y="188"/>
                  <a:pt x="660" y="188"/>
                </a:cubicBezTo>
                <a:cubicBezTo>
                  <a:pt x="660" y="189"/>
                  <a:pt x="660" y="189"/>
                  <a:pt x="660" y="189"/>
                </a:cubicBezTo>
                <a:cubicBezTo>
                  <a:pt x="659" y="189"/>
                  <a:pt x="659" y="189"/>
                  <a:pt x="658" y="189"/>
                </a:cubicBezTo>
                <a:cubicBezTo>
                  <a:pt x="658" y="189"/>
                  <a:pt x="658" y="189"/>
                  <a:pt x="658" y="189"/>
                </a:cubicBezTo>
                <a:cubicBezTo>
                  <a:pt x="658" y="189"/>
                  <a:pt x="657" y="189"/>
                  <a:pt x="657" y="189"/>
                </a:cubicBezTo>
                <a:cubicBezTo>
                  <a:pt x="657" y="189"/>
                  <a:pt x="657" y="189"/>
                  <a:pt x="657" y="189"/>
                </a:cubicBezTo>
                <a:cubicBezTo>
                  <a:pt x="657" y="189"/>
                  <a:pt x="657" y="190"/>
                  <a:pt x="657" y="190"/>
                </a:cubicBezTo>
                <a:cubicBezTo>
                  <a:pt x="658" y="190"/>
                  <a:pt x="658" y="190"/>
                  <a:pt x="658" y="190"/>
                </a:cubicBezTo>
                <a:cubicBezTo>
                  <a:pt x="658" y="190"/>
                  <a:pt x="658" y="190"/>
                  <a:pt x="659" y="190"/>
                </a:cubicBezTo>
                <a:cubicBezTo>
                  <a:pt x="658" y="190"/>
                  <a:pt x="658" y="190"/>
                  <a:pt x="658" y="190"/>
                </a:cubicBezTo>
                <a:cubicBezTo>
                  <a:pt x="658" y="190"/>
                  <a:pt x="657" y="190"/>
                  <a:pt x="657" y="190"/>
                </a:cubicBezTo>
                <a:cubicBezTo>
                  <a:pt x="656" y="190"/>
                  <a:pt x="656" y="191"/>
                  <a:pt x="656" y="191"/>
                </a:cubicBezTo>
                <a:cubicBezTo>
                  <a:pt x="656" y="191"/>
                  <a:pt x="656" y="191"/>
                  <a:pt x="656" y="191"/>
                </a:cubicBezTo>
                <a:cubicBezTo>
                  <a:pt x="657" y="191"/>
                  <a:pt x="657" y="191"/>
                  <a:pt x="657" y="191"/>
                </a:cubicBezTo>
                <a:cubicBezTo>
                  <a:pt x="657" y="191"/>
                  <a:pt x="657" y="191"/>
                  <a:pt x="657" y="191"/>
                </a:cubicBezTo>
                <a:cubicBezTo>
                  <a:pt x="658" y="191"/>
                  <a:pt x="658" y="191"/>
                  <a:pt x="659" y="190"/>
                </a:cubicBezTo>
                <a:cubicBezTo>
                  <a:pt x="659" y="190"/>
                  <a:pt x="659" y="191"/>
                  <a:pt x="659" y="191"/>
                </a:cubicBezTo>
                <a:cubicBezTo>
                  <a:pt x="659" y="191"/>
                  <a:pt x="660" y="191"/>
                  <a:pt x="660" y="191"/>
                </a:cubicBezTo>
                <a:cubicBezTo>
                  <a:pt x="660" y="191"/>
                  <a:pt x="660" y="191"/>
                  <a:pt x="659" y="191"/>
                </a:cubicBezTo>
                <a:cubicBezTo>
                  <a:pt x="659" y="191"/>
                  <a:pt x="658" y="191"/>
                  <a:pt x="658" y="191"/>
                </a:cubicBezTo>
                <a:cubicBezTo>
                  <a:pt x="658" y="191"/>
                  <a:pt x="657" y="191"/>
                  <a:pt x="657" y="191"/>
                </a:cubicBezTo>
                <a:cubicBezTo>
                  <a:pt x="657" y="191"/>
                  <a:pt x="657" y="191"/>
                  <a:pt x="656" y="191"/>
                </a:cubicBezTo>
                <a:cubicBezTo>
                  <a:pt x="656" y="192"/>
                  <a:pt x="656" y="192"/>
                  <a:pt x="656" y="192"/>
                </a:cubicBezTo>
                <a:cubicBezTo>
                  <a:pt x="656" y="192"/>
                  <a:pt x="656" y="192"/>
                  <a:pt x="657" y="192"/>
                </a:cubicBezTo>
                <a:cubicBezTo>
                  <a:pt x="657" y="192"/>
                  <a:pt x="657" y="192"/>
                  <a:pt x="657" y="192"/>
                </a:cubicBezTo>
                <a:cubicBezTo>
                  <a:pt x="657" y="192"/>
                  <a:pt x="658" y="192"/>
                  <a:pt x="658" y="192"/>
                </a:cubicBezTo>
                <a:cubicBezTo>
                  <a:pt x="658" y="192"/>
                  <a:pt x="658" y="192"/>
                  <a:pt x="659" y="192"/>
                </a:cubicBezTo>
                <a:cubicBezTo>
                  <a:pt x="659" y="192"/>
                  <a:pt x="659" y="192"/>
                  <a:pt x="660" y="192"/>
                </a:cubicBezTo>
                <a:cubicBezTo>
                  <a:pt x="660" y="192"/>
                  <a:pt x="660" y="192"/>
                  <a:pt x="660" y="192"/>
                </a:cubicBezTo>
                <a:cubicBezTo>
                  <a:pt x="659" y="192"/>
                  <a:pt x="659" y="192"/>
                  <a:pt x="658" y="193"/>
                </a:cubicBezTo>
                <a:cubicBezTo>
                  <a:pt x="658" y="193"/>
                  <a:pt x="658" y="193"/>
                  <a:pt x="658" y="193"/>
                </a:cubicBezTo>
                <a:cubicBezTo>
                  <a:pt x="658" y="193"/>
                  <a:pt x="658" y="193"/>
                  <a:pt x="659" y="194"/>
                </a:cubicBezTo>
                <a:cubicBezTo>
                  <a:pt x="659" y="194"/>
                  <a:pt x="659" y="194"/>
                  <a:pt x="659" y="194"/>
                </a:cubicBezTo>
                <a:cubicBezTo>
                  <a:pt x="659" y="193"/>
                  <a:pt x="659" y="193"/>
                  <a:pt x="659" y="193"/>
                </a:cubicBezTo>
                <a:cubicBezTo>
                  <a:pt x="659" y="193"/>
                  <a:pt x="660" y="193"/>
                  <a:pt x="660" y="193"/>
                </a:cubicBezTo>
                <a:cubicBezTo>
                  <a:pt x="660" y="193"/>
                  <a:pt x="660" y="193"/>
                  <a:pt x="661" y="194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4"/>
                </a:cubicBezTo>
                <a:cubicBezTo>
                  <a:pt x="661" y="194"/>
                  <a:pt x="661" y="194"/>
                  <a:pt x="661" y="194"/>
                </a:cubicBezTo>
                <a:cubicBezTo>
                  <a:pt x="661" y="194"/>
                  <a:pt x="661" y="194"/>
                  <a:pt x="662" y="194"/>
                </a:cubicBezTo>
                <a:cubicBezTo>
                  <a:pt x="661" y="195"/>
                  <a:pt x="661" y="195"/>
                  <a:pt x="661" y="195"/>
                </a:cubicBezTo>
                <a:cubicBezTo>
                  <a:pt x="661" y="195"/>
                  <a:pt x="660" y="195"/>
                  <a:pt x="660" y="195"/>
                </a:cubicBezTo>
                <a:cubicBezTo>
                  <a:pt x="660" y="195"/>
                  <a:pt x="660" y="196"/>
                  <a:pt x="660" y="196"/>
                </a:cubicBezTo>
                <a:cubicBezTo>
                  <a:pt x="660" y="196"/>
                  <a:pt x="660" y="196"/>
                  <a:pt x="659" y="196"/>
                </a:cubicBezTo>
                <a:cubicBezTo>
                  <a:pt x="659" y="197"/>
                  <a:pt x="660" y="197"/>
                  <a:pt x="660" y="197"/>
                </a:cubicBezTo>
                <a:cubicBezTo>
                  <a:pt x="660" y="197"/>
                  <a:pt x="660" y="197"/>
                  <a:pt x="660" y="196"/>
                </a:cubicBezTo>
                <a:cubicBezTo>
                  <a:pt x="661" y="196"/>
                  <a:pt x="661" y="196"/>
                  <a:pt x="661" y="196"/>
                </a:cubicBezTo>
                <a:cubicBezTo>
                  <a:pt x="661" y="196"/>
                  <a:pt x="661" y="196"/>
                  <a:pt x="661" y="196"/>
                </a:cubicBezTo>
                <a:cubicBezTo>
                  <a:pt x="662" y="196"/>
                  <a:pt x="662" y="197"/>
                  <a:pt x="662" y="197"/>
                </a:cubicBezTo>
                <a:cubicBezTo>
                  <a:pt x="662" y="197"/>
                  <a:pt x="661" y="197"/>
                  <a:pt x="661" y="197"/>
                </a:cubicBezTo>
                <a:cubicBezTo>
                  <a:pt x="661" y="197"/>
                  <a:pt x="661" y="197"/>
                  <a:pt x="661" y="197"/>
                </a:cubicBezTo>
                <a:cubicBezTo>
                  <a:pt x="662" y="197"/>
                  <a:pt x="662" y="197"/>
                  <a:pt x="662" y="197"/>
                </a:cubicBezTo>
                <a:cubicBezTo>
                  <a:pt x="662" y="197"/>
                  <a:pt x="662" y="197"/>
                  <a:pt x="663" y="197"/>
                </a:cubicBezTo>
                <a:cubicBezTo>
                  <a:pt x="663" y="197"/>
                  <a:pt x="663" y="197"/>
                  <a:pt x="663" y="197"/>
                </a:cubicBezTo>
                <a:cubicBezTo>
                  <a:pt x="663" y="198"/>
                  <a:pt x="662" y="198"/>
                  <a:pt x="662" y="198"/>
                </a:cubicBezTo>
                <a:cubicBezTo>
                  <a:pt x="662" y="198"/>
                  <a:pt x="663" y="198"/>
                  <a:pt x="663" y="198"/>
                </a:cubicBezTo>
                <a:cubicBezTo>
                  <a:pt x="663" y="198"/>
                  <a:pt x="663" y="198"/>
                  <a:pt x="663" y="199"/>
                </a:cubicBezTo>
                <a:cubicBezTo>
                  <a:pt x="662" y="199"/>
                  <a:pt x="662" y="199"/>
                  <a:pt x="662" y="199"/>
                </a:cubicBezTo>
                <a:cubicBezTo>
                  <a:pt x="662" y="199"/>
                  <a:pt x="662" y="199"/>
                  <a:pt x="662" y="199"/>
                </a:cubicBezTo>
                <a:cubicBezTo>
                  <a:pt x="662" y="199"/>
                  <a:pt x="662" y="199"/>
                  <a:pt x="663" y="199"/>
                </a:cubicBezTo>
                <a:cubicBezTo>
                  <a:pt x="663" y="199"/>
                  <a:pt x="663" y="199"/>
                  <a:pt x="663" y="199"/>
                </a:cubicBezTo>
                <a:cubicBezTo>
                  <a:pt x="663" y="199"/>
                  <a:pt x="663" y="198"/>
                  <a:pt x="663" y="198"/>
                </a:cubicBezTo>
                <a:cubicBezTo>
                  <a:pt x="664" y="198"/>
                  <a:pt x="664" y="198"/>
                  <a:pt x="665" y="198"/>
                </a:cubicBezTo>
                <a:cubicBezTo>
                  <a:pt x="665" y="198"/>
                  <a:pt x="665" y="198"/>
                  <a:pt x="665" y="198"/>
                </a:cubicBezTo>
                <a:cubicBezTo>
                  <a:pt x="665" y="198"/>
                  <a:pt x="665" y="198"/>
                  <a:pt x="665" y="198"/>
                </a:cubicBezTo>
                <a:cubicBezTo>
                  <a:pt x="665" y="198"/>
                  <a:pt x="665" y="199"/>
                  <a:pt x="665" y="199"/>
                </a:cubicBezTo>
                <a:cubicBezTo>
                  <a:pt x="665" y="199"/>
                  <a:pt x="664" y="199"/>
                  <a:pt x="664" y="199"/>
                </a:cubicBezTo>
                <a:cubicBezTo>
                  <a:pt x="664" y="199"/>
                  <a:pt x="664" y="199"/>
                  <a:pt x="664" y="200"/>
                </a:cubicBezTo>
                <a:cubicBezTo>
                  <a:pt x="664" y="200"/>
                  <a:pt x="663" y="200"/>
                  <a:pt x="663" y="200"/>
                </a:cubicBezTo>
                <a:cubicBezTo>
                  <a:pt x="663" y="200"/>
                  <a:pt x="663" y="200"/>
                  <a:pt x="662" y="200"/>
                </a:cubicBezTo>
                <a:cubicBezTo>
                  <a:pt x="662" y="200"/>
                  <a:pt x="662" y="200"/>
                  <a:pt x="662" y="200"/>
                </a:cubicBezTo>
                <a:cubicBezTo>
                  <a:pt x="662" y="200"/>
                  <a:pt x="662" y="200"/>
                  <a:pt x="663" y="201"/>
                </a:cubicBezTo>
                <a:cubicBezTo>
                  <a:pt x="663" y="200"/>
                  <a:pt x="663" y="200"/>
                  <a:pt x="663" y="200"/>
                </a:cubicBezTo>
                <a:cubicBezTo>
                  <a:pt x="664" y="200"/>
                  <a:pt x="664" y="200"/>
                  <a:pt x="664" y="200"/>
                </a:cubicBezTo>
                <a:cubicBezTo>
                  <a:pt x="664" y="200"/>
                  <a:pt x="665" y="200"/>
                  <a:pt x="665" y="200"/>
                </a:cubicBezTo>
                <a:cubicBezTo>
                  <a:pt x="665" y="200"/>
                  <a:pt x="665" y="200"/>
                  <a:pt x="665" y="200"/>
                </a:cubicBezTo>
                <a:cubicBezTo>
                  <a:pt x="665" y="200"/>
                  <a:pt x="665" y="200"/>
                  <a:pt x="665" y="200"/>
                </a:cubicBezTo>
                <a:cubicBezTo>
                  <a:pt x="664" y="200"/>
                  <a:pt x="664" y="201"/>
                  <a:pt x="664" y="201"/>
                </a:cubicBezTo>
                <a:cubicBezTo>
                  <a:pt x="664" y="201"/>
                  <a:pt x="664" y="201"/>
                  <a:pt x="664" y="201"/>
                </a:cubicBezTo>
                <a:cubicBezTo>
                  <a:pt x="664" y="201"/>
                  <a:pt x="664" y="202"/>
                  <a:pt x="663" y="202"/>
                </a:cubicBezTo>
                <a:cubicBezTo>
                  <a:pt x="663" y="202"/>
                  <a:pt x="663" y="202"/>
                  <a:pt x="663" y="202"/>
                </a:cubicBezTo>
                <a:cubicBezTo>
                  <a:pt x="663" y="202"/>
                  <a:pt x="662" y="202"/>
                  <a:pt x="662" y="202"/>
                </a:cubicBezTo>
                <a:cubicBezTo>
                  <a:pt x="663" y="202"/>
                  <a:pt x="663" y="203"/>
                  <a:pt x="663" y="203"/>
                </a:cubicBezTo>
                <a:cubicBezTo>
                  <a:pt x="664" y="202"/>
                  <a:pt x="664" y="202"/>
                  <a:pt x="665" y="202"/>
                </a:cubicBezTo>
                <a:cubicBezTo>
                  <a:pt x="665" y="202"/>
                  <a:pt x="665" y="202"/>
                  <a:pt x="665" y="202"/>
                </a:cubicBezTo>
                <a:cubicBezTo>
                  <a:pt x="666" y="202"/>
                  <a:pt x="666" y="201"/>
                  <a:pt x="666" y="201"/>
                </a:cubicBezTo>
                <a:cubicBezTo>
                  <a:pt x="667" y="201"/>
                  <a:pt x="667" y="201"/>
                  <a:pt x="667" y="201"/>
                </a:cubicBezTo>
                <a:cubicBezTo>
                  <a:pt x="667" y="201"/>
                  <a:pt x="667" y="202"/>
                  <a:pt x="667" y="202"/>
                </a:cubicBezTo>
                <a:cubicBezTo>
                  <a:pt x="667" y="202"/>
                  <a:pt x="667" y="202"/>
                  <a:pt x="667" y="202"/>
                </a:cubicBezTo>
                <a:cubicBezTo>
                  <a:pt x="667" y="202"/>
                  <a:pt x="666" y="202"/>
                  <a:pt x="666" y="202"/>
                </a:cubicBezTo>
                <a:cubicBezTo>
                  <a:pt x="666" y="202"/>
                  <a:pt x="665" y="202"/>
                  <a:pt x="665" y="203"/>
                </a:cubicBezTo>
                <a:cubicBezTo>
                  <a:pt x="665" y="203"/>
                  <a:pt x="665" y="203"/>
                  <a:pt x="665" y="203"/>
                </a:cubicBezTo>
                <a:cubicBezTo>
                  <a:pt x="665" y="203"/>
                  <a:pt x="666" y="203"/>
                  <a:pt x="666" y="203"/>
                </a:cubicBezTo>
                <a:cubicBezTo>
                  <a:pt x="666" y="203"/>
                  <a:pt x="666" y="203"/>
                  <a:pt x="666" y="203"/>
                </a:cubicBezTo>
                <a:cubicBezTo>
                  <a:pt x="666" y="203"/>
                  <a:pt x="666" y="203"/>
                  <a:pt x="665" y="204"/>
                </a:cubicBezTo>
                <a:cubicBezTo>
                  <a:pt x="665" y="204"/>
                  <a:pt x="666" y="204"/>
                  <a:pt x="666" y="204"/>
                </a:cubicBezTo>
                <a:cubicBezTo>
                  <a:pt x="666" y="204"/>
                  <a:pt x="666" y="204"/>
                  <a:pt x="667" y="204"/>
                </a:cubicBezTo>
                <a:cubicBezTo>
                  <a:pt x="667" y="204"/>
                  <a:pt x="667" y="204"/>
                  <a:pt x="668" y="203"/>
                </a:cubicBezTo>
                <a:cubicBezTo>
                  <a:pt x="668" y="203"/>
                  <a:pt x="668" y="203"/>
                  <a:pt x="668" y="203"/>
                </a:cubicBezTo>
                <a:cubicBezTo>
                  <a:pt x="668" y="203"/>
                  <a:pt x="669" y="203"/>
                  <a:pt x="669" y="203"/>
                </a:cubicBezTo>
                <a:cubicBezTo>
                  <a:pt x="669" y="203"/>
                  <a:pt x="669" y="203"/>
                  <a:pt x="670" y="204"/>
                </a:cubicBezTo>
                <a:cubicBezTo>
                  <a:pt x="670" y="204"/>
                  <a:pt x="670" y="204"/>
                  <a:pt x="670" y="204"/>
                </a:cubicBezTo>
                <a:cubicBezTo>
                  <a:pt x="670" y="204"/>
                  <a:pt x="670" y="204"/>
                  <a:pt x="671" y="204"/>
                </a:cubicBezTo>
                <a:cubicBezTo>
                  <a:pt x="671" y="205"/>
                  <a:pt x="671" y="205"/>
                  <a:pt x="671" y="205"/>
                </a:cubicBezTo>
                <a:cubicBezTo>
                  <a:pt x="671" y="205"/>
                  <a:pt x="670" y="205"/>
                  <a:pt x="670" y="205"/>
                </a:cubicBezTo>
                <a:cubicBezTo>
                  <a:pt x="670" y="205"/>
                  <a:pt x="670" y="205"/>
                  <a:pt x="669" y="205"/>
                </a:cubicBezTo>
                <a:cubicBezTo>
                  <a:pt x="669" y="205"/>
                  <a:pt x="669" y="206"/>
                  <a:pt x="669" y="206"/>
                </a:cubicBezTo>
                <a:cubicBezTo>
                  <a:pt x="669" y="206"/>
                  <a:pt x="669" y="206"/>
                  <a:pt x="669" y="206"/>
                </a:cubicBezTo>
                <a:cubicBezTo>
                  <a:pt x="670" y="206"/>
                  <a:pt x="670" y="206"/>
                  <a:pt x="671" y="206"/>
                </a:cubicBezTo>
                <a:cubicBezTo>
                  <a:pt x="671" y="206"/>
                  <a:pt x="671" y="206"/>
                  <a:pt x="671" y="206"/>
                </a:cubicBezTo>
                <a:cubicBezTo>
                  <a:pt x="671" y="206"/>
                  <a:pt x="671" y="206"/>
                  <a:pt x="671" y="206"/>
                </a:cubicBezTo>
                <a:cubicBezTo>
                  <a:pt x="671" y="206"/>
                  <a:pt x="671" y="205"/>
                  <a:pt x="671" y="205"/>
                </a:cubicBezTo>
                <a:cubicBezTo>
                  <a:pt x="671" y="205"/>
                  <a:pt x="671" y="205"/>
                  <a:pt x="671" y="205"/>
                </a:cubicBezTo>
                <a:cubicBezTo>
                  <a:pt x="672" y="205"/>
                  <a:pt x="672" y="205"/>
                  <a:pt x="672" y="205"/>
                </a:cubicBezTo>
                <a:cubicBezTo>
                  <a:pt x="672" y="205"/>
                  <a:pt x="672" y="205"/>
                  <a:pt x="673" y="205"/>
                </a:cubicBezTo>
                <a:cubicBezTo>
                  <a:pt x="673" y="205"/>
                  <a:pt x="673" y="205"/>
                  <a:pt x="673" y="205"/>
                </a:cubicBezTo>
                <a:cubicBezTo>
                  <a:pt x="674" y="205"/>
                  <a:pt x="674" y="205"/>
                  <a:pt x="674" y="205"/>
                </a:cubicBezTo>
                <a:cubicBezTo>
                  <a:pt x="674" y="205"/>
                  <a:pt x="674" y="205"/>
                  <a:pt x="675" y="205"/>
                </a:cubicBezTo>
                <a:cubicBezTo>
                  <a:pt x="675" y="205"/>
                  <a:pt x="675" y="205"/>
                  <a:pt x="675" y="205"/>
                </a:cubicBezTo>
                <a:cubicBezTo>
                  <a:pt x="675" y="204"/>
                  <a:pt x="675" y="204"/>
                  <a:pt x="676" y="204"/>
                </a:cubicBezTo>
                <a:cubicBezTo>
                  <a:pt x="676" y="204"/>
                  <a:pt x="676" y="204"/>
                  <a:pt x="676" y="204"/>
                </a:cubicBezTo>
                <a:cubicBezTo>
                  <a:pt x="676" y="204"/>
                  <a:pt x="677" y="204"/>
                  <a:pt x="677" y="204"/>
                </a:cubicBezTo>
                <a:cubicBezTo>
                  <a:pt x="677" y="203"/>
                  <a:pt x="677" y="203"/>
                  <a:pt x="678" y="203"/>
                </a:cubicBezTo>
                <a:cubicBezTo>
                  <a:pt x="678" y="203"/>
                  <a:pt x="678" y="203"/>
                  <a:pt x="678" y="203"/>
                </a:cubicBezTo>
                <a:cubicBezTo>
                  <a:pt x="678" y="203"/>
                  <a:pt x="679" y="203"/>
                  <a:pt x="679" y="203"/>
                </a:cubicBezTo>
                <a:cubicBezTo>
                  <a:pt x="679" y="203"/>
                  <a:pt x="679" y="203"/>
                  <a:pt x="679" y="203"/>
                </a:cubicBezTo>
                <a:cubicBezTo>
                  <a:pt x="679" y="203"/>
                  <a:pt x="679" y="203"/>
                  <a:pt x="678" y="202"/>
                </a:cubicBezTo>
                <a:cubicBezTo>
                  <a:pt x="678" y="202"/>
                  <a:pt x="678" y="202"/>
                  <a:pt x="678" y="202"/>
                </a:cubicBezTo>
                <a:cubicBezTo>
                  <a:pt x="679" y="202"/>
                  <a:pt x="679" y="202"/>
                  <a:pt x="679" y="202"/>
                </a:cubicBezTo>
                <a:cubicBezTo>
                  <a:pt x="679" y="202"/>
                  <a:pt x="679" y="202"/>
                  <a:pt x="679" y="202"/>
                </a:cubicBezTo>
                <a:cubicBezTo>
                  <a:pt x="680" y="202"/>
                  <a:pt x="680" y="202"/>
                  <a:pt x="680" y="202"/>
                </a:cubicBezTo>
                <a:cubicBezTo>
                  <a:pt x="680" y="203"/>
                  <a:pt x="680" y="203"/>
                  <a:pt x="680" y="203"/>
                </a:cubicBezTo>
                <a:cubicBezTo>
                  <a:pt x="680" y="203"/>
                  <a:pt x="679" y="204"/>
                  <a:pt x="679" y="204"/>
                </a:cubicBezTo>
                <a:cubicBezTo>
                  <a:pt x="679" y="204"/>
                  <a:pt x="679" y="204"/>
                  <a:pt x="679" y="204"/>
                </a:cubicBezTo>
                <a:cubicBezTo>
                  <a:pt x="678" y="204"/>
                  <a:pt x="678" y="204"/>
                  <a:pt x="678" y="204"/>
                </a:cubicBezTo>
                <a:cubicBezTo>
                  <a:pt x="678" y="204"/>
                  <a:pt x="678" y="204"/>
                  <a:pt x="678" y="205"/>
                </a:cubicBezTo>
                <a:cubicBezTo>
                  <a:pt x="679" y="204"/>
                  <a:pt x="679" y="204"/>
                  <a:pt x="679" y="204"/>
                </a:cubicBezTo>
                <a:cubicBezTo>
                  <a:pt x="680" y="204"/>
                  <a:pt x="680" y="203"/>
                  <a:pt x="681" y="203"/>
                </a:cubicBezTo>
                <a:cubicBezTo>
                  <a:pt x="681" y="203"/>
                  <a:pt x="682" y="202"/>
                  <a:pt x="682" y="202"/>
                </a:cubicBezTo>
                <a:cubicBezTo>
                  <a:pt x="682" y="202"/>
                  <a:pt x="682" y="202"/>
                  <a:pt x="682" y="202"/>
                </a:cubicBezTo>
                <a:cubicBezTo>
                  <a:pt x="683" y="202"/>
                  <a:pt x="683" y="202"/>
                  <a:pt x="683" y="202"/>
                </a:cubicBezTo>
                <a:cubicBezTo>
                  <a:pt x="683" y="203"/>
                  <a:pt x="683" y="203"/>
                  <a:pt x="683" y="203"/>
                </a:cubicBezTo>
                <a:cubicBezTo>
                  <a:pt x="683" y="203"/>
                  <a:pt x="682" y="203"/>
                  <a:pt x="682" y="203"/>
                </a:cubicBezTo>
                <a:cubicBezTo>
                  <a:pt x="682" y="203"/>
                  <a:pt x="682" y="204"/>
                  <a:pt x="681" y="204"/>
                </a:cubicBezTo>
                <a:cubicBezTo>
                  <a:pt x="681" y="204"/>
                  <a:pt x="681" y="204"/>
                  <a:pt x="681" y="204"/>
                </a:cubicBezTo>
                <a:cubicBezTo>
                  <a:pt x="680" y="204"/>
                  <a:pt x="680" y="205"/>
                  <a:pt x="680" y="205"/>
                </a:cubicBezTo>
                <a:cubicBezTo>
                  <a:pt x="680" y="205"/>
                  <a:pt x="679" y="205"/>
                  <a:pt x="679" y="205"/>
                </a:cubicBezTo>
                <a:cubicBezTo>
                  <a:pt x="679" y="205"/>
                  <a:pt x="680" y="205"/>
                  <a:pt x="680" y="205"/>
                </a:cubicBezTo>
                <a:cubicBezTo>
                  <a:pt x="680" y="205"/>
                  <a:pt x="680" y="205"/>
                  <a:pt x="681" y="205"/>
                </a:cubicBezTo>
                <a:cubicBezTo>
                  <a:pt x="681" y="204"/>
                  <a:pt x="681" y="204"/>
                  <a:pt x="682" y="204"/>
                </a:cubicBezTo>
                <a:cubicBezTo>
                  <a:pt x="682" y="204"/>
                  <a:pt x="682" y="204"/>
                  <a:pt x="682" y="204"/>
                </a:cubicBezTo>
                <a:cubicBezTo>
                  <a:pt x="681" y="204"/>
                  <a:pt x="681" y="205"/>
                  <a:pt x="681" y="205"/>
                </a:cubicBezTo>
                <a:cubicBezTo>
                  <a:pt x="681" y="205"/>
                  <a:pt x="680" y="205"/>
                  <a:pt x="680" y="205"/>
                </a:cubicBezTo>
                <a:cubicBezTo>
                  <a:pt x="680" y="205"/>
                  <a:pt x="680" y="205"/>
                  <a:pt x="680" y="206"/>
                </a:cubicBezTo>
                <a:cubicBezTo>
                  <a:pt x="680" y="206"/>
                  <a:pt x="679" y="206"/>
                  <a:pt x="679" y="207"/>
                </a:cubicBezTo>
                <a:cubicBezTo>
                  <a:pt x="679" y="207"/>
                  <a:pt x="679" y="207"/>
                  <a:pt x="679" y="207"/>
                </a:cubicBezTo>
                <a:cubicBezTo>
                  <a:pt x="679" y="207"/>
                  <a:pt x="679" y="207"/>
                  <a:pt x="679" y="207"/>
                </a:cubicBezTo>
                <a:cubicBezTo>
                  <a:pt x="679" y="207"/>
                  <a:pt x="679" y="207"/>
                  <a:pt x="680" y="206"/>
                </a:cubicBezTo>
                <a:cubicBezTo>
                  <a:pt x="680" y="206"/>
                  <a:pt x="680" y="206"/>
                  <a:pt x="680" y="206"/>
                </a:cubicBezTo>
                <a:cubicBezTo>
                  <a:pt x="680" y="207"/>
                  <a:pt x="680" y="207"/>
                  <a:pt x="680" y="207"/>
                </a:cubicBezTo>
                <a:cubicBezTo>
                  <a:pt x="680" y="207"/>
                  <a:pt x="680" y="207"/>
                  <a:pt x="680" y="207"/>
                </a:cubicBezTo>
                <a:cubicBezTo>
                  <a:pt x="681" y="207"/>
                  <a:pt x="681" y="207"/>
                  <a:pt x="681" y="207"/>
                </a:cubicBezTo>
                <a:cubicBezTo>
                  <a:pt x="681" y="207"/>
                  <a:pt x="681" y="206"/>
                  <a:pt x="681" y="206"/>
                </a:cubicBezTo>
                <a:cubicBezTo>
                  <a:pt x="681" y="206"/>
                  <a:pt x="681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7"/>
                  <a:pt x="681" y="207"/>
                  <a:pt x="681" y="207"/>
                </a:cubicBezTo>
                <a:cubicBezTo>
                  <a:pt x="681" y="207"/>
                  <a:pt x="682" y="207"/>
                  <a:pt x="682" y="207"/>
                </a:cubicBezTo>
                <a:cubicBezTo>
                  <a:pt x="682" y="207"/>
                  <a:pt x="682" y="207"/>
                  <a:pt x="682" y="207"/>
                </a:cubicBezTo>
                <a:cubicBezTo>
                  <a:pt x="683" y="207"/>
                  <a:pt x="683" y="207"/>
                  <a:pt x="683" y="206"/>
                </a:cubicBezTo>
                <a:cubicBezTo>
                  <a:pt x="683" y="206"/>
                  <a:pt x="683" y="206"/>
                  <a:pt x="683" y="206"/>
                </a:cubicBezTo>
                <a:cubicBezTo>
                  <a:pt x="683" y="206"/>
                  <a:pt x="684" y="206"/>
                  <a:pt x="684" y="206"/>
                </a:cubicBezTo>
                <a:cubicBezTo>
                  <a:pt x="684" y="206"/>
                  <a:pt x="684" y="207"/>
                  <a:pt x="683" y="207"/>
                </a:cubicBezTo>
                <a:cubicBezTo>
                  <a:pt x="683" y="207"/>
                  <a:pt x="683" y="207"/>
                  <a:pt x="683" y="208"/>
                </a:cubicBezTo>
                <a:cubicBezTo>
                  <a:pt x="683" y="208"/>
                  <a:pt x="683" y="208"/>
                  <a:pt x="682" y="208"/>
                </a:cubicBezTo>
                <a:cubicBezTo>
                  <a:pt x="682" y="208"/>
                  <a:pt x="682" y="209"/>
                  <a:pt x="682" y="209"/>
                </a:cubicBezTo>
                <a:cubicBezTo>
                  <a:pt x="682" y="209"/>
                  <a:pt x="683" y="209"/>
                  <a:pt x="683" y="209"/>
                </a:cubicBezTo>
                <a:cubicBezTo>
                  <a:pt x="683" y="209"/>
                  <a:pt x="683" y="208"/>
                  <a:pt x="684" y="208"/>
                </a:cubicBezTo>
                <a:cubicBezTo>
                  <a:pt x="684" y="208"/>
                  <a:pt x="684" y="207"/>
                  <a:pt x="684" y="207"/>
                </a:cubicBezTo>
                <a:cubicBezTo>
                  <a:pt x="684" y="207"/>
                  <a:pt x="685" y="207"/>
                  <a:pt x="685" y="206"/>
                </a:cubicBezTo>
                <a:cubicBezTo>
                  <a:pt x="685" y="207"/>
                  <a:pt x="685" y="207"/>
                  <a:pt x="685" y="207"/>
                </a:cubicBezTo>
                <a:cubicBezTo>
                  <a:pt x="685" y="207"/>
                  <a:pt x="684" y="207"/>
                  <a:pt x="684" y="208"/>
                </a:cubicBezTo>
                <a:cubicBezTo>
                  <a:pt x="684" y="208"/>
                  <a:pt x="684" y="208"/>
                  <a:pt x="684" y="208"/>
                </a:cubicBezTo>
                <a:cubicBezTo>
                  <a:pt x="684" y="208"/>
                  <a:pt x="684" y="209"/>
                  <a:pt x="684" y="209"/>
                </a:cubicBezTo>
                <a:cubicBezTo>
                  <a:pt x="684" y="209"/>
                  <a:pt x="684" y="209"/>
                  <a:pt x="684" y="209"/>
                </a:cubicBezTo>
                <a:cubicBezTo>
                  <a:pt x="684" y="209"/>
                  <a:pt x="684" y="209"/>
                  <a:pt x="684" y="210"/>
                </a:cubicBezTo>
                <a:cubicBezTo>
                  <a:pt x="684" y="209"/>
                  <a:pt x="685" y="209"/>
                  <a:pt x="685" y="209"/>
                </a:cubicBezTo>
                <a:cubicBezTo>
                  <a:pt x="685" y="209"/>
                  <a:pt x="685" y="209"/>
                  <a:pt x="685" y="209"/>
                </a:cubicBezTo>
                <a:cubicBezTo>
                  <a:pt x="685" y="209"/>
                  <a:pt x="685" y="208"/>
                  <a:pt x="685" y="208"/>
                </a:cubicBezTo>
                <a:cubicBezTo>
                  <a:pt x="685" y="208"/>
                  <a:pt x="685" y="208"/>
                  <a:pt x="685" y="208"/>
                </a:cubicBezTo>
                <a:cubicBezTo>
                  <a:pt x="685" y="208"/>
                  <a:pt x="686" y="208"/>
                  <a:pt x="686" y="208"/>
                </a:cubicBezTo>
                <a:cubicBezTo>
                  <a:pt x="686" y="208"/>
                  <a:pt x="686" y="208"/>
                  <a:pt x="686" y="207"/>
                </a:cubicBezTo>
                <a:cubicBezTo>
                  <a:pt x="686" y="207"/>
                  <a:pt x="686" y="207"/>
                  <a:pt x="686" y="207"/>
                </a:cubicBezTo>
                <a:cubicBezTo>
                  <a:pt x="686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8"/>
                  <a:pt x="687" y="208"/>
                </a:cubicBezTo>
                <a:cubicBezTo>
                  <a:pt x="687" y="208"/>
                  <a:pt x="687" y="208"/>
                  <a:pt x="687" y="208"/>
                </a:cubicBezTo>
                <a:cubicBezTo>
                  <a:pt x="688" y="208"/>
                  <a:pt x="688" y="208"/>
                  <a:pt x="688" y="208"/>
                </a:cubicBezTo>
                <a:cubicBezTo>
                  <a:pt x="689" y="208"/>
                  <a:pt x="690" y="208"/>
                  <a:pt x="691" y="208"/>
                </a:cubicBezTo>
                <a:cubicBezTo>
                  <a:pt x="691" y="208"/>
                  <a:pt x="691" y="208"/>
                  <a:pt x="691" y="208"/>
                </a:cubicBezTo>
                <a:cubicBezTo>
                  <a:pt x="691" y="208"/>
                  <a:pt x="691" y="208"/>
                  <a:pt x="691" y="208"/>
                </a:cubicBezTo>
                <a:cubicBezTo>
                  <a:pt x="692" y="208"/>
                  <a:pt x="692" y="208"/>
                  <a:pt x="692" y="208"/>
                </a:cubicBezTo>
                <a:cubicBezTo>
                  <a:pt x="692" y="208"/>
                  <a:pt x="692" y="208"/>
                  <a:pt x="693" y="208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0" y="207"/>
                  <a:pt x="690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1" y="207"/>
                  <a:pt x="691" y="206"/>
                </a:cubicBezTo>
                <a:cubicBezTo>
                  <a:pt x="690" y="206"/>
                  <a:pt x="690" y="206"/>
                  <a:pt x="690" y="206"/>
                </a:cubicBezTo>
                <a:cubicBezTo>
                  <a:pt x="689" y="206"/>
                  <a:pt x="688" y="206"/>
                  <a:pt x="688" y="206"/>
                </a:cubicBezTo>
                <a:cubicBezTo>
                  <a:pt x="688" y="206"/>
                  <a:pt x="688" y="206"/>
                  <a:pt x="688" y="206"/>
                </a:cubicBezTo>
                <a:cubicBezTo>
                  <a:pt x="688" y="206"/>
                  <a:pt x="688" y="206"/>
                  <a:pt x="688" y="205"/>
                </a:cubicBezTo>
                <a:cubicBezTo>
                  <a:pt x="688" y="205"/>
                  <a:pt x="688" y="205"/>
                  <a:pt x="689" y="205"/>
                </a:cubicBezTo>
                <a:cubicBezTo>
                  <a:pt x="689" y="205"/>
                  <a:pt x="689" y="205"/>
                  <a:pt x="689" y="205"/>
                </a:cubicBezTo>
                <a:cubicBezTo>
                  <a:pt x="689" y="205"/>
                  <a:pt x="689" y="205"/>
                  <a:pt x="689" y="205"/>
                </a:cubicBezTo>
                <a:cubicBezTo>
                  <a:pt x="690" y="205"/>
                  <a:pt x="690" y="205"/>
                  <a:pt x="690" y="206"/>
                </a:cubicBezTo>
                <a:cubicBezTo>
                  <a:pt x="690" y="206"/>
                  <a:pt x="690" y="206"/>
                  <a:pt x="691" y="206"/>
                </a:cubicBezTo>
                <a:cubicBezTo>
                  <a:pt x="691" y="206"/>
                  <a:pt x="691" y="206"/>
                  <a:pt x="691" y="206"/>
                </a:cubicBezTo>
                <a:cubicBezTo>
                  <a:pt x="692" y="206"/>
                  <a:pt x="692" y="206"/>
                  <a:pt x="692" y="206"/>
                </a:cubicBezTo>
                <a:cubicBezTo>
                  <a:pt x="692" y="206"/>
                  <a:pt x="693" y="206"/>
                  <a:pt x="693" y="206"/>
                </a:cubicBezTo>
                <a:cubicBezTo>
                  <a:pt x="693" y="206"/>
                  <a:pt x="693" y="205"/>
                  <a:pt x="694" y="205"/>
                </a:cubicBezTo>
                <a:cubicBezTo>
                  <a:pt x="694" y="205"/>
                  <a:pt x="694" y="205"/>
                  <a:pt x="694" y="205"/>
                </a:cubicBezTo>
                <a:cubicBezTo>
                  <a:pt x="694" y="205"/>
                  <a:pt x="693" y="205"/>
                  <a:pt x="693" y="205"/>
                </a:cubicBezTo>
                <a:cubicBezTo>
                  <a:pt x="693" y="205"/>
                  <a:pt x="692" y="205"/>
                  <a:pt x="692" y="205"/>
                </a:cubicBezTo>
                <a:cubicBezTo>
                  <a:pt x="692" y="205"/>
                  <a:pt x="692" y="205"/>
                  <a:pt x="691" y="205"/>
                </a:cubicBezTo>
                <a:cubicBezTo>
                  <a:pt x="691" y="205"/>
                  <a:pt x="691" y="205"/>
                  <a:pt x="691" y="205"/>
                </a:cubicBezTo>
                <a:cubicBezTo>
                  <a:pt x="692" y="205"/>
                  <a:pt x="692" y="205"/>
                  <a:pt x="692" y="205"/>
                </a:cubicBezTo>
                <a:cubicBezTo>
                  <a:pt x="692" y="205"/>
                  <a:pt x="692" y="205"/>
                  <a:pt x="693" y="205"/>
                </a:cubicBezTo>
                <a:cubicBezTo>
                  <a:pt x="693" y="205"/>
                  <a:pt x="693" y="204"/>
                  <a:pt x="693" y="204"/>
                </a:cubicBezTo>
                <a:cubicBezTo>
                  <a:pt x="693" y="204"/>
                  <a:pt x="693" y="204"/>
                  <a:pt x="693" y="204"/>
                </a:cubicBezTo>
                <a:cubicBezTo>
                  <a:pt x="693" y="204"/>
                  <a:pt x="693" y="204"/>
                  <a:pt x="692" y="204"/>
                </a:cubicBezTo>
                <a:cubicBezTo>
                  <a:pt x="692" y="204"/>
                  <a:pt x="692" y="204"/>
                  <a:pt x="691" y="204"/>
                </a:cubicBezTo>
                <a:cubicBezTo>
                  <a:pt x="691" y="204"/>
                  <a:pt x="692" y="204"/>
                  <a:pt x="692" y="204"/>
                </a:cubicBezTo>
                <a:cubicBezTo>
                  <a:pt x="692" y="204"/>
                  <a:pt x="692" y="204"/>
                  <a:pt x="692" y="204"/>
                </a:cubicBezTo>
                <a:cubicBezTo>
                  <a:pt x="692" y="204"/>
                  <a:pt x="692" y="204"/>
                  <a:pt x="692" y="204"/>
                </a:cubicBezTo>
                <a:cubicBezTo>
                  <a:pt x="692" y="204"/>
                  <a:pt x="692" y="203"/>
                  <a:pt x="692" y="203"/>
                </a:cubicBezTo>
                <a:cubicBezTo>
                  <a:pt x="691" y="203"/>
                  <a:pt x="691" y="203"/>
                  <a:pt x="691" y="203"/>
                </a:cubicBezTo>
                <a:cubicBezTo>
                  <a:pt x="691" y="203"/>
                  <a:pt x="690" y="203"/>
                  <a:pt x="690" y="203"/>
                </a:cubicBezTo>
                <a:cubicBezTo>
                  <a:pt x="690" y="203"/>
                  <a:pt x="690" y="203"/>
                  <a:pt x="690" y="203"/>
                </a:cubicBezTo>
                <a:cubicBezTo>
                  <a:pt x="691" y="203"/>
                  <a:pt x="691" y="203"/>
                  <a:pt x="691" y="203"/>
                </a:cubicBezTo>
                <a:cubicBezTo>
                  <a:pt x="692" y="203"/>
                  <a:pt x="692" y="203"/>
                  <a:pt x="692" y="203"/>
                </a:cubicBezTo>
                <a:cubicBezTo>
                  <a:pt x="693" y="203"/>
                  <a:pt x="693" y="203"/>
                  <a:pt x="694" y="203"/>
                </a:cubicBezTo>
                <a:cubicBezTo>
                  <a:pt x="694" y="203"/>
                  <a:pt x="694" y="202"/>
                  <a:pt x="695" y="202"/>
                </a:cubicBezTo>
                <a:cubicBezTo>
                  <a:pt x="695" y="202"/>
                  <a:pt x="695" y="202"/>
                  <a:pt x="695" y="202"/>
                </a:cubicBezTo>
                <a:cubicBezTo>
                  <a:pt x="695" y="202"/>
                  <a:pt x="695" y="202"/>
                  <a:pt x="695" y="202"/>
                </a:cubicBezTo>
                <a:cubicBezTo>
                  <a:pt x="694" y="202"/>
                  <a:pt x="694" y="202"/>
                  <a:pt x="694" y="202"/>
                </a:cubicBezTo>
                <a:cubicBezTo>
                  <a:pt x="693" y="202"/>
                  <a:pt x="692" y="202"/>
                  <a:pt x="692" y="202"/>
                </a:cubicBezTo>
                <a:cubicBezTo>
                  <a:pt x="691" y="202"/>
                  <a:pt x="691" y="202"/>
                  <a:pt x="691" y="202"/>
                </a:cubicBezTo>
                <a:cubicBezTo>
                  <a:pt x="691" y="202"/>
                  <a:pt x="691" y="201"/>
                  <a:pt x="691" y="201"/>
                </a:cubicBezTo>
                <a:cubicBezTo>
                  <a:pt x="691" y="201"/>
                  <a:pt x="691" y="201"/>
                  <a:pt x="691" y="201"/>
                </a:cubicBezTo>
                <a:cubicBezTo>
                  <a:pt x="691" y="201"/>
                  <a:pt x="692" y="201"/>
                  <a:pt x="692" y="202"/>
                </a:cubicBezTo>
                <a:cubicBezTo>
                  <a:pt x="692" y="201"/>
                  <a:pt x="693" y="201"/>
                  <a:pt x="693" y="201"/>
                </a:cubicBezTo>
                <a:cubicBezTo>
                  <a:pt x="694" y="201"/>
                  <a:pt x="694" y="201"/>
                  <a:pt x="694" y="201"/>
                </a:cubicBezTo>
                <a:cubicBezTo>
                  <a:pt x="694" y="201"/>
                  <a:pt x="694" y="201"/>
                  <a:pt x="694" y="200"/>
                </a:cubicBezTo>
                <a:cubicBezTo>
                  <a:pt x="694" y="200"/>
                  <a:pt x="693" y="200"/>
                  <a:pt x="693" y="200"/>
                </a:cubicBezTo>
                <a:cubicBezTo>
                  <a:pt x="693" y="200"/>
                  <a:pt x="693" y="200"/>
                  <a:pt x="693" y="200"/>
                </a:cubicBezTo>
                <a:cubicBezTo>
                  <a:pt x="692" y="200"/>
                  <a:pt x="692" y="200"/>
                  <a:pt x="692" y="200"/>
                </a:cubicBezTo>
                <a:cubicBezTo>
                  <a:pt x="692" y="200"/>
                  <a:pt x="693" y="200"/>
                  <a:pt x="693" y="200"/>
                </a:cubicBezTo>
                <a:cubicBezTo>
                  <a:pt x="693" y="200"/>
                  <a:pt x="693" y="200"/>
                  <a:pt x="693" y="200"/>
                </a:cubicBezTo>
                <a:cubicBezTo>
                  <a:pt x="694" y="200"/>
                  <a:pt x="694" y="200"/>
                  <a:pt x="694" y="200"/>
                </a:cubicBezTo>
                <a:cubicBezTo>
                  <a:pt x="694" y="200"/>
                  <a:pt x="694" y="200"/>
                  <a:pt x="694" y="200"/>
                </a:cubicBezTo>
                <a:cubicBezTo>
                  <a:pt x="695" y="200"/>
                  <a:pt x="695" y="200"/>
                  <a:pt x="695" y="199"/>
                </a:cubicBezTo>
                <a:cubicBezTo>
                  <a:pt x="695" y="199"/>
                  <a:pt x="695" y="199"/>
                  <a:pt x="695" y="199"/>
                </a:cubicBezTo>
                <a:cubicBezTo>
                  <a:pt x="695" y="199"/>
                  <a:pt x="695" y="199"/>
                  <a:pt x="694" y="199"/>
                </a:cubicBezTo>
                <a:cubicBezTo>
                  <a:pt x="694" y="199"/>
                  <a:pt x="694" y="199"/>
                  <a:pt x="694" y="199"/>
                </a:cubicBezTo>
                <a:cubicBezTo>
                  <a:pt x="694" y="199"/>
                  <a:pt x="694" y="199"/>
                  <a:pt x="694" y="199"/>
                </a:cubicBezTo>
                <a:cubicBezTo>
                  <a:pt x="694" y="199"/>
                  <a:pt x="694" y="198"/>
                  <a:pt x="694" y="198"/>
                </a:cubicBezTo>
                <a:cubicBezTo>
                  <a:pt x="694" y="199"/>
                  <a:pt x="694" y="199"/>
                  <a:pt x="695" y="199"/>
                </a:cubicBezTo>
                <a:cubicBezTo>
                  <a:pt x="695" y="199"/>
                  <a:pt x="695" y="199"/>
                  <a:pt x="695" y="199"/>
                </a:cubicBezTo>
                <a:cubicBezTo>
                  <a:pt x="695" y="198"/>
                  <a:pt x="696" y="198"/>
                  <a:pt x="696" y="198"/>
                </a:cubicBezTo>
                <a:cubicBezTo>
                  <a:pt x="696" y="198"/>
                  <a:pt x="696" y="198"/>
                  <a:pt x="696" y="198"/>
                </a:cubicBezTo>
                <a:cubicBezTo>
                  <a:pt x="695" y="198"/>
                  <a:pt x="695" y="198"/>
                  <a:pt x="695" y="198"/>
                </a:cubicBezTo>
                <a:cubicBezTo>
                  <a:pt x="694" y="198"/>
                  <a:pt x="694" y="198"/>
                  <a:pt x="694" y="198"/>
                </a:cubicBezTo>
                <a:cubicBezTo>
                  <a:pt x="694" y="198"/>
                  <a:pt x="694" y="197"/>
                  <a:pt x="693" y="197"/>
                </a:cubicBezTo>
                <a:cubicBezTo>
                  <a:pt x="694" y="197"/>
                  <a:pt x="694" y="197"/>
                  <a:pt x="694" y="197"/>
                </a:cubicBezTo>
                <a:cubicBezTo>
                  <a:pt x="694" y="197"/>
                  <a:pt x="694" y="197"/>
                  <a:pt x="695" y="198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696" y="198"/>
                  <a:pt x="696" y="198"/>
                  <a:pt x="696" y="198"/>
                </a:cubicBezTo>
                <a:cubicBezTo>
                  <a:pt x="696" y="198"/>
                  <a:pt x="697" y="198"/>
                  <a:pt x="697" y="198"/>
                </a:cubicBezTo>
                <a:cubicBezTo>
                  <a:pt x="697" y="197"/>
                  <a:pt x="697" y="197"/>
                  <a:pt x="697" y="197"/>
                </a:cubicBezTo>
                <a:cubicBezTo>
                  <a:pt x="697" y="197"/>
                  <a:pt x="697" y="197"/>
                  <a:pt x="697" y="197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5"/>
                  <a:pt x="697" y="195"/>
                  <a:pt x="697" y="195"/>
                </a:cubicBezTo>
                <a:cubicBezTo>
                  <a:pt x="697" y="195"/>
                  <a:pt x="697" y="195"/>
                  <a:pt x="697" y="195"/>
                </a:cubicBezTo>
                <a:cubicBezTo>
                  <a:pt x="697" y="194"/>
                  <a:pt x="697" y="194"/>
                  <a:pt x="697" y="194"/>
                </a:cubicBezTo>
                <a:cubicBezTo>
                  <a:pt x="696" y="194"/>
                  <a:pt x="696" y="194"/>
                  <a:pt x="695" y="194"/>
                </a:cubicBezTo>
                <a:cubicBezTo>
                  <a:pt x="695" y="194"/>
                  <a:pt x="695" y="194"/>
                  <a:pt x="694" y="194"/>
                </a:cubicBezTo>
                <a:cubicBezTo>
                  <a:pt x="694" y="194"/>
                  <a:pt x="694" y="193"/>
                  <a:pt x="694" y="193"/>
                </a:cubicBezTo>
                <a:cubicBezTo>
                  <a:pt x="694" y="193"/>
                  <a:pt x="694" y="193"/>
                  <a:pt x="694" y="193"/>
                </a:cubicBezTo>
                <a:cubicBezTo>
                  <a:pt x="694" y="193"/>
                  <a:pt x="694" y="193"/>
                  <a:pt x="694" y="193"/>
                </a:cubicBezTo>
                <a:cubicBezTo>
                  <a:pt x="695" y="193"/>
                  <a:pt x="695" y="193"/>
                  <a:pt x="695" y="193"/>
                </a:cubicBezTo>
                <a:cubicBezTo>
                  <a:pt x="695" y="193"/>
                  <a:pt x="696" y="193"/>
                  <a:pt x="696" y="194"/>
                </a:cubicBezTo>
                <a:cubicBezTo>
                  <a:pt x="697" y="194"/>
                  <a:pt x="697" y="194"/>
                  <a:pt x="697" y="194"/>
                </a:cubicBezTo>
                <a:cubicBezTo>
                  <a:pt x="697" y="194"/>
                  <a:pt x="698" y="194"/>
                  <a:pt x="698" y="194"/>
                </a:cubicBezTo>
                <a:cubicBezTo>
                  <a:pt x="698" y="194"/>
                  <a:pt x="698" y="194"/>
                  <a:pt x="698" y="194"/>
                </a:cubicBezTo>
                <a:cubicBezTo>
                  <a:pt x="698" y="193"/>
                  <a:pt x="698" y="193"/>
                  <a:pt x="698" y="193"/>
                </a:cubicBezTo>
                <a:cubicBezTo>
                  <a:pt x="698" y="193"/>
                  <a:pt x="697" y="193"/>
                  <a:pt x="697" y="192"/>
                </a:cubicBezTo>
                <a:cubicBezTo>
                  <a:pt x="697" y="192"/>
                  <a:pt x="696" y="192"/>
                  <a:pt x="696" y="192"/>
                </a:cubicBezTo>
                <a:cubicBezTo>
                  <a:pt x="695" y="192"/>
                  <a:pt x="695" y="192"/>
                  <a:pt x="694" y="192"/>
                </a:cubicBezTo>
                <a:cubicBezTo>
                  <a:pt x="694" y="192"/>
                  <a:pt x="694" y="192"/>
                  <a:pt x="694" y="192"/>
                </a:cubicBezTo>
                <a:cubicBezTo>
                  <a:pt x="694" y="192"/>
                  <a:pt x="694" y="192"/>
                  <a:pt x="694" y="192"/>
                </a:cubicBezTo>
                <a:cubicBezTo>
                  <a:pt x="694" y="192"/>
                  <a:pt x="694" y="191"/>
                  <a:pt x="694" y="191"/>
                </a:cubicBezTo>
                <a:cubicBezTo>
                  <a:pt x="694" y="192"/>
                  <a:pt x="695" y="192"/>
                  <a:pt x="695" y="192"/>
                </a:cubicBezTo>
                <a:cubicBezTo>
                  <a:pt x="695" y="192"/>
                  <a:pt x="695" y="192"/>
                  <a:pt x="695" y="192"/>
                </a:cubicBezTo>
                <a:cubicBezTo>
                  <a:pt x="696" y="192"/>
                  <a:pt x="696" y="192"/>
                  <a:pt x="696" y="192"/>
                </a:cubicBezTo>
                <a:cubicBezTo>
                  <a:pt x="696" y="192"/>
                  <a:pt x="696" y="191"/>
                  <a:pt x="697" y="191"/>
                </a:cubicBezTo>
                <a:cubicBezTo>
                  <a:pt x="697" y="191"/>
                  <a:pt x="697" y="191"/>
                  <a:pt x="697" y="191"/>
                </a:cubicBezTo>
                <a:cubicBezTo>
                  <a:pt x="697" y="191"/>
                  <a:pt x="697" y="190"/>
                  <a:pt x="697" y="190"/>
                </a:cubicBezTo>
                <a:cubicBezTo>
                  <a:pt x="697" y="190"/>
                  <a:pt x="697" y="190"/>
                  <a:pt x="697" y="190"/>
                </a:cubicBezTo>
                <a:cubicBezTo>
                  <a:pt x="697" y="190"/>
                  <a:pt x="697" y="190"/>
                  <a:pt x="698" y="190"/>
                </a:cubicBezTo>
                <a:cubicBezTo>
                  <a:pt x="698" y="190"/>
                  <a:pt x="698" y="190"/>
                  <a:pt x="698" y="191"/>
                </a:cubicBezTo>
                <a:cubicBezTo>
                  <a:pt x="698" y="191"/>
                  <a:pt x="698" y="191"/>
                  <a:pt x="698" y="191"/>
                </a:cubicBezTo>
                <a:cubicBezTo>
                  <a:pt x="698" y="191"/>
                  <a:pt x="698" y="191"/>
                  <a:pt x="699" y="191"/>
                </a:cubicBezTo>
                <a:cubicBezTo>
                  <a:pt x="699" y="191"/>
                  <a:pt x="699" y="191"/>
                  <a:pt x="699" y="191"/>
                </a:cubicBezTo>
                <a:cubicBezTo>
                  <a:pt x="700" y="191"/>
                  <a:pt x="700" y="191"/>
                  <a:pt x="700" y="191"/>
                </a:cubicBezTo>
                <a:cubicBezTo>
                  <a:pt x="700" y="191"/>
                  <a:pt x="700" y="191"/>
                  <a:pt x="701" y="191"/>
                </a:cubicBezTo>
                <a:cubicBezTo>
                  <a:pt x="701" y="191"/>
                  <a:pt x="701" y="191"/>
                  <a:pt x="701" y="191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1" y="190"/>
                  <a:pt x="701" y="190"/>
                  <a:pt x="702" y="190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0" y="190"/>
                  <a:pt x="700" y="190"/>
                  <a:pt x="699" y="190"/>
                </a:cubicBezTo>
                <a:cubicBezTo>
                  <a:pt x="699" y="190"/>
                  <a:pt x="699" y="190"/>
                  <a:pt x="699" y="190"/>
                </a:cubicBezTo>
                <a:cubicBezTo>
                  <a:pt x="699" y="190"/>
                  <a:pt x="699" y="190"/>
                  <a:pt x="699" y="189"/>
                </a:cubicBezTo>
                <a:cubicBezTo>
                  <a:pt x="699" y="189"/>
                  <a:pt x="699" y="189"/>
                  <a:pt x="699" y="189"/>
                </a:cubicBezTo>
                <a:cubicBezTo>
                  <a:pt x="698" y="189"/>
                  <a:pt x="698" y="189"/>
                  <a:pt x="698" y="189"/>
                </a:cubicBezTo>
                <a:cubicBezTo>
                  <a:pt x="698" y="189"/>
                  <a:pt x="698" y="189"/>
                  <a:pt x="698" y="188"/>
                </a:cubicBezTo>
                <a:cubicBezTo>
                  <a:pt x="698" y="188"/>
                  <a:pt x="698" y="188"/>
                  <a:pt x="698" y="188"/>
                </a:cubicBezTo>
                <a:cubicBezTo>
                  <a:pt x="698" y="188"/>
                  <a:pt x="699" y="188"/>
                  <a:pt x="699" y="188"/>
                </a:cubicBezTo>
                <a:cubicBezTo>
                  <a:pt x="699" y="188"/>
                  <a:pt x="699" y="188"/>
                  <a:pt x="699" y="188"/>
                </a:cubicBezTo>
                <a:cubicBezTo>
                  <a:pt x="699" y="188"/>
                  <a:pt x="699" y="189"/>
                  <a:pt x="699" y="189"/>
                </a:cubicBezTo>
                <a:cubicBezTo>
                  <a:pt x="700" y="189"/>
                  <a:pt x="700" y="189"/>
                  <a:pt x="700" y="189"/>
                </a:cubicBezTo>
                <a:cubicBezTo>
                  <a:pt x="700" y="189"/>
                  <a:pt x="701" y="189"/>
                  <a:pt x="701" y="189"/>
                </a:cubicBezTo>
                <a:cubicBezTo>
                  <a:pt x="701" y="189"/>
                  <a:pt x="701" y="189"/>
                  <a:pt x="702" y="189"/>
                </a:cubicBezTo>
                <a:cubicBezTo>
                  <a:pt x="702" y="189"/>
                  <a:pt x="702" y="189"/>
                  <a:pt x="702" y="188"/>
                </a:cubicBezTo>
                <a:cubicBezTo>
                  <a:pt x="701" y="188"/>
                  <a:pt x="701" y="188"/>
                  <a:pt x="701" y="188"/>
                </a:cubicBezTo>
                <a:cubicBezTo>
                  <a:pt x="701" y="188"/>
                  <a:pt x="701" y="188"/>
                  <a:pt x="700" y="188"/>
                </a:cubicBezTo>
                <a:cubicBezTo>
                  <a:pt x="700" y="188"/>
                  <a:pt x="700" y="188"/>
                  <a:pt x="699" y="188"/>
                </a:cubicBezTo>
                <a:cubicBezTo>
                  <a:pt x="699" y="187"/>
                  <a:pt x="699" y="187"/>
                  <a:pt x="699" y="187"/>
                </a:cubicBezTo>
                <a:cubicBezTo>
                  <a:pt x="699" y="187"/>
                  <a:pt x="699" y="187"/>
                  <a:pt x="699" y="187"/>
                </a:cubicBezTo>
                <a:cubicBezTo>
                  <a:pt x="700" y="187"/>
                  <a:pt x="700" y="187"/>
                  <a:pt x="700" y="187"/>
                </a:cubicBezTo>
                <a:cubicBezTo>
                  <a:pt x="700" y="187"/>
                  <a:pt x="701" y="188"/>
                  <a:pt x="701" y="188"/>
                </a:cubicBezTo>
                <a:cubicBezTo>
                  <a:pt x="701" y="188"/>
                  <a:pt x="701" y="188"/>
                  <a:pt x="702" y="188"/>
                </a:cubicBezTo>
                <a:cubicBezTo>
                  <a:pt x="702" y="188"/>
                  <a:pt x="702" y="188"/>
                  <a:pt x="702" y="188"/>
                </a:cubicBezTo>
                <a:cubicBezTo>
                  <a:pt x="702" y="188"/>
                  <a:pt x="703" y="188"/>
                  <a:pt x="703" y="188"/>
                </a:cubicBezTo>
                <a:cubicBezTo>
                  <a:pt x="703" y="188"/>
                  <a:pt x="703" y="188"/>
                  <a:pt x="703" y="187"/>
                </a:cubicBezTo>
                <a:cubicBezTo>
                  <a:pt x="703" y="187"/>
                  <a:pt x="702" y="187"/>
                  <a:pt x="702" y="187"/>
                </a:cubicBezTo>
                <a:cubicBezTo>
                  <a:pt x="702" y="187"/>
                  <a:pt x="702" y="187"/>
                  <a:pt x="701" y="187"/>
                </a:cubicBezTo>
                <a:cubicBezTo>
                  <a:pt x="701" y="187"/>
                  <a:pt x="701" y="187"/>
                  <a:pt x="700" y="187"/>
                </a:cubicBezTo>
                <a:cubicBezTo>
                  <a:pt x="700" y="186"/>
                  <a:pt x="700" y="186"/>
                  <a:pt x="700" y="186"/>
                </a:cubicBezTo>
                <a:cubicBezTo>
                  <a:pt x="700" y="186"/>
                  <a:pt x="701" y="186"/>
                  <a:pt x="701" y="186"/>
                </a:cubicBezTo>
                <a:cubicBezTo>
                  <a:pt x="701" y="186"/>
                  <a:pt x="701" y="186"/>
                  <a:pt x="701" y="185"/>
                </a:cubicBezTo>
                <a:cubicBezTo>
                  <a:pt x="701" y="185"/>
                  <a:pt x="701" y="185"/>
                  <a:pt x="702" y="185"/>
                </a:cubicBezTo>
                <a:cubicBezTo>
                  <a:pt x="702" y="185"/>
                  <a:pt x="702" y="186"/>
                  <a:pt x="702" y="186"/>
                </a:cubicBezTo>
                <a:cubicBezTo>
                  <a:pt x="702" y="186"/>
                  <a:pt x="703" y="186"/>
                  <a:pt x="703" y="186"/>
                </a:cubicBezTo>
                <a:cubicBezTo>
                  <a:pt x="703" y="186"/>
                  <a:pt x="704" y="186"/>
                  <a:pt x="704" y="186"/>
                </a:cubicBezTo>
                <a:cubicBezTo>
                  <a:pt x="704" y="186"/>
                  <a:pt x="704" y="186"/>
                  <a:pt x="704" y="186"/>
                </a:cubicBezTo>
                <a:cubicBezTo>
                  <a:pt x="705" y="186"/>
                  <a:pt x="705" y="186"/>
                  <a:pt x="705" y="186"/>
                </a:cubicBezTo>
                <a:cubicBezTo>
                  <a:pt x="705" y="186"/>
                  <a:pt x="706" y="186"/>
                  <a:pt x="706" y="186"/>
                </a:cubicBezTo>
                <a:cubicBezTo>
                  <a:pt x="706" y="185"/>
                  <a:pt x="706" y="185"/>
                  <a:pt x="706" y="185"/>
                </a:cubicBezTo>
                <a:cubicBezTo>
                  <a:pt x="706" y="185"/>
                  <a:pt x="706" y="185"/>
                  <a:pt x="706" y="185"/>
                </a:cubicBezTo>
                <a:cubicBezTo>
                  <a:pt x="706" y="185"/>
                  <a:pt x="705" y="185"/>
                  <a:pt x="705" y="185"/>
                </a:cubicBezTo>
                <a:cubicBezTo>
                  <a:pt x="705" y="185"/>
                  <a:pt x="704" y="185"/>
                  <a:pt x="704" y="184"/>
                </a:cubicBezTo>
                <a:cubicBezTo>
                  <a:pt x="704" y="184"/>
                  <a:pt x="703" y="184"/>
                  <a:pt x="703" y="184"/>
                </a:cubicBezTo>
                <a:cubicBezTo>
                  <a:pt x="703" y="184"/>
                  <a:pt x="703" y="184"/>
                  <a:pt x="703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3" y="183"/>
                </a:cubicBezTo>
                <a:cubicBezTo>
                  <a:pt x="703" y="184"/>
                  <a:pt x="703" y="184"/>
                  <a:pt x="703" y="184"/>
                </a:cubicBezTo>
                <a:cubicBezTo>
                  <a:pt x="704" y="184"/>
                  <a:pt x="704" y="184"/>
                  <a:pt x="704" y="184"/>
                </a:cubicBezTo>
                <a:cubicBezTo>
                  <a:pt x="704" y="184"/>
                  <a:pt x="704" y="184"/>
                  <a:pt x="704" y="184"/>
                </a:cubicBezTo>
                <a:cubicBezTo>
                  <a:pt x="705" y="184"/>
                  <a:pt x="705" y="184"/>
                  <a:pt x="705" y="184"/>
                </a:cubicBezTo>
                <a:cubicBezTo>
                  <a:pt x="706" y="184"/>
                  <a:pt x="706" y="185"/>
                  <a:pt x="706" y="185"/>
                </a:cubicBezTo>
                <a:cubicBezTo>
                  <a:pt x="706" y="184"/>
                  <a:pt x="706" y="184"/>
                  <a:pt x="706" y="184"/>
                </a:cubicBezTo>
                <a:cubicBezTo>
                  <a:pt x="706" y="184"/>
                  <a:pt x="706" y="184"/>
                  <a:pt x="707" y="184"/>
                </a:cubicBezTo>
                <a:cubicBezTo>
                  <a:pt x="707" y="184"/>
                  <a:pt x="707" y="184"/>
                  <a:pt x="707" y="184"/>
                </a:cubicBezTo>
                <a:cubicBezTo>
                  <a:pt x="707" y="184"/>
                  <a:pt x="707" y="183"/>
                  <a:pt x="707" y="183"/>
                </a:cubicBezTo>
                <a:cubicBezTo>
                  <a:pt x="706" y="183"/>
                  <a:pt x="706" y="183"/>
                  <a:pt x="706" y="183"/>
                </a:cubicBezTo>
                <a:cubicBezTo>
                  <a:pt x="706" y="183"/>
                  <a:pt x="706" y="183"/>
                  <a:pt x="706" y="183"/>
                </a:cubicBezTo>
                <a:cubicBezTo>
                  <a:pt x="706" y="183"/>
                  <a:pt x="706" y="183"/>
                  <a:pt x="706" y="182"/>
                </a:cubicBezTo>
                <a:cubicBezTo>
                  <a:pt x="706" y="182"/>
                  <a:pt x="706" y="182"/>
                  <a:pt x="706" y="182"/>
                </a:cubicBezTo>
                <a:cubicBezTo>
                  <a:pt x="706" y="182"/>
                  <a:pt x="707" y="182"/>
                  <a:pt x="707" y="182"/>
                </a:cubicBezTo>
                <a:cubicBezTo>
                  <a:pt x="707" y="182"/>
                  <a:pt x="707" y="182"/>
                  <a:pt x="707" y="182"/>
                </a:cubicBezTo>
                <a:cubicBezTo>
                  <a:pt x="707" y="182"/>
                  <a:pt x="707" y="181"/>
                  <a:pt x="707" y="181"/>
                </a:cubicBezTo>
                <a:cubicBezTo>
                  <a:pt x="707" y="181"/>
                  <a:pt x="707" y="181"/>
                  <a:pt x="706" y="181"/>
                </a:cubicBezTo>
                <a:cubicBezTo>
                  <a:pt x="706" y="181"/>
                  <a:pt x="706" y="182"/>
                  <a:pt x="706" y="182"/>
                </a:cubicBezTo>
                <a:cubicBezTo>
                  <a:pt x="706" y="182"/>
                  <a:pt x="706" y="181"/>
                  <a:pt x="706" y="181"/>
                </a:cubicBezTo>
                <a:cubicBezTo>
                  <a:pt x="705" y="181"/>
                  <a:pt x="705" y="181"/>
                  <a:pt x="705" y="181"/>
                </a:cubicBezTo>
                <a:cubicBezTo>
                  <a:pt x="705" y="181"/>
                  <a:pt x="704" y="181"/>
                  <a:pt x="704" y="181"/>
                </a:cubicBezTo>
                <a:cubicBezTo>
                  <a:pt x="704" y="181"/>
                  <a:pt x="703" y="181"/>
                  <a:pt x="703" y="181"/>
                </a:cubicBezTo>
                <a:cubicBezTo>
                  <a:pt x="703" y="181"/>
                  <a:pt x="703" y="181"/>
                  <a:pt x="702" y="181"/>
                </a:cubicBezTo>
                <a:cubicBezTo>
                  <a:pt x="703" y="181"/>
                  <a:pt x="703" y="180"/>
                  <a:pt x="703" y="180"/>
                </a:cubicBezTo>
                <a:cubicBezTo>
                  <a:pt x="703" y="180"/>
                  <a:pt x="704" y="180"/>
                  <a:pt x="704" y="180"/>
                </a:cubicBezTo>
                <a:cubicBezTo>
                  <a:pt x="704" y="180"/>
                  <a:pt x="705" y="180"/>
                  <a:pt x="705" y="180"/>
                </a:cubicBezTo>
                <a:cubicBezTo>
                  <a:pt x="705" y="180"/>
                  <a:pt x="706" y="180"/>
                  <a:pt x="706" y="180"/>
                </a:cubicBezTo>
                <a:cubicBezTo>
                  <a:pt x="706" y="180"/>
                  <a:pt x="706" y="180"/>
                  <a:pt x="706" y="180"/>
                </a:cubicBezTo>
                <a:cubicBezTo>
                  <a:pt x="706" y="180"/>
                  <a:pt x="706" y="180"/>
                  <a:pt x="707" y="179"/>
                </a:cubicBezTo>
                <a:cubicBezTo>
                  <a:pt x="707" y="180"/>
                  <a:pt x="707" y="180"/>
                  <a:pt x="707" y="180"/>
                </a:cubicBezTo>
                <a:cubicBezTo>
                  <a:pt x="707" y="180"/>
                  <a:pt x="707" y="179"/>
                  <a:pt x="707" y="179"/>
                </a:cubicBezTo>
                <a:cubicBezTo>
                  <a:pt x="707" y="179"/>
                  <a:pt x="707" y="178"/>
                  <a:pt x="707" y="178"/>
                </a:cubicBezTo>
                <a:cubicBezTo>
                  <a:pt x="707" y="178"/>
                  <a:pt x="707" y="178"/>
                  <a:pt x="707" y="177"/>
                </a:cubicBezTo>
                <a:cubicBezTo>
                  <a:pt x="706" y="177"/>
                  <a:pt x="706" y="177"/>
                  <a:pt x="706" y="177"/>
                </a:cubicBezTo>
                <a:cubicBezTo>
                  <a:pt x="706" y="177"/>
                  <a:pt x="706" y="177"/>
                  <a:pt x="706" y="177"/>
                </a:cubicBezTo>
                <a:cubicBezTo>
                  <a:pt x="706" y="177"/>
                  <a:pt x="706" y="176"/>
                  <a:pt x="706" y="176"/>
                </a:cubicBezTo>
                <a:cubicBezTo>
                  <a:pt x="706" y="176"/>
                  <a:pt x="706" y="176"/>
                  <a:pt x="706" y="176"/>
                </a:cubicBezTo>
                <a:cubicBezTo>
                  <a:pt x="706" y="176"/>
                  <a:pt x="706" y="176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7" y="175"/>
                  <a:pt x="707" y="175"/>
                  <a:pt x="707" y="175"/>
                </a:cubicBezTo>
                <a:cubicBezTo>
                  <a:pt x="707" y="175"/>
                  <a:pt x="707" y="175"/>
                  <a:pt x="707" y="175"/>
                </a:cubicBezTo>
                <a:cubicBezTo>
                  <a:pt x="708" y="175"/>
                  <a:pt x="708" y="175"/>
                  <a:pt x="708" y="175"/>
                </a:cubicBezTo>
                <a:cubicBezTo>
                  <a:pt x="708" y="175"/>
                  <a:pt x="708" y="175"/>
                  <a:pt x="708" y="175"/>
                </a:cubicBezTo>
                <a:cubicBezTo>
                  <a:pt x="709" y="175"/>
                  <a:pt x="709" y="175"/>
                  <a:pt x="709" y="176"/>
                </a:cubicBezTo>
                <a:cubicBezTo>
                  <a:pt x="709" y="176"/>
                  <a:pt x="709" y="176"/>
                  <a:pt x="709" y="176"/>
                </a:cubicBezTo>
                <a:cubicBezTo>
                  <a:pt x="710" y="176"/>
                  <a:pt x="710" y="176"/>
                  <a:pt x="710" y="176"/>
                </a:cubicBezTo>
                <a:cubicBezTo>
                  <a:pt x="710" y="175"/>
                  <a:pt x="711" y="175"/>
                  <a:pt x="711" y="175"/>
                </a:cubicBezTo>
                <a:cubicBezTo>
                  <a:pt x="711" y="174"/>
                  <a:pt x="711" y="174"/>
                  <a:pt x="711" y="174"/>
                </a:cubicBezTo>
                <a:cubicBezTo>
                  <a:pt x="711" y="174"/>
                  <a:pt x="711" y="173"/>
                  <a:pt x="711" y="173"/>
                </a:cubicBezTo>
                <a:cubicBezTo>
                  <a:pt x="711" y="173"/>
                  <a:pt x="711" y="173"/>
                  <a:pt x="711" y="173"/>
                </a:cubicBezTo>
                <a:cubicBezTo>
                  <a:pt x="711" y="173"/>
                  <a:pt x="711" y="172"/>
                  <a:pt x="711" y="172"/>
                </a:cubicBezTo>
                <a:cubicBezTo>
                  <a:pt x="711" y="172"/>
                  <a:pt x="711" y="172"/>
                  <a:pt x="711" y="172"/>
                </a:cubicBezTo>
                <a:cubicBezTo>
                  <a:pt x="711" y="172"/>
                  <a:pt x="712" y="172"/>
                  <a:pt x="712" y="172"/>
                </a:cubicBezTo>
                <a:cubicBezTo>
                  <a:pt x="712" y="172"/>
                  <a:pt x="712" y="172"/>
                  <a:pt x="712" y="172"/>
                </a:cubicBezTo>
                <a:cubicBezTo>
                  <a:pt x="712" y="172"/>
                  <a:pt x="712" y="172"/>
                  <a:pt x="712" y="172"/>
                </a:cubicBezTo>
                <a:cubicBezTo>
                  <a:pt x="713" y="172"/>
                  <a:pt x="713" y="172"/>
                  <a:pt x="713" y="172"/>
                </a:cubicBezTo>
                <a:cubicBezTo>
                  <a:pt x="713" y="172"/>
                  <a:pt x="713" y="172"/>
                  <a:pt x="713" y="172"/>
                </a:cubicBezTo>
                <a:cubicBezTo>
                  <a:pt x="714" y="172"/>
                  <a:pt x="714" y="172"/>
                  <a:pt x="714" y="172"/>
                </a:cubicBezTo>
                <a:cubicBezTo>
                  <a:pt x="714" y="172"/>
                  <a:pt x="714" y="172"/>
                  <a:pt x="715" y="172"/>
                </a:cubicBezTo>
                <a:cubicBezTo>
                  <a:pt x="715" y="172"/>
                  <a:pt x="714" y="172"/>
                  <a:pt x="714" y="172"/>
                </a:cubicBezTo>
                <a:cubicBezTo>
                  <a:pt x="714" y="171"/>
                  <a:pt x="715" y="171"/>
                  <a:pt x="715" y="171"/>
                </a:cubicBezTo>
                <a:cubicBezTo>
                  <a:pt x="715" y="171"/>
                  <a:pt x="715" y="171"/>
                  <a:pt x="715" y="171"/>
                </a:cubicBezTo>
                <a:cubicBezTo>
                  <a:pt x="715" y="171"/>
                  <a:pt x="715" y="171"/>
                  <a:pt x="715" y="172"/>
                </a:cubicBezTo>
                <a:cubicBezTo>
                  <a:pt x="715" y="172"/>
                  <a:pt x="716" y="172"/>
                  <a:pt x="716" y="172"/>
                </a:cubicBezTo>
                <a:cubicBezTo>
                  <a:pt x="716" y="172"/>
                  <a:pt x="716" y="172"/>
                  <a:pt x="716" y="172"/>
                </a:cubicBezTo>
                <a:cubicBezTo>
                  <a:pt x="716" y="172"/>
                  <a:pt x="717" y="172"/>
                  <a:pt x="717" y="172"/>
                </a:cubicBezTo>
                <a:cubicBezTo>
                  <a:pt x="717" y="172"/>
                  <a:pt x="717" y="172"/>
                  <a:pt x="717" y="172"/>
                </a:cubicBezTo>
                <a:cubicBezTo>
                  <a:pt x="718" y="171"/>
                  <a:pt x="718" y="171"/>
                  <a:pt x="718" y="171"/>
                </a:cubicBezTo>
                <a:cubicBezTo>
                  <a:pt x="718" y="171"/>
                  <a:pt x="718" y="171"/>
                  <a:pt x="718" y="172"/>
                </a:cubicBezTo>
                <a:cubicBezTo>
                  <a:pt x="719" y="172"/>
                  <a:pt x="719" y="172"/>
                  <a:pt x="719" y="172"/>
                </a:cubicBezTo>
                <a:cubicBezTo>
                  <a:pt x="719" y="171"/>
                  <a:pt x="720" y="171"/>
                  <a:pt x="720" y="171"/>
                </a:cubicBezTo>
                <a:cubicBezTo>
                  <a:pt x="720" y="171"/>
                  <a:pt x="720" y="171"/>
                  <a:pt x="720" y="171"/>
                </a:cubicBezTo>
                <a:cubicBezTo>
                  <a:pt x="720" y="171"/>
                  <a:pt x="720" y="171"/>
                  <a:pt x="720" y="171"/>
                </a:cubicBezTo>
                <a:cubicBezTo>
                  <a:pt x="720" y="170"/>
                  <a:pt x="720" y="170"/>
                  <a:pt x="720" y="170"/>
                </a:cubicBezTo>
                <a:cubicBezTo>
                  <a:pt x="720" y="170"/>
                  <a:pt x="720" y="170"/>
                  <a:pt x="720" y="170"/>
                </a:cubicBezTo>
                <a:cubicBezTo>
                  <a:pt x="719" y="170"/>
                  <a:pt x="719" y="169"/>
                  <a:pt x="719" y="169"/>
                </a:cubicBezTo>
                <a:cubicBezTo>
                  <a:pt x="719" y="169"/>
                  <a:pt x="719" y="169"/>
                  <a:pt x="719" y="169"/>
                </a:cubicBezTo>
                <a:cubicBezTo>
                  <a:pt x="719" y="169"/>
                  <a:pt x="719" y="168"/>
                  <a:pt x="719" y="168"/>
                </a:cubicBezTo>
                <a:cubicBezTo>
                  <a:pt x="719" y="168"/>
                  <a:pt x="720" y="168"/>
                  <a:pt x="720" y="168"/>
                </a:cubicBezTo>
                <a:cubicBezTo>
                  <a:pt x="720" y="169"/>
                  <a:pt x="720" y="169"/>
                  <a:pt x="720" y="169"/>
                </a:cubicBezTo>
                <a:cubicBezTo>
                  <a:pt x="720" y="169"/>
                  <a:pt x="720" y="169"/>
                  <a:pt x="720" y="169"/>
                </a:cubicBezTo>
                <a:cubicBezTo>
                  <a:pt x="721" y="169"/>
                  <a:pt x="721" y="168"/>
                  <a:pt x="721" y="168"/>
                </a:cubicBezTo>
                <a:cubicBezTo>
                  <a:pt x="721" y="168"/>
                  <a:pt x="721" y="168"/>
                  <a:pt x="721" y="168"/>
                </a:cubicBezTo>
                <a:cubicBezTo>
                  <a:pt x="721" y="168"/>
                  <a:pt x="722" y="167"/>
                  <a:pt x="722" y="167"/>
                </a:cubicBezTo>
                <a:cubicBezTo>
                  <a:pt x="722" y="167"/>
                  <a:pt x="722" y="167"/>
                  <a:pt x="722" y="167"/>
                </a:cubicBezTo>
                <a:cubicBezTo>
                  <a:pt x="722" y="167"/>
                  <a:pt x="721" y="167"/>
                  <a:pt x="721" y="166"/>
                </a:cubicBezTo>
                <a:cubicBezTo>
                  <a:pt x="721" y="166"/>
                  <a:pt x="721" y="166"/>
                  <a:pt x="721" y="166"/>
                </a:cubicBezTo>
                <a:cubicBezTo>
                  <a:pt x="721" y="166"/>
                  <a:pt x="721" y="166"/>
                  <a:pt x="721" y="166"/>
                </a:cubicBezTo>
                <a:cubicBezTo>
                  <a:pt x="721" y="166"/>
                  <a:pt x="722" y="166"/>
                  <a:pt x="722" y="165"/>
                </a:cubicBezTo>
                <a:cubicBezTo>
                  <a:pt x="722" y="166"/>
                  <a:pt x="722" y="166"/>
                  <a:pt x="722" y="166"/>
                </a:cubicBezTo>
                <a:cubicBezTo>
                  <a:pt x="722" y="166"/>
                  <a:pt x="722" y="166"/>
                  <a:pt x="722" y="166"/>
                </a:cubicBezTo>
                <a:cubicBezTo>
                  <a:pt x="722" y="166"/>
                  <a:pt x="723" y="166"/>
                  <a:pt x="723" y="166"/>
                </a:cubicBezTo>
                <a:cubicBezTo>
                  <a:pt x="723" y="166"/>
                  <a:pt x="723" y="166"/>
                  <a:pt x="724" y="166"/>
                </a:cubicBezTo>
                <a:cubicBezTo>
                  <a:pt x="724" y="166"/>
                  <a:pt x="724" y="166"/>
                  <a:pt x="724" y="166"/>
                </a:cubicBezTo>
                <a:cubicBezTo>
                  <a:pt x="724" y="166"/>
                  <a:pt x="724" y="167"/>
                  <a:pt x="724" y="167"/>
                </a:cubicBezTo>
                <a:cubicBezTo>
                  <a:pt x="723" y="167"/>
                  <a:pt x="723" y="167"/>
                  <a:pt x="723" y="167"/>
                </a:cubicBezTo>
                <a:cubicBezTo>
                  <a:pt x="723" y="168"/>
                  <a:pt x="723" y="168"/>
                  <a:pt x="723" y="168"/>
                </a:cubicBezTo>
                <a:cubicBezTo>
                  <a:pt x="723" y="168"/>
                  <a:pt x="723" y="168"/>
                  <a:pt x="723" y="169"/>
                </a:cubicBezTo>
                <a:cubicBezTo>
                  <a:pt x="723" y="169"/>
                  <a:pt x="724" y="169"/>
                  <a:pt x="724" y="169"/>
                </a:cubicBezTo>
                <a:cubicBezTo>
                  <a:pt x="724" y="169"/>
                  <a:pt x="724" y="169"/>
                  <a:pt x="724" y="169"/>
                </a:cubicBezTo>
                <a:cubicBezTo>
                  <a:pt x="725" y="169"/>
                  <a:pt x="725" y="169"/>
                  <a:pt x="725" y="169"/>
                </a:cubicBezTo>
                <a:cubicBezTo>
                  <a:pt x="725" y="169"/>
                  <a:pt x="725" y="169"/>
                  <a:pt x="725" y="169"/>
                </a:cubicBezTo>
                <a:cubicBezTo>
                  <a:pt x="725" y="168"/>
                  <a:pt x="725" y="168"/>
                  <a:pt x="725" y="168"/>
                </a:cubicBezTo>
                <a:cubicBezTo>
                  <a:pt x="725" y="168"/>
                  <a:pt x="725" y="168"/>
                  <a:pt x="725" y="167"/>
                </a:cubicBezTo>
                <a:cubicBezTo>
                  <a:pt x="725" y="167"/>
                  <a:pt x="725" y="167"/>
                  <a:pt x="725" y="167"/>
                </a:cubicBezTo>
                <a:cubicBezTo>
                  <a:pt x="725" y="167"/>
                  <a:pt x="725" y="167"/>
                  <a:pt x="726" y="168"/>
                </a:cubicBezTo>
                <a:cubicBezTo>
                  <a:pt x="725" y="168"/>
                  <a:pt x="725" y="168"/>
                  <a:pt x="725" y="168"/>
                </a:cubicBezTo>
                <a:cubicBezTo>
                  <a:pt x="725" y="168"/>
                  <a:pt x="725" y="168"/>
                  <a:pt x="725" y="169"/>
                </a:cubicBezTo>
                <a:cubicBezTo>
                  <a:pt x="725" y="169"/>
                  <a:pt x="726" y="169"/>
                  <a:pt x="726" y="169"/>
                </a:cubicBezTo>
                <a:cubicBezTo>
                  <a:pt x="726" y="169"/>
                  <a:pt x="726" y="169"/>
                  <a:pt x="727" y="169"/>
                </a:cubicBezTo>
                <a:cubicBezTo>
                  <a:pt x="727" y="169"/>
                  <a:pt x="727" y="169"/>
                  <a:pt x="727" y="169"/>
                </a:cubicBezTo>
                <a:cubicBezTo>
                  <a:pt x="728" y="169"/>
                  <a:pt x="728" y="169"/>
                  <a:pt x="728" y="169"/>
                </a:cubicBezTo>
                <a:cubicBezTo>
                  <a:pt x="728" y="169"/>
                  <a:pt x="728" y="168"/>
                  <a:pt x="728" y="168"/>
                </a:cubicBezTo>
                <a:cubicBezTo>
                  <a:pt x="728" y="168"/>
                  <a:pt x="728" y="168"/>
                  <a:pt x="728" y="168"/>
                </a:cubicBezTo>
                <a:cubicBezTo>
                  <a:pt x="728" y="168"/>
                  <a:pt x="728" y="168"/>
                  <a:pt x="728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9"/>
                  <a:pt x="730" y="169"/>
                </a:cubicBezTo>
                <a:cubicBezTo>
                  <a:pt x="730" y="169"/>
                  <a:pt x="730" y="168"/>
                  <a:pt x="730" y="168"/>
                </a:cubicBezTo>
                <a:cubicBezTo>
                  <a:pt x="731" y="168"/>
                  <a:pt x="731" y="168"/>
                  <a:pt x="731" y="168"/>
                </a:cubicBezTo>
                <a:cubicBezTo>
                  <a:pt x="732" y="168"/>
                  <a:pt x="732" y="167"/>
                  <a:pt x="732" y="167"/>
                </a:cubicBezTo>
                <a:cubicBezTo>
                  <a:pt x="733" y="167"/>
                  <a:pt x="733" y="167"/>
                  <a:pt x="733" y="167"/>
                </a:cubicBezTo>
                <a:cubicBezTo>
                  <a:pt x="733" y="167"/>
                  <a:pt x="733" y="167"/>
                  <a:pt x="733" y="167"/>
                </a:cubicBezTo>
                <a:cubicBezTo>
                  <a:pt x="733" y="166"/>
                  <a:pt x="733" y="166"/>
                  <a:pt x="733" y="166"/>
                </a:cubicBezTo>
                <a:cubicBezTo>
                  <a:pt x="733" y="166"/>
                  <a:pt x="733" y="166"/>
                  <a:pt x="733" y="166"/>
                </a:cubicBezTo>
                <a:cubicBezTo>
                  <a:pt x="733" y="166"/>
                  <a:pt x="733" y="166"/>
                  <a:pt x="732" y="166"/>
                </a:cubicBezTo>
                <a:cubicBezTo>
                  <a:pt x="732" y="165"/>
                  <a:pt x="732" y="165"/>
                  <a:pt x="732" y="165"/>
                </a:cubicBezTo>
                <a:cubicBezTo>
                  <a:pt x="732" y="165"/>
                  <a:pt x="732" y="165"/>
                  <a:pt x="732" y="165"/>
                </a:cubicBezTo>
                <a:cubicBezTo>
                  <a:pt x="732" y="165"/>
                  <a:pt x="732" y="165"/>
                  <a:pt x="733" y="165"/>
                </a:cubicBezTo>
                <a:cubicBezTo>
                  <a:pt x="733" y="165"/>
                  <a:pt x="733" y="165"/>
                  <a:pt x="733" y="165"/>
                </a:cubicBezTo>
                <a:cubicBezTo>
                  <a:pt x="733" y="165"/>
                  <a:pt x="734" y="166"/>
                  <a:pt x="734" y="166"/>
                </a:cubicBezTo>
                <a:cubicBezTo>
                  <a:pt x="734" y="166"/>
                  <a:pt x="734" y="166"/>
                  <a:pt x="735" y="166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6"/>
                  <a:pt x="736" y="166"/>
                </a:cubicBezTo>
                <a:cubicBezTo>
                  <a:pt x="736" y="166"/>
                  <a:pt x="736" y="166"/>
                  <a:pt x="736" y="166"/>
                </a:cubicBezTo>
                <a:cubicBezTo>
                  <a:pt x="736" y="166"/>
                  <a:pt x="736" y="166"/>
                  <a:pt x="736" y="166"/>
                </a:cubicBezTo>
                <a:cubicBezTo>
                  <a:pt x="737" y="165"/>
                  <a:pt x="737" y="165"/>
                  <a:pt x="738" y="165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3"/>
                  <a:pt x="738" y="163"/>
                  <a:pt x="738" y="163"/>
                </a:cubicBezTo>
                <a:cubicBezTo>
                  <a:pt x="738" y="163"/>
                  <a:pt x="739" y="163"/>
                  <a:pt x="739" y="163"/>
                </a:cubicBezTo>
                <a:cubicBezTo>
                  <a:pt x="739" y="163"/>
                  <a:pt x="739" y="163"/>
                  <a:pt x="739" y="163"/>
                </a:cubicBezTo>
                <a:cubicBezTo>
                  <a:pt x="739" y="163"/>
                  <a:pt x="739" y="164"/>
                  <a:pt x="739" y="164"/>
                </a:cubicBezTo>
                <a:cubicBezTo>
                  <a:pt x="739" y="164"/>
                  <a:pt x="739" y="164"/>
                  <a:pt x="739" y="164"/>
                </a:cubicBezTo>
                <a:cubicBezTo>
                  <a:pt x="739" y="164"/>
                  <a:pt x="739" y="164"/>
                  <a:pt x="740" y="163"/>
                </a:cubicBezTo>
                <a:cubicBezTo>
                  <a:pt x="740" y="163"/>
                  <a:pt x="740" y="163"/>
                  <a:pt x="740" y="163"/>
                </a:cubicBezTo>
                <a:cubicBezTo>
                  <a:pt x="740" y="163"/>
                  <a:pt x="741" y="162"/>
                  <a:pt x="741" y="162"/>
                </a:cubicBezTo>
                <a:cubicBezTo>
                  <a:pt x="741" y="162"/>
                  <a:pt x="741" y="162"/>
                  <a:pt x="740" y="162"/>
                </a:cubicBezTo>
                <a:cubicBezTo>
                  <a:pt x="740" y="162"/>
                  <a:pt x="740" y="161"/>
                  <a:pt x="740" y="161"/>
                </a:cubicBezTo>
                <a:cubicBezTo>
                  <a:pt x="741" y="161"/>
                  <a:pt x="741" y="161"/>
                  <a:pt x="742" y="160"/>
                </a:cubicBezTo>
                <a:cubicBezTo>
                  <a:pt x="742" y="160"/>
                  <a:pt x="742" y="160"/>
                  <a:pt x="743" y="160"/>
                </a:cubicBezTo>
                <a:cubicBezTo>
                  <a:pt x="743" y="160"/>
                  <a:pt x="743" y="160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4" y="159"/>
                  <a:pt x="744" y="159"/>
                </a:cubicBezTo>
                <a:cubicBezTo>
                  <a:pt x="744" y="159"/>
                  <a:pt x="744" y="159"/>
                  <a:pt x="744" y="159"/>
                </a:cubicBezTo>
                <a:cubicBezTo>
                  <a:pt x="744" y="159"/>
                  <a:pt x="744" y="159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5" y="158"/>
                  <a:pt x="745" y="158"/>
                </a:cubicBezTo>
                <a:cubicBezTo>
                  <a:pt x="745" y="158"/>
                  <a:pt x="745" y="158"/>
                  <a:pt x="745" y="158"/>
                </a:cubicBezTo>
                <a:cubicBezTo>
                  <a:pt x="745" y="158"/>
                  <a:pt x="745" y="158"/>
                  <a:pt x="745" y="157"/>
                </a:cubicBezTo>
                <a:cubicBezTo>
                  <a:pt x="745" y="157"/>
                  <a:pt x="745" y="157"/>
                  <a:pt x="745" y="157"/>
                </a:cubicBezTo>
                <a:cubicBezTo>
                  <a:pt x="745" y="157"/>
                  <a:pt x="745" y="157"/>
                  <a:pt x="746" y="157"/>
                </a:cubicBezTo>
                <a:cubicBezTo>
                  <a:pt x="746" y="157"/>
                  <a:pt x="746" y="157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7" y="156"/>
                  <a:pt x="747" y="156"/>
                  <a:pt x="747" y="156"/>
                </a:cubicBezTo>
                <a:cubicBezTo>
                  <a:pt x="747" y="156"/>
                  <a:pt x="747" y="155"/>
                  <a:pt x="748" y="155"/>
                </a:cubicBezTo>
                <a:cubicBezTo>
                  <a:pt x="748" y="155"/>
                  <a:pt x="748" y="155"/>
                  <a:pt x="748" y="155"/>
                </a:cubicBezTo>
                <a:cubicBezTo>
                  <a:pt x="749" y="155"/>
                  <a:pt x="749" y="154"/>
                  <a:pt x="749" y="154"/>
                </a:cubicBezTo>
                <a:cubicBezTo>
                  <a:pt x="749" y="154"/>
                  <a:pt x="749" y="154"/>
                  <a:pt x="750" y="154"/>
                </a:cubicBezTo>
                <a:cubicBezTo>
                  <a:pt x="750" y="154"/>
                  <a:pt x="750" y="154"/>
                  <a:pt x="750" y="154"/>
                </a:cubicBezTo>
                <a:cubicBezTo>
                  <a:pt x="750" y="154"/>
                  <a:pt x="750" y="154"/>
                  <a:pt x="751" y="154"/>
                </a:cubicBezTo>
                <a:cubicBezTo>
                  <a:pt x="751" y="154"/>
                  <a:pt x="751" y="154"/>
                  <a:pt x="751" y="154"/>
                </a:cubicBezTo>
                <a:cubicBezTo>
                  <a:pt x="751" y="153"/>
                  <a:pt x="751" y="153"/>
                  <a:pt x="751" y="153"/>
                </a:cubicBezTo>
                <a:cubicBezTo>
                  <a:pt x="751" y="152"/>
                  <a:pt x="751" y="152"/>
                  <a:pt x="751" y="152"/>
                </a:cubicBezTo>
                <a:cubicBezTo>
                  <a:pt x="751" y="152"/>
                  <a:pt x="751" y="152"/>
                  <a:pt x="750" y="152"/>
                </a:cubicBezTo>
                <a:cubicBezTo>
                  <a:pt x="750" y="152"/>
                  <a:pt x="750" y="152"/>
                  <a:pt x="750" y="152"/>
                </a:cubicBezTo>
                <a:cubicBezTo>
                  <a:pt x="750" y="152"/>
                  <a:pt x="750" y="152"/>
                  <a:pt x="750" y="151"/>
                </a:cubicBezTo>
                <a:cubicBezTo>
                  <a:pt x="750" y="151"/>
                  <a:pt x="750" y="151"/>
                  <a:pt x="750" y="151"/>
                </a:cubicBezTo>
                <a:cubicBezTo>
                  <a:pt x="750" y="151"/>
                  <a:pt x="750" y="150"/>
                  <a:pt x="750" y="150"/>
                </a:cubicBezTo>
                <a:cubicBezTo>
                  <a:pt x="750" y="150"/>
                  <a:pt x="750" y="150"/>
                  <a:pt x="749" y="150"/>
                </a:cubicBezTo>
                <a:cubicBezTo>
                  <a:pt x="749" y="150"/>
                  <a:pt x="749" y="150"/>
                  <a:pt x="749" y="149"/>
                </a:cubicBezTo>
                <a:cubicBezTo>
                  <a:pt x="749" y="149"/>
                  <a:pt x="749" y="149"/>
                  <a:pt x="749" y="149"/>
                </a:cubicBezTo>
                <a:cubicBezTo>
                  <a:pt x="749" y="149"/>
                  <a:pt x="749" y="149"/>
                  <a:pt x="749" y="149"/>
                </a:cubicBezTo>
                <a:cubicBezTo>
                  <a:pt x="749" y="149"/>
                  <a:pt x="749" y="149"/>
                  <a:pt x="749" y="148"/>
                </a:cubicBezTo>
                <a:cubicBezTo>
                  <a:pt x="749" y="149"/>
                  <a:pt x="749" y="149"/>
                  <a:pt x="750" y="149"/>
                </a:cubicBezTo>
                <a:cubicBezTo>
                  <a:pt x="750" y="149"/>
                  <a:pt x="750" y="149"/>
                  <a:pt x="750" y="149"/>
                </a:cubicBezTo>
                <a:cubicBezTo>
                  <a:pt x="750" y="149"/>
                  <a:pt x="750" y="150"/>
                  <a:pt x="751" y="150"/>
                </a:cubicBezTo>
                <a:cubicBezTo>
                  <a:pt x="751" y="150"/>
                  <a:pt x="751" y="150"/>
                  <a:pt x="751" y="150"/>
                </a:cubicBezTo>
                <a:cubicBezTo>
                  <a:pt x="751" y="150"/>
                  <a:pt x="751" y="151"/>
                  <a:pt x="751" y="151"/>
                </a:cubicBezTo>
                <a:cubicBezTo>
                  <a:pt x="751" y="151"/>
                  <a:pt x="752" y="151"/>
                  <a:pt x="752" y="151"/>
                </a:cubicBezTo>
                <a:cubicBezTo>
                  <a:pt x="752" y="151"/>
                  <a:pt x="752" y="151"/>
                  <a:pt x="752" y="151"/>
                </a:cubicBezTo>
                <a:cubicBezTo>
                  <a:pt x="752" y="151"/>
                  <a:pt x="752" y="152"/>
                  <a:pt x="752" y="152"/>
                </a:cubicBezTo>
                <a:cubicBezTo>
                  <a:pt x="752" y="152"/>
                  <a:pt x="752" y="152"/>
                  <a:pt x="753" y="152"/>
                </a:cubicBezTo>
                <a:cubicBezTo>
                  <a:pt x="753" y="152"/>
                  <a:pt x="753" y="152"/>
                  <a:pt x="753" y="153"/>
                </a:cubicBezTo>
                <a:cubicBezTo>
                  <a:pt x="754" y="153"/>
                  <a:pt x="754" y="153"/>
                  <a:pt x="754" y="153"/>
                </a:cubicBezTo>
                <a:cubicBezTo>
                  <a:pt x="754" y="152"/>
                  <a:pt x="754" y="152"/>
                  <a:pt x="754" y="152"/>
                </a:cubicBezTo>
                <a:cubicBezTo>
                  <a:pt x="754" y="152"/>
                  <a:pt x="754" y="152"/>
                  <a:pt x="754" y="152"/>
                </a:cubicBezTo>
                <a:cubicBezTo>
                  <a:pt x="755" y="152"/>
                  <a:pt x="755" y="152"/>
                  <a:pt x="755" y="152"/>
                </a:cubicBezTo>
                <a:cubicBezTo>
                  <a:pt x="755" y="152"/>
                  <a:pt x="755" y="152"/>
                  <a:pt x="755" y="152"/>
                </a:cubicBezTo>
                <a:cubicBezTo>
                  <a:pt x="756" y="152"/>
                  <a:pt x="756" y="152"/>
                  <a:pt x="756" y="152"/>
                </a:cubicBezTo>
                <a:cubicBezTo>
                  <a:pt x="757" y="152"/>
                  <a:pt x="757" y="152"/>
                  <a:pt x="757" y="152"/>
                </a:cubicBezTo>
                <a:cubicBezTo>
                  <a:pt x="757" y="152"/>
                  <a:pt x="758" y="152"/>
                  <a:pt x="758" y="152"/>
                </a:cubicBezTo>
                <a:cubicBezTo>
                  <a:pt x="758" y="152"/>
                  <a:pt x="758" y="152"/>
                  <a:pt x="758" y="152"/>
                </a:cubicBezTo>
                <a:cubicBezTo>
                  <a:pt x="758" y="152"/>
                  <a:pt x="758" y="152"/>
                  <a:pt x="759" y="152"/>
                </a:cubicBezTo>
                <a:cubicBezTo>
                  <a:pt x="759" y="152"/>
                  <a:pt x="759" y="151"/>
                  <a:pt x="759" y="151"/>
                </a:cubicBezTo>
                <a:cubicBezTo>
                  <a:pt x="759" y="151"/>
                  <a:pt x="759" y="151"/>
                  <a:pt x="759" y="151"/>
                </a:cubicBezTo>
                <a:cubicBezTo>
                  <a:pt x="760" y="151"/>
                  <a:pt x="760" y="151"/>
                  <a:pt x="760" y="151"/>
                </a:cubicBezTo>
                <a:cubicBezTo>
                  <a:pt x="760" y="151"/>
                  <a:pt x="760" y="151"/>
                  <a:pt x="760" y="150"/>
                </a:cubicBezTo>
                <a:cubicBezTo>
                  <a:pt x="760" y="150"/>
                  <a:pt x="760" y="150"/>
                  <a:pt x="761" y="150"/>
                </a:cubicBezTo>
                <a:cubicBezTo>
                  <a:pt x="761" y="150"/>
                  <a:pt x="761" y="150"/>
                  <a:pt x="761" y="150"/>
                </a:cubicBezTo>
                <a:cubicBezTo>
                  <a:pt x="761" y="151"/>
                  <a:pt x="762" y="151"/>
                  <a:pt x="762" y="151"/>
                </a:cubicBezTo>
                <a:cubicBezTo>
                  <a:pt x="762" y="151"/>
                  <a:pt x="762" y="151"/>
                  <a:pt x="763" y="151"/>
                </a:cubicBezTo>
                <a:cubicBezTo>
                  <a:pt x="763" y="151"/>
                  <a:pt x="763" y="151"/>
                  <a:pt x="763" y="151"/>
                </a:cubicBezTo>
                <a:cubicBezTo>
                  <a:pt x="763" y="151"/>
                  <a:pt x="763" y="151"/>
                  <a:pt x="763" y="151"/>
                </a:cubicBezTo>
                <a:cubicBezTo>
                  <a:pt x="764" y="151"/>
                  <a:pt x="764" y="151"/>
                  <a:pt x="764" y="151"/>
                </a:cubicBezTo>
                <a:cubicBezTo>
                  <a:pt x="764" y="151"/>
                  <a:pt x="764" y="150"/>
                  <a:pt x="764" y="150"/>
                </a:cubicBezTo>
                <a:cubicBezTo>
                  <a:pt x="764" y="150"/>
                  <a:pt x="764" y="150"/>
                  <a:pt x="764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6" y="150"/>
                  <a:pt x="766" y="150"/>
                </a:cubicBezTo>
                <a:cubicBezTo>
                  <a:pt x="766" y="150"/>
                  <a:pt x="766" y="150"/>
                  <a:pt x="766" y="150"/>
                </a:cubicBezTo>
                <a:cubicBezTo>
                  <a:pt x="766" y="150"/>
                  <a:pt x="766" y="150"/>
                  <a:pt x="767" y="150"/>
                </a:cubicBezTo>
                <a:cubicBezTo>
                  <a:pt x="767" y="150"/>
                  <a:pt x="767" y="150"/>
                  <a:pt x="767" y="149"/>
                </a:cubicBezTo>
                <a:cubicBezTo>
                  <a:pt x="767" y="149"/>
                  <a:pt x="767" y="149"/>
                  <a:pt x="767" y="149"/>
                </a:cubicBezTo>
                <a:cubicBezTo>
                  <a:pt x="767" y="149"/>
                  <a:pt x="767" y="149"/>
                  <a:pt x="767" y="149"/>
                </a:cubicBezTo>
                <a:cubicBezTo>
                  <a:pt x="768" y="149"/>
                  <a:pt x="768" y="149"/>
                  <a:pt x="768" y="149"/>
                </a:cubicBezTo>
                <a:cubicBezTo>
                  <a:pt x="768" y="149"/>
                  <a:pt x="769" y="149"/>
                  <a:pt x="769" y="149"/>
                </a:cubicBezTo>
                <a:cubicBezTo>
                  <a:pt x="769" y="149"/>
                  <a:pt x="769" y="149"/>
                  <a:pt x="769" y="148"/>
                </a:cubicBezTo>
                <a:cubicBezTo>
                  <a:pt x="769" y="148"/>
                  <a:pt x="769" y="148"/>
                  <a:pt x="769" y="148"/>
                </a:cubicBezTo>
                <a:cubicBezTo>
                  <a:pt x="769" y="149"/>
                  <a:pt x="769" y="149"/>
                  <a:pt x="769" y="149"/>
                </a:cubicBezTo>
                <a:cubicBezTo>
                  <a:pt x="769" y="149"/>
                  <a:pt x="769" y="149"/>
                  <a:pt x="770" y="149"/>
                </a:cubicBezTo>
                <a:cubicBezTo>
                  <a:pt x="770" y="149"/>
                  <a:pt x="770" y="149"/>
                  <a:pt x="770" y="148"/>
                </a:cubicBezTo>
                <a:cubicBezTo>
                  <a:pt x="770" y="148"/>
                  <a:pt x="770" y="148"/>
                  <a:pt x="770" y="148"/>
                </a:cubicBezTo>
                <a:cubicBezTo>
                  <a:pt x="770" y="148"/>
                  <a:pt x="771" y="148"/>
                  <a:pt x="771" y="148"/>
                </a:cubicBezTo>
                <a:cubicBezTo>
                  <a:pt x="771" y="148"/>
                  <a:pt x="771" y="148"/>
                  <a:pt x="771" y="148"/>
                </a:cubicBezTo>
                <a:cubicBezTo>
                  <a:pt x="771" y="148"/>
                  <a:pt x="772" y="148"/>
                  <a:pt x="772" y="148"/>
                </a:cubicBezTo>
                <a:cubicBezTo>
                  <a:pt x="772" y="148"/>
                  <a:pt x="772" y="148"/>
                  <a:pt x="772" y="148"/>
                </a:cubicBezTo>
                <a:cubicBezTo>
                  <a:pt x="772" y="148"/>
                  <a:pt x="772" y="148"/>
                  <a:pt x="773" y="148"/>
                </a:cubicBezTo>
                <a:cubicBezTo>
                  <a:pt x="773" y="148"/>
                  <a:pt x="773" y="148"/>
                  <a:pt x="773" y="148"/>
                </a:cubicBezTo>
                <a:cubicBezTo>
                  <a:pt x="773" y="148"/>
                  <a:pt x="773" y="148"/>
                  <a:pt x="773" y="148"/>
                </a:cubicBezTo>
                <a:cubicBezTo>
                  <a:pt x="774" y="148"/>
                  <a:pt x="774" y="148"/>
                  <a:pt x="774" y="148"/>
                </a:cubicBezTo>
                <a:cubicBezTo>
                  <a:pt x="774" y="148"/>
                  <a:pt x="774" y="148"/>
                  <a:pt x="774" y="147"/>
                </a:cubicBezTo>
                <a:cubicBezTo>
                  <a:pt x="775" y="147"/>
                  <a:pt x="775" y="147"/>
                  <a:pt x="775" y="147"/>
                </a:cubicBezTo>
                <a:cubicBezTo>
                  <a:pt x="775" y="147"/>
                  <a:pt x="775" y="147"/>
                  <a:pt x="776" y="147"/>
                </a:cubicBezTo>
                <a:cubicBezTo>
                  <a:pt x="776" y="147"/>
                  <a:pt x="776" y="147"/>
                  <a:pt x="777" y="147"/>
                </a:cubicBezTo>
                <a:cubicBezTo>
                  <a:pt x="777" y="147"/>
                  <a:pt x="777" y="147"/>
                  <a:pt x="777" y="147"/>
                </a:cubicBezTo>
                <a:cubicBezTo>
                  <a:pt x="777" y="147"/>
                  <a:pt x="778" y="147"/>
                  <a:pt x="778" y="147"/>
                </a:cubicBezTo>
                <a:cubicBezTo>
                  <a:pt x="778" y="147"/>
                  <a:pt x="778" y="147"/>
                  <a:pt x="778" y="147"/>
                </a:cubicBezTo>
                <a:cubicBezTo>
                  <a:pt x="778" y="147"/>
                  <a:pt x="778" y="147"/>
                  <a:pt x="778" y="146"/>
                </a:cubicBezTo>
                <a:cubicBezTo>
                  <a:pt x="779" y="146"/>
                  <a:pt x="779" y="146"/>
                  <a:pt x="779" y="146"/>
                </a:cubicBezTo>
                <a:cubicBezTo>
                  <a:pt x="779" y="146"/>
                  <a:pt x="780" y="146"/>
                  <a:pt x="780" y="146"/>
                </a:cubicBezTo>
                <a:cubicBezTo>
                  <a:pt x="780" y="146"/>
                  <a:pt x="780" y="146"/>
                  <a:pt x="780" y="146"/>
                </a:cubicBezTo>
                <a:cubicBezTo>
                  <a:pt x="781" y="145"/>
                  <a:pt x="781" y="145"/>
                  <a:pt x="781" y="145"/>
                </a:cubicBezTo>
                <a:cubicBezTo>
                  <a:pt x="782" y="145"/>
                  <a:pt x="782" y="145"/>
                  <a:pt x="782" y="145"/>
                </a:cubicBezTo>
                <a:cubicBezTo>
                  <a:pt x="782" y="145"/>
                  <a:pt x="782" y="145"/>
                  <a:pt x="782" y="145"/>
                </a:cubicBezTo>
                <a:cubicBezTo>
                  <a:pt x="782" y="145"/>
                  <a:pt x="782" y="144"/>
                  <a:pt x="782" y="144"/>
                </a:cubicBezTo>
                <a:cubicBezTo>
                  <a:pt x="782" y="144"/>
                  <a:pt x="782" y="144"/>
                  <a:pt x="782" y="144"/>
                </a:cubicBezTo>
                <a:cubicBezTo>
                  <a:pt x="782" y="144"/>
                  <a:pt x="782" y="144"/>
                  <a:pt x="782" y="144"/>
                </a:cubicBezTo>
                <a:cubicBezTo>
                  <a:pt x="782" y="144"/>
                  <a:pt x="782" y="144"/>
                  <a:pt x="783" y="144"/>
                </a:cubicBezTo>
                <a:cubicBezTo>
                  <a:pt x="783" y="144"/>
                  <a:pt x="783" y="144"/>
                  <a:pt x="783" y="144"/>
                </a:cubicBezTo>
                <a:cubicBezTo>
                  <a:pt x="783" y="144"/>
                  <a:pt x="783" y="144"/>
                  <a:pt x="783" y="144"/>
                </a:cubicBezTo>
                <a:cubicBezTo>
                  <a:pt x="784" y="144"/>
                  <a:pt x="784" y="144"/>
                  <a:pt x="785" y="144"/>
                </a:cubicBezTo>
                <a:cubicBezTo>
                  <a:pt x="785" y="144"/>
                  <a:pt x="785" y="143"/>
                  <a:pt x="785" y="143"/>
                </a:cubicBezTo>
                <a:cubicBezTo>
                  <a:pt x="784" y="143"/>
                  <a:pt x="784" y="143"/>
                  <a:pt x="784" y="143"/>
                </a:cubicBezTo>
                <a:close/>
                <a:moveTo>
                  <a:pt x="700" y="192"/>
                </a:moveTo>
                <a:cubicBezTo>
                  <a:pt x="700" y="192"/>
                  <a:pt x="700" y="192"/>
                  <a:pt x="699" y="191"/>
                </a:cubicBezTo>
                <a:cubicBezTo>
                  <a:pt x="699" y="192"/>
                  <a:pt x="699" y="192"/>
                  <a:pt x="698" y="192"/>
                </a:cubicBezTo>
                <a:cubicBezTo>
                  <a:pt x="698" y="192"/>
                  <a:pt x="698" y="191"/>
                  <a:pt x="698" y="191"/>
                </a:cubicBezTo>
                <a:cubicBezTo>
                  <a:pt x="698" y="191"/>
                  <a:pt x="697" y="192"/>
                  <a:pt x="697" y="192"/>
                </a:cubicBezTo>
                <a:cubicBezTo>
                  <a:pt x="697" y="192"/>
                  <a:pt x="698" y="192"/>
                  <a:pt x="698" y="192"/>
                </a:cubicBezTo>
                <a:cubicBezTo>
                  <a:pt x="698" y="192"/>
                  <a:pt x="698" y="192"/>
                  <a:pt x="698" y="192"/>
                </a:cubicBezTo>
                <a:cubicBezTo>
                  <a:pt x="698" y="192"/>
                  <a:pt x="699" y="192"/>
                  <a:pt x="699" y="192"/>
                </a:cubicBezTo>
                <a:cubicBezTo>
                  <a:pt x="699" y="192"/>
                  <a:pt x="699" y="192"/>
                  <a:pt x="700" y="192"/>
                </a:cubicBezTo>
                <a:cubicBezTo>
                  <a:pt x="700" y="192"/>
                  <a:pt x="700" y="192"/>
                  <a:pt x="700" y="192"/>
                </a:cubicBezTo>
                <a:close/>
                <a:moveTo>
                  <a:pt x="708" y="177"/>
                </a:moveTo>
                <a:cubicBezTo>
                  <a:pt x="708" y="177"/>
                  <a:pt x="708" y="177"/>
                  <a:pt x="708" y="177"/>
                </a:cubicBezTo>
                <a:cubicBezTo>
                  <a:pt x="708" y="177"/>
                  <a:pt x="707" y="177"/>
                  <a:pt x="707" y="176"/>
                </a:cubicBezTo>
                <a:cubicBezTo>
                  <a:pt x="707" y="177"/>
                  <a:pt x="707" y="177"/>
                  <a:pt x="707" y="177"/>
                </a:cubicBezTo>
                <a:cubicBezTo>
                  <a:pt x="707" y="177"/>
                  <a:pt x="707" y="177"/>
                  <a:pt x="707" y="177"/>
                </a:cubicBezTo>
                <a:cubicBezTo>
                  <a:pt x="708" y="177"/>
                  <a:pt x="708" y="178"/>
                  <a:pt x="708" y="178"/>
                </a:cubicBezTo>
                <a:cubicBezTo>
                  <a:pt x="708" y="178"/>
                  <a:pt x="708" y="178"/>
                  <a:pt x="708" y="179"/>
                </a:cubicBezTo>
                <a:cubicBezTo>
                  <a:pt x="708" y="179"/>
                  <a:pt x="708" y="179"/>
                  <a:pt x="708" y="179"/>
                </a:cubicBezTo>
                <a:cubicBezTo>
                  <a:pt x="709" y="179"/>
                  <a:pt x="709" y="179"/>
                  <a:pt x="709" y="179"/>
                </a:cubicBezTo>
                <a:cubicBezTo>
                  <a:pt x="709" y="179"/>
                  <a:pt x="709" y="179"/>
                  <a:pt x="709" y="178"/>
                </a:cubicBezTo>
                <a:cubicBezTo>
                  <a:pt x="709" y="178"/>
                  <a:pt x="709" y="178"/>
                  <a:pt x="709" y="178"/>
                </a:cubicBezTo>
                <a:cubicBezTo>
                  <a:pt x="709" y="178"/>
                  <a:pt x="708" y="177"/>
                  <a:pt x="708" y="177"/>
                </a:cubicBezTo>
                <a:close/>
                <a:moveTo>
                  <a:pt x="702" y="190"/>
                </a:moveTo>
                <a:cubicBezTo>
                  <a:pt x="702" y="190"/>
                  <a:pt x="702" y="190"/>
                  <a:pt x="702" y="190"/>
                </a:cubicBezTo>
                <a:cubicBezTo>
                  <a:pt x="702" y="190"/>
                  <a:pt x="702" y="190"/>
                  <a:pt x="702" y="191"/>
                </a:cubicBezTo>
                <a:cubicBezTo>
                  <a:pt x="702" y="190"/>
                  <a:pt x="702" y="190"/>
                  <a:pt x="702" y="190"/>
                </a:cubicBezTo>
                <a:cubicBezTo>
                  <a:pt x="702" y="190"/>
                  <a:pt x="702" y="190"/>
                  <a:pt x="702" y="190"/>
                </a:cubicBezTo>
                <a:close/>
                <a:moveTo>
                  <a:pt x="703" y="187"/>
                </a:moveTo>
                <a:cubicBezTo>
                  <a:pt x="703" y="186"/>
                  <a:pt x="702" y="186"/>
                  <a:pt x="702" y="186"/>
                </a:cubicBezTo>
                <a:cubicBezTo>
                  <a:pt x="702" y="186"/>
                  <a:pt x="702" y="186"/>
                  <a:pt x="701" y="186"/>
                </a:cubicBezTo>
                <a:cubicBezTo>
                  <a:pt x="701" y="186"/>
                  <a:pt x="701" y="186"/>
                  <a:pt x="701" y="186"/>
                </a:cubicBezTo>
                <a:cubicBezTo>
                  <a:pt x="701" y="186"/>
                  <a:pt x="701" y="186"/>
                  <a:pt x="701" y="186"/>
                </a:cubicBezTo>
                <a:cubicBezTo>
                  <a:pt x="701" y="186"/>
                  <a:pt x="702" y="187"/>
                  <a:pt x="702" y="187"/>
                </a:cubicBezTo>
                <a:cubicBezTo>
                  <a:pt x="702" y="187"/>
                  <a:pt x="703" y="187"/>
                  <a:pt x="703" y="187"/>
                </a:cubicBezTo>
                <a:cubicBezTo>
                  <a:pt x="703" y="187"/>
                  <a:pt x="703" y="187"/>
                  <a:pt x="703" y="187"/>
                </a:cubicBezTo>
                <a:cubicBezTo>
                  <a:pt x="703" y="187"/>
                  <a:pt x="704" y="187"/>
                  <a:pt x="704" y="187"/>
                </a:cubicBezTo>
                <a:cubicBezTo>
                  <a:pt x="704" y="187"/>
                  <a:pt x="703" y="187"/>
                  <a:pt x="703" y="187"/>
                </a:cubicBezTo>
                <a:close/>
                <a:moveTo>
                  <a:pt x="713" y="174"/>
                </a:moveTo>
                <a:cubicBezTo>
                  <a:pt x="713" y="174"/>
                  <a:pt x="713" y="174"/>
                  <a:pt x="713" y="174"/>
                </a:cubicBezTo>
                <a:cubicBezTo>
                  <a:pt x="712" y="174"/>
                  <a:pt x="712" y="174"/>
                  <a:pt x="712" y="174"/>
                </a:cubicBezTo>
                <a:cubicBezTo>
                  <a:pt x="712" y="174"/>
                  <a:pt x="712" y="174"/>
                  <a:pt x="712" y="174"/>
                </a:cubicBezTo>
                <a:cubicBezTo>
                  <a:pt x="713" y="174"/>
                  <a:pt x="713" y="174"/>
                  <a:pt x="713" y="174"/>
                </a:cubicBezTo>
                <a:cubicBezTo>
                  <a:pt x="713" y="174"/>
                  <a:pt x="713" y="174"/>
                  <a:pt x="713" y="174"/>
                </a:cubicBezTo>
                <a:close/>
                <a:moveTo>
                  <a:pt x="698" y="195"/>
                </a:moveTo>
                <a:cubicBezTo>
                  <a:pt x="698" y="195"/>
                  <a:pt x="698" y="195"/>
                  <a:pt x="698" y="196"/>
                </a:cubicBezTo>
                <a:cubicBezTo>
                  <a:pt x="698" y="195"/>
                  <a:pt x="698" y="195"/>
                  <a:pt x="698" y="195"/>
                </a:cubicBezTo>
                <a:cubicBezTo>
                  <a:pt x="698" y="195"/>
                  <a:pt x="698" y="195"/>
                  <a:pt x="698" y="195"/>
                </a:cubicBezTo>
                <a:close/>
                <a:moveTo>
                  <a:pt x="699" y="193"/>
                </a:move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lose/>
                <a:moveTo>
                  <a:pt x="668" y="207"/>
                </a:moveTo>
                <a:cubicBezTo>
                  <a:pt x="668" y="207"/>
                  <a:pt x="668" y="207"/>
                  <a:pt x="668" y="207"/>
                </a:cubicBezTo>
                <a:cubicBezTo>
                  <a:pt x="669" y="207"/>
                  <a:pt x="669" y="207"/>
                  <a:pt x="669" y="207"/>
                </a:cubicBezTo>
                <a:cubicBezTo>
                  <a:pt x="669" y="207"/>
                  <a:pt x="669" y="206"/>
                  <a:pt x="669" y="206"/>
                </a:cubicBezTo>
                <a:cubicBezTo>
                  <a:pt x="668" y="206"/>
                  <a:pt x="668" y="206"/>
                  <a:pt x="668" y="206"/>
                </a:cubicBezTo>
                <a:cubicBezTo>
                  <a:pt x="668" y="206"/>
                  <a:pt x="667" y="206"/>
                  <a:pt x="667" y="207"/>
                </a:cubicBezTo>
                <a:cubicBezTo>
                  <a:pt x="667" y="207"/>
                  <a:pt x="667" y="207"/>
                  <a:pt x="667" y="207"/>
                </a:cubicBezTo>
                <a:cubicBezTo>
                  <a:pt x="668" y="207"/>
                  <a:pt x="668" y="207"/>
                  <a:pt x="668" y="207"/>
                </a:cubicBezTo>
                <a:close/>
                <a:moveTo>
                  <a:pt x="649" y="178"/>
                </a:moveTo>
                <a:cubicBezTo>
                  <a:pt x="649" y="178"/>
                  <a:pt x="650" y="178"/>
                  <a:pt x="650" y="178"/>
                </a:cubicBezTo>
                <a:cubicBezTo>
                  <a:pt x="650" y="178"/>
                  <a:pt x="650" y="178"/>
                  <a:pt x="651" y="178"/>
                </a:cubicBezTo>
                <a:cubicBezTo>
                  <a:pt x="651" y="178"/>
                  <a:pt x="650" y="178"/>
                  <a:pt x="650" y="178"/>
                </a:cubicBezTo>
                <a:cubicBezTo>
                  <a:pt x="650" y="178"/>
                  <a:pt x="650" y="178"/>
                  <a:pt x="650" y="178"/>
                </a:cubicBezTo>
                <a:cubicBezTo>
                  <a:pt x="650" y="178"/>
                  <a:pt x="650" y="178"/>
                  <a:pt x="650" y="178"/>
                </a:cubicBezTo>
                <a:cubicBezTo>
                  <a:pt x="650" y="178"/>
                  <a:pt x="649" y="178"/>
                  <a:pt x="649" y="178"/>
                </a:cubicBezTo>
                <a:close/>
                <a:moveTo>
                  <a:pt x="650" y="177"/>
                </a:moveTo>
                <a:cubicBezTo>
                  <a:pt x="649" y="177"/>
                  <a:pt x="649" y="177"/>
                  <a:pt x="649" y="177"/>
                </a:cubicBezTo>
                <a:cubicBezTo>
                  <a:pt x="649" y="177"/>
                  <a:pt x="649" y="177"/>
                  <a:pt x="649" y="177"/>
                </a:cubicBezTo>
                <a:cubicBezTo>
                  <a:pt x="650" y="177"/>
                  <a:pt x="650" y="177"/>
                  <a:pt x="650" y="177"/>
                </a:cubicBezTo>
                <a:cubicBezTo>
                  <a:pt x="650" y="177"/>
                  <a:pt x="650" y="177"/>
                  <a:pt x="650" y="177"/>
                </a:cubicBezTo>
                <a:cubicBezTo>
                  <a:pt x="650" y="177"/>
                  <a:pt x="650" y="177"/>
                  <a:pt x="650" y="177"/>
                </a:cubicBezTo>
                <a:close/>
                <a:moveTo>
                  <a:pt x="674" y="205"/>
                </a:moveTo>
                <a:cubicBezTo>
                  <a:pt x="674" y="205"/>
                  <a:pt x="674" y="205"/>
                  <a:pt x="674" y="205"/>
                </a:cubicBezTo>
                <a:cubicBezTo>
                  <a:pt x="674" y="205"/>
                  <a:pt x="673" y="205"/>
                  <a:pt x="673" y="205"/>
                </a:cubicBezTo>
                <a:cubicBezTo>
                  <a:pt x="673" y="205"/>
                  <a:pt x="673" y="206"/>
                  <a:pt x="674" y="206"/>
                </a:cubicBezTo>
                <a:cubicBezTo>
                  <a:pt x="674" y="206"/>
                  <a:pt x="674" y="206"/>
                  <a:pt x="674" y="206"/>
                </a:cubicBezTo>
                <a:cubicBezTo>
                  <a:pt x="674" y="205"/>
                  <a:pt x="674" y="205"/>
                  <a:pt x="674" y="205"/>
                </a:cubicBezTo>
                <a:close/>
                <a:moveTo>
                  <a:pt x="687" y="211"/>
                </a:moveTo>
                <a:cubicBezTo>
                  <a:pt x="687" y="211"/>
                  <a:pt x="687" y="211"/>
                  <a:pt x="688" y="211"/>
                </a:cubicBezTo>
                <a:cubicBezTo>
                  <a:pt x="688" y="211"/>
                  <a:pt x="688" y="211"/>
                  <a:pt x="688" y="211"/>
                </a:cubicBezTo>
                <a:cubicBezTo>
                  <a:pt x="688" y="210"/>
                  <a:pt x="688" y="210"/>
                  <a:pt x="689" y="210"/>
                </a:cubicBezTo>
                <a:cubicBezTo>
                  <a:pt x="688" y="210"/>
                  <a:pt x="688" y="210"/>
                  <a:pt x="688" y="210"/>
                </a:cubicBezTo>
                <a:cubicBezTo>
                  <a:pt x="688" y="210"/>
                  <a:pt x="688" y="210"/>
                  <a:pt x="687" y="210"/>
                </a:cubicBezTo>
                <a:cubicBezTo>
                  <a:pt x="687" y="210"/>
                  <a:pt x="687" y="211"/>
                  <a:pt x="687" y="211"/>
                </a:cubicBezTo>
                <a:cubicBezTo>
                  <a:pt x="687" y="211"/>
                  <a:pt x="687" y="211"/>
                  <a:pt x="687" y="211"/>
                </a:cubicBezTo>
                <a:close/>
                <a:moveTo>
                  <a:pt x="694" y="203"/>
                </a:moveTo>
                <a:cubicBezTo>
                  <a:pt x="694" y="203"/>
                  <a:pt x="694" y="203"/>
                  <a:pt x="694" y="203"/>
                </a:cubicBezTo>
                <a:cubicBezTo>
                  <a:pt x="693" y="203"/>
                  <a:pt x="693" y="203"/>
                  <a:pt x="693" y="203"/>
                </a:cubicBezTo>
                <a:cubicBezTo>
                  <a:pt x="693" y="203"/>
                  <a:pt x="694" y="204"/>
                  <a:pt x="694" y="204"/>
                </a:cubicBezTo>
                <a:cubicBezTo>
                  <a:pt x="694" y="204"/>
                  <a:pt x="694" y="203"/>
                  <a:pt x="694" y="203"/>
                </a:cubicBezTo>
                <a:cubicBezTo>
                  <a:pt x="694" y="203"/>
                  <a:pt x="694" y="203"/>
                  <a:pt x="694" y="203"/>
                </a:cubicBezTo>
                <a:close/>
                <a:moveTo>
                  <a:pt x="677" y="205"/>
                </a:moveTo>
                <a:cubicBezTo>
                  <a:pt x="677" y="205"/>
                  <a:pt x="677" y="205"/>
                  <a:pt x="677" y="205"/>
                </a:cubicBezTo>
                <a:cubicBezTo>
                  <a:pt x="677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7" y="205"/>
                  <a:pt x="677" y="205"/>
                  <a:pt x="677" y="205"/>
                </a:cubicBezTo>
                <a:close/>
                <a:moveTo>
                  <a:pt x="689" y="209"/>
                </a:moveTo>
                <a:cubicBezTo>
                  <a:pt x="689" y="209"/>
                  <a:pt x="690" y="209"/>
                  <a:pt x="690" y="209"/>
                </a:cubicBezTo>
                <a:cubicBezTo>
                  <a:pt x="689" y="209"/>
                  <a:pt x="689" y="208"/>
                  <a:pt x="688" y="208"/>
                </a:cubicBezTo>
                <a:cubicBezTo>
                  <a:pt x="688" y="208"/>
                  <a:pt x="688" y="208"/>
                  <a:pt x="687" y="208"/>
                </a:cubicBezTo>
                <a:cubicBezTo>
                  <a:pt x="687" y="208"/>
                  <a:pt x="687" y="209"/>
                  <a:pt x="687" y="209"/>
                </a:cubicBezTo>
                <a:cubicBezTo>
                  <a:pt x="688" y="209"/>
                  <a:pt x="688" y="209"/>
                  <a:pt x="689" y="209"/>
                </a:cubicBezTo>
                <a:cubicBezTo>
                  <a:pt x="689" y="209"/>
                  <a:pt x="689" y="209"/>
                  <a:pt x="689" y="209"/>
                </a:cubicBezTo>
                <a:close/>
                <a:moveTo>
                  <a:pt x="681" y="209"/>
                </a:moveTo>
                <a:cubicBezTo>
                  <a:pt x="681" y="209"/>
                  <a:pt x="681" y="209"/>
                  <a:pt x="681" y="209"/>
                </a:cubicBezTo>
                <a:cubicBezTo>
                  <a:pt x="681" y="209"/>
                  <a:pt x="681" y="209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0" y="208"/>
                  <a:pt x="680" y="209"/>
                  <a:pt x="680" y="209"/>
                </a:cubicBezTo>
                <a:cubicBezTo>
                  <a:pt x="680" y="209"/>
                  <a:pt x="680" y="209"/>
                  <a:pt x="680" y="209"/>
                </a:cubicBezTo>
                <a:cubicBezTo>
                  <a:pt x="681" y="209"/>
                  <a:pt x="681" y="209"/>
                  <a:pt x="681" y="209"/>
                </a:cubicBezTo>
                <a:close/>
                <a:moveTo>
                  <a:pt x="664" y="139"/>
                </a:moveTo>
                <a:cubicBezTo>
                  <a:pt x="664" y="139"/>
                  <a:pt x="664" y="140"/>
                  <a:pt x="664" y="140"/>
                </a:cubicBezTo>
                <a:cubicBezTo>
                  <a:pt x="664" y="139"/>
                  <a:pt x="664" y="139"/>
                  <a:pt x="664" y="139"/>
                </a:cubicBezTo>
                <a:cubicBezTo>
                  <a:pt x="664" y="139"/>
                  <a:pt x="664" y="139"/>
                  <a:pt x="664" y="139"/>
                </a:cubicBezTo>
                <a:cubicBezTo>
                  <a:pt x="664" y="139"/>
                  <a:pt x="663" y="139"/>
                  <a:pt x="663" y="139"/>
                </a:cubicBezTo>
                <a:cubicBezTo>
                  <a:pt x="663" y="139"/>
                  <a:pt x="664" y="139"/>
                  <a:pt x="664" y="139"/>
                </a:cubicBezTo>
                <a:close/>
                <a:moveTo>
                  <a:pt x="810" y="84"/>
                </a:moveTo>
                <a:cubicBezTo>
                  <a:pt x="810" y="83"/>
                  <a:pt x="810" y="83"/>
                  <a:pt x="811" y="83"/>
                </a:cubicBezTo>
                <a:cubicBezTo>
                  <a:pt x="810" y="83"/>
                  <a:pt x="810" y="83"/>
                  <a:pt x="810" y="83"/>
                </a:cubicBezTo>
                <a:cubicBezTo>
                  <a:pt x="810" y="83"/>
                  <a:pt x="809" y="83"/>
                  <a:pt x="809" y="83"/>
                </a:cubicBezTo>
                <a:cubicBezTo>
                  <a:pt x="809" y="83"/>
                  <a:pt x="809" y="83"/>
                  <a:pt x="809" y="83"/>
                </a:cubicBezTo>
                <a:cubicBezTo>
                  <a:pt x="809" y="83"/>
                  <a:pt x="808" y="83"/>
                  <a:pt x="808" y="83"/>
                </a:cubicBezTo>
                <a:cubicBezTo>
                  <a:pt x="809" y="83"/>
                  <a:pt x="809" y="84"/>
                  <a:pt x="809" y="84"/>
                </a:cubicBezTo>
                <a:cubicBezTo>
                  <a:pt x="809" y="84"/>
                  <a:pt x="810" y="84"/>
                  <a:pt x="810" y="84"/>
                </a:cubicBezTo>
                <a:close/>
                <a:moveTo>
                  <a:pt x="804" y="112"/>
                </a:moveTo>
                <a:cubicBezTo>
                  <a:pt x="804" y="112"/>
                  <a:pt x="804" y="112"/>
                  <a:pt x="804" y="112"/>
                </a:cubicBezTo>
                <a:cubicBezTo>
                  <a:pt x="804" y="112"/>
                  <a:pt x="805" y="112"/>
                  <a:pt x="805" y="112"/>
                </a:cubicBezTo>
                <a:cubicBezTo>
                  <a:pt x="805" y="112"/>
                  <a:pt x="805" y="112"/>
                  <a:pt x="805" y="111"/>
                </a:cubicBezTo>
                <a:cubicBezTo>
                  <a:pt x="804" y="111"/>
                  <a:pt x="804" y="112"/>
                  <a:pt x="804" y="112"/>
                </a:cubicBezTo>
                <a:cubicBezTo>
                  <a:pt x="804" y="112"/>
                  <a:pt x="804" y="112"/>
                  <a:pt x="804" y="112"/>
                </a:cubicBezTo>
                <a:close/>
                <a:moveTo>
                  <a:pt x="810" y="96"/>
                </a:moveTo>
                <a:cubicBezTo>
                  <a:pt x="810" y="96"/>
                  <a:pt x="809" y="96"/>
                  <a:pt x="809" y="96"/>
                </a:cubicBezTo>
                <a:cubicBezTo>
                  <a:pt x="809" y="96"/>
                  <a:pt x="809" y="97"/>
                  <a:pt x="809" y="97"/>
                </a:cubicBezTo>
                <a:cubicBezTo>
                  <a:pt x="810" y="97"/>
                  <a:pt x="810" y="97"/>
                  <a:pt x="810" y="98"/>
                </a:cubicBezTo>
                <a:cubicBezTo>
                  <a:pt x="810" y="98"/>
                  <a:pt x="810" y="98"/>
                  <a:pt x="811" y="98"/>
                </a:cubicBezTo>
                <a:cubicBezTo>
                  <a:pt x="811" y="98"/>
                  <a:pt x="811" y="98"/>
                  <a:pt x="811" y="98"/>
                </a:cubicBezTo>
                <a:cubicBezTo>
                  <a:pt x="811" y="98"/>
                  <a:pt x="811" y="97"/>
                  <a:pt x="811" y="97"/>
                </a:cubicBezTo>
                <a:cubicBezTo>
                  <a:pt x="812" y="97"/>
                  <a:pt x="812" y="97"/>
                  <a:pt x="812" y="97"/>
                </a:cubicBezTo>
                <a:cubicBezTo>
                  <a:pt x="812" y="96"/>
                  <a:pt x="812" y="96"/>
                  <a:pt x="812" y="96"/>
                </a:cubicBezTo>
                <a:cubicBezTo>
                  <a:pt x="811" y="96"/>
                  <a:pt x="811" y="96"/>
                  <a:pt x="810" y="96"/>
                </a:cubicBezTo>
                <a:cubicBezTo>
                  <a:pt x="810" y="96"/>
                  <a:pt x="810" y="96"/>
                  <a:pt x="810" y="96"/>
                </a:cubicBezTo>
                <a:close/>
                <a:moveTo>
                  <a:pt x="805" y="101"/>
                </a:moveTo>
                <a:cubicBezTo>
                  <a:pt x="805" y="101"/>
                  <a:pt x="804" y="101"/>
                  <a:pt x="804" y="101"/>
                </a:cubicBezTo>
                <a:cubicBezTo>
                  <a:pt x="803" y="101"/>
                  <a:pt x="803" y="102"/>
                  <a:pt x="803" y="102"/>
                </a:cubicBezTo>
                <a:cubicBezTo>
                  <a:pt x="803" y="102"/>
                  <a:pt x="803" y="102"/>
                  <a:pt x="803" y="103"/>
                </a:cubicBezTo>
                <a:cubicBezTo>
                  <a:pt x="803" y="103"/>
                  <a:pt x="804" y="103"/>
                  <a:pt x="804" y="103"/>
                </a:cubicBezTo>
                <a:cubicBezTo>
                  <a:pt x="804" y="103"/>
                  <a:pt x="804" y="103"/>
                  <a:pt x="805" y="103"/>
                </a:cubicBezTo>
                <a:cubicBezTo>
                  <a:pt x="805" y="103"/>
                  <a:pt x="806" y="103"/>
                  <a:pt x="806" y="104"/>
                </a:cubicBezTo>
                <a:cubicBezTo>
                  <a:pt x="806" y="104"/>
                  <a:pt x="806" y="103"/>
                  <a:pt x="807" y="103"/>
                </a:cubicBezTo>
                <a:cubicBezTo>
                  <a:pt x="807" y="103"/>
                  <a:pt x="808" y="103"/>
                  <a:pt x="808" y="103"/>
                </a:cubicBezTo>
                <a:cubicBezTo>
                  <a:pt x="808" y="103"/>
                  <a:pt x="809" y="103"/>
                  <a:pt x="809" y="103"/>
                </a:cubicBezTo>
                <a:cubicBezTo>
                  <a:pt x="809" y="103"/>
                  <a:pt x="809" y="103"/>
                  <a:pt x="809" y="102"/>
                </a:cubicBezTo>
                <a:cubicBezTo>
                  <a:pt x="809" y="102"/>
                  <a:pt x="809" y="102"/>
                  <a:pt x="810" y="102"/>
                </a:cubicBezTo>
                <a:cubicBezTo>
                  <a:pt x="810" y="102"/>
                  <a:pt x="809" y="101"/>
                  <a:pt x="809" y="101"/>
                </a:cubicBezTo>
                <a:cubicBezTo>
                  <a:pt x="809" y="101"/>
                  <a:pt x="808" y="100"/>
                  <a:pt x="807" y="100"/>
                </a:cubicBezTo>
                <a:cubicBezTo>
                  <a:pt x="806" y="100"/>
                  <a:pt x="806" y="100"/>
                  <a:pt x="805" y="101"/>
                </a:cubicBezTo>
                <a:close/>
                <a:moveTo>
                  <a:pt x="816" y="99"/>
                </a:moveTo>
                <a:cubicBezTo>
                  <a:pt x="815" y="99"/>
                  <a:pt x="815" y="99"/>
                  <a:pt x="815" y="99"/>
                </a:cubicBezTo>
                <a:cubicBezTo>
                  <a:pt x="815" y="99"/>
                  <a:pt x="815" y="99"/>
                  <a:pt x="815" y="99"/>
                </a:cubicBezTo>
                <a:cubicBezTo>
                  <a:pt x="815" y="99"/>
                  <a:pt x="815" y="99"/>
                  <a:pt x="816" y="99"/>
                </a:cubicBezTo>
                <a:cubicBezTo>
                  <a:pt x="816" y="99"/>
                  <a:pt x="816" y="99"/>
                  <a:pt x="816" y="99"/>
                </a:cubicBezTo>
                <a:cubicBezTo>
                  <a:pt x="816" y="99"/>
                  <a:pt x="816" y="99"/>
                  <a:pt x="816" y="98"/>
                </a:cubicBezTo>
                <a:cubicBezTo>
                  <a:pt x="816" y="98"/>
                  <a:pt x="816" y="98"/>
                  <a:pt x="816" y="99"/>
                </a:cubicBezTo>
                <a:close/>
                <a:moveTo>
                  <a:pt x="807" y="82"/>
                </a:moveTo>
                <a:cubicBezTo>
                  <a:pt x="807" y="82"/>
                  <a:pt x="807" y="82"/>
                  <a:pt x="807" y="82"/>
                </a:cubicBezTo>
                <a:cubicBezTo>
                  <a:pt x="807" y="82"/>
                  <a:pt x="808" y="82"/>
                  <a:pt x="808" y="82"/>
                </a:cubicBezTo>
                <a:cubicBezTo>
                  <a:pt x="808" y="82"/>
                  <a:pt x="808" y="82"/>
                  <a:pt x="808" y="82"/>
                </a:cubicBezTo>
                <a:cubicBezTo>
                  <a:pt x="808" y="82"/>
                  <a:pt x="808" y="82"/>
                  <a:pt x="808" y="82"/>
                </a:cubicBezTo>
                <a:cubicBezTo>
                  <a:pt x="808" y="82"/>
                  <a:pt x="808" y="82"/>
                  <a:pt x="807" y="82"/>
                </a:cubicBezTo>
                <a:close/>
                <a:moveTo>
                  <a:pt x="819" y="65"/>
                </a:move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lose/>
                <a:moveTo>
                  <a:pt x="817" y="95"/>
                </a:moveTo>
                <a:cubicBezTo>
                  <a:pt x="817" y="95"/>
                  <a:pt x="818" y="96"/>
                  <a:pt x="818" y="96"/>
                </a:cubicBezTo>
                <a:cubicBezTo>
                  <a:pt x="818" y="96"/>
                  <a:pt x="819" y="96"/>
                  <a:pt x="819" y="96"/>
                </a:cubicBezTo>
                <a:cubicBezTo>
                  <a:pt x="820" y="96"/>
                  <a:pt x="820" y="95"/>
                  <a:pt x="821" y="95"/>
                </a:cubicBezTo>
                <a:cubicBezTo>
                  <a:pt x="821" y="95"/>
                  <a:pt x="821" y="95"/>
                  <a:pt x="821" y="95"/>
                </a:cubicBezTo>
                <a:cubicBezTo>
                  <a:pt x="821" y="95"/>
                  <a:pt x="821" y="96"/>
                  <a:pt x="821" y="96"/>
                </a:cubicBezTo>
                <a:cubicBezTo>
                  <a:pt x="822" y="96"/>
                  <a:pt x="822" y="96"/>
                  <a:pt x="822" y="96"/>
                </a:cubicBezTo>
                <a:cubicBezTo>
                  <a:pt x="822" y="96"/>
                  <a:pt x="822" y="95"/>
                  <a:pt x="823" y="95"/>
                </a:cubicBezTo>
                <a:cubicBezTo>
                  <a:pt x="823" y="95"/>
                  <a:pt x="823" y="95"/>
                  <a:pt x="823" y="95"/>
                </a:cubicBezTo>
                <a:cubicBezTo>
                  <a:pt x="823" y="95"/>
                  <a:pt x="823" y="94"/>
                  <a:pt x="823" y="94"/>
                </a:cubicBezTo>
                <a:cubicBezTo>
                  <a:pt x="823" y="94"/>
                  <a:pt x="823" y="94"/>
                  <a:pt x="822" y="94"/>
                </a:cubicBezTo>
                <a:cubicBezTo>
                  <a:pt x="822" y="94"/>
                  <a:pt x="822" y="94"/>
                  <a:pt x="822" y="94"/>
                </a:cubicBezTo>
                <a:cubicBezTo>
                  <a:pt x="822" y="94"/>
                  <a:pt x="822" y="94"/>
                  <a:pt x="822" y="94"/>
                </a:cubicBezTo>
                <a:cubicBezTo>
                  <a:pt x="822" y="94"/>
                  <a:pt x="822" y="94"/>
                  <a:pt x="821" y="94"/>
                </a:cubicBezTo>
                <a:cubicBezTo>
                  <a:pt x="821" y="94"/>
                  <a:pt x="821" y="94"/>
                  <a:pt x="820" y="94"/>
                </a:cubicBezTo>
                <a:cubicBezTo>
                  <a:pt x="820" y="93"/>
                  <a:pt x="821" y="93"/>
                  <a:pt x="821" y="93"/>
                </a:cubicBezTo>
                <a:cubicBezTo>
                  <a:pt x="820" y="93"/>
                  <a:pt x="820" y="93"/>
                  <a:pt x="820" y="93"/>
                </a:cubicBezTo>
                <a:cubicBezTo>
                  <a:pt x="820" y="92"/>
                  <a:pt x="820" y="92"/>
                  <a:pt x="820" y="92"/>
                </a:cubicBezTo>
                <a:cubicBezTo>
                  <a:pt x="820" y="92"/>
                  <a:pt x="821" y="92"/>
                  <a:pt x="821" y="92"/>
                </a:cubicBezTo>
                <a:cubicBezTo>
                  <a:pt x="821" y="92"/>
                  <a:pt x="821" y="92"/>
                  <a:pt x="821" y="92"/>
                </a:cubicBezTo>
                <a:cubicBezTo>
                  <a:pt x="821" y="92"/>
                  <a:pt x="820" y="91"/>
                  <a:pt x="820" y="91"/>
                </a:cubicBezTo>
                <a:cubicBezTo>
                  <a:pt x="820" y="92"/>
                  <a:pt x="819" y="92"/>
                  <a:pt x="819" y="92"/>
                </a:cubicBezTo>
                <a:cubicBezTo>
                  <a:pt x="819" y="92"/>
                  <a:pt x="818" y="92"/>
                  <a:pt x="818" y="92"/>
                </a:cubicBezTo>
                <a:cubicBezTo>
                  <a:pt x="818" y="92"/>
                  <a:pt x="818" y="92"/>
                  <a:pt x="818" y="92"/>
                </a:cubicBezTo>
                <a:cubicBezTo>
                  <a:pt x="817" y="92"/>
                  <a:pt x="817" y="92"/>
                  <a:pt x="817" y="92"/>
                </a:cubicBezTo>
                <a:cubicBezTo>
                  <a:pt x="817" y="93"/>
                  <a:pt x="817" y="93"/>
                  <a:pt x="817" y="94"/>
                </a:cubicBezTo>
                <a:cubicBezTo>
                  <a:pt x="817" y="94"/>
                  <a:pt x="817" y="94"/>
                  <a:pt x="817" y="95"/>
                </a:cubicBezTo>
                <a:cubicBezTo>
                  <a:pt x="817" y="95"/>
                  <a:pt x="817" y="95"/>
                  <a:pt x="817" y="95"/>
                </a:cubicBezTo>
                <a:close/>
                <a:moveTo>
                  <a:pt x="819" y="66"/>
                </a:moveTo>
                <a:cubicBezTo>
                  <a:pt x="819" y="67"/>
                  <a:pt x="818" y="67"/>
                  <a:pt x="818" y="67"/>
                </a:cubicBezTo>
                <a:cubicBezTo>
                  <a:pt x="818" y="68"/>
                  <a:pt x="818" y="68"/>
                  <a:pt x="818" y="68"/>
                </a:cubicBezTo>
                <a:cubicBezTo>
                  <a:pt x="819" y="68"/>
                  <a:pt x="819" y="67"/>
                  <a:pt x="819" y="67"/>
                </a:cubicBezTo>
                <a:cubicBezTo>
                  <a:pt x="819" y="67"/>
                  <a:pt x="819" y="67"/>
                  <a:pt x="819" y="67"/>
                </a:cubicBezTo>
                <a:cubicBezTo>
                  <a:pt x="819" y="67"/>
                  <a:pt x="819" y="66"/>
                  <a:pt x="819" y="66"/>
                </a:cubicBezTo>
                <a:cubicBezTo>
                  <a:pt x="819" y="66"/>
                  <a:pt x="819" y="66"/>
                  <a:pt x="819" y="66"/>
                </a:cubicBezTo>
                <a:close/>
                <a:moveTo>
                  <a:pt x="815" y="69"/>
                </a:moveTo>
                <a:cubicBezTo>
                  <a:pt x="815" y="69"/>
                  <a:pt x="814" y="69"/>
                  <a:pt x="814" y="69"/>
                </a:cubicBezTo>
                <a:cubicBezTo>
                  <a:pt x="814" y="69"/>
                  <a:pt x="814" y="69"/>
                  <a:pt x="814" y="69"/>
                </a:cubicBezTo>
                <a:cubicBezTo>
                  <a:pt x="814" y="69"/>
                  <a:pt x="815" y="70"/>
                  <a:pt x="815" y="70"/>
                </a:cubicBezTo>
                <a:cubicBezTo>
                  <a:pt x="815" y="70"/>
                  <a:pt x="816" y="70"/>
                  <a:pt x="816" y="70"/>
                </a:cubicBezTo>
                <a:cubicBezTo>
                  <a:pt x="816" y="70"/>
                  <a:pt x="816" y="70"/>
                  <a:pt x="817" y="70"/>
                </a:cubicBezTo>
                <a:cubicBezTo>
                  <a:pt x="817" y="70"/>
                  <a:pt x="817" y="70"/>
                  <a:pt x="817" y="70"/>
                </a:cubicBezTo>
                <a:cubicBezTo>
                  <a:pt x="816" y="70"/>
                  <a:pt x="816" y="70"/>
                  <a:pt x="816" y="70"/>
                </a:cubicBezTo>
                <a:cubicBezTo>
                  <a:pt x="815" y="69"/>
                  <a:pt x="815" y="69"/>
                  <a:pt x="815" y="69"/>
                </a:cubicBezTo>
                <a:close/>
                <a:moveTo>
                  <a:pt x="798" y="117"/>
                </a:moveTo>
                <a:cubicBezTo>
                  <a:pt x="798" y="117"/>
                  <a:pt x="798" y="117"/>
                  <a:pt x="798" y="117"/>
                </a:cubicBezTo>
                <a:cubicBezTo>
                  <a:pt x="799" y="117"/>
                  <a:pt x="799" y="117"/>
                  <a:pt x="799" y="117"/>
                </a:cubicBezTo>
                <a:cubicBezTo>
                  <a:pt x="800" y="117"/>
                  <a:pt x="800" y="117"/>
                  <a:pt x="800" y="117"/>
                </a:cubicBezTo>
                <a:cubicBezTo>
                  <a:pt x="801" y="117"/>
                  <a:pt x="801" y="117"/>
                  <a:pt x="801" y="117"/>
                </a:cubicBezTo>
                <a:cubicBezTo>
                  <a:pt x="801" y="117"/>
                  <a:pt x="801" y="117"/>
                  <a:pt x="801" y="117"/>
                </a:cubicBezTo>
                <a:cubicBezTo>
                  <a:pt x="801" y="117"/>
                  <a:pt x="801" y="117"/>
                  <a:pt x="801" y="116"/>
                </a:cubicBezTo>
                <a:cubicBezTo>
                  <a:pt x="800" y="116"/>
                  <a:pt x="799" y="116"/>
                  <a:pt x="798" y="116"/>
                </a:cubicBezTo>
                <a:cubicBezTo>
                  <a:pt x="797" y="116"/>
                  <a:pt x="797" y="115"/>
                  <a:pt x="797" y="115"/>
                </a:cubicBezTo>
                <a:cubicBezTo>
                  <a:pt x="796" y="115"/>
                  <a:pt x="796" y="115"/>
                  <a:pt x="796" y="115"/>
                </a:cubicBezTo>
                <a:cubicBezTo>
                  <a:pt x="796" y="115"/>
                  <a:pt x="795" y="115"/>
                  <a:pt x="795" y="115"/>
                </a:cubicBezTo>
                <a:cubicBezTo>
                  <a:pt x="795" y="115"/>
                  <a:pt x="794" y="114"/>
                  <a:pt x="794" y="114"/>
                </a:cubicBezTo>
                <a:cubicBezTo>
                  <a:pt x="793" y="114"/>
                  <a:pt x="793" y="114"/>
                  <a:pt x="793" y="114"/>
                </a:cubicBezTo>
                <a:cubicBezTo>
                  <a:pt x="792" y="114"/>
                  <a:pt x="792" y="114"/>
                  <a:pt x="792" y="114"/>
                </a:cubicBezTo>
                <a:cubicBezTo>
                  <a:pt x="792" y="114"/>
                  <a:pt x="791" y="114"/>
                  <a:pt x="791" y="114"/>
                </a:cubicBezTo>
                <a:cubicBezTo>
                  <a:pt x="791" y="114"/>
                  <a:pt x="791" y="114"/>
                  <a:pt x="790" y="115"/>
                </a:cubicBezTo>
                <a:cubicBezTo>
                  <a:pt x="790" y="115"/>
                  <a:pt x="790" y="115"/>
                  <a:pt x="790" y="115"/>
                </a:cubicBezTo>
                <a:cubicBezTo>
                  <a:pt x="791" y="115"/>
                  <a:pt x="791" y="115"/>
                  <a:pt x="791" y="115"/>
                </a:cubicBezTo>
                <a:cubicBezTo>
                  <a:pt x="791" y="115"/>
                  <a:pt x="791" y="116"/>
                  <a:pt x="791" y="116"/>
                </a:cubicBezTo>
                <a:cubicBezTo>
                  <a:pt x="791" y="116"/>
                  <a:pt x="791" y="116"/>
                  <a:pt x="792" y="117"/>
                </a:cubicBezTo>
                <a:cubicBezTo>
                  <a:pt x="792" y="117"/>
                  <a:pt x="792" y="117"/>
                  <a:pt x="792" y="117"/>
                </a:cubicBezTo>
                <a:cubicBezTo>
                  <a:pt x="793" y="117"/>
                  <a:pt x="793" y="118"/>
                  <a:pt x="794" y="118"/>
                </a:cubicBezTo>
                <a:cubicBezTo>
                  <a:pt x="794" y="118"/>
                  <a:pt x="795" y="118"/>
                  <a:pt x="795" y="118"/>
                </a:cubicBezTo>
                <a:cubicBezTo>
                  <a:pt x="795" y="118"/>
                  <a:pt x="796" y="119"/>
                  <a:pt x="796" y="119"/>
                </a:cubicBezTo>
                <a:cubicBezTo>
                  <a:pt x="796" y="119"/>
                  <a:pt x="797" y="119"/>
                  <a:pt x="797" y="119"/>
                </a:cubicBezTo>
                <a:cubicBezTo>
                  <a:pt x="797" y="119"/>
                  <a:pt x="798" y="119"/>
                  <a:pt x="798" y="119"/>
                </a:cubicBezTo>
                <a:cubicBezTo>
                  <a:pt x="798" y="119"/>
                  <a:pt x="798" y="119"/>
                  <a:pt x="798" y="119"/>
                </a:cubicBezTo>
                <a:cubicBezTo>
                  <a:pt x="799" y="120"/>
                  <a:pt x="799" y="120"/>
                  <a:pt x="799" y="120"/>
                </a:cubicBezTo>
                <a:cubicBezTo>
                  <a:pt x="799" y="120"/>
                  <a:pt x="800" y="119"/>
                  <a:pt x="800" y="11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118"/>
                  <a:pt x="800" y="118"/>
                  <a:pt x="799" y="118"/>
                </a:cubicBezTo>
                <a:cubicBezTo>
                  <a:pt x="799" y="118"/>
                  <a:pt x="798" y="118"/>
                  <a:pt x="798" y="118"/>
                </a:cubicBezTo>
                <a:cubicBezTo>
                  <a:pt x="798" y="118"/>
                  <a:pt x="798" y="118"/>
                  <a:pt x="798" y="118"/>
                </a:cubicBezTo>
                <a:cubicBezTo>
                  <a:pt x="797" y="118"/>
                  <a:pt x="797" y="117"/>
                  <a:pt x="797" y="117"/>
                </a:cubicBezTo>
                <a:cubicBezTo>
                  <a:pt x="797" y="117"/>
                  <a:pt x="797" y="117"/>
                  <a:pt x="797" y="117"/>
                </a:cubicBezTo>
                <a:cubicBezTo>
                  <a:pt x="797" y="117"/>
                  <a:pt x="797" y="117"/>
                  <a:pt x="798" y="117"/>
                </a:cubicBezTo>
                <a:close/>
                <a:moveTo>
                  <a:pt x="802" y="114"/>
                </a:moveTo>
                <a:cubicBezTo>
                  <a:pt x="801" y="113"/>
                  <a:pt x="801" y="113"/>
                  <a:pt x="800" y="113"/>
                </a:cubicBezTo>
                <a:cubicBezTo>
                  <a:pt x="800" y="113"/>
                  <a:pt x="800" y="113"/>
                  <a:pt x="799" y="113"/>
                </a:cubicBezTo>
                <a:cubicBezTo>
                  <a:pt x="799" y="113"/>
                  <a:pt x="798" y="113"/>
                  <a:pt x="798" y="113"/>
                </a:cubicBezTo>
                <a:cubicBezTo>
                  <a:pt x="797" y="113"/>
                  <a:pt x="797" y="113"/>
                  <a:pt x="797" y="113"/>
                </a:cubicBezTo>
                <a:cubicBezTo>
                  <a:pt x="796" y="113"/>
                  <a:pt x="795" y="113"/>
                  <a:pt x="795" y="113"/>
                </a:cubicBezTo>
                <a:cubicBezTo>
                  <a:pt x="794" y="113"/>
                  <a:pt x="794" y="113"/>
                  <a:pt x="793" y="113"/>
                </a:cubicBezTo>
                <a:cubicBezTo>
                  <a:pt x="793" y="113"/>
                  <a:pt x="792" y="113"/>
                  <a:pt x="792" y="113"/>
                </a:cubicBezTo>
                <a:cubicBezTo>
                  <a:pt x="791" y="113"/>
                  <a:pt x="791" y="113"/>
                  <a:pt x="791" y="113"/>
                </a:cubicBezTo>
                <a:cubicBezTo>
                  <a:pt x="791" y="113"/>
                  <a:pt x="790" y="114"/>
                  <a:pt x="790" y="114"/>
                </a:cubicBezTo>
                <a:cubicBezTo>
                  <a:pt x="790" y="114"/>
                  <a:pt x="791" y="114"/>
                  <a:pt x="791" y="114"/>
                </a:cubicBezTo>
                <a:cubicBezTo>
                  <a:pt x="792" y="114"/>
                  <a:pt x="792" y="114"/>
                  <a:pt x="793" y="114"/>
                </a:cubicBezTo>
                <a:cubicBezTo>
                  <a:pt x="793" y="114"/>
                  <a:pt x="794" y="114"/>
                  <a:pt x="794" y="114"/>
                </a:cubicBezTo>
                <a:cubicBezTo>
                  <a:pt x="794" y="114"/>
                  <a:pt x="795" y="114"/>
                  <a:pt x="795" y="114"/>
                </a:cubicBezTo>
                <a:cubicBezTo>
                  <a:pt x="796" y="114"/>
                  <a:pt x="796" y="114"/>
                  <a:pt x="797" y="114"/>
                </a:cubicBezTo>
                <a:cubicBezTo>
                  <a:pt x="797" y="114"/>
                  <a:pt x="797" y="114"/>
                  <a:pt x="798" y="114"/>
                </a:cubicBezTo>
                <a:cubicBezTo>
                  <a:pt x="798" y="114"/>
                  <a:pt x="798" y="114"/>
                  <a:pt x="798" y="115"/>
                </a:cubicBezTo>
                <a:cubicBezTo>
                  <a:pt x="798" y="115"/>
                  <a:pt x="798" y="115"/>
                  <a:pt x="798" y="115"/>
                </a:cubicBezTo>
                <a:cubicBezTo>
                  <a:pt x="798" y="115"/>
                  <a:pt x="799" y="115"/>
                  <a:pt x="799" y="115"/>
                </a:cubicBezTo>
                <a:cubicBezTo>
                  <a:pt x="799" y="115"/>
                  <a:pt x="800" y="115"/>
                  <a:pt x="800" y="115"/>
                </a:cubicBezTo>
                <a:cubicBezTo>
                  <a:pt x="800" y="115"/>
                  <a:pt x="801" y="115"/>
                  <a:pt x="801" y="115"/>
                </a:cubicBezTo>
                <a:cubicBezTo>
                  <a:pt x="801" y="115"/>
                  <a:pt x="801" y="115"/>
                  <a:pt x="802" y="115"/>
                </a:cubicBezTo>
                <a:cubicBezTo>
                  <a:pt x="802" y="115"/>
                  <a:pt x="802" y="115"/>
                  <a:pt x="802" y="115"/>
                </a:cubicBezTo>
                <a:cubicBezTo>
                  <a:pt x="801" y="114"/>
                  <a:pt x="801" y="114"/>
                  <a:pt x="801" y="114"/>
                </a:cubicBezTo>
                <a:cubicBezTo>
                  <a:pt x="801" y="114"/>
                  <a:pt x="801" y="114"/>
                  <a:pt x="801" y="114"/>
                </a:cubicBezTo>
                <a:cubicBezTo>
                  <a:pt x="802" y="114"/>
                  <a:pt x="802" y="114"/>
                  <a:pt x="802" y="114"/>
                </a:cubicBezTo>
                <a:close/>
                <a:moveTo>
                  <a:pt x="785" y="129"/>
                </a:moveTo>
                <a:cubicBezTo>
                  <a:pt x="785" y="129"/>
                  <a:pt x="785" y="129"/>
                  <a:pt x="785" y="129"/>
                </a:cubicBezTo>
                <a:cubicBezTo>
                  <a:pt x="785" y="129"/>
                  <a:pt x="785" y="129"/>
                  <a:pt x="784" y="129"/>
                </a:cubicBezTo>
                <a:cubicBezTo>
                  <a:pt x="784" y="129"/>
                  <a:pt x="784" y="129"/>
                  <a:pt x="784" y="130"/>
                </a:cubicBezTo>
                <a:cubicBezTo>
                  <a:pt x="785" y="130"/>
                  <a:pt x="785" y="130"/>
                  <a:pt x="785" y="130"/>
                </a:cubicBezTo>
                <a:cubicBezTo>
                  <a:pt x="785" y="130"/>
                  <a:pt x="785" y="130"/>
                  <a:pt x="785" y="130"/>
                </a:cubicBezTo>
                <a:cubicBezTo>
                  <a:pt x="785" y="129"/>
                  <a:pt x="785" y="129"/>
                  <a:pt x="785" y="129"/>
                </a:cubicBezTo>
                <a:close/>
                <a:moveTo>
                  <a:pt x="780" y="134"/>
                </a:moveTo>
                <a:cubicBezTo>
                  <a:pt x="780" y="134"/>
                  <a:pt x="780" y="134"/>
                  <a:pt x="780" y="135"/>
                </a:cubicBezTo>
                <a:cubicBezTo>
                  <a:pt x="780" y="134"/>
                  <a:pt x="781" y="134"/>
                  <a:pt x="781" y="134"/>
                </a:cubicBezTo>
                <a:cubicBezTo>
                  <a:pt x="781" y="134"/>
                  <a:pt x="781" y="134"/>
                  <a:pt x="781" y="134"/>
                </a:cubicBezTo>
                <a:cubicBezTo>
                  <a:pt x="781" y="134"/>
                  <a:pt x="780" y="134"/>
                  <a:pt x="780" y="134"/>
                </a:cubicBezTo>
                <a:cubicBezTo>
                  <a:pt x="780" y="134"/>
                  <a:pt x="779" y="134"/>
                  <a:pt x="780" y="134"/>
                </a:cubicBezTo>
                <a:close/>
                <a:moveTo>
                  <a:pt x="792" y="140"/>
                </a:moveTo>
                <a:cubicBezTo>
                  <a:pt x="792" y="140"/>
                  <a:pt x="793" y="140"/>
                  <a:pt x="793" y="140"/>
                </a:cubicBezTo>
                <a:cubicBezTo>
                  <a:pt x="793" y="140"/>
                  <a:pt x="793" y="140"/>
                  <a:pt x="793" y="139"/>
                </a:cubicBezTo>
                <a:cubicBezTo>
                  <a:pt x="793" y="139"/>
                  <a:pt x="793" y="139"/>
                  <a:pt x="793" y="139"/>
                </a:cubicBezTo>
                <a:cubicBezTo>
                  <a:pt x="793" y="139"/>
                  <a:pt x="793" y="139"/>
                  <a:pt x="792" y="139"/>
                </a:cubicBezTo>
                <a:cubicBezTo>
                  <a:pt x="792" y="140"/>
                  <a:pt x="792" y="140"/>
                  <a:pt x="792" y="140"/>
                </a:cubicBezTo>
                <a:close/>
                <a:moveTo>
                  <a:pt x="775" y="132"/>
                </a:moveTo>
                <a:cubicBezTo>
                  <a:pt x="775" y="132"/>
                  <a:pt x="775" y="131"/>
                  <a:pt x="775" y="131"/>
                </a:cubicBezTo>
                <a:cubicBezTo>
                  <a:pt x="775" y="131"/>
                  <a:pt x="775" y="131"/>
                  <a:pt x="775" y="131"/>
                </a:cubicBezTo>
                <a:cubicBezTo>
                  <a:pt x="774" y="132"/>
                  <a:pt x="774" y="132"/>
                  <a:pt x="774" y="132"/>
                </a:cubicBezTo>
                <a:cubicBezTo>
                  <a:pt x="774" y="132"/>
                  <a:pt x="774" y="132"/>
                  <a:pt x="774" y="132"/>
                </a:cubicBezTo>
                <a:cubicBezTo>
                  <a:pt x="775" y="132"/>
                  <a:pt x="775" y="132"/>
                  <a:pt x="775" y="132"/>
                </a:cubicBezTo>
                <a:close/>
                <a:moveTo>
                  <a:pt x="783" y="133"/>
                </a:moveTo>
                <a:cubicBezTo>
                  <a:pt x="783" y="133"/>
                  <a:pt x="784" y="133"/>
                  <a:pt x="784" y="133"/>
                </a:cubicBezTo>
                <a:cubicBezTo>
                  <a:pt x="784" y="133"/>
                  <a:pt x="785" y="133"/>
                  <a:pt x="785" y="133"/>
                </a:cubicBezTo>
                <a:cubicBezTo>
                  <a:pt x="785" y="132"/>
                  <a:pt x="785" y="131"/>
                  <a:pt x="785" y="131"/>
                </a:cubicBezTo>
                <a:cubicBezTo>
                  <a:pt x="785" y="130"/>
                  <a:pt x="785" y="130"/>
                  <a:pt x="784" y="130"/>
                </a:cubicBezTo>
                <a:cubicBezTo>
                  <a:pt x="784" y="130"/>
                  <a:pt x="784" y="130"/>
                  <a:pt x="784" y="130"/>
                </a:cubicBezTo>
                <a:cubicBezTo>
                  <a:pt x="783" y="130"/>
                  <a:pt x="783" y="130"/>
                  <a:pt x="783" y="130"/>
                </a:cubicBezTo>
                <a:cubicBezTo>
                  <a:pt x="782" y="130"/>
                  <a:pt x="781" y="130"/>
                  <a:pt x="779" y="131"/>
                </a:cubicBezTo>
                <a:cubicBezTo>
                  <a:pt x="778" y="131"/>
                  <a:pt x="777" y="131"/>
                  <a:pt x="776" y="131"/>
                </a:cubicBezTo>
                <a:cubicBezTo>
                  <a:pt x="776" y="132"/>
                  <a:pt x="776" y="132"/>
                  <a:pt x="775" y="132"/>
                </a:cubicBezTo>
                <a:cubicBezTo>
                  <a:pt x="775" y="132"/>
                  <a:pt x="775" y="132"/>
                  <a:pt x="774" y="132"/>
                </a:cubicBezTo>
                <a:cubicBezTo>
                  <a:pt x="774" y="133"/>
                  <a:pt x="774" y="133"/>
                  <a:pt x="774" y="133"/>
                </a:cubicBezTo>
                <a:cubicBezTo>
                  <a:pt x="773" y="133"/>
                  <a:pt x="773" y="133"/>
                  <a:pt x="773" y="134"/>
                </a:cubicBezTo>
                <a:cubicBezTo>
                  <a:pt x="772" y="134"/>
                  <a:pt x="772" y="134"/>
                  <a:pt x="772" y="134"/>
                </a:cubicBezTo>
                <a:cubicBezTo>
                  <a:pt x="772" y="134"/>
                  <a:pt x="772" y="134"/>
                  <a:pt x="772" y="135"/>
                </a:cubicBezTo>
                <a:cubicBezTo>
                  <a:pt x="772" y="135"/>
                  <a:pt x="772" y="135"/>
                  <a:pt x="772" y="135"/>
                </a:cubicBezTo>
                <a:cubicBezTo>
                  <a:pt x="773" y="135"/>
                  <a:pt x="773" y="135"/>
                  <a:pt x="774" y="135"/>
                </a:cubicBezTo>
                <a:cubicBezTo>
                  <a:pt x="774" y="134"/>
                  <a:pt x="775" y="134"/>
                  <a:pt x="776" y="134"/>
                </a:cubicBezTo>
                <a:cubicBezTo>
                  <a:pt x="777" y="134"/>
                  <a:pt x="778" y="134"/>
                  <a:pt x="779" y="134"/>
                </a:cubicBezTo>
                <a:cubicBezTo>
                  <a:pt x="779" y="134"/>
                  <a:pt x="779" y="134"/>
                  <a:pt x="779" y="134"/>
                </a:cubicBezTo>
                <a:cubicBezTo>
                  <a:pt x="780" y="134"/>
                  <a:pt x="780" y="133"/>
                  <a:pt x="781" y="133"/>
                </a:cubicBezTo>
                <a:cubicBezTo>
                  <a:pt x="781" y="134"/>
                  <a:pt x="781" y="134"/>
                  <a:pt x="782" y="134"/>
                </a:cubicBezTo>
                <a:cubicBezTo>
                  <a:pt x="782" y="134"/>
                  <a:pt x="783" y="133"/>
                  <a:pt x="783" y="133"/>
                </a:cubicBezTo>
                <a:close/>
                <a:moveTo>
                  <a:pt x="787" y="114"/>
                </a:moveTo>
                <a:cubicBezTo>
                  <a:pt x="787" y="115"/>
                  <a:pt x="787" y="115"/>
                  <a:pt x="787" y="115"/>
                </a:cubicBezTo>
                <a:cubicBezTo>
                  <a:pt x="787" y="115"/>
                  <a:pt x="788" y="115"/>
                  <a:pt x="788" y="115"/>
                </a:cubicBezTo>
                <a:cubicBezTo>
                  <a:pt x="788" y="115"/>
                  <a:pt x="788" y="115"/>
                  <a:pt x="788" y="115"/>
                </a:cubicBezTo>
                <a:cubicBezTo>
                  <a:pt x="788" y="115"/>
                  <a:pt x="788" y="115"/>
                  <a:pt x="788" y="114"/>
                </a:cubicBezTo>
                <a:cubicBezTo>
                  <a:pt x="788" y="114"/>
                  <a:pt x="788" y="114"/>
                  <a:pt x="789" y="114"/>
                </a:cubicBezTo>
                <a:cubicBezTo>
                  <a:pt x="788" y="114"/>
                  <a:pt x="788" y="114"/>
                  <a:pt x="787" y="114"/>
                </a:cubicBezTo>
                <a:close/>
                <a:moveTo>
                  <a:pt x="818" y="81"/>
                </a:moveTo>
                <a:cubicBezTo>
                  <a:pt x="818" y="81"/>
                  <a:pt x="818" y="81"/>
                  <a:pt x="818" y="81"/>
                </a:cubicBezTo>
                <a:cubicBezTo>
                  <a:pt x="817" y="81"/>
                  <a:pt x="817" y="81"/>
                  <a:pt x="817" y="81"/>
                </a:cubicBezTo>
                <a:cubicBezTo>
                  <a:pt x="817" y="81"/>
                  <a:pt x="817" y="81"/>
                  <a:pt x="817" y="81"/>
                </a:cubicBezTo>
                <a:cubicBezTo>
                  <a:pt x="817" y="81"/>
                  <a:pt x="817" y="82"/>
                  <a:pt x="818" y="82"/>
                </a:cubicBezTo>
                <a:cubicBezTo>
                  <a:pt x="818" y="82"/>
                  <a:pt x="818" y="82"/>
                  <a:pt x="818" y="82"/>
                </a:cubicBezTo>
                <a:cubicBezTo>
                  <a:pt x="818" y="82"/>
                  <a:pt x="817" y="82"/>
                  <a:pt x="817" y="82"/>
                </a:cubicBezTo>
                <a:cubicBezTo>
                  <a:pt x="817" y="83"/>
                  <a:pt x="817" y="83"/>
                  <a:pt x="817" y="83"/>
                </a:cubicBezTo>
                <a:cubicBezTo>
                  <a:pt x="817" y="84"/>
                  <a:pt x="818" y="84"/>
                  <a:pt x="818" y="84"/>
                </a:cubicBezTo>
                <a:cubicBezTo>
                  <a:pt x="818" y="85"/>
                  <a:pt x="818" y="85"/>
                  <a:pt x="818" y="85"/>
                </a:cubicBezTo>
                <a:cubicBezTo>
                  <a:pt x="818" y="86"/>
                  <a:pt x="818" y="86"/>
                  <a:pt x="818" y="86"/>
                </a:cubicBezTo>
                <a:cubicBezTo>
                  <a:pt x="818" y="86"/>
                  <a:pt x="818" y="87"/>
                  <a:pt x="818" y="87"/>
                </a:cubicBezTo>
                <a:cubicBezTo>
                  <a:pt x="818" y="87"/>
                  <a:pt x="818" y="87"/>
                  <a:pt x="818" y="87"/>
                </a:cubicBezTo>
                <a:cubicBezTo>
                  <a:pt x="818" y="87"/>
                  <a:pt x="819" y="87"/>
                  <a:pt x="819" y="87"/>
                </a:cubicBezTo>
                <a:cubicBezTo>
                  <a:pt x="819" y="87"/>
                  <a:pt x="819" y="86"/>
                  <a:pt x="819" y="86"/>
                </a:cubicBezTo>
                <a:cubicBezTo>
                  <a:pt x="819" y="86"/>
                  <a:pt x="819" y="86"/>
                  <a:pt x="819" y="85"/>
                </a:cubicBezTo>
                <a:cubicBezTo>
                  <a:pt x="819" y="85"/>
                  <a:pt x="819" y="85"/>
                  <a:pt x="819" y="84"/>
                </a:cubicBezTo>
                <a:cubicBezTo>
                  <a:pt x="819" y="84"/>
                  <a:pt x="819" y="84"/>
                  <a:pt x="818" y="84"/>
                </a:cubicBezTo>
                <a:cubicBezTo>
                  <a:pt x="818" y="83"/>
                  <a:pt x="818" y="83"/>
                  <a:pt x="818" y="82"/>
                </a:cubicBezTo>
                <a:cubicBezTo>
                  <a:pt x="818" y="82"/>
                  <a:pt x="818" y="82"/>
                  <a:pt x="818" y="81"/>
                </a:cubicBezTo>
                <a:cubicBezTo>
                  <a:pt x="818" y="81"/>
                  <a:pt x="818" y="81"/>
                  <a:pt x="818" y="81"/>
                </a:cubicBezTo>
                <a:close/>
                <a:moveTo>
                  <a:pt x="785" y="111"/>
                </a:moveTo>
                <a:cubicBezTo>
                  <a:pt x="786" y="112"/>
                  <a:pt x="786" y="112"/>
                  <a:pt x="786" y="112"/>
                </a:cubicBezTo>
                <a:cubicBezTo>
                  <a:pt x="787" y="112"/>
                  <a:pt x="787" y="112"/>
                  <a:pt x="788" y="112"/>
                </a:cubicBezTo>
                <a:cubicBezTo>
                  <a:pt x="788" y="112"/>
                  <a:pt x="789" y="112"/>
                  <a:pt x="789" y="113"/>
                </a:cubicBezTo>
                <a:cubicBezTo>
                  <a:pt x="790" y="113"/>
                  <a:pt x="790" y="113"/>
                  <a:pt x="791" y="113"/>
                </a:cubicBezTo>
                <a:cubicBezTo>
                  <a:pt x="791" y="113"/>
                  <a:pt x="792" y="113"/>
                  <a:pt x="793" y="113"/>
                </a:cubicBezTo>
                <a:cubicBezTo>
                  <a:pt x="794" y="113"/>
                  <a:pt x="795" y="113"/>
                  <a:pt x="796" y="112"/>
                </a:cubicBezTo>
                <a:cubicBezTo>
                  <a:pt x="797" y="112"/>
                  <a:pt x="797" y="112"/>
                  <a:pt x="798" y="112"/>
                </a:cubicBezTo>
                <a:cubicBezTo>
                  <a:pt x="798" y="112"/>
                  <a:pt x="798" y="112"/>
                  <a:pt x="798" y="112"/>
                </a:cubicBezTo>
                <a:cubicBezTo>
                  <a:pt x="797" y="112"/>
                  <a:pt x="797" y="112"/>
                  <a:pt x="796" y="112"/>
                </a:cubicBezTo>
                <a:cubicBezTo>
                  <a:pt x="796" y="112"/>
                  <a:pt x="795" y="112"/>
                  <a:pt x="794" y="112"/>
                </a:cubicBezTo>
                <a:cubicBezTo>
                  <a:pt x="793" y="112"/>
                  <a:pt x="793" y="112"/>
                  <a:pt x="792" y="112"/>
                </a:cubicBezTo>
                <a:cubicBezTo>
                  <a:pt x="792" y="112"/>
                  <a:pt x="791" y="112"/>
                  <a:pt x="791" y="111"/>
                </a:cubicBezTo>
                <a:cubicBezTo>
                  <a:pt x="790" y="111"/>
                  <a:pt x="790" y="111"/>
                  <a:pt x="790" y="111"/>
                </a:cubicBezTo>
                <a:cubicBezTo>
                  <a:pt x="789" y="111"/>
                  <a:pt x="789" y="111"/>
                  <a:pt x="789" y="111"/>
                </a:cubicBezTo>
                <a:cubicBezTo>
                  <a:pt x="789" y="111"/>
                  <a:pt x="789" y="111"/>
                  <a:pt x="790" y="111"/>
                </a:cubicBezTo>
                <a:cubicBezTo>
                  <a:pt x="790" y="111"/>
                  <a:pt x="790" y="111"/>
                  <a:pt x="790" y="111"/>
                </a:cubicBezTo>
                <a:cubicBezTo>
                  <a:pt x="791" y="111"/>
                  <a:pt x="792" y="111"/>
                  <a:pt x="792" y="111"/>
                </a:cubicBezTo>
                <a:cubicBezTo>
                  <a:pt x="793" y="111"/>
                  <a:pt x="794" y="111"/>
                  <a:pt x="794" y="111"/>
                </a:cubicBezTo>
                <a:cubicBezTo>
                  <a:pt x="795" y="111"/>
                  <a:pt x="795" y="111"/>
                  <a:pt x="795" y="111"/>
                </a:cubicBezTo>
                <a:cubicBezTo>
                  <a:pt x="795" y="111"/>
                  <a:pt x="795" y="111"/>
                  <a:pt x="794" y="111"/>
                </a:cubicBezTo>
                <a:cubicBezTo>
                  <a:pt x="794" y="111"/>
                  <a:pt x="793" y="110"/>
                  <a:pt x="792" y="110"/>
                </a:cubicBezTo>
                <a:cubicBezTo>
                  <a:pt x="791" y="110"/>
                  <a:pt x="789" y="110"/>
                  <a:pt x="788" y="110"/>
                </a:cubicBezTo>
                <a:cubicBezTo>
                  <a:pt x="788" y="110"/>
                  <a:pt x="788" y="110"/>
                  <a:pt x="787" y="110"/>
                </a:cubicBezTo>
                <a:cubicBezTo>
                  <a:pt x="787" y="110"/>
                  <a:pt x="787" y="110"/>
                  <a:pt x="787" y="111"/>
                </a:cubicBezTo>
                <a:cubicBezTo>
                  <a:pt x="787" y="111"/>
                  <a:pt x="786" y="111"/>
                  <a:pt x="786" y="111"/>
                </a:cubicBezTo>
                <a:cubicBezTo>
                  <a:pt x="786" y="111"/>
                  <a:pt x="785" y="111"/>
                  <a:pt x="785" y="111"/>
                </a:cubicBezTo>
                <a:close/>
                <a:moveTo>
                  <a:pt x="650" y="119"/>
                </a:moveTo>
                <a:cubicBezTo>
                  <a:pt x="650" y="119"/>
                  <a:pt x="651" y="119"/>
                  <a:pt x="651" y="119"/>
                </a:cubicBezTo>
                <a:cubicBezTo>
                  <a:pt x="651" y="119"/>
                  <a:pt x="651" y="119"/>
                  <a:pt x="651" y="118"/>
                </a:cubicBezTo>
                <a:cubicBezTo>
                  <a:pt x="651" y="119"/>
                  <a:pt x="651" y="119"/>
                  <a:pt x="650" y="119"/>
                </a:cubicBezTo>
                <a:cubicBezTo>
                  <a:pt x="650" y="119"/>
                  <a:pt x="650" y="119"/>
                  <a:pt x="650" y="119"/>
                </a:cubicBezTo>
                <a:close/>
                <a:moveTo>
                  <a:pt x="651" y="118"/>
                </a:move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lose/>
                <a:moveTo>
                  <a:pt x="824" y="70"/>
                </a:moveTo>
                <a:cubicBezTo>
                  <a:pt x="824" y="70"/>
                  <a:pt x="824" y="69"/>
                  <a:pt x="824" y="69"/>
                </a:cubicBezTo>
                <a:cubicBezTo>
                  <a:pt x="823" y="69"/>
                  <a:pt x="823" y="70"/>
                  <a:pt x="823" y="70"/>
                </a:cubicBezTo>
                <a:cubicBezTo>
                  <a:pt x="823" y="70"/>
                  <a:pt x="823" y="71"/>
                  <a:pt x="823" y="71"/>
                </a:cubicBezTo>
                <a:cubicBezTo>
                  <a:pt x="822" y="71"/>
                  <a:pt x="822" y="71"/>
                  <a:pt x="822" y="72"/>
                </a:cubicBezTo>
                <a:cubicBezTo>
                  <a:pt x="822" y="72"/>
                  <a:pt x="822" y="72"/>
                  <a:pt x="822" y="72"/>
                </a:cubicBezTo>
                <a:cubicBezTo>
                  <a:pt x="822" y="72"/>
                  <a:pt x="823" y="72"/>
                  <a:pt x="823" y="72"/>
                </a:cubicBezTo>
                <a:cubicBezTo>
                  <a:pt x="823" y="72"/>
                  <a:pt x="823" y="72"/>
                  <a:pt x="823" y="71"/>
                </a:cubicBezTo>
                <a:cubicBezTo>
                  <a:pt x="823" y="71"/>
                  <a:pt x="823" y="71"/>
                  <a:pt x="823" y="71"/>
                </a:cubicBezTo>
                <a:cubicBezTo>
                  <a:pt x="823" y="71"/>
                  <a:pt x="823" y="71"/>
                  <a:pt x="823" y="70"/>
                </a:cubicBezTo>
                <a:cubicBezTo>
                  <a:pt x="824" y="70"/>
                  <a:pt x="824" y="70"/>
                  <a:pt x="824" y="70"/>
                </a:cubicBezTo>
                <a:close/>
                <a:moveTo>
                  <a:pt x="652" y="112"/>
                </a:moveTo>
                <a:cubicBezTo>
                  <a:pt x="651" y="112"/>
                  <a:pt x="651" y="112"/>
                  <a:pt x="650" y="112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650" y="112"/>
                  <a:pt x="650" y="112"/>
                  <a:pt x="650" y="113"/>
                </a:cubicBezTo>
                <a:cubicBezTo>
                  <a:pt x="650" y="113"/>
                  <a:pt x="651" y="113"/>
                  <a:pt x="651" y="112"/>
                </a:cubicBezTo>
                <a:cubicBezTo>
                  <a:pt x="651" y="113"/>
                  <a:pt x="651" y="113"/>
                  <a:pt x="651" y="113"/>
                </a:cubicBezTo>
                <a:cubicBezTo>
                  <a:pt x="652" y="113"/>
                  <a:pt x="652" y="113"/>
                  <a:pt x="652" y="112"/>
                </a:cubicBezTo>
                <a:cubicBezTo>
                  <a:pt x="652" y="112"/>
                  <a:pt x="652" y="112"/>
                  <a:pt x="652" y="112"/>
                </a:cubicBezTo>
                <a:close/>
                <a:moveTo>
                  <a:pt x="653" y="120"/>
                </a:moveTo>
                <a:cubicBezTo>
                  <a:pt x="653" y="120"/>
                  <a:pt x="653" y="120"/>
                  <a:pt x="652" y="120"/>
                </a:cubicBezTo>
                <a:cubicBezTo>
                  <a:pt x="652" y="120"/>
                  <a:pt x="652" y="120"/>
                  <a:pt x="652" y="120"/>
                </a:cubicBezTo>
                <a:cubicBezTo>
                  <a:pt x="652" y="120"/>
                  <a:pt x="652" y="121"/>
                  <a:pt x="652" y="121"/>
                </a:cubicBezTo>
                <a:cubicBezTo>
                  <a:pt x="652" y="121"/>
                  <a:pt x="653" y="120"/>
                  <a:pt x="653" y="120"/>
                </a:cubicBezTo>
                <a:cubicBezTo>
                  <a:pt x="653" y="120"/>
                  <a:pt x="653" y="120"/>
                  <a:pt x="653" y="120"/>
                </a:cubicBezTo>
                <a:close/>
                <a:moveTo>
                  <a:pt x="649" y="114"/>
                </a:moveTo>
                <a:cubicBezTo>
                  <a:pt x="649" y="114"/>
                  <a:pt x="649" y="114"/>
                  <a:pt x="649" y="114"/>
                </a:cubicBezTo>
                <a:cubicBezTo>
                  <a:pt x="649" y="114"/>
                  <a:pt x="649" y="114"/>
                  <a:pt x="649" y="114"/>
                </a:cubicBezTo>
                <a:cubicBezTo>
                  <a:pt x="649" y="114"/>
                  <a:pt x="650" y="114"/>
                  <a:pt x="650" y="114"/>
                </a:cubicBezTo>
                <a:cubicBezTo>
                  <a:pt x="650" y="114"/>
                  <a:pt x="650" y="114"/>
                  <a:pt x="651" y="114"/>
                </a:cubicBezTo>
                <a:cubicBezTo>
                  <a:pt x="650" y="114"/>
                  <a:pt x="650" y="114"/>
                  <a:pt x="649" y="114"/>
                </a:cubicBezTo>
                <a:cubicBezTo>
                  <a:pt x="649" y="114"/>
                  <a:pt x="649" y="114"/>
                  <a:pt x="649" y="114"/>
                </a:cubicBezTo>
                <a:close/>
                <a:moveTo>
                  <a:pt x="650" y="120"/>
                </a:moveTo>
                <a:cubicBezTo>
                  <a:pt x="650" y="120"/>
                  <a:pt x="650" y="120"/>
                  <a:pt x="650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0" y="120"/>
                  <a:pt x="650" y="120"/>
                </a:cubicBezTo>
                <a:close/>
                <a:moveTo>
                  <a:pt x="654" y="123"/>
                </a:moveTo>
                <a:cubicBezTo>
                  <a:pt x="654" y="123"/>
                  <a:pt x="654" y="123"/>
                  <a:pt x="654" y="123"/>
                </a:cubicBezTo>
                <a:cubicBezTo>
                  <a:pt x="653" y="123"/>
                  <a:pt x="653" y="123"/>
                  <a:pt x="653" y="123"/>
                </a:cubicBezTo>
                <a:cubicBezTo>
                  <a:pt x="653" y="123"/>
                  <a:pt x="653" y="123"/>
                  <a:pt x="653" y="123"/>
                </a:cubicBezTo>
                <a:cubicBezTo>
                  <a:pt x="653" y="123"/>
                  <a:pt x="653" y="123"/>
                  <a:pt x="654" y="123"/>
                </a:cubicBezTo>
                <a:close/>
                <a:moveTo>
                  <a:pt x="652" y="124"/>
                </a:moveTo>
                <a:cubicBezTo>
                  <a:pt x="652" y="124"/>
                  <a:pt x="652" y="124"/>
                  <a:pt x="652" y="124"/>
                </a:cubicBezTo>
                <a:cubicBezTo>
                  <a:pt x="652" y="124"/>
                  <a:pt x="653" y="124"/>
                  <a:pt x="653" y="124"/>
                </a:cubicBezTo>
                <a:cubicBezTo>
                  <a:pt x="653" y="124"/>
                  <a:pt x="653" y="124"/>
                  <a:pt x="653" y="124"/>
                </a:cubicBezTo>
                <a:cubicBezTo>
                  <a:pt x="652" y="124"/>
                  <a:pt x="652" y="124"/>
                  <a:pt x="652" y="124"/>
                </a:cubicBezTo>
                <a:close/>
                <a:moveTo>
                  <a:pt x="650" y="124"/>
                </a:moveTo>
                <a:cubicBezTo>
                  <a:pt x="650" y="125"/>
                  <a:pt x="650" y="125"/>
                  <a:pt x="650" y="125"/>
                </a:cubicBezTo>
                <a:cubicBezTo>
                  <a:pt x="650" y="125"/>
                  <a:pt x="650" y="125"/>
                  <a:pt x="651" y="125"/>
                </a:cubicBezTo>
                <a:cubicBezTo>
                  <a:pt x="651" y="125"/>
                  <a:pt x="651" y="125"/>
                  <a:pt x="651" y="124"/>
                </a:cubicBezTo>
                <a:cubicBezTo>
                  <a:pt x="651" y="124"/>
                  <a:pt x="651" y="124"/>
                  <a:pt x="651" y="124"/>
                </a:cubicBezTo>
                <a:cubicBezTo>
                  <a:pt x="650" y="124"/>
                  <a:pt x="650" y="124"/>
                  <a:pt x="650" y="124"/>
                </a:cubicBezTo>
                <a:close/>
                <a:moveTo>
                  <a:pt x="651" y="116"/>
                </a:moveTo>
                <a:cubicBezTo>
                  <a:pt x="651" y="116"/>
                  <a:pt x="651" y="116"/>
                  <a:pt x="651" y="116"/>
                </a:cubicBezTo>
                <a:cubicBezTo>
                  <a:pt x="651" y="116"/>
                  <a:pt x="651" y="116"/>
                  <a:pt x="651" y="116"/>
                </a:cubicBezTo>
                <a:cubicBezTo>
                  <a:pt x="651" y="116"/>
                  <a:pt x="651" y="117"/>
                  <a:pt x="651" y="117"/>
                </a:cubicBezTo>
                <a:cubicBezTo>
                  <a:pt x="651" y="117"/>
                  <a:pt x="651" y="117"/>
                  <a:pt x="651" y="117"/>
                </a:cubicBezTo>
                <a:cubicBezTo>
                  <a:pt x="651" y="117"/>
                  <a:pt x="651" y="117"/>
                  <a:pt x="651" y="117"/>
                </a:cubicBezTo>
                <a:cubicBezTo>
                  <a:pt x="651" y="116"/>
                  <a:pt x="651" y="116"/>
                  <a:pt x="651" y="116"/>
                </a:cubicBezTo>
                <a:close/>
                <a:moveTo>
                  <a:pt x="649" y="118"/>
                </a:move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lose/>
                <a:moveTo>
                  <a:pt x="820" y="44"/>
                </a:moveTo>
                <a:cubicBezTo>
                  <a:pt x="819" y="45"/>
                  <a:pt x="819" y="45"/>
                  <a:pt x="819" y="45"/>
                </a:cubicBezTo>
                <a:cubicBezTo>
                  <a:pt x="819" y="46"/>
                  <a:pt x="819" y="46"/>
                  <a:pt x="819" y="46"/>
                </a:cubicBezTo>
                <a:cubicBezTo>
                  <a:pt x="819" y="46"/>
                  <a:pt x="820" y="46"/>
                  <a:pt x="820" y="46"/>
                </a:cubicBezTo>
                <a:cubicBezTo>
                  <a:pt x="820" y="46"/>
                  <a:pt x="820" y="46"/>
                  <a:pt x="820" y="46"/>
                </a:cubicBezTo>
                <a:cubicBezTo>
                  <a:pt x="821" y="46"/>
                  <a:pt x="821" y="46"/>
                  <a:pt x="822" y="46"/>
                </a:cubicBezTo>
                <a:cubicBezTo>
                  <a:pt x="822" y="45"/>
                  <a:pt x="822" y="45"/>
                  <a:pt x="822" y="45"/>
                </a:cubicBezTo>
                <a:cubicBezTo>
                  <a:pt x="822" y="45"/>
                  <a:pt x="822" y="44"/>
                  <a:pt x="822" y="44"/>
                </a:cubicBezTo>
                <a:cubicBezTo>
                  <a:pt x="822" y="44"/>
                  <a:pt x="822" y="44"/>
                  <a:pt x="822" y="44"/>
                </a:cubicBezTo>
                <a:cubicBezTo>
                  <a:pt x="821" y="44"/>
                  <a:pt x="820" y="44"/>
                  <a:pt x="820" y="44"/>
                </a:cubicBezTo>
                <a:close/>
                <a:moveTo>
                  <a:pt x="825" y="54"/>
                </a:moveTo>
                <a:cubicBezTo>
                  <a:pt x="825" y="55"/>
                  <a:pt x="825" y="55"/>
                  <a:pt x="825" y="55"/>
                </a:cubicBezTo>
                <a:cubicBezTo>
                  <a:pt x="824" y="55"/>
                  <a:pt x="824" y="55"/>
                  <a:pt x="824" y="55"/>
                </a:cubicBezTo>
                <a:cubicBezTo>
                  <a:pt x="824" y="56"/>
                  <a:pt x="824" y="56"/>
                  <a:pt x="824" y="57"/>
                </a:cubicBezTo>
                <a:cubicBezTo>
                  <a:pt x="824" y="57"/>
                  <a:pt x="824" y="57"/>
                  <a:pt x="824" y="57"/>
                </a:cubicBezTo>
                <a:cubicBezTo>
                  <a:pt x="824" y="57"/>
                  <a:pt x="824" y="57"/>
                  <a:pt x="824" y="57"/>
                </a:cubicBezTo>
                <a:cubicBezTo>
                  <a:pt x="825" y="57"/>
                  <a:pt x="825" y="57"/>
                  <a:pt x="825" y="57"/>
                </a:cubicBezTo>
                <a:cubicBezTo>
                  <a:pt x="825" y="57"/>
                  <a:pt x="826" y="56"/>
                  <a:pt x="826" y="56"/>
                </a:cubicBezTo>
                <a:cubicBezTo>
                  <a:pt x="826" y="56"/>
                  <a:pt x="826" y="55"/>
                  <a:pt x="826" y="55"/>
                </a:cubicBezTo>
                <a:cubicBezTo>
                  <a:pt x="826" y="55"/>
                  <a:pt x="826" y="55"/>
                  <a:pt x="826" y="55"/>
                </a:cubicBezTo>
                <a:cubicBezTo>
                  <a:pt x="826" y="55"/>
                  <a:pt x="825" y="55"/>
                  <a:pt x="825" y="54"/>
                </a:cubicBezTo>
                <a:close/>
                <a:moveTo>
                  <a:pt x="653" y="117"/>
                </a:moveTo>
                <a:cubicBezTo>
                  <a:pt x="653" y="117"/>
                  <a:pt x="653" y="117"/>
                  <a:pt x="652" y="117"/>
                </a:cubicBezTo>
                <a:cubicBezTo>
                  <a:pt x="652" y="117"/>
                  <a:pt x="653" y="118"/>
                  <a:pt x="653" y="118"/>
                </a:cubicBezTo>
                <a:cubicBezTo>
                  <a:pt x="653" y="118"/>
                  <a:pt x="653" y="118"/>
                  <a:pt x="653" y="118"/>
                </a:cubicBezTo>
                <a:cubicBezTo>
                  <a:pt x="653" y="118"/>
                  <a:pt x="653" y="117"/>
                  <a:pt x="653" y="117"/>
                </a:cubicBezTo>
                <a:close/>
                <a:moveTo>
                  <a:pt x="603" y="80"/>
                </a:moveTo>
                <a:cubicBezTo>
                  <a:pt x="604" y="80"/>
                  <a:pt x="604" y="80"/>
                  <a:pt x="604" y="80"/>
                </a:cubicBezTo>
                <a:cubicBezTo>
                  <a:pt x="605" y="80"/>
                  <a:pt x="605" y="80"/>
                  <a:pt x="605" y="80"/>
                </a:cubicBezTo>
                <a:cubicBezTo>
                  <a:pt x="605" y="80"/>
                  <a:pt x="605" y="80"/>
                  <a:pt x="605" y="79"/>
                </a:cubicBezTo>
                <a:cubicBezTo>
                  <a:pt x="604" y="79"/>
                  <a:pt x="604" y="79"/>
                  <a:pt x="604" y="79"/>
                </a:cubicBezTo>
                <a:cubicBezTo>
                  <a:pt x="604" y="79"/>
                  <a:pt x="603" y="79"/>
                  <a:pt x="603" y="79"/>
                </a:cubicBezTo>
                <a:cubicBezTo>
                  <a:pt x="602" y="79"/>
                  <a:pt x="602" y="79"/>
                  <a:pt x="602" y="79"/>
                </a:cubicBezTo>
                <a:cubicBezTo>
                  <a:pt x="602" y="79"/>
                  <a:pt x="601" y="79"/>
                  <a:pt x="601" y="79"/>
                </a:cubicBezTo>
                <a:cubicBezTo>
                  <a:pt x="601" y="79"/>
                  <a:pt x="601" y="79"/>
                  <a:pt x="601" y="80"/>
                </a:cubicBezTo>
                <a:cubicBezTo>
                  <a:pt x="601" y="80"/>
                  <a:pt x="601" y="80"/>
                  <a:pt x="602" y="80"/>
                </a:cubicBezTo>
                <a:cubicBezTo>
                  <a:pt x="602" y="80"/>
                  <a:pt x="603" y="80"/>
                  <a:pt x="603" y="80"/>
                </a:cubicBezTo>
                <a:close/>
                <a:moveTo>
                  <a:pt x="649" y="123"/>
                </a:moveTo>
                <a:cubicBezTo>
                  <a:pt x="649" y="123"/>
                  <a:pt x="649" y="123"/>
                  <a:pt x="650" y="123"/>
                </a:cubicBezTo>
                <a:cubicBezTo>
                  <a:pt x="650" y="123"/>
                  <a:pt x="650" y="122"/>
                  <a:pt x="650" y="122"/>
                </a:cubicBezTo>
                <a:cubicBezTo>
                  <a:pt x="650" y="122"/>
                  <a:pt x="650" y="122"/>
                  <a:pt x="650" y="122"/>
                </a:cubicBezTo>
                <a:cubicBezTo>
                  <a:pt x="650" y="122"/>
                  <a:pt x="649" y="122"/>
                  <a:pt x="649" y="122"/>
                </a:cubicBezTo>
                <a:cubicBezTo>
                  <a:pt x="649" y="123"/>
                  <a:pt x="649" y="123"/>
                  <a:pt x="648" y="123"/>
                </a:cubicBezTo>
                <a:cubicBezTo>
                  <a:pt x="649" y="123"/>
                  <a:pt x="649" y="123"/>
                  <a:pt x="649" y="123"/>
                </a:cubicBezTo>
                <a:close/>
                <a:moveTo>
                  <a:pt x="646" y="104"/>
                </a:moveTo>
                <a:cubicBezTo>
                  <a:pt x="646" y="104"/>
                  <a:pt x="646" y="104"/>
                  <a:pt x="646" y="104"/>
                </a:cubicBezTo>
                <a:cubicBezTo>
                  <a:pt x="646" y="104"/>
                  <a:pt x="646" y="104"/>
                  <a:pt x="647" y="104"/>
                </a:cubicBezTo>
                <a:cubicBezTo>
                  <a:pt x="647" y="104"/>
                  <a:pt x="647" y="104"/>
                  <a:pt x="647" y="104"/>
                </a:cubicBezTo>
                <a:cubicBezTo>
                  <a:pt x="647" y="104"/>
                  <a:pt x="647" y="104"/>
                  <a:pt x="647" y="103"/>
                </a:cubicBezTo>
                <a:cubicBezTo>
                  <a:pt x="646" y="104"/>
                  <a:pt x="646" y="104"/>
                  <a:pt x="646" y="104"/>
                </a:cubicBezTo>
                <a:close/>
                <a:moveTo>
                  <a:pt x="652" y="127"/>
                </a:moveTo>
                <a:cubicBezTo>
                  <a:pt x="652" y="127"/>
                  <a:pt x="652" y="127"/>
                  <a:pt x="652" y="126"/>
                </a:cubicBezTo>
                <a:cubicBezTo>
                  <a:pt x="652" y="126"/>
                  <a:pt x="652" y="126"/>
                  <a:pt x="651" y="126"/>
                </a:cubicBezTo>
                <a:cubicBezTo>
                  <a:pt x="651" y="126"/>
                  <a:pt x="651" y="126"/>
                  <a:pt x="651" y="127"/>
                </a:cubicBezTo>
                <a:cubicBezTo>
                  <a:pt x="650" y="127"/>
                  <a:pt x="650" y="127"/>
                  <a:pt x="650" y="127"/>
                </a:cubicBezTo>
                <a:cubicBezTo>
                  <a:pt x="650" y="127"/>
                  <a:pt x="650" y="127"/>
                  <a:pt x="649" y="127"/>
                </a:cubicBezTo>
                <a:cubicBezTo>
                  <a:pt x="649" y="127"/>
                  <a:pt x="649" y="128"/>
                  <a:pt x="649" y="128"/>
                </a:cubicBezTo>
                <a:cubicBezTo>
                  <a:pt x="649" y="128"/>
                  <a:pt x="649" y="128"/>
                  <a:pt x="649" y="128"/>
                </a:cubicBezTo>
                <a:cubicBezTo>
                  <a:pt x="649" y="128"/>
                  <a:pt x="650" y="128"/>
                  <a:pt x="650" y="128"/>
                </a:cubicBezTo>
                <a:cubicBezTo>
                  <a:pt x="650" y="128"/>
                  <a:pt x="650" y="127"/>
                  <a:pt x="651" y="127"/>
                </a:cubicBezTo>
                <a:cubicBezTo>
                  <a:pt x="651" y="127"/>
                  <a:pt x="651" y="127"/>
                  <a:pt x="652" y="127"/>
                </a:cubicBezTo>
                <a:close/>
                <a:moveTo>
                  <a:pt x="648" y="130"/>
                </a:moveTo>
                <a:cubicBezTo>
                  <a:pt x="649" y="130"/>
                  <a:pt x="649" y="130"/>
                  <a:pt x="649" y="130"/>
                </a:cubicBezTo>
                <a:cubicBezTo>
                  <a:pt x="649" y="130"/>
                  <a:pt x="649" y="130"/>
                  <a:pt x="649" y="130"/>
                </a:cubicBezTo>
                <a:cubicBezTo>
                  <a:pt x="650" y="130"/>
                  <a:pt x="650" y="130"/>
                  <a:pt x="650" y="130"/>
                </a:cubicBezTo>
                <a:cubicBezTo>
                  <a:pt x="650" y="130"/>
                  <a:pt x="649" y="130"/>
                  <a:pt x="649" y="130"/>
                </a:cubicBezTo>
                <a:cubicBezTo>
                  <a:pt x="649" y="130"/>
                  <a:pt x="649" y="130"/>
                  <a:pt x="648" y="130"/>
                </a:cubicBezTo>
                <a:close/>
                <a:moveTo>
                  <a:pt x="599" y="168"/>
                </a:moveTo>
                <a:cubicBezTo>
                  <a:pt x="599" y="168"/>
                  <a:pt x="599" y="167"/>
                  <a:pt x="599" y="167"/>
                </a:cubicBezTo>
                <a:cubicBezTo>
                  <a:pt x="599" y="167"/>
                  <a:pt x="598" y="167"/>
                  <a:pt x="598" y="167"/>
                </a:cubicBezTo>
                <a:cubicBezTo>
                  <a:pt x="598" y="167"/>
                  <a:pt x="597" y="167"/>
                  <a:pt x="597" y="167"/>
                </a:cubicBezTo>
                <a:cubicBezTo>
                  <a:pt x="597" y="167"/>
                  <a:pt x="597" y="167"/>
                  <a:pt x="596" y="168"/>
                </a:cubicBezTo>
                <a:cubicBezTo>
                  <a:pt x="596" y="168"/>
                  <a:pt x="596" y="167"/>
                  <a:pt x="596" y="167"/>
                </a:cubicBezTo>
                <a:cubicBezTo>
                  <a:pt x="596" y="168"/>
                  <a:pt x="596" y="168"/>
                  <a:pt x="596" y="168"/>
                </a:cubicBezTo>
                <a:cubicBezTo>
                  <a:pt x="595" y="168"/>
                  <a:pt x="595" y="168"/>
                  <a:pt x="595" y="168"/>
                </a:cubicBezTo>
                <a:cubicBezTo>
                  <a:pt x="595" y="167"/>
                  <a:pt x="595" y="167"/>
                  <a:pt x="596" y="167"/>
                </a:cubicBezTo>
                <a:cubicBezTo>
                  <a:pt x="596" y="167"/>
                  <a:pt x="596" y="167"/>
                  <a:pt x="596" y="166"/>
                </a:cubicBezTo>
                <a:cubicBezTo>
                  <a:pt x="596" y="166"/>
                  <a:pt x="596" y="166"/>
                  <a:pt x="597" y="166"/>
                </a:cubicBezTo>
                <a:cubicBezTo>
                  <a:pt x="597" y="166"/>
                  <a:pt x="597" y="166"/>
                  <a:pt x="597" y="166"/>
                </a:cubicBezTo>
                <a:cubicBezTo>
                  <a:pt x="597" y="165"/>
                  <a:pt x="597" y="165"/>
                  <a:pt x="597" y="165"/>
                </a:cubicBezTo>
                <a:cubicBezTo>
                  <a:pt x="597" y="165"/>
                  <a:pt x="597" y="165"/>
                  <a:pt x="597" y="165"/>
                </a:cubicBezTo>
                <a:cubicBezTo>
                  <a:pt x="597" y="165"/>
                  <a:pt x="596" y="165"/>
                  <a:pt x="596" y="165"/>
                </a:cubicBezTo>
                <a:cubicBezTo>
                  <a:pt x="596" y="165"/>
                  <a:pt x="595" y="166"/>
                  <a:pt x="595" y="166"/>
                </a:cubicBezTo>
                <a:cubicBezTo>
                  <a:pt x="595" y="166"/>
                  <a:pt x="594" y="166"/>
                  <a:pt x="594" y="167"/>
                </a:cubicBezTo>
                <a:cubicBezTo>
                  <a:pt x="594" y="167"/>
                  <a:pt x="594" y="167"/>
                  <a:pt x="594" y="167"/>
                </a:cubicBezTo>
                <a:cubicBezTo>
                  <a:pt x="594" y="167"/>
                  <a:pt x="594" y="168"/>
                  <a:pt x="594" y="168"/>
                </a:cubicBezTo>
                <a:cubicBezTo>
                  <a:pt x="594" y="168"/>
                  <a:pt x="594" y="168"/>
                  <a:pt x="594" y="168"/>
                </a:cubicBezTo>
                <a:cubicBezTo>
                  <a:pt x="594" y="168"/>
                  <a:pt x="594" y="168"/>
                  <a:pt x="593" y="169"/>
                </a:cubicBezTo>
                <a:cubicBezTo>
                  <a:pt x="593" y="168"/>
                  <a:pt x="593" y="168"/>
                  <a:pt x="593" y="168"/>
                </a:cubicBezTo>
                <a:cubicBezTo>
                  <a:pt x="593" y="168"/>
                  <a:pt x="593" y="168"/>
                  <a:pt x="593" y="167"/>
                </a:cubicBezTo>
                <a:cubicBezTo>
                  <a:pt x="593" y="167"/>
                  <a:pt x="593" y="167"/>
                  <a:pt x="593" y="167"/>
                </a:cubicBezTo>
                <a:cubicBezTo>
                  <a:pt x="594" y="166"/>
                  <a:pt x="594" y="166"/>
                  <a:pt x="594" y="166"/>
                </a:cubicBezTo>
                <a:cubicBezTo>
                  <a:pt x="594" y="165"/>
                  <a:pt x="594" y="165"/>
                  <a:pt x="595" y="165"/>
                </a:cubicBezTo>
                <a:cubicBezTo>
                  <a:pt x="594" y="165"/>
                  <a:pt x="594" y="165"/>
                  <a:pt x="594" y="165"/>
                </a:cubicBezTo>
                <a:cubicBezTo>
                  <a:pt x="594" y="165"/>
                  <a:pt x="594" y="165"/>
                  <a:pt x="593" y="165"/>
                </a:cubicBezTo>
                <a:cubicBezTo>
                  <a:pt x="593" y="166"/>
                  <a:pt x="593" y="166"/>
                  <a:pt x="593" y="166"/>
                </a:cubicBezTo>
                <a:cubicBezTo>
                  <a:pt x="593" y="166"/>
                  <a:pt x="593" y="166"/>
                  <a:pt x="593" y="166"/>
                </a:cubicBezTo>
                <a:cubicBezTo>
                  <a:pt x="593" y="166"/>
                  <a:pt x="593" y="167"/>
                  <a:pt x="592" y="167"/>
                </a:cubicBezTo>
                <a:cubicBezTo>
                  <a:pt x="592" y="167"/>
                  <a:pt x="592" y="167"/>
                  <a:pt x="592" y="167"/>
                </a:cubicBezTo>
                <a:cubicBezTo>
                  <a:pt x="592" y="167"/>
                  <a:pt x="592" y="168"/>
                  <a:pt x="592" y="168"/>
                </a:cubicBezTo>
                <a:cubicBezTo>
                  <a:pt x="592" y="168"/>
                  <a:pt x="592" y="168"/>
                  <a:pt x="591" y="169"/>
                </a:cubicBezTo>
                <a:cubicBezTo>
                  <a:pt x="591" y="169"/>
                  <a:pt x="591" y="169"/>
                  <a:pt x="591" y="169"/>
                </a:cubicBezTo>
                <a:cubicBezTo>
                  <a:pt x="591" y="169"/>
                  <a:pt x="591" y="169"/>
                  <a:pt x="591" y="168"/>
                </a:cubicBezTo>
                <a:cubicBezTo>
                  <a:pt x="591" y="168"/>
                  <a:pt x="591" y="168"/>
                  <a:pt x="591" y="168"/>
                </a:cubicBezTo>
                <a:cubicBezTo>
                  <a:pt x="591" y="167"/>
                  <a:pt x="592" y="167"/>
                  <a:pt x="592" y="166"/>
                </a:cubicBezTo>
                <a:cubicBezTo>
                  <a:pt x="592" y="166"/>
                  <a:pt x="592" y="166"/>
                  <a:pt x="592" y="166"/>
                </a:cubicBezTo>
                <a:cubicBezTo>
                  <a:pt x="592" y="166"/>
                  <a:pt x="592" y="166"/>
                  <a:pt x="592" y="165"/>
                </a:cubicBezTo>
                <a:cubicBezTo>
                  <a:pt x="592" y="165"/>
                  <a:pt x="591" y="166"/>
                  <a:pt x="591" y="166"/>
                </a:cubicBezTo>
                <a:cubicBezTo>
                  <a:pt x="591" y="166"/>
                  <a:pt x="591" y="166"/>
                  <a:pt x="591" y="166"/>
                </a:cubicBezTo>
                <a:cubicBezTo>
                  <a:pt x="591" y="166"/>
                  <a:pt x="591" y="167"/>
                  <a:pt x="591" y="167"/>
                </a:cubicBezTo>
                <a:cubicBezTo>
                  <a:pt x="590" y="167"/>
                  <a:pt x="590" y="167"/>
                  <a:pt x="590" y="167"/>
                </a:cubicBezTo>
                <a:cubicBezTo>
                  <a:pt x="590" y="167"/>
                  <a:pt x="590" y="167"/>
                  <a:pt x="590" y="167"/>
                </a:cubicBezTo>
                <a:cubicBezTo>
                  <a:pt x="590" y="166"/>
                  <a:pt x="590" y="166"/>
                  <a:pt x="590" y="166"/>
                </a:cubicBezTo>
                <a:cubicBezTo>
                  <a:pt x="590" y="166"/>
                  <a:pt x="591" y="165"/>
                  <a:pt x="591" y="165"/>
                </a:cubicBezTo>
                <a:cubicBezTo>
                  <a:pt x="590" y="165"/>
                  <a:pt x="590" y="165"/>
                  <a:pt x="590" y="165"/>
                </a:cubicBezTo>
                <a:cubicBezTo>
                  <a:pt x="590" y="165"/>
                  <a:pt x="589" y="165"/>
                  <a:pt x="589" y="165"/>
                </a:cubicBezTo>
                <a:cubicBezTo>
                  <a:pt x="589" y="165"/>
                  <a:pt x="589" y="165"/>
                  <a:pt x="589" y="165"/>
                </a:cubicBezTo>
                <a:cubicBezTo>
                  <a:pt x="589" y="164"/>
                  <a:pt x="589" y="164"/>
                  <a:pt x="589" y="164"/>
                </a:cubicBezTo>
                <a:cubicBezTo>
                  <a:pt x="588" y="164"/>
                  <a:pt x="588" y="164"/>
                  <a:pt x="587" y="165"/>
                </a:cubicBezTo>
                <a:cubicBezTo>
                  <a:pt x="587" y="165"/>
                  <a:pt x="587" y="165"/>
                  <a:pt x="587" y="165"/>
                </a:cubicBezTo>
                <a:cubicBezTo>
                  <a:pt x="587" y="165"/>
                  <a:pt x="587" y="165"/>
                  <a:pt x="587" y="164"/>
                </a:cubicBezTo>
                <a:cubicBezTo>
                  <a:pt x="587" y="164"/>
                  <a:pt x="588" y="164"/>
                  <a:pt x="588" y="164"/>
                </a:cubicBezTo>
                <a:cubicBezTo>
                  <a:pt x="587" y="164"/>
                  <a:pt x="587" y="164"/>
                  <a:pt x="587" y="164"/>
                </a:cubicBezTo>
                <a:cubicBezTo>
                  <a:pt x="586" y="164"/>
                  <a:pt x="586" y="164"/>
                  <a:pt x="585" y="164"/>
                </a:cubicBezTo>
                <a:cubicBezTo>
                  <a:pt x="585" y="165"/>
                  <a:pt x="585" y="165"/>
                  <a:pt x="585" y="165"/>
                </a:cubicBezTo>
                <a:cubicBezTo>
                  <a:pt x="585" y="165"/>
                  <a:pt x="585" y="165"/>
                  <a:pt x="585" y="164"/>
                </a:cubicBezTo>
                <a:cubicBezTo>
                  <a:pt x="585" y="164"/>
                  <a:pt x="586" y="164"/>
                  <a:pt x="586" y="164"/>
                </a:cubicBezTo>
                <a:cubicBezTo>
                  <a:pt x="587" y="164"/>
                  <a:pt x="587" y="163"/>
                  <a:pt x="588" y="163"/>
                </a:cubicBezTo>
                <a:cubicBezTo>
                  <a:pt x="588" y="163"/>
                  <a:pt x="588" y="163"/>
                  <a:pt x="588" y="163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90" y="163"/>
                  <a:pt x="590" y="163"/>
                  <a:pt x="590" y="162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88" y="163"/>
                  <a:pt x="588" y="163"/>
                  <a:pt x="588" y="163"/>
                </a:cubicBezTo>
                <a:cubicBezTo>
                  <a:pt x="587" y="163"/>
                  <a:pt x="587" y="163"/>
                  <a:pt x="587" y="162"/>
                </a:cubicBezTo>
                <a:cubicBezTo>
                  <a:pt x="586" y="163"/>
                  <a:pt x="586" y="163"/>
                  <a:pt x="586" y="163"/>
                </a:cubicBezTo>
                <a:cubicBezTo>
                  <a:pt x="586" y="163"/>
                  <a:pt x="586" y="163"/>
                  <a:pt x="586" y="163"/>
                </a:cubicBezTo>
                <a:cubicBezTo>
                  <a:pt x="586" y="163"/>
                  <a:pt x="585" y="163"/>
                  <a:pt x="585" y="163"/>
                </a:cubicBezTo>
                <a:cubicBezTo>
                  <a:pt x="585" y="163"/>
                  <a:pt x="585" y="163"/>
                  <a:pt x="585" y="163"/>
                </a:cubicBezTo>
                <a:cubicBezTo>
                  <a:pt x="585" y="163"/>
                  <a:pt x="585" y="163"/>
                  <a:pt x="585" y="163"/>
                </a:cubicBezTo>
                <a:cubicBezTo>
                  <a:pt x="585" y="163"/>
                  <a:pt x="586" y="163"/>
                  <a:pt x="586" y="162"/>
                </a:cubicBezTo>
                <a:cubicBezTo>
                  <a:pt x="585" y="162"/>
                  <a:pt x="585" y="163"/>
                  <a:pt x="585" y="163"/>
                </a:cubicBezTo>
                <a:cubicBezTo>
                  <a:pt x="585" y="163"/>
                  <a:pt x="585" y="163"/>
                  <a:pt x="584" y="163"/>
                </a:cubicBezTo>
                <a:cubicBezTo>
                  <a:pt x="584" y="163"/>
                  <a:pt x="584" y="163"/>
                  <a:pt x="584" y="163"/>
                </a:cubicBezTo>
                <a:cubicBezTo>
                  <a:pt x="584" y="163"/>
                  <a:pt x="584" y="163"/>
                  <a:pt x="584" y="163"/>
                </a:cubicBezTo>
                <a:cubicBezTo>
                  <a:pt x="584" y="163"/>
                  <a:pt x="584" y="163"/>
                  <a:pt x="583" y="162"/>
                </a:cubicBezTo>
                <a:cubicBezTo>
                  <a:pt x="583" y="162"/>
                  <a:pt x="583" y="162"/>
                  <a:pt x="583" y="162"/>
                </a:cubicBezTo>
                <a:cubicBezTo>
                  <a:pt x="583" y="162"/>
                  <a:pt x="583" y="163"/>
                  <a:pt x="583" y="163"/>
                </a:cubicBezTo>
                <a:cubicBezTo>
                  <a:pt x="582" y="163"/>
                  <a:pt x="582" y="162"/>
                  <a:pt x="582" y="162"/>
                </a:cubicBezTo>
                <a:cubicBezTo>
                  <a:pt x="582" y="162"/>
                  <a:pt x="582" y="162"/>
                  <a:pt x="581" y="162"/>
                </a:cubicBezTo>
                <a:cubicBezTo>
                  <a:pt x="581" y="162"/>
                  <a:pt x="581" y="162"/>
                  <a:pt x="581" y="162"/>
                </a:cubicBezTo>
                <a:cubicBezTo>
                  <a:pt x="581" y="162"/>
                  <a:pt x="581" y="162"/>
                  <a:pt x="581" y="162"/>
                </a:cubicBezTo>
                <a:cubicBezTo>
                  <a:pt x="581" y="162"/>
                  <a:pt x="582" y="162"/>
                  <a:pt x="582" y="162"/>
                </a:cubicBezTo>
                <a:cubicBezTo>
                  <a:pt x="582" y="162"/>
                  <a:pt x="583" y="162"/>
                  <a:pt x="584" y="162"/>
                </a:cubicBezTo>
                <a:cubicBezTo>
                  <a:pt x="584" y="162"/>
                  <a:pt x="584" y="162"/>
                  <a:pt x="584" y="162"/>
                </a:cubicBezTo>
                <a:cubicBezTo>
                  <a:pt x="584" y="162"/>
                  <a:pt x="584" y="162"/>
                  <a:pt x="584" y="161"/>
                </a:cubicBezTo>
                <a:cubicBezTo>
                  <a:pt x="583" y="161"/>
                  <a:pt x="582" y="161"/>
                  <a:pt x="581" y="161"/>
                </a:cubicBezTo>
                <a:cubicBezTo>
                  <a:pt x="580" y="161"/>
                  <a:pt x="580" y="161"/>
                  <a:pt x="579" y="161"/>
                </a:cubicBezTo>
                <a:cubicBezTo>
                  <a:pt x="579" y="161"/>
                  <a:pt x="579" y="161"/>
                  <a:pt x="579" y="161"/>
                </a:cubicBezTo>
                <a:cubicBezTo>
                  <a:pt x="579" y="161"/>
                  <a:pt x="580" y="161"/>
                  <a:pt x="580" y="161"/>
                </a:cubicBezTo>
                <a:cubicBezTo>
                  <a:pt x="581" y="161"/>
                  <a:pt x="581" y="161"/>
                  <a:pt x="582" y="161"/>
                </a:cubicBezTo>
                <a:cubicBezTo>
                  <a:pt x="583" y="161"/>
                  <a:pt x="583" y="161"/>
                  <a:pt x="583" y="161"/>
                </a:cubicBezTo>
                <a:cubicBezTo>
                  <a:pt x="584" y="161"/>
                  <a:pt x="585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59"/>
                  <a:pt x="585" y="159"/>
                </a:cubicBezTo>
                <a:cubicBezTo>
                  <a:pt x="585" y="159"/>
                  <a:pt x="585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5" y="159"/>
                  <a:pt x="585" y="159"/>
                  <a:pt x="585" y="159"/>
                </a:cubicBezTo>
                <a:cubicBezTo>
                  <a:pt x="585" y="159"/>
                  <a:pt x="585" y="159"/>
                  <a:pt x="585" y="159"/>
                </a:cubicBezTo>
                <a:cubicBezTo>
                  <a:pt x="585" y="159"/>
                  <a:pt x="586" y="159"/>
                  <a:pt x="586" y="159"/>
                </a:cubicBezTo>
                <a:cubicBezTo>
                  <a:pt x="586" y="159"/>
                  <a:pt x="587" y="159"/>
                  <a:pt x="587" y="159"/>
                </a:cubicBezTo>
                <a:cubicBezTo>
                  <a:pt x="587" y="158"/>
                  <a:pt x="587" y="158"/>
                  <a:pt x="587" y="158"/>
                </a:cubicBezTo>
                <a:cubicBezTo>
                  <a:pt x="587" y="158"/>
                  <a:pt x="587" y="158"/>
                  <a:pt x="587" y="158"/>
                </a:cubicBezTo>
                <a:cubicBezTo>
                  <a:pt x="587" y="158"/>
                  <a:pt x="586" y="158"/>
                  <a:pt x="586" y="158"/>
                </a:cubicBezTo>
                <a:cubicBezTo>
                  <a:pt x="586" y="158"/>
                  <a:pt x="586" y="158"/>
                  <a:pt x="586" y="158"/>
                </a:cubicBezTo>
                <a:cubicBezTo>
                  <a:pt x="586" y="158"/>
                  <a:pt x="586" y="158"/>
                  <a:pt x="585" y="157"/>
                </a:cubicBezTo>
                <a:cubicBezTo>
                  <a:pt x="585" y="158"/>
                  <a:pt x="585" y="158"/>
                  <a:pt x="585" y="158"/>
                </a:cubicBezTo>
                <a:cubicBezTo>
                  <a:pt x="584" y="158"/>
                  <a:pt x="584" y="158"/>
                  <a:pt x="584" y="158"/>
                </a:cubicBezTo>
                <a:cubicBezTo>
                  <a:pt x="583" y="158"/>
                  <a:pt x="583" y="158"/>
                  <a:pt x="582" y="158"/>
                </a:cubicBezTo>
                <a:cubicBezTo>
                  <a:pt x="582" y="159"/>
                  <a:pt x="582" y="159"/>
                  <a:pt x="582" y="159"/>
                </a:cubicBezTo>
                <a:cubicBezTo>
                  <a:pt x="582" y="159"/>
                  <a:pt x="582" y="159"/>
                  <a:pt x="582" y="159"/>
                </a:cubicBezTo>
                <a:cubicBezTo>
                  <a:pt x="582" y="159"/>
                  <a:pt x="581" y="159"/>
                  <a:pt x="581" y="159"/>
                </a:cubicBezTo>
                <a:cubicBezTo>
                  <a:pt x="582" y="158"/>
                  <a:pt x="582" y="158"/>
                  <a:pt x="582" y="158"/>
                </a:cubicBezTo>
                <a:cubicBezTo>
                  <a:pt x="583" y="158"/>
                  <a:pt x="583" y="158"/>
                  <a:pt x="584" y="158"/>
                </a:cubicBezTo>
                <a:cubicBezTo>
                  <a:pt x="584" y="158"/>
                  <a:pt x="584" y="158"/>
                  <a:pt x="584" y="157"/>
                </a:cubicBezTo>
                <a:cubicBezTo>
                  <a:pt x="584" y="157"/>
                  <a:pt x="585" y="157"/>
                  <a:pt x="585" y="157"/>
                </a:cubicBezTo>
                <a:cubicBezTo>
                  <a:pt x="585" y="157"/>
                  <a:pt x="586" y="157"/>
                  <a:pt x="586" y="157"/>
                </a:cubicBezTo>
                <a:cubicBezTo>
                  <a:pt x="585" y="157"/>
                  <a:pt x="585" y="157"/>
                  <a:pt x="585" y="157"/>
                </a:cubicBezTo>
                <a:cubicBezTo>
                  <a:pt x="584" y="157"/>
                  <a:pt x="584" y="157"/>
                  <a:pt x="584" y="157"/>
                </a:cubicBezTo>
                <a:cubicBezTo>
                  <a:pt x="583" y="157"/>
                  <a:pt x="583" y="157"/>
                  <a:pt x="583" y="157"/>
                </a:cubicBezTo>
                <a:cubicBezTo>
                  <a:pt x="583" y="157"/>
                  <a:pt x="584" y="157"/>
                  <a:pt x="584" y="157"/>
                </a:cubicBezTo>
                <a:cubicBezTo>
                  <a:pt x="584" y="157"/>
                  <a:pt x="585" y="156"/>
                  <a:pt x="585" y="156"/>
                </a:cubicBezTo>
                <a:cubicBezTo>
                  <a:pt x="585" y="156"/>
                  <a:pt x="586" y="156"/>
                  <a:pt x="586" y="156"/>
                </a:cubicBezTo>
                <a:cubicBezTo>
                  <a:pt x="586" y="156"/>
                  <a:pt x="586" y="156"/>
                  <a:pt x="586" y="156"/>
                </a:cubicBezTo>
                <a:cubicBezTo>
                  <a:pt x="587" y="156"/>
                  <a:pt x="587" y="157"/>
                  <a:pt x="588" y="157"/>
                </a:cubicBezTo>
                <a:cubicBezTo>
                  <a:pt x="588" y="157"/>
                  <a:pt x="588" y="157"/>
                  <a:pt x="589" y="157"/>
                </a:cubicBezTo>
                <a:cubicBezTo>
                  <a:pt x="589" y="157"/>
                  <a:pt x="589" y="157"/>
                  <a:pt x="589" y="157"/>
                </a:cubicBezTo>
                <a:cubicBezTo>
                  <a:pt x="589" y="157"/>
                  <a:pt x="589" y="157"/>
                  <a:pt x="590" y="157"/>
                </a:cubicBezTo>
                <a:cubicBezTo>
                  <a:pt x="590" y="157"/>
                  <a:pt x="590" y="157"/>
                  <a:pt x="590" y="157"/>
                </a:cubicBezTo>
                <a:cubicBezTo>
                  <a:pt x="590" y="157"/>
                  <a:pt x="590" y="157"/>
                  <a:pt x="591" y="157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1" y="157"/>
                  <a:pt x="591" y="157"/>
                  <a:pt x="592" y="157"/>
                </a:cubicBezTo>
                <a:cubicBezTo>
                  <a:pt x="592" y="157"/>
                  <a:pt x="592" y="157"/>
                  <a:pt x="592" y="157"/>
                </a:cubicBezTo>
                <a:cubicBezTo>
                  <a:pt x="593" y="157"/>
                  <a:pt x="593" y="157"/>
                  <a:pt x="593" y="156"/>
                </a:cubicBezTo>
                <a:cubicBezTo>
                  <a:pt x="593" y="156"/>
                  <a:pt x="593" y="156"/>
                  <a:pt x="593" y="156"/>
                </a:cubicBezTo>
                <a:cubicBezTo>
                  <a:pt x="592" y="155"/>
                  <a:pt x="592" y="155"/>
                  <a:pt x="592" y="155"/>
                </a:cubicBezTo>
                <a:cubicBezTo>
                  <a:pt x="592" y="155"/>
                  <a:pt x="592" y="155"/>
                  <a:pt x="592" y="155"/>
                </a:cubicBezTo>
                <a:cubicBezTo>
                  <a:pt x="591" y="155"/>
                  <a:pt x="591" y="155"/>
                  <a:pt x="591" y="155"/>
                </a:cubicBezTo>
                <a:cubicBezTo>
                  <a:pt x="590" y="155"/>
                  <a:pt x="590" y="154"/>
                  <a:pt x="590" y="154"/>
                </a:cubicBezTo>
                <a:cubicBezTo>
                  <a:pt x="589" y="154"/>
                  <a:pt x="589" y="154"/>
                  <a:pt x="589" y="154"/>
                </a:cubicBezTo>
                <a:cubicBezTo>
                  <a:pt x="589" y="154"/>
                  <a:pt x="589" y="154"/>
                  <a:pt x="588" y="155"/>
                </a:cubicBezTo>
                <a:cubicBezTo>
                  <a:pt x="588" y="155"/>
                  <a:pt x="588" y="155"/>
                  <a:pt x="588" y="155"/>
                </a:cubicBezTo>
                <a:cubicBezTo>
                  <a:pt x="587" y="155"/>
                  <a:pt x="587" y="155"/>
                  <a:pt x="587" y="155"/>
                </a:cubicBezTo>
                <a:cubicBezTo>
                  <a:pt x="586" y="154"/>
                  <a:pt x="586" y="154"/>
                  <a:pt x="585" y="154"/>
                </a:cubicBezTo>
                <a:cubicBezTo>
                  <a:pt x="585" y="154"/>
                  <a:pt x="584" y="154"/>
                  <a:pt x="584" y="154"/>
                </a:cubicBezTo>
                <a:cubicBezTo>
                  <a:pt x="583" y="154"/>
                  <a:pt x="583" y="154"/>
                  <a:pt x="582" y="155"/>
                </a:cubicBezTo>
                <a:cubicBezTo>
                  <a:pt x="582" y="155"/>
                  <a:pt x="582" y="155"/>
                  <a:pt x="581" y="155"/>
                </a:cubicBezTo>
                <a:cubicBezTo>
                  <a:pt x="582" y="154"/>
                  <a:pt x="582" y="154"/>
                  <a:pt x="583" y="154"/>
                </a:cubicBezTo>
                <a:cubicBezTo>
                  <a:pt x="583" y="154"/>
                  <a:pt x="583" y="154"/>
                  <a:pt x="584" y="154"/>
                </a:cubicBezTo>
                <a:cubicBezTo>
                  <a:pt x="584" y="153"/>
                  <a:pt x="584" y="153"/>
                  <a:pt x="585" y="153"/>
                </a:cubicBezTo>
                <a:cubicBezTo>
                  <a:pt x="585" y="153"/>
                  <a:pt x="585" y="153"/>
                  <a:pt x="585" y="153"/>
                </a:cubicBezTo>
                <a:cubicBezTo>
                  <a:pt x="585" y="153"/>
                  <a:pt x="585" y="153"/>
                  <a:pt x="586" y="153"/>
                </a:cubicBezTo>
                <a:cubicBezTo>
                  <a:pt x="586" y="153"/>
                  <a:pt x="586" y="153"/>
                  <a:pt x="586" y="153"/>
                </a:cubicBezTo>
                <a:cubicBezTo>
                  <a:pt x="587" y="153"/>
                  <a:pt x="587" y="152"/>
                  <a:pt x="587" y="152"/>
                </a:cubicBezTo>
                <a:cubicBezTo>
                  <a:pt x="588" y="152"/>
                  <a:pt x="588" y="152"/>
                  <a:pt x="589" y="152"/>
                </a:cubicBezTo>
                <a:cubicBezTo>
                  <a:pt x="589" y="152"/>
                  <a:pt x="589" y="152"/>
                  <a:pt x="590" y="152"/>
                </a:cubicBezTo>
                <a:cubicBezTo>
                  <a:pt x="590" y="152"/>
                  <a:pt x="591" y="152"/>
                  <a:pt x="591" y="152"/>
                </a:cubicBezTo>
                <a:cubicBezTo>
                  <a:pt x="591" y="152"/>
                  <a:pt x="591" y="152"/>
                  <a:pt x="591" y="152"/>
                </a:cubicBezTo>
                <a:cubicBezTo>
                  <a:pt x="591" y="151"/>
                  <a:pt x="591" y="151"/>
                  <a:pt x="591" y="151"/>
                </a:cubicBezTo>
                <a:cubicBezTo>
                  <a:pt x="591" y="151"/>
                  <a:pt x="591" y="151"/>
                  <a:pt x="591" y="151"/>
                </a:cubicBezTo>
                <a:cubicBezTo>
                  <a:pt x="591" y="150"/>
                  <a:pt x="590" y="150"/>
                  <a:pt x="590" y="150"/>
                </a:cubicBezTo>
                <a:cubicBezTo>
                  <a:pt x="590" y="149"/>
                  <a:pt x="589" y="149"/>
                  <a:pt x="589" y="148"/>
                </a:cubicBezTo>
                <a:cubicBezTo>
                  <a:pt x="589" y="148"/>
                  <a:pt x="589" y="148"/>
                  <a:pt x="588" y="148"/>
                </a:cubicBezTo>
                <a:cubicBezTo>
                  <a:pt x="588" y="148"/>
                  <a:pt x="588" y="148"/>
                  <a:pt x="588" y="148"/>
                </a:cubicBezTo>
                <a:cubicBezTo>
                  <a:pt x="588" y="148"/>
                  <a:pt x="588" y="148"/>
                  <a:pt x="588" y="148"/>
                </a:cubicBezTo>
                <a:cubicBezTo>
                  <a:pt x="587" y="148"/>
                  <a:pt x="587" y="148"/>
                  <a:pt x="587" y="148"/>
                </a:cubicBezTo>
                <a:cubicBezTo>
                  <a:pt x="587" y="148"/>
                  <a:pt x="587" y="148"/>
                  <a:pt x="587" y="148"/>
                </a:cubicBezTo>
                <a:cubicBezTo>
                  <a:pt x="587" y="149"/>
                  <a:pt x="587" y="149"/>
                  <a:pt x="586" y="149"/>
                </a:cubicBezTo>
                <a:cubicBezTo>
                  <a:pt x="587" y="149"/>
                  <a:pt x="587" y="149"/>
                  <a:pt x="587" y="149"/>
                </a:cubicBezTo>
                <a:cubicBezTo>
                  <a:pt x="587" y="149"/>
                  <a:pt x="587" y="150"/>
                  <a:pt x="587" y="150"/>
                </a:cubicBezTo>
                <a:cubicBezTo>
                  <a:pt x="587" y="150"/>
                  <a:pt x="587" y="150"/>
                  <a:pt x="587" y="150"/>
                </a:cubicBezTo>
                <a:cubicBezTo>
                  <a:pt x="586" y="150"/>
                  <a:pt x="586" y="150"/>
                  <a:pt x="586" y="151"/>
                </a:cubicBezTo>
                <a:cubicBezTo>
                  <a:pt x="585" y="151"/>
                  <a:pt x="585" y="151"/>
                  <a:pt x="585" y="151"/>
                </a:cubicBezTo>
                <a:cubicBezTo>
                  <a:pt x="585" y="151"/>
                  <a:pt x="584" y="151"/>
                  <a:pt x="584" y="151"/>
                </a:cubicBezTo>
                <a:cubicBezTo>
                  <a:pt x="584" y="151"/>
                  <a:pt x="583" y="151"/>
                  <a:pt x="583" y="151"/>
                </a:cubicBezTo>
                <a:cubicBezTo>
                  <a:pt x="583" y="151"/>
                  <a:pt x="582" y="152"/>
                  <a:pt x="582" y="152"/>
                </a:cubicBezTo>
                <a:cubicBezTo>
                  <a:pt x="582" y="152"/>
                  <a:pt x="582" y="152"/>
                  <a:pt x="582" y="152"/>
                </a:cubicBezTo>
                <a:cubicBezTo>
                  <a:pt x="581" y="153"/>
                  <a:pt x="581" y="153"/>
                  <a:pt x="581" y="153"/>
                </a:cubicBezTo>
                <a:cubicBezTo>
                  <a:pt x="580" y="153"/>
                  <a:pt x="580" y="153"/>
                  <a:pt x="580" y="153"/>
                </a:cubicBezTo>
                <a:cubicBezTo>
                  <a:pt x="580" y="153"/>
                  <a:pt x="579" y="153"/>
                  <a:pt x="579" y="153"/>
                </a:cubicBezTo>
                <a:cubicBezTo>
                  <a:pt x="579" y="153"/>
                  <a:pt x="578" y="153"/>
                  <a:pt x="578" y="154"/>
                </a:cubicBezTo>
                <a:cubicBezTo>
                  <a:pt x="578" y="154"/>
                  <a:pt x="578" y="154"/>
                  <a:pt x="578" y="154"/>
                </a:cubicBezTo>
                <a:cubicBezTo>
                  <a:pt x="578" y="154"/>
                  <a:pt x="578" y="153"/>
                  <a:pt x="578" y="153"/>
                </a:cubicBezTo>
                <a:cubicBezTo>
                  <a:pt x="579" y="153"/>
                  <a:pt x="579" y="153"/>
                  <a:pt x="579" y="153"/>
                </a:cubicBezTo>
                <a:cubicBezTo>
                  <a:pt x="579" y="153"/>
                  <a:pt x="580" y="153"/>
                  <a:pt x="580" y="153"/>
                </a:cubicBezTo>
                <a:cubicBezTo>
                  <a:pt x="580" y="153"/>
                  <a:pt x="581" y="153"/>
                  <a:pt x="581" y="152"/>
                </a:cubicBezTo>
                <a:cubicBezTo>
                  <a:pt x="581" y="152"/>
                  <a:pt x="581" y="152"/>
                  <a:pt x="581" y="152"/>
                </a:cubicBezTo>
                <a:cubicBezTo>
                  <a:pt x="582" y="152"/>
                  <a:pt x="582" y="151"/>
                  <a:pt x="582" y="151"/>
                </a:cubicBezTo>
                <a:cubicBezTo>
                  <a:pt x="582" y="151"/>
                  <a:pt x="583" y="151"/>
                  <a:pt x="583" y="151"/>
                </a:cubicBezTo>
                <a:cubicBezTo>
                  <a:pt x="583" y="151"/>
                  <a:pt x="583" y="151"/>
                  <a:pt x="584" y="151"/>
                </a:cubicBezTo>
                <a:cubicBezTo>
                  <a:pt x="584" y="150"/>
                  <a:pt x="584" y="150"/>
                  <a:pt x="584" y="150"/>
                </a:cubicBezTo>
                <a:cubicBezTo>
                  <a:pt x="584" y="150"/>
                  <a:pt x="584" y="150"/>
                  <a:pt x="584" y="149"/>
                </a:cubicBezTo>
                <a:cubicBezTo>
                  <a:pt x="584" y="149"/>
                  <a:pt x="584" y="149"/>
                  <a:pt x="584" y="149"/>
                </a:cubicBezTo>
                <a:cubicBezTo>
                  <a:pt x="584" y="149"/>
                  <a:pt x="584" y="149"/>
                  <a:pt x="584" y="149"/>
                </a:cubicBezTo>
                <a:cubicBezTo>
                  <a:pt x="583" y="149"/>
                  <a:pt x="583" y="149"/>
                  <a:pt x="583" y="150"/>
                </a:cubicBezTo>
                <a:cubicBezTo>
                  <a:pt x="583" y="150"/>
                  <a:pt x="582" y="150"/>
                  <a:pt x="582" y="150"/>
                </a:cubicBezTo>
                <a:cubicBezTo>
                  <a:pt x="582" y="150"/>
                  <a:pt x="581" y="150"/>
                  <a:pt x="581" y="150"/>
                </a:cubicBezTo>
                <a:cubicBezTo>
                  <a:pt x="580" y="150"/>
                  <a:pt x="580" y="151"/>
                  <a:pt x="579" y="151"/>
                </a:cubicBezTo>
                <a:cubicBezTo>
                  <a:pt x="579" y="151"/>
                  <a:pt x="579" y="152"/>
                  <a:pt x="578" y="152"/>
                </a:cubicBezTo>
                <a:cubicBezTo>
                  <a:pt x="578" y="152"/>
                  <a:pt x="577" y="152"/>
                  <a:pt x="576" y="153"/>
                </a:cubicBezTo>
                <a:cubicBezTo>
                  <a:pt x="576" y="152"/>
                  <a:pt x="577" y="152"/>
                  <a:pt x="577" y="152"/>
                </a:cubicBezTo>
                <a:cubicBezTo>
                  <a:pt x="577" y="152"/>
                  <a:pt x="578" y="152"/>
                  <a:pt x="578" y="152"/>
                </a:cubicBezTo>
                <a:cubicBezTo>
                  <a:pt x="578" y="152"/>
                  <a:pt x="578" y="151"/>
                  <a:pt x="578" y="151"/>
                </a:cubicBezTo>
                <a:cubicBezTo>
                  <a:pt x="578" y="151"/>
                  <a:pt x="578" y="151"/>
                  <a:pt x="578" y="151"/>
                </a:cubicBezTo>
                <a:cubicBezTo>
                  <a:pt x="577" y="151"/>
                  <a:pt x="577" y="151"/>
                  <a:pt x="577" y="151"/>
                </a:cubicBezTo>
                <a:cubicBezTo>
                  <a:pt x="577" y="151"/>
                  <a:pt x="578" y="151"/>
                  <a:pt x="578" y="150"/>
                </a:cubicBezTo>
                <a:cubicBezTo>
                  <a:pt x="578" y="150"/>
                  <a:pt x="579" y="150"/>
                  <a:pt x="579" y="150"/>
                </a:cubicBezTo>
                <a:cubicBezTo>
                  <a:pt x="580" y="150"/>
                  <a:pt x="580" y="150"/>
                  <a:pt x="581" y="149"/>
                </a:cubicBezTo>
                <a:cubicBezTo>
                  <a:pt x="581" y="149"/>
                  <a:pt x="581" y="149"/>
                  <a:pt x="582" y="149"/>
                </a:cubicBezTo>
                <a:cubicBezTo>
                  <a:pt x="582" y="149"/>
                  <a:pt x="582" y="149"/>
                  <a:pt x="583" y="149"/>
                </a:cubicBezTo>
                <a:cubicBezTo>
                  <a:pt x="583" y="149"/>
                  <a:pt x="584" y="148"/>
                  <a:pt x="584" y="148"/>
                </a:cubicBezTo>
                <a:cubicBezTo>
                  <a:pt x="585" y="148"/>
                  <a:pt x="585" y="148"/>
                  <a:pt x="585" y="148"/>
                </a:cubicBezTo>
                <a:cubicBezTo>
                  <a:pt x="585" y="148"/>
                  <a:pt x="585" y="147"/>
                  <a:pt x="585" y="147"/>
                </a:cubicBezTo>
                <a:cubicBezTo>
                  <a:pt x="585" y="147"/>
                  <a:pt x="586" y="147"/>
                  <a:pt x="586" y="147"/>
                </a:cubicBezTo>
                <a:cubicBezTo>
                  <a:pt x="586" y="147"/>
                  <a:pt x="586" y="147"/>
                  <a:pt x="586" y="147"/>
                </a:cubicBezTo>
                <a:cubicBezTo>
                  <a:pt x="586" y="147"/>
                  <a:pt x="586" y="147"/>
                  <a:pt x="586" y="147"/>
                </a:cubicBezTo>
                <a:cubicBezTo>
                  <a:pt x="586" y="147"/>
                  <a:pt x="587" y="147"/>
                  <a:pt x="587" y="147"/>
                </a:cubicBezTo>
                <a:cubicBezTo>
                  <a:pt x="587" y="147"/>
                  <a:pt x="587" y="147"/>
                  <a:pt x="588" y="147"/>
                </a:cubicBezTo>
                <a:cubicBezTo>
                  <a:pt x="588" y="146"/>
                  <a:pt x="588" y="146"/>
                  <a:pt x="588" y="146"/>
                </a:cubicBezTo>
                <a:cubicBezTo>
                  <a:pt x="588" y="146"/>
                  <a:pt x="588" y="146"/>
                  <a:pt x="588" y="146"/>
                </a:cubicBezTo>
                <a:cubicBezTo>
                  <a:pt x="587" y="146"/>
                  <a:pt x="587" y="146"/>
                  <a:pt x="587" y="145"/>
                </a:cubicBezTo>
                <a:cubicBezTo>
                  <a:pt x="586" y="145"/>
                  <a:pt x="586" y="145"/>
                  <a:pt x="586" y="145"/>
                </a:cubicBezTo>
                <a:cubicBezTo>
                  <a:pt x="585" y="145"/>
                  <a:pt x="585" y="145"/>
                  <a:pt x="584" y="144"/>
                </a:cubicBezTo>
                <a:cubicBezTo>
                  <a:pt x="584" y="144"/>
                  <a:pt x="584" y="144"/>
                  <a:pt x="584" y="144"/>
                </a:cubicBezTo>
                <a:cubicBezTo>
                  <a:pt x="584" y="144"/>
                  <a:pt x="583" y="144"/>
                  <a:pt x="583" y="144"/>
                </a:cubicBezTo>
                <a:cubicBezTo>
                  <a:pt x="583" y="144"/>
                  <a:pt x="582" y="144"/>
                  <a:pt x="582" y="144"/>
                </a:cubicBezTo>
                <a:cubicBezTo>
                  <a:pt x="582" y="144"/>
                  <a:pt x="582" y="145"/>
                  <a:pt x="582" y="145"/>
                </a:cubicBezTo>
                <a:cubicBezTo>
                  <a:pt x="581" y="145"/>
                  <a:pt x="581" y="145"/>
                  <a:pt x="581" y="145"/>
                </a:cubicBezTo>
                <a:cubicBezTo>
                  <a:pt x="581" y="145"/>
                  <a:pt x="580" y="146"/>
                  <a:pt x="580" y="146"/>
                </a:cubicBezTo>
                <a:cubicBezTo>
                  <a:pt x="580" y="146"/>
                  <a:pt x="579" y="146"/>
                  <a:pt x="579" y="146"/>
                </a:cubicBezTo>
                <a:cubicBezTo>
                  <a:pt x="579" y="146"/>
                  <a:pt x="578" y="147"/>
                  <a:pt x="578" y="147"/>
                </a:cubicBezTo>
                <a:cubicBezTo>
                  <a:pt x="578" y="147"/>
                  <a:pt x="578" y="147"/>
                  <a:pt x="578" y="147"/>
                </a:cubicBezTo>
                <a:cubicBezTo>
                  <a:pt x="578" y="146"/>
                  <a:pt x="578" y="146"/>
                  <a:pt x="578" y="146"/>
                </a:cubicBezTo>
                <a:cubicBezTo>
                  <a:pt x="578" y="146"/>
                  <a:pt x="578" y="146"/>
                  <a:pt x="579" y="146"/>
                </a:cubicBezTo>
                <a:cubicBezTo>
                  <a:pt x="579" y="145"/>
                  <a:pt x="579" y="145"/>
                  <a:pt x="580" y="145"/>
                </a:cubicBezTo>
                <a:cubicBezTo>
                  <a:pt x="580" y="145"/>
                  <a:pt x="580" y="145"/>
                  <a:pt x="581" y="144"/>
                </a:cubicBezTo>
                <a:cubicBezTo>
                  <a:pt x="581" y="144"/>
                  <a:pt x="581" y="144"/>
                  <a:pt x="581" y="144"/>
                </a:cubicBezTo>
                <a:cubicBezTo>
                  <a:pt x="581" y="144"/>
                  <a:pt x="581" y="144"/>
                  <a:pt x="581" y="144"/>
                </a:cubicBezTo>
                <a:cubicBezTo>
                  <a:pt x="581" y="144"/>
                  <a:pt x="580" y="144"/>
                  <a:pt x="580" y="144"/>
                </a:cubicBezTo>
                <a:cubicBezTo>
                  <a:pt x="580" y="144"/>
                  <a:pt x="579" y="144"/>
                  <a:pt x="579" y="145"/>
                </a:cubicBezTo>
                <a:cubicBezTo>
                  <a:pt x="578" y="145"/>
                  <a:pt x="578" y="145"/>
                  <a:pt x="577" y="146"/>
                </a:cubicBezTo>
                <a:cubicBezTo>
                  <a:pt x="577" y="146"/>
                  <a:pt x="577" y="146"/>
                  <a:pt x="577" y="146"/>
                </a:cubicBezTo>
                <a:cubicBezTo>
                  <a:pt x="576" y="146"/>
                  <a:pt x="576" y="146"/>
                  <a:pt x="576" y="146"/>
                </a:cubicBezTo>
                <a:cubicBezTo>
                  <a:pt x="576" y="146"/>
                  <a:pt x="576" y="147"/>
                  <a:pt x="576" y="147"/>
                </a:cubicBezTo>
                <a:cubicBezTo>
                  <a:pt x="576" y="147"/>
                  <a:pt x="576" y="148"/>
                  <a:pt x="576" y="148"/>
                </a:cubicBezTo>
                <a:cubicBezTo>
                  <a:pt x="575" y="149"/>
                  <a:pt x="574" y="149"/>
                  <a:pt x="574" y="150"/>
                </a:cubicBezTo>
                <a:cubicBezTo>
                  <a:pt x="573" y="150"/>
                  <a:pt x="573" y="150"/>
                  <a:pt x="572" y="151"/>
                </a:cubicBezTo>
                <a:cubicBezTo>
                  <a:pt x="572" y="151"/>
                  <a:pt x="572" y="150"/>
                  <a:pt x="572" y="150"/>
                </a:cubicBezTo>
                <a:cubicBezTo>
                  <a:pt x="572" y="150"/>
                  <a:pt x="573" y="150"/>
                  <a:pt x="573" y="150"/>
                </a:cubicBezTo>
                <a:cubicBezTo>
                  <a:pt x="573" y="149"/>
                  <a:pt x="574" y="149"/>
                  <a:pt x="574" y="149"/>
                </a:cubicBezTo>
                <a:cubicBezTo>
                  <a:pt x="574" y="148"/>
                  <a:pt x="574" y="148"/>
                  <a:pt x="575" y="148"/>
                </a:cubicBezTo>
                <a:cubicBezTo>
                  <a:pt x="575" y="147"/>
                  <a:pt x="575" y="147"/>
                  <a:pt x="575" y="147"/>
                </a:cubicBezTo>
                <a:cubicBezTo>
                  <a:pt x="575" y="147"/>
                  <a:pt x="575" y="147"/>
                  <a:pt x="575" y="147"/>
                </a:cubicBezTo>
                <a:cubicBezTo>
                  <a:pt x="575" y="147"/>
                  <a:pt x="575" y="147"/>
                  <a:pt x="574" y="147"/>
                </a:cubicBezTo>
                <a:cubicBezTo>
                  <a:pt x="574" y="147"/>
                  <a:pt x="574" y="147"/>
                  <a:pt x="574" y="147"/>
                </a:cubicBezTo>
                <a:cubicBezTo>
                  <a:pt x="574" y="147"/>
                  <a:pt x="574" y="147"/>
                  <a:pt x="574" y="147"/>
                </a:cubicBezTo>
                <a:cubicBezTo>
                  <a:pt x="573" y="147"/>
                  <a:pt x="573" y="148"/>
                  <a:pt x="573" y="148"/>
                </a:cubicBezTo>
                <a:cubicBezTo>
                  <a:pt x="573" y="149"/>
                  <a:pt x="572" y="149"/>
                  <a:pt x="572" y="149"/>
                </a:cubicBezTo>
                <a:cubicBezTo>
                  <a:pt x="572" y="149"/>
                  <a:pt x="571" y="149"/>
                  <a:pt x="571" y="149"/>
                </a:cubicBezTo>
                <a:cubicBezTo>
                  <a:pt x="571" y="149"/>
                  <a:pt x="571" y="149"/>
                  <a:pt x="571" y="149"/>
                </a:cubicBezTo>
                <a:cubicBezTo>
                  <a:pt x="571" y="149"/>
                  <a:pt x="571" y="149"/>
                  <a:pt x="571" y="149"/>
                </a:cubicBezTo>
                <a:cubicBezTo>
                  <a:pt x="572" y="148"/>
                  <a:pt x="572" y="148"/>
                  <a:pt x="572" y="148"/>
                </a:cubicBezTo>
                <a:cubicBezTo>
                  <a:pt x="572" y="148"/>
                  <a:pt x="572" y="147"/>
                  <a:pt x="572" y="147"/>
                </a:cubicBezTo>
                <a:cubicBezTo>
                  <a:pt x="573" y="147"/>
                  <a:pt x="573" y="147"/>
                  <a:pt x="573" y="147"/>
                </a:cubicBezTo>
                <a:cubicBezTo>
                  <a:pt x="573" y="147"/>
                  <a:pt x="573" y="147"/>
                  <a:pt x="574" y="146"/>
                </a:cubicBezTo>
                <a:cubicBezTo>
                  <a:pt x="574" y="146"/>
                  <a:pt x="574" y="147"/>
                  <a:pt x="574" y="147"/>
                </a:cubicBezTo>
                <a:cubicBezTo>
                  <a:pt x="575" y="146"/>
                  <a:pt x="575" y="146"/>
                  <a:pt x="575" y="146"/>
                </a:cubicBezTo>
                <a:cubicBezTo>
                  <a:pt x="575" y="146"/>
                  <a:pt x="575" y="146"/>
                  <a:pt x="576" y="146"/>
                </a:cubicBezTo>
                <a:cubicBezTo>
                  <a:pt x="576" y="146"/>
                  <a:pt x="576" y="146"/>
                  <a:pt x="576" y="145"/>
                </a:cubicBezTo>
                <a:cubicBezTo>
                  <a:pt x="577" y="145"/>
                  <a:pt x="577" y="145"/>
                  <a:pt x="577" y="145"/>
                </a:cubicBezTo>
                <a:cubicBezTo>
                  <a:pt x="578" y="145"/>
                  <a:pt x="578" y="144"/>
                  <a:pt x="578" y="144"/>
                </a:cubicBezTo>
                <a:cubicBezTo>
                  <a:pt x="578" y="144"/>
                  <a:pt x="579" y="143"/>
                  <a:pt x="579" y="143"/>
                </a:cubicBezTo>
                <a:cubicBezTo>
                  <a:pt x="579" y="143"/>
                  <a:pt x="578" y="143"/>
                  <a:pt x="578" y="143"/>
                </a:cubicBezTo>
                <a:cubicBezTo>
                  <a:pt x="578" y="142"/>
                  <a:pt x="578" y="142"/>
                  <a:pt x="578" y="142"/>
                </a:cubicBezTo>
                <a:cubicBezTo>
                  <a:pt x="578" y="142"/>
                  <a:pt x="578" y="142"/>
                  <a:pt x="578" y="142"/>
                </a:cubicBezTo>
                <a:cubicBezTo>
                  <a:pt x="577" y="142"/>
                  <a:pt x="577" y="143"/>
                  <a:pt x="576" y="143"/>
                </a:cubicBezTo>
                <a:cubicBezTo>
                  <a:pt x="576" y="143"/>
                  <a:pt x="576" y="143"/>
                  <a:pt x="576" y="143"/>
                </a:cubicBezTo>
                <a:cubicBezTo>
                  <a:pt x="576" y="144"/>
                  <a:pt x="576" y="144"/>
                  <a:pt x="576" y="144"/>
                </a:cubicBezTo>
                <a:cubicBezTo>
                  <a:pt x="576" y="144"/>
                  <a:pt x="576" y="145"/>
                  <a:pt x="576" y="145"/>
                </a:cubicBezTo>
                <a:cubicBezTo>
                  <a:pt x="576" y="145"/>
                  <a:pt x="576" y="145"/>
                  <a:pt x="575" y="145"/>
                </a:cubicBezTo>
                <a:cubicBezTo>
                  <a:pt x="576" y="145"/>
                  <a:pt x="576" y="145"/>
                  <a:pt x="576" y="145"/>
                </a:cubicBezTo>
                <a:cubicBezTo>
                  <a:pt x="576" y="145"/>
                  <a:pt x="575" y="145"/>
                  <a:pt x="575" y="145"/>
                </a:cubicBezTo>
                <a:cubicBezTo>
                  <a:pt x="575" y="144"/>
                  <a:pt x="575" y="144"/>
                  <a:pt x="575" y="144"/>
                </a:cubicBezTo>
                <a:cubicBezTo>
                  <a:pt x="574" y="144"/>
                  <a:pt x="574" y="144"/>
                  <a:pt x="574" y="145"/>
                </a:cubicBezTo>
                <a:cubicBezTo>
                  <a:pt x="573" y="145"/>
                  <a:pt x="573" y="145"/>
                  <a:pt x="573" y="145"/>
                </a:cubicBezTo>
                <a:cubicBezTo>
                  <a:pt x="572" y="145"/>
                  <a:pt x="572" y="145"/>
                  <a:pt x="572" y="145"/>
                </a:cubicBezTo>
                <a:cubicBezTo>
                  <a:pt x="571" y="145"/>
                  <a:pt x="571" y="146"/>
                  <a:pt x="571" y="146"/>
                </a:cubicBezTo>
                <a:cubicBezTo>
                  <a:pt x="570" y="146"/>
                  <a:pt x="570" y="146"/>
                  <a:pt x="570" y="146"/>
                </a:cubicBezTo>
                <a:cubicBezTo>
                  <a:pt x="569" y="146"/>
                  <a:pt x="569" y="146"/>
                  <a:pt x="568" y="146"/>
                </a:cubicBezTo>
                <a:cubicBezTo>
                  <a:pt x="569" y="146"/>
                  <a:pt x="569" y="146"/>
                  <a:pt x="569" y="146"/>
                </a:cubicBezTo>
                <a:cubicBezTo>
                  <a:pt x="570" y="146"/>
                  <a:pt x="570" y="146"/>
                  <a:pt x="570" y="145"/>
                </a:cubicBezTo>
                <a:cubicBezTo>
                  <a:pt x="570" y="145"/>
                  <a:pt x="571" y="145"/>
                  <a:pt x="571" y="145"/>
                </a:cubicBezTo>
                <a:cubicBezTo>
                  <a:pt x="571" y="145"/>
                  <a:pt x="571" y="144"/>
                  <a:pt x="571" y="144"/>
                </a:cubicBezTo>
                <a:cubicBezTo>
                  <a:pt x="570" y="144"/>
                  <a:pt x="570" y="144"/>
                  <a:pt x="570" y="144"/>
                </a:cubicBezTo>
                <a:cubicBezTo>
                  <a:pt x="570" y="145"/>
                  <a:pt x="569" y="145"/>
                  <a:pt x="569" y="145"/>
                </a:cubicBezTo>
                <a:cubicBezTo>
                  <a:pt x="569" y="145"/>
                  <a:pt x="569" y="144"/>
                  <a:pt x="569" y="144"/>
                </a:cubicBezTo>
                <a:cubicBezTo>
                  <a:pt x="569" y="144"/>
                  <a:pt x="570" y="144"/>
                  <a:pt x="570" y="144"/>
                </a:cubicBezTo>
                <a:cubicBezTo>
                  <a:pt x="570" y="144"/>
                  <a:pt x="570" y="144"/>
                  <a:pt x="571" y="144"/>
                </a:cubicBezTo>
                <a:cubicBezTo>
                  <a:pt x="571" y="143"/>
                  <a:pt x="571" y="143"/>
                  <a:pt x="571" y="143"/>
                </a:cubicBezTo>
                <a:cubicBezTo>
                  <a:pt x="571" y="143"/>
                  <a:pt x="572" y="143"/>
                  <a:pt x="572" y="143"/>
                </a:cubicBezTo>
                <a:cubicBezTo>
                  <a:pt x="572" y="142"/>
                  <a:pt x="572" y="142"/>
                  <a:pt x="572" y="142"/>
                </a:cubicBezTo>
                <a:cubicBezTo>
                  <a:pt x="572" y="142"/>
                  <a:pt x="573" y="142"/>
                  <a:pt x="573" y="142"/>
                </a:cubicBezTo>
                <a:cubicBezTo>
                  <a:pt x="573" y="142"/>
                  <a:pt x="573" y="142"/>
                  <a:pt x="574" y="142"/>
                </a:cubicBezTo>
                <a:cubicBezTo>
                  <a:pt x="574" y="142"/>
                  <a:pt x="574" y="143"/>
                  <a:pt x="575" y="143"/>
                </a:cubicBezTo>
                <a:cubicBezTo>
                  <a:pt x="575" y="143"/>
                  <a:pt x="575" y="143"/>
                  <a:pt x="575" y="142"/>
                </a:cubicBezTo>
                <a:cubicBezTo>
                  <a:pt x="576" y="142"/>
                  <a:pt x="576" y="142"/>
                  <a:pt x="576" y="141"/>
                </a:cubicBezTo>
                <a:cubicBezTo>
                  <a:pt x="577" y="141"/>
                  <a:pt x="577" y="141"/>
                  <a:pt x="577" y="141"/>
                </a:cubicBezTo>
                <a:cubicBezTo>
                  <a:pt x="577" y="141"/>
                  <a:pt x="577" y="141"/>
                  <a:pt x="577" y="141"/>
                </a:cubicBezTo>
                <a:cubicBezTo>
                  <a:pt x="576" y="140"/>
                  <a:pt x="576" y="140"/>
                  <a:pt x="576" y="140"/>
                </a:cubicBezTo>
                <a:cubicBezTo>
                  <a:pt x="575" y="140"/>
                  <a:pt x="575" y="140"/>
                  <a:pt x="575" y="139"/>
                </a:cubicBezTo>
                <a:cubicBezTo>
                  <a:pt x="575" y="139"/>
                  <a:pt x="575" y="139"/>
                  <a:pt x="575" y="139"/>
                </a:cubicBezTo>
                <a:cubicBezTo>
                  <a:pt x="574" y="139"/>
                  <a:pt x="574" y="138"/>
                  <a:pt x="574" y="138"/>
                </a:cubicBezTo>
                <a:cubicBezTo>
                  <a:pt x="573" y="138"/>
                  <a:pt x="573" y="138"/>
                  <a:pt x="573" y="138"/>
                </a:cubicBezTo>
                <a:cubicBezTo>
                  <a:pt x="572" y="138"/>
                  <a:pt x="572" y="137"/>
                  <a:pt x="572" y="137"/>
                </a:cubicBezTo>
                <a:cubicBezTo>
                  <a:pt x="572" y="137"/>
                  <a:pt x="571" y="137"/>
                  <a:pt x="571" y="137"/>
                </a:cubicBezTo>
                <a:cubicBezTo>
                  <a:pt x="571" y="138"/>
                  <a:pt x="571" y="138"/>
                  <a:pt x="571" y="138"/>
                </a:cubicBezTo>
                <a:cubicBezTo>
                  <a:pt x="571" y="138"/>
                  <a:pt x="571" y="138"/>
                  <a:pt x="571" y="138"/>
                </a:cubicBezTo>
                <a:cubicBezTo>
                  <a:pt x="571" y="139"/>
                  <a:pt x="571" y="139"/>
                  <a:pt x="570" y="139"/>
                </a:cubicBezTo>
                <a:cubicBezTo>
                  <a:pt x="570" y="139"/>
                  <a:pt x="570" y="139"/>
                  <a:pt x="570" y="139"/>
                </a:cubicBezTo>
                <a:cubicBezTo>
                  <a:pt x="570" y="139"/>
                  <a:pt x="570" y="140"/>
                  <a:pt x="570" y="140"/>
                </a:cubicBezTo>
                <a:cubicBezTo>
                  <a:pt x="570" y="140"/>
                  <a:pt x="570" y="140"/>
                  <a:pt x="569" y="140"/>
                </a:cubicBezTo>
                <a:cubicBezTo>
                  <a:pt x="569" y="140"/>
                  <a:pt x="569" y="141"/>
                  <a:pt x="569" y="141"/>
                </a:cubicBezTo>
                <a:cubicBezTo>
                  <a:pt x="569" y="141"/>
                  <a:pt x="569" y="141"/>
                  <a:pt x="569" y="142"/>
                </a:cubicBezTo>
                <a:cubicBezTo>
                  <a:pt x="569" y="142"/>
                  <a:pt x="568" y="142"/>
                  <a:pt x="568" y="142"/>
                </a:cubicBezTo>
                <a:cubicBezTo>
                  <a:pt x="568" y="142"/>
                  <a:pt x="568" y="143"/>
                  <a:pt x="567" y="143"/>
                </a:cubicBezTo>
                <a:cubicBezTo>
                  <a:pt x="567" y="143"/>
                  <a:pt x="567" y="143"/>
                  <a:pt x="567" y="144"/>
                </a:cubicBezTo>
                <a:cubicBezTo>
                  <a:pt x="567" y="144"/>
                  <a:pt x="567" y="144"/>
                  <a:pt x="567" y="144"/>
                </a:cubicBezTo>
                <a:cubicBezTo>
                  <a:pt x="567" y="144"/>
                  <a:pt x="567" y="144"/>
                  <a:pt x="566" y="144"/>
                </a:cubicBezTo>
                <a:cubicBezTo>
                  <a:pt x="566" y="144"/>
                  <a:pt x="566" y="143"/>
                  <a:pt x="567" y="143"/>
                </a:cubicBezTo>
                <a:cubicBezTo>
                  <a:pt x="567" y="143"/>
                  <a:pt x="567" y="142"/>
                  <a:pt x="567" y="142"/>
                </a:cubicBezTo>
                <a:cubicBezTo>
                  <a:pt x="568" y="142"/>
                  <a:pt x="568" y="142"/>
                  <a:pt x="568" y="142"/>
                </a:cubicBezTo>
                <a:cubicBezTo>
                  <a:pt x="568" y="142"/>
                  <a:pt x="568" y="141"/>
                  <a:pt x="568" y="141"/>
                </a:cubicBezTo>
                <a:cubicBezTo>
                  <a:pt x="568" y="141"/>
                  <a:pt x="568" y="141"/>
                  <a:pt x="568" y="141"/>
                </a:cubicBezTo>
                <a:cubicBezTo>
                  <a:pt x="568" y="141"/>
                  <a:pt x="567" y="141"/>
                  <a:pt x="567" y="141"/>
                </a:cubicBezTo>
                <a:cubicBezTo>
                  <a:pt x="567" y="141"/>
                  <a:pt x="567" y="141"/>
                  <a:pt x="566" y="141"/>
                </a:cubicBezTo>
                <a:cubicBezTo>
                  <a:pt x="566" y="142"/>
                  <a:pt x="566" y="142"/>
                  <a:pt x="565" y="143"/>
                </a:cubicBezTo>
                <a:cubicBezTo>
                  <a:pt x="565" y="143"/>
                  <a:pt x="565" y="143"/>
                  <a:pt x="565" y="143"/>
                </a:cubicBezTo>
                <a:cubicBezTo>
                  <a:pt x="564" y="143"/>
                  <a:pt x="564" y="144"/>
                  <a:pt x="564" y="144"/>
                </a:cubicBezTo>
                <a:cubicBezTo>
                  <a:pt x="564" y="144"/>
                  <a:pt x="564" y="144"/>
                  <a:pt x="564" y="144"/>
                </a:cubicBezTo>
                <a:cubicBezTo>
                  <a:pt x="564" y="143"/>
                  <a:pt x="564" y="143"/>
                  <a:pt x="564" y="143"/>
                </a:cubicBezTo>
                <a:cubicBezTo>
                  <a:pt x="564" y="143"/>
                  <a:pt x="565" y="142"/>
                  <a:pt x="565" y="142"/>
                </a:cubicBezTo>
                <a:cubicBezTo>
                  <a:pt x="565" y="142"/>
                  <a:pt x="565" y="142"/>
                  <a:pt x="565" y="141"/>
                </a:cubicBezTo>
                <a:cubicBezTo>
                  <a:pt x="565" y="141"/>
                  <a:pt x="566" y="141"/>
                  <a:pt x="566" y="140"/>
                </a:cubicBezTo>
                <a:cubicBezTo>
                  <a:pt x="566" y="140"/>
                  <a:pt x="567" y="140"/>
                  <a:pt x="567" y="140"/>
                </a:cubicBezTo>
                <a:cubicBezTo>
                  <a:pt x="567" y="140"/>
                  <a:pt x="567" y="140"/>
                  <a:pt x="566" y="139"/>
                </a:cubicBezTo>
                <a:cubicBezTo>
                  <a:pt x="566" y="139"/>
                  <a:pt x="566" y="139"/>
                  <a:pt x="566" y="139"/>
                </a:cubicBezTo>
                <a:cubicBezTo>
                  <a:pt x="566" y="139"/>
                  <a:pt x="566" y="139"/>
                  <a:pt x="565" y="140"/>
                </a:cubicBezTo>
                <a:cubicBezTo>
                  <a:pt x="565" y="140"/>
                  <a:pt x="564" y="140"/>
                  <a:pt x="564" y="141"/>
                </a:cubicBezTo>
                <a:cubicBezTo>
                  <a:pt x="564" y="141"/>
                  <a:pt x="564" y="141"/>
                  <a:pt x="564" y="141"/>
                </a:cubicBezTo>
                <a:cubicBezTo>
                  <a:pt x="564" y="142"/>
                  <a:pt x="563" y="142"/>
                  <a:pt x="563" y="142"/>
                </a:cubicBezTo>
                <a:cubicBezTo>
                  <a:pt x="563" y="142"/>
                  <a:pt x="563" y="142"/>
                  <a:pt x="563" y="142"/>
                </a:cubicBezTo>
                <a:cubicBezTo>
                  <a:pt x="563" y="142"/>
                  <a:pt x="563" y="142"/>
                  <a:pt x="563" y="141"/>
                </a:cubicBezTo>
                <a:cubicBezTo>
                  <a:pt x="563" y="141"/>
                  <a:pt x="563" y="141"/>
                  <a:pt x="563" y="141"/>
                </a:cubicBezTo>
                <a:cubicBezTo>
                  <a:pt x="563" y="141"/>
                  <a:pt x="563" y="141"/>
                  <a:pt x="563" y="141"/>
                </a:cubicBezTo>
                <a:cubicBezTo>
                  <a:pt x="563" y="141"/>
                  <a:pt x="563" y="140"/>
                  <a:pt x="563" y="140"/>
                </a:cubicBezTo>
                <a:cubicBezTo>
                  <a:pt x="563" y="140"/>
                  <a:pt x="563" y="140"/>
                  <a:pt x="564" y="140"/>
                </a:cubicBezTo>
                <a:cubicBezTo>
                  <a:pt x="564" y="140"/>
                  <a:pt x="565" y="139"/>
                  <a:pt x="565" y="139"/>
                </a:cubicBezTo>
                <a:cubicBezTo>
                  <a:pt x="566" y="138"/>
                  <a:pt x="566" y="138"/>
                  <a:pt x="567" y="138"/>
                </a:cubicBezTo>
                <a:cubicBezTo>
                  <a:pt x="567" y="137"/>
                  <a:pt x="567" y="137"/>
                  <a:pt x="567" y="137"/>
                </a:cubicBezTo>
                <a:cubicBezTo>
                  <a:pt x="567" y="137"/>
                  <a:pt x="566" y="137"/>
                  <a:pt x="566" y="137"/>
                </a:cubicBezTo>
                <a:cubicBezTo>
                  <a:pt x="566" y="137"/>
                  <a:pt x="565" y="138"/>
                  <a:pt x="565" y="138"/>
                </a:cubicBezTo>
                <a:cubicBezTo>
                  <a:pt x="565" y="138"/>
                  <a:pt x="565" y="138"/>
                  <a:pt x="565" y="139"/>
                </a:cubicBezTo>
                <a:cubicBezTo>
                  <a:pt x="564" y="139"/>
                  <a:pt x="564" y="139"/>
                  <a:pt x="564" y="139"/>
                </a:cubicBezTo>
                <a:cubicBezTo>
                  <a:pt x="564" y="139"/>
                  <a:pt x="564" y="139"/>
                  <a:pt x="564" y="139"/>
                </a:cubicBezTo>
                <a:cubicBezTo>
                  <a:pt x="564" y="139"/>
                  <a:pt x="564" y="139"/>
                  <a:pt x="563" y="138"/>
                </a:cubicBezTo>
                <a:cubicBezTo>
                  <a:pt x="563" y="139"/>
                  <a:pt x="562" y="139"/>
                  <a:pt x="562" y="140"/>
                </a:cubicBezTo>
                <a:cubicBezTo>
                  <a:pt x="562" y="140"/>
                  <a:pt x="561" y="140"/>
                  <a:pt x="561" y="140"/>
                </a:cubicBezTo>
                <a:cubicBezTo>
                  <a:pt x="561" y="141"/>
                  <a:pt x="561" y="141"/>
                  <a:pt x="561" y="142"/>
                </a:cubicBezTo>
                <a:cubicBezTo>
                  <a:pt x="560" y="142"/>
                  <a:pt x="560" y="142"/>
                  <a:pt x="559" y="142"/>
                </a:cubicBezTo>
                <a:cubicBezTo>
                  <a:pt x="559" y="143"/>
                  <a:pt x="559" y="143"/>
                  <a:pt x="559" y="143"/>
                </a:cubicBezTo>
                <a:cubicBezTo>
                  <a:pt x="559" y="142"/>
                  <a:pt x="559" y="142"/>
                  <a:pt x="559" y="142"/>
                </a:cubicBezTo>
                <a:cubicBezTo>
                  <a:pt x="560" y="142"/>
                  <a:pt x="560" y="141"/>
                  <a:pt x="560" y="141"/>
                </a:cubicBezTo>
                <a:cubicBezTo>
                  <a:pt x="561" y="141"/>
                  <a:pt x="561" y="141"/>
                  <a:pt x="561" y="140"/>
                </a:cubicBezTo>
                <a:cubicBezTo>
                  <a:pt x="561" y="140"/>
                  <a:pt x="561" y="140"/>
                  <a:pt x="560" y="140"/>
                </a:cubicBezTo>
                <a:cubicBezTo>
                  <a:pt x="560" y="140"/>
                  <a:pt x="560" y="140"/>
                  <a:pt x="560" y="140"/>
                </a:cubicBezTo>
                <a:cubicBezTo>
                  <a:pt x="560" y="140"/>
                  <a:pt x="560" y="140"/>
                  <a:pt x="561" y="140"/>
                </a:cubicBezTo>
                <a:cubicBezTo>
                  <a:pt x="561" y="140"/>
                  <a:pt x="561" y="139"/>
                  <a:pt x="562" y="139"/>
                </a:cubicBezTo>
                <a:cubicBezTo>
                  <a:pt x="562" y="139"/>
                  <a:pt x="562" y="139"/>
                  <a:pt x="562" y="139"/>
                </a:cubicBezTo>
                <a:cubicBezTo>
                  <a:pt x="562" y="139"/>
                  <a:pt x="562" y="139"/>
                  <a:pt x="562" y="139"/>
                </a:cubicBezTo>
                <a:cubicBezTo>
                  <a:pt x="562" y="139"/>
                  <a:pt x="562" y="139"/>
                  <a:pt x="561" y="139"/>
                </a:cubicBezTo>
                <a:cubicBezTo>
                  <a:pt x="561" y="139"/>
                  <a:pt x="561" y="139"/>
                  <a:pt x="560" y="139"/>
                </a:cubicBezTo>
                <a:cubicBezTo>
                  <a:pt x="560" y="140"/>
                  <a:pt x="560" y="140"/>
                  <a:pt x="560" y="140"/>
                </a:cubicBezTo>
                <a:cubicBezTo>
                  <a:pt x="559" y="140"/>
                  <a:pt x="559" y="140"/>
                  <a:pt x="559" y="140"/>
                </a:cubicBezTo>
                <a:cubicBezTo>
                  <a:pt x="559" y="140"/>
                  <a:pt x="560" y="139"/>
                  <a:pt x="561" y="139"/>
                </a:cubicBezTo>
                <a:cubicBezTo>
                  <a:pt x="561" y="139"/>
                  <a:pt x="560" y="139"/>
                  <a:pt x="560" y="139"/>
                </a:cubicBezTo>
                <a:cubicBezTo>
                  <a:pt x="560" y="139"/>
                  <a:pt x="560" y="139"/>
                  <a:pt x="559" y="139"/>
                </a:cubicBezTo>
                <a:cubicBezTo>
                  <a:pt x="559" y="139"/>
                  <a:pt x="559" y="138"/>
                  <a:pt x="560" y="138"/>
                </a:cubicBezTo>
                <a:cubicBezTo>
                  <a:pt x="560" y="138"/>
                  <a:pt x="560" y="138"/>
                  <a:pt x="561" y="138"/>
                </a:cubicBezTo>
                <a:cubicBezTo>
                  <a:pt x="561" y="138"/>
                  <a:pt x="561" y="138"/>
                  <a:pt x="561" y="138"/>
                </a:cubicBezTo>
                <a:cubicBezTo>
                  <a:pt x="562" y="138"/>
                  <a:pt x="562" y="138"/>
                  <a:pt x="562" y="138"/>
                </a:cubicBezTo>
                <a:cubicBezTo>
                  <a:pt x="563" y="138"/>
                  <a:pt x="563" y="137"/>
                  <a:pt x="563" y="137"/>
                </a:cubicBezTo>
                <a:cubicBezTo>
                  <a:pt x="563" y="137"/>
                  <a:pt x="564" y="137"/>
                  <a:pt x="564" y="136"/>
                </a:cubicBezTo>
                <a:cubicBezTo>
                  <a:pt x="564" y="136"/>
                  <a:pt x="564" y="136"/>
                  <a:pt x="564" y="136"/>
                </a:cubicBezTo>
                <a:cubicBezTo>
                  <a:pt x="564" y="136"/>
                  <a:pt x="564" y="136"/>
                  <a:pt x="564" y="135"/>
                </a:cubicBezTo>
                <a:cubicBezTo>
                  <a:pt x="564" y="135"/>
                  <a:pt x="564" y="135"/>
                  <a:pt x="564" y="135"/>
                </a:cubicBezTo>
                <a:cubicBezTo>
                  <a:pt x="564" y="135"/>
                  <a:pt x="564" y="135"/>
                  <a:pt x="563" y="135"/>
                </a:cubicBezTo>
                <a:cubicBezTo>
                  <a:pt x="563" y="135"/>
                  <a:pt x="563" y="135"/>
                  <a:pt x="563" y="135"/>
                </a:cubicBezTo>
                <a:cubicBezTo>
                  <a:pt x="562" y="135"/>
                  <a:pt x="562" y="135"/>
                  <a:pt x="562" y="135"/>
                </a:cubicBezTo>
                <a:cubicBezTo>
                  <a:pt x="561" y="135"/>
                  <a:pt x="561" y="135"/>
                  <a:pt x="560" y="136"/>
                </a:cubicBezTo>
                <a:cubicBezTo>
                  <a:pt x="560" y="136"/>
                  <a:pt x="560" y="136"/>
                  <a:pt x="559" y="136"/>
                </a:cubicBezTo>
                <a:cubicBezTo>
                  <a:pt x="559" y="137"/>
                  <a:pt x="559" y="137"/>
                  <a:pt x="558" y="137"/>
                </a:cubicBezTo>
                <a:cubicBezTo>
                  <a:pt x="558" y="138"/>
                  <a:pt x="557" y="138"/>
                  <a:pt x="556" y="139"/>
                </a:cubicBezTo>
                <a:cubicBezTo>
                  <a:pt x="556" y="139"/>
                  <a:pt x="556" y="139"/>
                  <a:pt x="556" y="139"/>
                </a:cubicBezTo>
                <a:cubicBezTo>
                  <a:pt x="556" y="139"/>
                  <a:pt x="556" y="139"/>
                  <a:pt x="556" y="139"/>
                </a:cubicBezTo>
                <a:cubicBezTo>
                  <a:pt x="556" y="138"/>
                  <a:pt x="556" y="138"/>
                  <a:pt x="557" y="138"/>
                </a:cubicBezTo>
                <a:cubicBezTo>
                  <a:pt x="557" y="138"/>
                  <a:pt x="557" y="138"/>
                  <a:pt x="557" y="138"/>
                </a:cubicBezTo>
                <a:cubicBezTo>
                  <a:pt x="558" y="137"/>
                  <a:pt x="558" y="137"/>
                  <a:pt x="558" y="136"/>
                </a:cubicBezTo>
                <a:cubicBezTo>
                  <a:pt x="559" y="136"/>
                  <a:pt x="559" y="136"/>
                  <a:pt x="560" y="136"/>
                </a:cubicBezTo>
                <a:cubicBezTo>
                  <a:pt x="560" y="135"/>
                  <a:pt x="560" y="135"/>
                  <a:pt x="560" y="135"/>
                </a:cubicBezTo>
                <a:cubicBezTo>
                  <a:pt x="560" y="135"/>
                  <a:pt x="560" y="135"/>
                  <a:pt x="560" y="135"/>
                </a:cubicBezTo>
                <a:cubicBezTo>
                  <a:pt x="559" y="135"/>
                  <a:pt x="559" y="135"/>
                  <a:pt x="558" y="135"/>
                </a:cubicBezTo>
                <a:cubicBezTo>
                  <a:pt x="557" y="135"/>
                  <a:pt x="557" y="136"/>
                  <a:pt x="556" y="136"/>
                </a:cubicBezTo>
                <a:cubicBezTo>
                  <a:pt x="557" y="136"/>
                  <a:pt x="557" y="135"/>
                  <a:pt x="558" y="135"/>
                </a:cubicBezTo>
                <a:cubicBezTo>
                  <a:pt x="558" y="135"/>
                  <a:pt x="559" y="134"/>
                  <a:pt x="559" y="134"/>
                </a:cubicBezTo>
                <a:cubicBezTo>
                  <a:pt x="560" y="134"/>
                  <a:pt x="560" y="134"/>
                  <a:pt x="560" y="134"/>
                </a:cubicBezTo>
                <a:cubicBezTo>
                  <a:pt x="561" y="134"/>
                  <a:pt x="561" y="134"/>
                  <a:pt x="561" y="134"/>
                </a:cubicBezTo>
                <a:cubicBezTo>
                  <a:pt x="562" y="134"/>
                  <a:pt x="562" y="134"/>
                  <a:pt x="562" y="133"/>
                </a:cubicBezTo>
                <a:cubicBezTo>
                  <a:pt x="562" y="133"/>
                  <a:pt x="562" y="133"/>
                  <a:pt x="562" y="133"/>
                </a:cubicBezTo>
                <a:cubicBezTo>
                  <a:pt x="562" y="133"/>
                  <a:pt x="562" y="133"/>
                  <a:pt x="562" y="132"/>
                </a:cubicBezTo>
                <a:cubicBezTo>
                  <a:pt x="562" y="132"/>
                  <a:pt x="562" y="132"/>
                  <a:pt x="562" y="132"/>
                </a:cubicBezTo>
                <a:cubicBezTo>
                  <a:pt x="562" y="132"/>
                  <a:pt x="562" y="132"/>
                  <a:pt x="561" y="132"/>
                </a:cubicBezTo>
                <a:cubicBezTo>
                  <a:pt x="561" y="131"/>
                  <a:pt x="561" y="131"/>
                  <a:pt x="560" y="131"/>
                </a:cubicBezTo>
                <a:cubicBezTo>
                  <a:pt x="560" y="131"/>
                  <a:pt x="560" y="131"/>
                  <a:pt x="560" y="131"/>
                </a:cubicBezTo>
                <a:cubicBezTo>
                  <a:pt x="559" y="131"/>
                  <a:pt x="559" y="131"/>
                  <a:pt x="559" y="131"/>
                </a:cubicBezTo>
                <a:cubicBezTo>
                  <a:pt x="559" y="131"/>
                  <a:pt x="559" y="131"/>
                  <a:pt x="558" y="131"/>
                </a:cubicBezTo>
                <a:cubicBezTo>
                  <a:pt x="558" y="131"/>
                  <a:pt x="558" y="131"/>
                  <a:pt x="558" y="131"/>
                </a:cubicBezTo>
                <a:cubicBezTo>
                  <a:pt x="558" y="131"/>
                  <a:pt x="558" y="131"/>
                  <a:pt x="558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6" y="131"/>
                  <a:pt x="556" y="131"/>
                  <a:pt x="556" y="131"/>
                </a:cubicBezTo>
                <a:cubicBezTo>
                  <a:pt x="556" y="130"/>
                  <a:pt x="556" y="130"/>
                  <a:pt x="556" y="130"/>
                </a:cubicBezTo>
                <a:cubicBezTo>
                  <a:pt x="555" y="130"/>
                  <a:pt x="554" y="130"/>
                  <a:pt x="554" y="130"/>
                </a:cubicBezTo>
                <a:cubicBezTo>
                  <a:pt x="554" y="130"/>
                  <a:pt x="554" y="130"/>
                  <a:pt x="553" y="130"/>
                </a:cubicBezTo>
                <a:cubicBezTo>
                  <a:pt x="553" y="130"/>
                  <a:pt x="553" y="130"/>
                  <a:pt x="553" y="130"/>
                </a:cubicBezTo>
                <a:cubicBezTo>
                  <a:pt x="552" y="130"/>
                  <a:pt x="552" y="130"/>
                  <a:pt x="551" y="130"/>
                </a:cubicBezTo>
                <a:cubicBezTo>
                  <a:pt x="551" y="130"/>
                  <a:pt x="550" y="130"/>
                  <a:pt x="550" y="131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8" y="132"/>
                  <a:pt x="548" y="132"/>
                  <a:pt x="547" y="132"/>
                </a:cubicBezTo>
                <a:cubicBezTo>
                  <a:pt x="547" y="132"/>
                  <a:pt x="547" y="133"/>
                  <a:pt x="546" y="133"/>
                </a:cubicBezTo>
                <a:cubicBezTo>
                  <a:pt x="547" y="133"/>
                  <a:pt x="547" y="133"/>
                  <a:pt x="547" y="133"/>
                </a:cubicBezTo>
                <a:cubicBezTo>
                  <a:pt x="547" y="133"/>
                  <a:pt x="547" y="133"/>
                  <a:pt x="548" y="133"/>
                </a:cubicBezTo>
                <a:cubicBezTo>
                  <a:pt x="548" y="134"/>
                  <a:pt x="549" y="134"/>
                  <a:pt x="550" y="134"/>
                </a:cubicBezTo>
                <a:cubicBezTo>
                  <a:pt x="550" y="134"/>
                  <a:pt x="550" y="134"/>
                  <a:pt x="550" y="134"/>
                </a:cubicBezTo>
                <a:cubicBezTo>
                  <a:pt x="551" y="134"/>
                  <a:pt x="551" y="134"/>
                  <a:pt x="551" y="134"/>
                </a:cubicBezTo>
                <a:cubicBezTo>
                  <a:pt x="552" y="134"/>
                  <a:pt x="552" y="135"/>
                  <a:pt x="552" y="135"/>
                </a:cubicBezTo>
                <a:cubicBezTo>
                  <a:pt x="552" y="135"/>
                  <a:pt x="552" y="135"/>
                  <a:pt x="551" y="135"/>
                </a:cubicBezTo>
                <a:cubicBezTo>
                  <a:pt x="551" y="135"/>
                  <a:pt x="551" y="135"/>
                  <a:pt x="551" y="135"/>
                </a:cubicBezTo>
                <a:cubicBezTo>
                  <a:pt x="550" y="135"/>
                  <a:pt x="550" y="135"/>
                  <a:pt x="549" y="135"/>
                </a:cubicBezTo>
                <a:cubicBezTo>
                  <a:pt x="549" y="135"/>
                  <a:pt x="549" y="135"/>
                  <a:pt x="549" y="135"/>
                </a:cubicBezTo>
                <a:cubicBezTo>
                  <a:pt x="548" y="134"/>
                  <a:pt x="548" y="134"/>
                  <a:pt x="547" y="134"/>
                </a:cubicBezTo>
                <a:cubicBezTo>
                  <a:pt x="547" y="134"/>
                  <a:pt x="546" y="134"/>
                  <a:pt x="546" y="134"/>
                </a:cubicBezTo>
                <a:cubicBezTo>
                  <a:pt x="546" y="134"/>
                  <a:pt x="546" y="134"/>
                  <a:pt x="545" y="135"/>
                </a:cubicBezTo>
                <a:cubicBezTo>
                  <a:pt x="546" y="134"/>
                  <a:pt x="546" y="134"/>
                  <a:pt x="546" y="134"/>
                </a:cubicBezTo>
                <a:cubicBezTo>
                  <a:pt x="546" y="134"/>
                  <a:pt x="546" y="133"/>
                  <a:pt x="546" y="133"/>
                </a:cubicBezTo>
                <a:cubicBezTo>
                  <a:pt x="545" y="133"/>
                  <a:pt x="545" y="133"/>
                  <a:pt x="545" y="133"/>
                </a:cubicBezTo>
                <a:cubicBezTo>
                  <a:pt x="544" y="133"/>
                  <a:pt x="544" y="133"/>
                  <a:pt x="544" y="133"/>
                </a:cubicBezTo>
                <a:cubicBezTo>
                  <a:pt x="544" y="134"/>
                  <a:pt x="544" y="134"/>
                  <a:pt x="544" y="135"/>
                </a:cubicBezTo>
                <a:cubicBezTo>
                  <a:pt x="545" y="135"/>
                  <a:pt x="545" y="135"/>
                  <a:pt x="545" y="135"/>
                </a:cubicBezTo>
                <a:cubicBezTo>
                  <a:pt x="545" y="135"/>
                  <a:pt x="545" y="136"/>
                  <a:pt x="546" y="136"/>
                </a:cubicBezTo>
                <a:cubicBezTo>
                  <a:pt x="545" y="136"/>
                  <a:pt x="545" y="136"/>
                  <a:pt x="545" y="137"/>
                </a:cubicBezTo>
                <a:cubicBezTo>
                  <a:pt x="545" y="136"/>
                  <a:pt x="545" y="136"/>
                  <a:pt x="545" y="136"/>
                </a:cubicBezTo>
                <a:cubicBezTo>
                  <a:pt x="545" y="136"/>
                  <a:pt x="545" y="135"/>
                  <a:pt x="544" y="135"/>
                </a:cubicBezTo>
                <a:cubicBezTo>
                  <a:pt x="544" y="135"/>
                  <a:pt x="544" y="136"/>
                  <a:pt x="543" y="136"/>
                </a:cubicBezTo>
                <a:cubicBezTo>
                  <a:pt x="543" y="136"/>
                  <a:pt x="543" y="137"/>
                  <a:pt x="543" y="137"/>
                </a:cubicBezTo>
                <a:cubicBezTo>
                  <a:pt x="543" y="137"/>
                  <a:pt x="544" y="137"/>
                  <a:pt x="544" y="137"/>
                </a:cubicBezTo>
                <a:cubicBezTo>
                  <a:pt x="544" y="137"/>
                  <a:pt x="543" y="138"/>
                  <a:pt x="543" y="138"/>
                </a:cubicBezTo>
                <a:cubicBezTo>
                  <a:pt x="543" y="138"/>
                  <a:pt x="542" y="138"/>
                  <a:pt x="542" y="138"/>
                </a:cubicBezTo>
                <a:cubicBezTo>
                  <a:pt x="542" y="138"/>
                  <a:pt x="541" y="138"/>
                  <a:pt x="541" y="138"/>
                </a:cubicBezTo>
                <a:cubicBezTo>
                  <a:pt x="541" y="137"/>
                  <a:pt x="541" y="137"/>
                  <a:pt x="541" y="137"/>
                </a:cubicBezTo>
                <a:cubicBezTo>
                  <a:pt x="542" y="137"/>
                  <a:pt x="542" y="137"/>
                  <a:pt x="542" y="136"/>
                </a:cubicBezTo>
                <a:cubicBezTo>
                  <a:pt x="543" y="136"/>
                  <a:pt x="543" y="135"/>
                  <a:pt x="543" y="135"/>
                </a:cubicBezTo>
                <a:cubicBezTo>
                  <a:pt x="544" y="135"/>
                  <a:pt x="544" y="134"/>
                  <a:pt x="544" y="134"/>
                </a:cubicBezTo>
                <a:cubicBezTo>
                  <a:pt x="543" y="134"/>
                  <a:pt x="543" y="134"/>
                  <a:pt x="543" y="134"/>
                </a:cubicBezTo>
                <a:cubicBezTo>
                  <a:pt x="543" y="134"/>
                  <a:pt x="543" y="133"/>
                  <a:pt x="542" y="133"/>
                </a:cubicBezTo>
                <a:cubicBezTo>
                  <a:pt x="542" y="133"/>
                  <a:pt x="542" y="134"/>
                  <a:pt x="541" y="134"/>
                </a:cubicBezTo>
                <a:cubicBezTo>
                  <a:pt x="541" y="134"/>
                  <a:pt x="541" y="134"/>
                  <a:pt x="541" y="135"/>
                </a:cubicBezTo>
                <a:cubicBezTo>
                  <a:pt x="541" y="135"/>
                  <a:pt x="540" y="134"/>
                  <a:pt x="540" y="134"/>
                </a:cubicBezTo>
                <a:cubicBezTo>
                  <a:pt x="540" y="134"/>
                  <a:pt x="540" y="134"/>
                  <a:pt x="540" y="134"/>
                </a:cubicBezTo>
                <a:cubicBezTo>
                  <a:pt x="540" y="134"/>
                  <a:pt x="540" y="134"/>
                  <a:pt x="539" y="134"/>
                </a:cubicBezTo>
                <a:cubicBezTo>
                  <a:pt x="539" y="134"/>
                  <a:pt x="539" y="134"/>
                  <a:pt x="539" y="134"/>
                </a:cubicBezTo>
                <a:cubicBezTo>
                  <a:pt x="539" y="134"/>
                  <a:pt x="539" y="134"/>
                  <a:pt x="539" y="134"/>
                </a:cubicBezTo>
                <a:cubicBezTo>
                  <a:pt x="539" y="135"/>
                  <a:pt x="539" y="135"/>
                  <a:pt x="539" y="135"/>
                </a:cubicBezTo>
                <a:cubicBezTo>
                  <a:pt x="539" y="135"/>
                  <a:pt x="539" y="136"/>
                  <a:pt x="539" y="136"/>
                </a:cubicBezTo>
                <a:cubicBezTo>
                  <a:pt x="539" y="136"/>
                  <a:pt x="539" y="136"/>
                  <a:pt x="539" y="136"/>
                </a:cubicBezTo>
                <a:cubicBezTo>
                  <a:pt x="538" y="136"/>
                  <a:pt x="538" y="135"/>
                  <a:pt x="538" y="135"/>
                </a:cubicBezTo>
                <a:cubicBezTo>
                  <a:pt x="538" y="135"/>
                  <a:pt x="538" y="135"/>
                  <a:pt x="538" y="135"/>
                </a:cubicBezTo>
                <a:cubicBezTo>
                  <a:pt x="538" y="135"/>
                  <a:pt x="538" y="135"/>
                  <a:pt x="538" y="135"/>
                </a:cubicBezTo>
                <a:cubicBezTo>
                  <a:pt x="537" y="136"/>
                  <a:pt x="537" y="136"/>
                  <a:pt x="537" y="136"/>
                </a:cubicBezTo>
                <a:cubicBezTo>
                  <a:pt x="537" y="136"/>
                  <a:pt x="537" y="136"/>
                  <a:pt x="537" y="136"/>
                </a:cubicBezTo>
                <a:cubicBezTo>
                  <a:pt x="536" y="137"/>
                  <a:pt x="536" y="137"/>
                  <a:pt x="536" y="137"/>
                </a:cubicBezTo>
                <a:cubicBezTo>
                  <a:pt x="536" y="137"/>
                  <a:pt x="536" y="138"/>
                  <a:pt x="535" y="138"/>
                </a:cubicBezTo>
                <a:cubicBezTo>
                  <a:pt x="535" y="138"/>
                  <a:pt x="535" y="138"/>
                  <a:pt x="535" y="138"/>
                </a:cubicBezTo>
                <a:cubicBezTo>
                  <a:pt x="535" y="138"/>
                  <a:pt x="534" y="138"/>
                  <a:pt x="534" y="138"/>
                </a:cubicBezTo>
                <a:cubicBezTo>
                  <a:pt x="534" y="138"/>
                  <a:pt x="535" y="138"/>
                  <a:pt x="535" y="138"/>
                </a:cubicBezTo>
                <a:cubicBezTo>
                  <a:pt x="535" y="138"/>
                  <a:pt x="535" y="137"/>
                  <a:pt x="535" y="137"/>
                </a:cubicBezTo>
                <a:cubicBezTo>
                  <a:pt x="535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6"/>
                </a:cubicBezTo>
                <a:cubicBezTo>
                  <a:pt x="535" y="136"/>
                  <a:pt x="535" y="137"/>
                  <a:pt x="535" y="137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5"/>
                  <a:pt x="536" y="135"/>
                  <a:pt x="536" y="135"/>
                </a:cubicBezTo>
                <a:cubicBezTo>
                  <a:pt x="536" y="135"/>
                  <a:pt x="537" y="134"/>
                  <a:pt x="537" y="134"/>
                </a:cubicBezTo>
                <a:cubicBezTo>
                  <a:pt x="537" y="134"/>
                  <a:pt x="537" y="133"/>
                  <a:pt x="538" y="133"/>
                </a:cubicBezTo>
                <a:cubicBezTo>
                  <a:pt x="538" y="133"/>
                  <a:pt x="538" y="133"/>
                  <a:pt x="538" y="132"/>
                </a:cubicBezTo>
                <a:cubicBezTo>
                  <a:pt x="538" y="132"/>
                  <a:pt x="538" y="133"/>
                  <a:pt x="538" y="133"/>
                </a:cubicBezTo>
                <a:cubicBezTo>
                  <a:pt x="537" y="133"/>
                  <a:pt x="537" y="133"/>
                  <a:pt x="537" y="133"/>
                </a:cubicBezTo>
                <a:cubicBezTo>
                  <a:pt x="537" y="133"/>
                  <a:pt x="536" y="133"/>
                  <a:pt x="536" y="134"/>
                </a:cubicBezTo>
                <a:cubicBezTo>
                  <a:pt x="535" y="134"/>
                  <a:pt x="535" y="134"/>
                  <a:pt x="535" y="135"/>
                </a:cubicBezTo>
                <a:cubicBezTo>
                  <a:pt x="534" y="135"/>
                  <a:pt x="534" y="135"/>
                  <a:pt x="534" y="135"/>
                </a:cubicBezTo>
                <a:cubicBezTo>
                  <a:pt x="534" y="135"/>
                  <a:pt x="534" y="134"/>
                  <a:pt x="535" y="134"/>
                </a:cubicBezTo>
                <a:cubicBezTo>
                  <a:pt x="535" y="134"/>
                  <a:pt x="535" y="134"/>
                  <a:pt x="535" y="133"/>
                </a:cubicBezTo>
                <a:cubicBezTo>
                  <a:pt x="535" y="133"/>
                  <a:pt x="536" y="133"/>
                  <a:pt x="536" y="133"/>
                </a:cubicBezTo>
                <a:cubicBezTo>
                  <a:pt x="536" y="133"/>
                  <a:pt x="536" y="133"/>
                  <a:pt x="537" y="132"/>
                </a:cubicBezTo>
                <a:cubicBezTo>
                  <a:pt x="537" y="132"/>
                  <a:pt x="537" y="132"/>
                  <a:pt x="537" y="132"/>
                </a:cubicBezTo>
                <a:cubicBezTo>
                  <a:pt x="538" y="132"/>
                  <a:pt x="538" y="132"/>
                  <a:pt x="538" y="131"/>
                </a:cubicBezTo>
                <a:cubicBezTo>
                  <a:pt x="539" y="131"/>
                  <a:pt x="539" y="131"/>
                  <a:pt x="539" y="131"/>
                </a:cubicBezTo>
                <a:cubicBezTo>
                  <a:pt x="539" y="130"/>
                  <a:pt x="539" y="130"/>
                  <a:pt x="539" y="130"/>
                </a:cubicBezTo>
                <a:cubicBezTo>
                  <a:pt x="539" y="130"/>
                  <a:pt x="538" y="130"/>
                  <a:pt x="538" y="130"/>
                </a:cubicBezTo>
                <a:cubicBezTo>
                  <a:pt x="538" y="130"/>
                  <a:pt x="538" y="129"/>
                  <a:pt x="538" y="129"/>
                </a:cubicBezTo>
                <a:cubicBezTo>
                  <a:pt x="538" y="129"/>
                  <a:pt x="538" y="129"/>
                  <a:pt x="538" y="129"/>
                </a:cubicBezTo>
                <a:cubicBezTo>
                  <a:pt x="538" y="128"/>
                  <a:pt x="539" y="128"/>
                  <a:pt x="539" y="127"/>
                </a:cubicBezTo>
                <a:cubicBezTo>
                  <a:pt x="539" y="127"/>
                  <a:pt x="539" y="127"/>
                  <a:pt x="540" y="127"/>
                </a:cubicBezTo>
                <a:cubicBezTo>
                  <a:pt x="539" y="127"/>
                  <a:pt x="539" y="126"/>
                  <a:pt x="539" y="126"/>
                </a:cubicBezTo>
                <a:cubicBezTo>
                  <a:pt x="539" y="126"/>
                  <a:pt x="538" y="126"/>
                  <a:pt x="538" y="126"/>
                </a:cubicBezTo>
                <a:cubicBezTo>
                  <a:pt x="538" y="126"/>
                  <a:pt x="538" y="126"/>
                  <a:pt x="537" y="126"/>
                </a:cubicBezTo>
                <a:cubicBezTo>
                  <a:pt x="538" y="126"/>
                  <a:pt x="538" y="125"/>
                  <a:pt x="538" y="125"/>
                </a:cubicBezTo>
                <a:cubicBezTo>
                  <a:pt x="538" y="125"/>
                  <a:pt x="539" y="124"/>
                  <a:pt x="539" y="124"/>
                </a:cubicBezTo>
                <a:cubicBezTo>
                  <a:pt x="539" y="124"/>
                  <a:pt x="539" y="124"/>
                  <a:pt x="539" y="124"/>
                </a:cubicBezTo>
                <a:cubicBezTo>
                  <a:pt x="539" y="123"/>
                  <a:pt x="539" y="123"/>
                  <a:pt x="539" y="122"/>
                </a:cubicBezTo>
                <a:cubicBezTo>
                  <a:pt x="539" y="122"/>
                  <a:pt x="539" y="122"/>
                  <a:pt x="539" y="122"/>
                </a:cubicBezTo>
                <a:cubicBezTo>
                  <a:pt x="539" y="122"/>
                  <a:pt x="539" y="121"/>
                  <a:pt x="539" y="121"/>
                </a:cubicBezTo>
                <a:cubicBezTo>
                  <a:pt x="538" y="121"/>
                  <a:pt x="538" y="121"/>
                  <a:pt x="537" y="121"/>
                </a:cubicBezTo>
                <a:cubicBezTo>
                  <a:pt x="536" y="121"/>
                  <a:pt x="536" y="122"/>
                  <a:pt x="535" y="122"/>
                </a:cubicBezTo>
                <a:cubicBezTo>
                  <a:pt x="534" y="122"/>
                  <a:pt x="534" y="122"/>
                  <a:pt x="533" y="122"/>
                </a:cubicBezTo>
                <a:cubicBezTo>
                  <a:pt x="533" y="122"/>
                  <a:pt x="532" y="122"/>
                  <a:pt x="532" y="123"/>
                </a:cubicBezTo>
                <a:cubicBezTo>
                  <a:pt x="532" y="123"/>
                  <a:pt x="531" y="123"/>
                  <a:pt x="531" y="123"/>
                </a:cubicBezTo>
                <a:cubicBezTo>
                  <a:pt x="530" y="123"/>
                  <a:pt x="530" y="123"/>
                  <a:pt x="529" y="124"/>
                </a:cubicBezTo>
                <a:cubicBezTo>
                  <a:pt x="528" y="124"/>
                  <a:pt x="527" y="124"/>
                  <a:pt x="526" y="125"/>
                </a:cubicBezTo>
                <a:cubicBezTo>
                  <a:pt x="526" y="125"/>
                  <a:pt x="526" y="125"/>
                  <a:pt x="526" y="125"/>
                </a:cubicBezTo>
                <a:cubicBezTo>
                  <a:pt x="526" y="125"/>
                  <a:pt x="527" y="126"/>
                  <a:pt x="527" y="126"/>
                </a:cubicBezTo>
                <a:cubicBezTo>
                  <a:pt x="527" y="126"/>
                  <a:pt x="527" y="126"/>
                  <a:pt x="527" y="126"/>
                </a:cubicBezTo>
                <a:cubicBezTo>
                  <a:pt x="527" y="127"/>
                  <a:pt x="527" y="127"/>
                  <a:pt x="527" y="127"/>
                </a:cubicBezTo>
                <a:cubicBezTo>
                  <a:pt x="527" y="127"/>
                  <a:pt x="527" y="126"/>
                  <a:pt x="526" y="126"/>
                </a:cubicBezTo>
                <a:cubicBezTo>
                  <a:pt x="526" y="126"/>
                  <a:pt x="526" y="126"/>
                  <a:pt x="526" y="126"/>
                </a:cubicBezTo>
                <a:cubicBezTo>
                  <a:pt x="525" y="126"/>
                  <a:pt x="525" y="125"/>
                  <a:pt x="525" y="125"/>
                </a:cubicBezTo>
                <a:cubicBezTo>
                  <a:pt x="524" y="125"/>
                  <a:pt x="524" y="125"/>
                  <a:pt x="524" y="126"/>
                </a:cubicBezTo>
                <a:cubicBezTo>
                  <a:pt x="523" y="126"/>
                  <a:pt x="523" y="126"/>
                  <a:pt x="523" y="126"/>
                </a:cubicBezTo>
                <a:cubicBezTo>
                  <a:pt x="523" y="126"/>
                  <a:pt x="523" y="127"/>
                  <a:pt x="523" y="127"/>
                </a:cubicBezTo>
                <a:cubicBezTo>
                  <a:pt x="523" y="127"/>
                  <a:pt x="523" y="127"/>
                  <a:pt x="523" y="127"/>
                </a:cubicBezTo>
                <a:cubicBezTo>
                  <a:pt x="523" y="127"/>
                  <a:pt x="523" y="127"/>
                  <a:pt x="522" y="127"/>
                </a:cubicBezTo>
                <a:cubicBezTo>
                  <a:pt x="522" y="126"/>
                  <a:pt x="522" y="126"/>
                  <a:pt x="522" y="126"/>
                </a:cubicBezTo>
                <a:cubicBezTo>
                  <a:pt x="522" y="126"/>
                  <a:pt x="522" y="126"/>
                  <a:pt x="522" y="126"/>
                </a:cubicBezTo>
                <a:cubicBezTo>
                  <a:pt x="521" y="126"/>
                  <a:pt x="521" y="126"/>
                  <a:pt x="520" y="127"/>
                </a:cubicBezTo>
                <a:cubicBezTo>
                  <a:pt x="520" y="127"/>
                  <a:pt x="520" y="127"/>
                  <a:pt x="520" y="127"/>
                </a:cubicBezTo>
                <a:cubicBezTo>
                  <a:pt x="520" y="127"/>
                  <a:pt x="520" y="128"/>
                  <a:pt x="520" y="128"/>
                </a:cubicBezTo>
                <a:cubicBezTo>
                  <a:pt x="521" y="128"/>
                  <a:pt x="521" y="128"/>
                  <a:pt x="522" y="128"/>
                </a:cubicBezTo>
                <a:cubicBezTo>
                  <a:pt x="522" y="128"/>
                  <a:pt x="522" y="129"/>
                  <a:pt x="523" y="129"/>
                </a:cubicBezTo>
                <a:cubicBezTo>
                  <a:pt x="523" y="129"/>
                  <a:pt x="524" y="129"/>
                  <a:pt x="524" y="129"/>
                </a:cubicBezTo>
                <a:cubicBezTo>
                  <a:pt x="524" y="129"/>
                  <a:pt x="524" y="129"/>
                  <a:pt x="524" y="129"/>
                </a:cubicBezTo>
                <a:cubicBezTo>
                  <a:pt x="523" y="129"/>
                  <a:pt x="523" y="129"/>
                  <a:pt x="522" y="129"/>
                </a:cubicBezTo>
                <a:cubicBezTo>
                  <a:pt x="521" y="129"/>
                  <a:pt x="521" y="128"/>
                  <a:pt x="520" y="128"/>
                </a:cubicBezTo>
                <a:cubicBezTo>
                  <a:pt x="520" y="128"/>
                  <a:pt x="520" y="128"/>
                  <a:pt x="519" y="128"/>
                </a:cubicBezTo>
                <a:cubicBezTo>
                  <a:pt x="519" y="128"/>
                  <a:pt x="519" y="129"/>
                  <a:pt x="519" y="129"/>
                </a:cubicBezTo>
                <a:cubicBezTo>
                  <a:pt x="519" y="129"/>
                  <a:pt x="518" y="129"/>
                  <a:pt x="517" y="129"/>
                </a:cubicBezTo>
                <a:cubicBezTo>
                  <a:pt x="517" y="129"/>
                  <a:pt x="517" y="129"/>
                  <a:pt x="517" y="129"/>
                </a:cubicBezTo>
                <a:cubicBezTo>
                  <a:pt x="517" y="129"/>
                  <a:pt x="517" y="130"/>
                  <a:pt x="517" y="130"/>
                </a:cubicBezTo>
                <a:cubicBezTo>
                  <a:pt x="518" y="130"/>
                  <a:pt x="518" y="129"/>
                  <a:pt x="519" y="129"/>
                </a:cubicBezTo>
                <a:cubicBezTo>
                  <a:pt x="519" y="129"/>
                  <a:pt x="519" y="130"/>
                  <a:pt x="519" y="130"/>
                </a:cubicBezTo>
                <a:cubicBezTo>
                  <a:pt x="519" y="130"/>
                  <a:pt x="519" y="130"/>
                  <a:pt x="520" y="130"/>
                </a:cubicBezTo>
                <a:cubicBezTo>
                  <a:pt x="520" y="130"/>
                  <a:pt x="521" y="131"/>
                  <a:pt x="521" y="131"/>
                </a:cubicBezTo>
                <a:cubicBezTo>
                  <a:pt x="521" y="131"/>
                  <a:pt x="522" y="131"/>
                  <a:pt x="522" y="131"/>
                </a:cubicBezTo>
                <a:cubicBezTo>
                  <a:pt x="522" y="131"/>
                  <a:pt x="522" y="131"/>
                  <a:pt x="523" y="131"/>
                </a:cubicBezTo>
                <a:cubicBezTo>
                  <a:pt x="522" y="131"/>
                  <a:pt x="522" y="132"/>
                  <a:pt x="522" y="132"/>
                </a:cubicBezTo>
                <a:cubicBezTo>
                  <a:pt x="521" y="131"/>
                  <a:pt x="521" y="131"/>
                  <a:pt x="521" y="131"/>
                </a:cubicBezTo>
                <a:cubicBezTo>
                  <a:pt x="520" y="131"/>
                  <a:pt x="520" y="131"/>
                  <a:pt x="519" y="131"/>
                </a:cubicBezTo>
                <a:cubicBezTo>
                  <a:pt x="519" y="131"/>
                  <a:pt x="519" y="131"/>
                  <a:pt x="519" y="130"/>
                </a:cubicBezTo>
                <a:cubicBezTo>
                  <a:pt x="518" y="130"/>
                  <a:pt x="518" y="130"/>
                  <a:pt x="518" y="130"/>
                </a:cubicBezTo>
                <a:cubicBezTo>
                  <a:pt x="517" y="130"/>
                  <a:pt x="517" y="130"/>
                  <a:pt x="516" y="130"/>
                </a:cubicBezTo>
                <a:cubicBezTo>
                  <a:pt x="516" y="130"/>
                  <a:pt x="516" y="131"/>
                  <a:pt x="515" y="131"/>
                </a:cubicBezTo>
                <a:cubicBezTo>
                  <a:pt x="515" y="131"/>
                  <a:pt x="515" y="131"/>
                  <a:pt x="515" y="132"/>
                </a:cubicBezTo>
                <a:cubicBezTo>
                  <a:pt x="515" y="132"/>
                  <a:pt x="515" y="132"/>
                  <a:pt x="515" y="133"/>
                </a:cubicBezTo>
                <a:cubicBezTo>
                  <a:pt x="515" y="133"/>
                  <a:pt x="515" y="133"/>
                  <a:pt x="515" y="134"/>
                </a:cubicBezTo>
                <a:cubicBezTo>
                  <a:pt x="515" y="134"/>
                  <a:pt x="515" y="134"/>
                  <a:pt x="516" y="134"/>
                </a:cubicBezTo>
                <a:cubicBezTo>
                  <a:pt x="515" y="134"/>
                  <a:pt x="515" y="135"/>
                  <a:pt x="514" y="135"/>
                </a:cubicBezTo>
                <a:cubicBezTo>
                  <a:pt x="514" y="135"/>
                  <a:pt x="514" y="135"/>
                  <a:pt x="514" y="135"/>
                </a:cubicBezTo>
                <a:cubicBezTo>
                  <a:pt x="515" y="135"/>
                  <a:pt x="515" y="135"/>
                  <a:pt x="515" y="135"/>
                </a:cubicBezTo>
                <a:cubicBezTo>
                  <a:pt x="515" y="136"/>
                  <a:pt x="515" y="136"/>
                  <a:pt x="516" y="136"/>
                </a:cubicBezTo>
                <a:cubicBezTo>
                  <a:pt x="516" y="136"/>
                  <a:pt x="516" y="136"/>
                  <a:pt x="516" y="136"/>
                </a:cubicBezTo>
                <a:cubicBezTo>
                  <a:pt x="517" y="135"/>
                  <a:pt x="518" y="135"/>
                  <a:pt x="518" y="135"/>
                </a:cubicBezTo>
                <a:cubicBezTo>
                  <a:pt x="518" y="135"/>
                  <a:pt x="519" y="135"/>
                  <a:pt x="519" y="135"/>
                </a:cubicBezTo>
                <a:cubicBezTo>
                  <a:pt x="519" y="135"/>
                  <a:pt x="519" y="135"/>
                  <a:pt x="519" y="135"/>
                </a:cubicBezTo>
                <a:cubicBezTo>
                  <a:pt x="519" y="135"/>
                  <a:pt x="519" y="135"/>
                  <a:pt x="518" y="135"/>
                </a:cubicBezTo>
                <a:cubicBezTo>
                  <a:pt x="518" y="135"/>
                  <a:pt x="518" y="136"/>
                  <a:pt x="518" y="136"/>
                </a:cubicBezTo>
                <a:cubicBezTo>
                  <a:pt x="518" y="136"/>
                  <a:pt x="518" y="136"/>
                  <a:pt x="518" y="136"/>
                </a:cubicBezTo>
                <a:cubicBezTo>
                  <a:pt x="518" y="136"/>
                  <a:pt x="518" y="136"/>
                  <a:pt x="517" y="136"/>
                </a:cubicBezTo>
                <a:cubicBezTo>
                  <a:pt x="517" y="136"/>
                  <a:pt x="517" y="137"/>
                  <a:pt x="517" y="137"/>
                </a:cubicBezTo>
                <a:cubicBezTo>
                  <a:pt x="517" y="137"/>
                  <a:pt x="517" y="137"/>
                  <a:pt x="517" y="138"/>
                </a:cubicBezTo>
                <a:cubicBezTo>
                  <a:pt x="517" y="138"/>
                  <a:pt x="516" y="138"/>
                  <a:pt x="516" y="138"/>
                </a:cubicBezTo>
                <a:cubicBezTo>
                  <a:pt x="516" y="138"/>
                  <a:pt x="516" y="138"/>
                  <a:pt x="516" y="138"/>
                </a:cubicBezTo>
                <a:cubicBezTo>
                  <a:pt x="516" y="138"/>
                  <a:pt x="516" y="138"/>
                  <a:pt x="516" y="138"/>
                </a:cubicBezTo>
                <a:cubicBezTo>
                  <a:pt x="516" y="137"/>
                  <a:pt x="515" y="137"/>
                  <a:pt x="515" y="137"/>
                </a:cubicBezTo>
                <a:cubicBezTo>
                  <a:pt x="515" y="137"/>
                  <a:pt x="514" y="137"/>
                  <a:pt x="514" y="137"/>
                </a:cubicBezTo>
                <a:cubicBezTo>
                  <a:pt x="514" y="137"/>
                  <a:pt x="514" y="137"/>
                  <a:pt x="514" y="138"/>
                </a:cubicBezTo>
                <a:cubicBezTo>
                  <a:pt x="514" y="138"/>
                  <a:pt x="514" y="138"/>
                  <a:pt x="514" y="138"/>
                </a:cubicBezTo>
                <a:cubicBezTo>
                  <a:pt x="514" y="138"/>
                  <a:pt x="514" y="138"/>
                  <a:pt x="513" y="139"/>
                </a:cubicBezTo>
                <a:cubicBezTo>
                  <a:pt x="513" y="139"/>
                  <a:pt x="513" y="139"/>
                  <a:pt x="512" y="139"/>
                </a:cubicBezTo>
                <a:cubicBezTo>
                  <a:pt x="512" y="139"/>
                  <a:pt x="512" y="139"/>
                  <a:pt x="512" y="140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1" y="139"/>
                  <a:pt x="511" y="139"/>
                  <a:pt x="511" y="139"/>
                </a:cubicBezTo>
                <a:cubicBezTo>
                  <a:pt x="511" y="140"/>
                  <a:pt x="511" y="140"/>
                  <a:pt x="511" y="140"/>
                </a:cubicBezTo>
                <a:cubicBezTo>
                  <a:pt x="511" y="140"/>
                  <a:pt x="512" y="141"/>
                  <a:pt x="512" y="141"/>
                </a:cubicBezTo>
                <a:cubicBezTo>
                  <a:pt x="512" y="141"/>
                  <a:pt x="512" y="141"/>
                  <a:pt x="512" y="142"/>
                </a:cubicBezTo>
                <a:cubicBezTo>
                  <a:pt x="512" y="142"/>
                  <a:pt x="512" y="142"/>
                  <a:pt x="512" y="142"/>
                </a:cubicBezTo>
                <a:cubicBezTo>
                  <a:pt x="513" y="142"/>
                  <a:pt x="513" y="142"/>
                  <a:pt x="513" y="143"/>
                </a:cubicBezTo>
                <a:cubicBezTo>
                  <a:pt x="513" y="143"/>
                  <a:pt x="513" y="143"/>
                  <a:pt x="514" y="143"/>
                </a:cubicBezTo>
                <a:cubicBezTo>
                  <a:pt x="514" y="143"/>
                  <a:pt x="514" y="143"/>
                  <a:pt x="514" y="143"/>
                </a:cubicBezTo>
                <a:cubicBezTo>
                  <a:pt x="514" y="143"/>
                  <a:pt x="514" y="143"/>
                  <a:pt x="514" y="143"/>
                </a:cubicBezTo>
                <a:cubicBezTo>
                  <a:pt x="514" y="143"/>
                  <a:pt x="514" y="144"/>
                  <a:pt x="515" y="144"/>
                </a:cubicBezTo>
                <a:cubicBezTo>
                  <a:pt x="515" y="144"/>
                  <a:pt x="515" y="144"/>
                  <a:pt x="515" y="144"/>
                </a:cubicBezTo>
                <a:cubicBezTo>
                  <a:pt x="514" y="145"/>
                  <a:pt x="514" y="145"/>
                  <a:pt x="514" y="145"/>
                </a:cubicBezTo>
                <a:cubicBezTo>
                  <a:pt x="514" y="145"/>
                  <a:pt x="514" y="145"/>
                  <a:pt x="514" y="146"/>
                </a:cubicBezTo>
                <a:cubicBezTo>
                  <a:pt x="513" y="146"/>
                  <a:pt x="513" y="146"/>
                  <a:pt x="513" y="147"/>
                </a:cubicBezTo>
                <a:cubicBezTo>
                  <a:pt x="513" y="147"/>
                  <a:pt x="513" y="147"/>
                  <a:pt x="513" y="147"/>
                </a:cubicBezTo>
                <a:cubicBezTo>
                  <a:pt x="513" y="148"/>
                  <a:pt x="512" y="148"/>
                  <a:pt x="512" y="149"/>
                </a:cubicBezTo>
                <a:cubicBezTo>
                  <a:pt x="512" y="149"/>
                  <a:pt x="512" y="149"/>
                  <a:pt x="512" y="149"/>
                </a:cubicBezTo>
                <a:cubicBezTo>
                  <a:pt x="512" y="150"/>
                  <a:pt x="511" y="150"/>
                  <a:pt x="511" y="151"/>
                </a:cubicBezTo>
                <a:cubicBezTo>
                  <a:pt x="511" y="150"/>
                  <a:pt x="511" y="150"/>
                  <a:pt x="511" y="150"/>
                </a:cubicBezTo>
                <a:cubicBezTo>
                  <a:pt x="511" y="150"/>
                  <a:pt x="511" y="150"/>
                  <a:pt x="511" y="149"/>
                </a:cubicBezTo>
                <a:cubicBezTo>
                  <a:pt x="511" y="149"/>
                  <a:pt x="511" y="149"/>
                  <a:pt x="511" y="148"/>
                </a:cubicBezTo>
                <a:cubicBezTo>
                  <a:pt x="511" y="148"/>
                  <a:pt x="512" y="148"/>
                  <a:pt x="512" y="148"/>
                </a:cubicBezTo>
                <a:cubicBezTo>
                  <a:pt x="512" y="148"/>
                  <a:pt x="512" y="147"/>
                  <a:pt x="512" y="147"/>
                </a:cubicBezTo>
                <a:cubicBezTo>
                  <a:pt x="511" y="147"/>
                  <a:pt x="511" y="148"/>
                  <a:pt x="511" y="148"/>
                </a:cubicBezTo>
                <a:cubicBezTo>
                  <a:pt x="511" y="148"/>
                  <a:pt x="511" y="148"/>
                  <a:pt x="511" y="148"/>
                </a:cubicBezTo>
                <a:cubicBezTo>
                  <a:pt x="510" y="148"/>
                  <a:pt x="510" y="148"/>
                  <a:pt x="510" y="147"/>
                </a:cubicBezTo>
                <a:cubicBezTo>
                  <a:pt x="510" y="147"/>
                  <a:pt x="509" y="147"/>
                  <a:pt x="509" y="147"/>
                </a:cubicBezTo>
                <a:cubicBezTo>
                  <a:pt x="509" y="147"/>
                  <a:pt x="510" y="147"/>
                  <a:pt x="510" y="147"/>
                </a:cubicBezTo>
                <a:cubicBezTo>
                  <a:pt x="510" y="147"/>
                  <a:pt x="510" y="147"/>
                  <a:pt x="510" y="147"/>
                </a:cubicBezTo>
                <a:cubicBezTo>
                  <a:pt x="511" y="147"/>
                  <a:pt x="511" y="147"/>
                  <a:pt x="511" y="147"/>
                </a:cubicBezTo>
                <a:cubicBezTo>
                  <a:pt x="511" y="146"/>
                  <a:pt x="511" y="146"/>
                  <a:pt x="511" y="146"/>
                </a:cubicBezTo>
                <a:cubicBezTo>
                  <a:pt x="511" y="146"/>
                  <a:pt x="512" y="146"/>
                  <a:pt x="512" y="146"/>
                </a:cubicBezTo>
                <a:cubicBezTo>
                  <a:pt x="512" y="146"/>
                  <a:pt x="512" y="146"/>
                  <a:pt x="512" y="147"/>
                </a:cubicBezTo>
                <a:cubicBezTo>
                  <a:pt x="512" y="146"/>
                  <a:pt x="512" y="146"/>
                  <a:pt x="513" y="146"/>
                </a:cubicBezTo>
                <a:cubicBezTo>
                  <a:pt x="513" y="146"/>
                  <a:pt x="512" y="145"/>
                  <a:pt x="512" y="145"/>
                </a:cubicBezTo>
                <a:cubicBezTo>
                  <a:pt x="512" y="145"/>
                  <a:pt x="512" y="145"/>
                  <a:pt x="511" y="145"/>
                </a:cubicBezTo>
                <a:cubicBezTo>
                  <a:pt x="511" y="145"/>
                  <a:pt x="511" y="145"/>
                  <a:pt x="511" y="145"/>
                </a:cubicBezTo>
                <a:cubicBezTo>
                  <a:pt x="511" y="144"/>
                  <a:pt x="510" y="144"/>
                  <a:pt x="510" y="144"/>
                </a:cubicBezTo>
                <a:cubicBezTo>
                  <a:pt x="510" y="144"/>
                  <a:pt x="510" y="143"/>
                  <a:pt x="510" y="143"/>
                </a:cubicBezTo>
                <a:cubicBezTo>
                  <a:pt x="509" y="143"/>
                  <a:pt x="509" y="143"/>
                  <a:pt x="509" y="143"/>
                </a:cubicBezTo>
                <a:cubicBezTo>
                  <a:pt x="509" y="142"/>
                  <a:pt x="509" y="142"/>
                  <a:pt x="508" y="142"/>
                </a:cubicBezTo>
                <a:cubicBezTo>
                  <a:pt x="508" y="142"/>
                  <a:pt x="508" y="141"/>
                  <a:pt x="508" y="141"/>
                </a:cubicBezTo>
                <a:cubicBezTo>
                  <a:pt x="508" y="141"/>
                  <a:pt x="508" y="141"/>
                  <a:pt x="508" y="141"/>
                </a:cubicBezTo>
                <a:cubicBezTo>
                  <a:pt x="508" y="141"/>
                  <a:pt x="508" y="140"/>
                  <a:pt x="508" y="140"/>
                </a:cubicBezTo>
                <a:cubicBezTo>
                  <a:pt x="508" y="140"/>
                  <a:pt x="509" y="140"/>
                  <a:pt x="509" y="139"/>
                </a:cubicBezTo>
                <a:cubicBezTo>
                  <a:pt x="509" y="139"/>
                  <a:pt x="509" y="139"/>
                  <a:pt x="509" y="138"/>
                </a:cubicBezTo>
                <a:cubicBezTo>
                  <a:pt x="509" y="138"/>
                  <a:pt x="509" y="138"/>
                  <a:pt x="510" y="138"/>
                </a:cubicBezTo>
                <a:cubicBezTo>
                  <a:pt x="510" y="137"/>
                  <a:pt x="510" y="137"/>
                  <a:pt x="510" y="137"/>
                </a:cubicBezTo>
                <a:cubicBezTo>
                  <a:pt x="511" y="136"/>
                  <a:pt x="511" y="136"/>
                  <a:pt x="511" y="136"/>
                </a:cubicBezTo>
                <a:cubicBezTo>
                  <a:pt x="511" y="136"/>
                  <a:pt x="511" y="136"/>
                  <a:pt x="511" y="135"/>
                </a:cubicBezTo>
                <a:cubicBezTo>
                  <a:pt x="511" y="135"/>
                  <a:pt x="511" y="135"/>
                  <a:pt x="510" y="135"/>
                </a:cubicBezTo>
                <a:cubicBezTo>
                  <a:pt x="510" y="135"/>
                  <a:pt x="510" y="135"/>
                  <a:pt x="510" y="135"/>
                </a:cubicBezTo>
                <a:cubicBezTo>
                  <a:pt x="510" y="134"/>
                  <a:pt x="510" y="134"/>
                  <a:pt x="510" y="134"/>
                </a:cubicBezTo>
                <a:cubicBezTo>
                  <a:pt x="510" y="133"/>
                  <a:pt x="510" y="133"/>
                  <a:pt x="510" y="132"/>
                </a:cubicBezTo>
                <a:cubicBezTo>
                  <a:pt x="511" y="132"/>
                  <a:pt x="511" y="132"/>
                  <a:pt x="511" y="132"/>
                </a:cubicBezTo>
                <a:cubicBezTo>
                  <a:pt x="512" y="131"/>
                  <a:pt x="512" y="131"/>
                  <a:pt x="513" y="131"/>
                </a:cubicBezTo>
                <a:cubicBezTo>
                  <a:pt x="513" y="130"/>
                  <a:pt x="514" y="129"/>
                  <a:pt x="514" y="129"/>
                </a:cubicBezTo>
                <a:cubicBezTo>
                  <a:pt x="515" y="128"/>
                  <a:pt x="516" y="127"/>
                  <a:pt x="516" y="127"/>
                </a:cubicBezTo>
                <a:cubicBezTo>
                  <a:pt x="517" y="127"/>
                  <a:pt x="517" y="127"/>
                  <a:pt x="517" y="126"/>
                </a:cubicBezTo>
                <a:cubicBezTo>
                  <a:pt x="518" y="126"/>
                  <a:pt x="518" y="126"/>
                  <a:pt x="518" y="125"/>
                </a:cubicBezTo>
                <a:cubicBezTo>
                  <a:pt x="518" y="125"/>
                  <a:pt x="518" y="125"/>
                  <a:pt x="519" y="125"/>
                </a:cubicBezTo>
                <a:cubicBezTo>
                  <a:pt x="519" y="125"/>
                  <a:pt x="519" y="125"/>
                  <a:pt x="520" y="124"/>
                </a:cubicBezTo>
                <a:cubicBezTo>
                  <a:pt x="520" y="124"/>
                  <a:pt x="521" y="124"/>
                  <a:pt x="522" y="124"/>
                </a:cubicBezTo>
                <a:cubicBezTo>
                  <a:pt x="522" y="123"/>
                  <a:pt x="523" y="123"/>
                  <a:pt x="523" y="123"/>
                </a:cubicBezTo>
                <a:cubicBezTo>
                  <a:pt x="523" y="123"/>
                  <a:pt x="523" y="122"/>
                  <a:pt x="523" y="122"/>
                </a:cubicBezTo>
                <a:cubicBezTo>
                  <a:pt x="523" y="122"/>
                  <a:pt x="523" y="122"/>
                  <a:pt x="523" y="122"/>
                </a:cubicBezTo>
                <a:cubicBezTo>
                  <a:pt x="522" y="122"/>
                  <a:pt x="521" y="122"/>
                  <a:pt x="520" y="122"/>
                </a:cubicBezTo>
                <a:cubicBezTo>
                  <a:pt x="520" y="122"/>
                  <a:pt x="519" y="121"/>
                  <a:pt x="519" y="121"/>
                </a:cubicBezTo>
                <a:cubicBezTo>
                  <a:pt x="518" y="122"/>
                  <a:pt x="518" y="122"/>
                  <a:pt x="517" y="122"/>
                </a:cubicBezTo>
                <a:cubicBezTo>
                  <a:pt x="517" y="122"/>
                  <a:pt x="517" y="122"/>
                  <a:pt x="516" y="122"/>
                </a:cubicBezTo>
                <a:cubicBezTo>
                  <a:pt x="516" y="122"/>
                  <a:pt x="516" y="122"/>
                  <a:pt x="515" y="122"/>
                </a:cubicBezTo>
                <a:cubicBezTo>
                  <a:pt x="515" y="122"/>
                  <a:pt x="514" y="122"/>
                  <a:pt x="514" y="122"/>
                </a:cubicBezTo>
                <a:cubicBezTo>
                  <a:pt x="514" y="122"/>
                  <a:pt x="513" y="123"/>
                  <a:pt x="513" y="123"/>
                </a:cubicBezTo>
                <a:cubicBezTo>
                  <a:pt x="512" y="123"/>
                  <a:pt x="512" y="123"/>
                  <a:pt x="511" y="123"/>
                </a:cubicBezTo>
                <a:cubicBezTo>
                  <a:pt x="510" y="124"/>
                  <a:pt x="509" y="124"/>
                  <a:pt x="508" y="125"/>
                </a:cubicBezTo>
                <a:cubicBezTo>
                  <a:pt x="507" y="125"/>
                  <a:pt x="507" y="126"/>
                  <a:pt x="506" y="126"/>
                </a:cubicBezTo>
                <a:cubicBezTo>
                  <a:pt x="505" y="126"/>
                  <a:pt x="505" y="127"/>
                  <a:pt x="504" y="127"/>
                </a:cubicBezTo>
                <a:cubicBezTo>
                  <a:pt x="504" y="127"/>
                  <a:pt x="504" y="128"/>
                  <a:pt x="504" y="128"/>
                </a:cubicBezTo>
                <a:cubicBezTo>
                  <a:pt x="504" y="128"/>
                  <a:pt x="504" y="128"/>
                  <a:pt x="505" y="128"/>
                </a:cubicBezTo>
                <a:cubicBezTo>
                  <a:pt x="504" y="128"/>
                  <a:pt x="504" y="128"/>
                  <a:pt x="504" y="128"/>
                </a:cubicBezTo>
                <a:cubicBezTo>
                  <a:pt x="504" y="128"/>
                  <a:pt x="503" y="128"/>
                  <a:pt x="503" y="129"/>
                </a:cubicBezTo>
                <a:cubicBezTo>
                  <a:pt x="503" y="129"/>
                  <a:pt x="503" y="129"/>
                  <a:pt x="502" y="129"/>
                </a:cubicBezTo>
                <a:cubicBezTo>
                  <a:pt x="502" y="129"/>
                  <a:pt x="502" y="130"/>
                  <a:pt x="501" y="130"/>
                </a:cubicBezTo>
                <a:cubicBezTo>
                  <a:pt x="501" y="130"/>
                  <a:pt x="501" y="130"/>
                  <a:pt x="500" y="131"/>
                </a:cubicBezTo>
                <a:cubicBezTo>
                  <a:pt x="500" y="131"/>
                  <a:pt x="501" y="131"/>
                  <a:pt x="501" y="131"/>
                </a:cubicBezTo>
                <a:cubicBezTo>
                  <a:pt x="500" y="131"/>
                  <a:pt x="500" y="131"/>
                  <a:pt x="500" y="131"/>
                </a:cubicBezTo>
                <a:cubicBezTo>
                  <a:pt x="499" y="132"/>
                  <a:pt x="499" y="133"/>
                  <a:pt x="499" y="133"/>
                </a:cubicBezTo>
                <a:cubicBezTo>
                  <a:pt x="499" y="133"/>
                  <a:pt x="499" y="133"/>
                  <a:pt x="499" y="133"/>
                </a:cubicBezTo>
                <a:cubicBezTo>
                  <a:pt x="499" y="134"/>
                  <a:pt x="499" y="134"/>
                  <a:pt x="499" y="134"/>
                </a:cubicBezTo>
                <a:cubicBezTo>
                  <a:pt x="498" y="134"/>
                  <a:pt x="498" y="134"/>
                  <a:pt x="498" y="134"/>
                </a:cubicBezTo>
                <a:cubicBezTo>
                  <a:pt x="498" y="134"/>
                  <a:pt x="498" y="134"/>
                  <a:pt x="498" y="134"/>
                </a:cubicBezTo>
                <a:cubicBezTo>
                  <a:pt x="497" y="134"/>
                  <a:pt x="497" y="135"/>
                  <a:pt x="497" y="135"/>
                </a:cubicBezTo>
                <a:cubicBezTo>
                  <a:pt x="497" y="135"/>
                  <a:pt x="497" y="135"/>
                  <a:pt x="497" y="135"/>
                </a:cubicBezTo>
                <a:cubicBezTo>
                  <a:pt x="497" y="135"/>
                  <a:pt x="496" y="135"/>
                  <a:pt x="496" y="135"/>
                </a:cubicBezTo>
                <a:cubicBezTo>
                  <a:pt x="496" y="135"/>
                  <a:pt x="496" y="136"/>
                  <a:pt x="495" y="136"/>
                </a:cubicBezTo>
                <a:cubicBezTo>
                  <a:pt x="495" y="136"/>
                  <a:pt x="495" y="136"/>
                  <a:pt x="495" y="136"/>
                </a:cubicBezTo>
                <a:cubicBezTo>
                  <a:pt x="495" y="137"/>
                  <a:pt x="495" y="137"/>
                  <a:pt x="494" y="138"/>
                </a:cubicBezTo>
                <a:cubicBezTo>
                  <a:pt x="494" y="138"/>
                  <a:pt x="494" y="139"/>
                  <a:pt x="493" y="139"/>
                </a:cubicBezTo>
                <a:cubicBezTo>
                  <a:pt x="493" y="139"/>
                  <a:pt x="494" y="139"/>
                  <a:pt x="494" y="140"/>
                </a:cubicBezTo>
                <a:cubicBezTo>
                  <a:pt x="494" y="139"/>
                  <a:pt x="494" y="139"/>
                  <a:pt x="494" y="139"/>
                </a:cubicBezTo>
                <a:cubicBezTo>
                  <a:pt x="494" y="139"/>
                  <a:pt x="494" y="139"/>
                  <a:pt x="495" y="139"/>
                </a:cubicBezTo>
                <a:cubicBezTo>
                  <a:pt x="494" y="139"/>
                  <a:pt x="494" y="140"/>
                  <a:pt x="494" y="140"/>
                </a:cubicBezTo>
                <a:cubicBezTo>
                  <a:pt x="494" y="140"/>
                  <a:pt x="494" y="140"/>
                  <a:pt x="493" y="140"/>
                </a:cubicBezTo>
                <a:cubicBezTo>
                  <a:pt x="493" y="140"/>
                  <a:pt x="493" y="141"/>
                  <a:pt x="492" y="141"/>
                </a:cubicBezTo>
                <a:cubicBezTo>
                  <a:pt x="492" y="141"/>
                  <a:pt x="492" y="141"/>
                  <a:pt x="492" y="142"/>
                </a:cubicBezTo>
                <a:cubicBezTo>
                  <a:pt x="492" y="142"/>
                  <a:pt x="491" y="142"/>
                  <a:pt x="491" y="142"/>
                </a:cubicBezTo>
                <a:cubicBezTo>
                  <a:pt x="491" y="142"/>
                  <a:pt x="491" y="142"/>
                  <a:pt x="491" y="143"/>
                </a:cubicBezTo>
                <a:cubicBezTo>
                  <a:pt x="491" y="143"/>
                  <a:pt x="491" y="143"/>
                  <a:pt x="491" y="144"/>
                </a:cubicBezTo>
                <a:cubicBezTo>
                  <a:pt x="491" y="144"/>
                  <a:pt x="491" y="144"/>
                  <a:pt x="491" y="145"/>
                </a:cubicBezTo>
                <a:cubicBezTo>
                  <a:pt x="490" y="145"/>
                  <a:pt x="490" y="145"/>
                  <a:pt x="490" y="145"/>
                </a:cubicBezTo>
                <a:cubicBezTo>
                  <a:pt x="490" y="145"/>
                  <a:pt x="490" y="145"/>
                  <a:pt x="490" y="146"/>
                </a:cubicBezTo>
                <a:cubicBezTo>
                  <a:pt x="490" y="146"/>
                  <a:pt x="490" y="146"/>
                  <a:pt x="490" y="146"/>
                </a:cubicBezTo>
                <a:cubicBezTo>
                  <a:pt x="490" y="146"/>
                  <a:pt x="489" y="147"/>
                  <a:pt x="489" y="147"/>
                </a:cubicBezTo>
                <a:cubicBezTo>
                  <a:pt x="489" y="147"/>
                  <a:pt x="489" y="148"/>
                  <a:pt x="489" y="148"/>
                </a:cubicBezTo>
                <a:cubicBezTo>
                  <a:pt x="489" y="148"/>
                  <a:pt x="489" y="148"/>
                  <a:pt x="490" y="149"/>
                </a:cubicBezTo>
                <a:cubicBezTo>
                  <a:pt x="490" y="149"/>
                  <a:pt x="491" y="149"/>
                  <a:pt x="492" y="149"/>
                </a:cubicBezTo>
                <a:cubicBezTo>
                  <a:pt x="492" y="149"/>
                  <a:pt x="493" y="149"/>
                  <a:pt x="493" y="149"/>
                </a:cubicBezTo>
                <a:cubicBezTo>
                  <a:pt x="493" y="149"/>
                  <a:pt x="494" y="149"/>
                  <a:pt x="494" y="149"/>
                </a:cubicBezTo>
                <a:cubicBezTo>
                  <a:pt x="495" y="149"/>
                  <a:pt x="495" y="149"/>
                  <a:pt x="495" y="149"/>
                </a:cubicBezTo>
                <a:cubicBezTo>
                  <a:pt x="496" y="149"/>
                  <a:pt x="496" y="149"/>
                  <a:pt x="497" y="149"/>
                </a:cubicBezTo>
                <a:cubicBezTo>
                  <a:pt x="497" y="149"/>
                  <a:pt x="498" y="149"/>
                  <a:pt x="498" y="148"/>
                </a:cubicBezTo>
                <a:cubicBezTo>
                  <a:pt x="498" y="149"/>
                  <a:pt x="499" y="149"/>
                  <a:pt x="499" y="149"/>
                </a:cubicBezTo>
                <a:cubicBezTo>
                  <a:pt x="499" y="149"/>
                  <a:pt x="500" y="150"/>
                  <a:pt x="500" y="150"/>
                </a:cubicBezTo>
                <a:cubicBezTo>
                  <a:pt x="500" y="150"/>
                  <a:pt x="500" y="150"/>
                  <a:pt x="501" y="150"/>
                </a:cubicBezTo>
                <a:cubicBezTo>
                  <a:pt x="501" y="150"/>
                  <a:pt x="501" y="150"/>
                  <a:pt x="501" y="150"/>
                </a:cubicBezTo>
                <a:cubicBezTo>
                  <a:pt x="501" y="150"/>
                  <a:pt x="500" y="151"/>
                  <a:pt x="500" y="151"/>
                </a:cubicBezTo>
                <a:cubicBezTo>
                  <a:pt x="500" y="151"/>
                  <a:pt x="499" y="151"/>
                  <a:pt x="499" y="151"/>
                </a:cubicBezTo>
                <a:cubicBezTo>
                  <a:pt x="499" y="151"/>
                  <a:pt x="498" y="151"/>
                  <a:pt x="497" y="151"/>
                </a:cubicBezTo>
                <a:cubicBezTo>
                  <a:pt x="497" y="151"/>
                  <a:pt x="496" y="151"/>
                  <a:pt x="495" y="151"/>
                </a:cubicBezTo>
                <a:cubicBezTo>
                  <a:pt x="495" y="151"/>
                  <a:pt x="495" y="151"/>
                  <a:pt x="495" y="151"/>
                </a:cubicBezTo>
                <a:cubicBezTo>
                  <a:pt x="494" y="151"/>
                  <a:pt x="494" y="151"/>
                  <a:pt x="494" y="151"/>
                </a:cubicBezTo>
                <a:cubicBezTo>
                  <a:pt x="493" y="151"/>
                  <a:pt x="492" y="151"/>
                  <a:pt x="492" y="151"/>
                </a:cubicBezTo>
                <a:cubicBezTo>
                  <a:pt x="492" y="151"/>
                  <a:pt x="491" y="151"/>
                  <a:pt x="491" y="151"/>
                </a:cubicBezTo>
                <a:cubicBezTo>
                  <a:pt x="491" y="151"/>
                  <a:pt x="490" y="151"/>
                  <a:pt x="490" y="151"/>
                </a:cubicBezTo>
                <a:cubicBezTo>
                  <a:pt x="490" y="151"/>
                  <a:pt x="490" y="151"/>
                  <a:pt x="490" y="151"/>
                </a:cubicBezTo>
                <a:cubicBezTo>
                  <a:pt x="490" y="151"/>
                  <a:pt x="490" y="151"/>
                  <a:pt x="491" y="152"/>
                </a:cubicBezTo>
                <a:cubicBezTo>
                  <a:pt x="491" y="152"/>
                  <a:pt x="491" y="152"/>
                  <a:pt x="491" y="152"/>
                </a:cubicBezTo>
                <a:cubicBezTo>
                  <a:pt x="490" y="152"/>
                  <a:pt x="490" y="152"/>
                  <a:pt x="490" y="152"/>
                </a:cubicBezTo>
                <a:cubicBezTo>
                  <a:pt x="490" y="152"/>
                  <a:pt x="490" y="153"/>
                  <a:pt x="490" y="153"/>
                </a:cubicBezTo>
                <a:cubicBezTo>
                  <a:pt x="490" y="153"/>
                  <a:pt x="490" y="154"/>
                  <a:pt x="491" y="154"/>
                </a:cubicBezTo>
                <a:cubicBezTo>
                  <a:pt x="491" y="154"/>
                  <a:pt x="491" y="154"/>
                  <a:pt x="491" y="155"/>
                </a:cubicBezTo>
                <a:cubicBezTo>
                  <a:pt x="491" y="155"/>
                  <a:pt x="491" y="155"/>
                  <a:pt x="491" y="156"/>
                </a:cubicBezTo>
                <a:cubicBezTo>
                  <a:pt x="491" y="156"/>
                  <a:pt x="491" y="156"/>
                  <a:pt x="491" y="156"/>
                </a:cubicBezTo>
                <a:cubicBezTo>
                  <a:pt x="492" y="156"/>
                  <a:pt x="492" y="156"/>
                  <a:pt x="493" y="156"/>
                </a:cubicBezTo>
                <a:cubicBezTo>
                  <a:pt x="493" y="156"/>
                  <a:pt x="494" y="157"/>
                  <a:pt x="494" y="157"/>
                </a:cubicBezTo>
                <a:cubicBezTo>
                  <a:pt x="494" y="157"/>
                  <a:pt x="494" y="157"/>
                  <a:pt x="494" y="157"/>
                </a:cubicBezTo>
                <a:cubicBezTo>
                  <a:pt x="494" y="157"/>
                  <a:pt x="494" y="157"/>
                  <a:pt x="493" y="157"/>
                </a:cubicBezTo>
                <a:cubicBezTo>
                  <a:pt x="493" y="157"/>
                  <a:pt x="493" y="157"/>
                  <a:pt x="493" y="157"/>
                </a:cubicBezTo>
                <a:cubicBezTo>
                  <a:pt x="493" y="157"/>
                  <a:pt x="493" y="157"/>
                  <a:pt x="494" y="157"/>
                </a:cubicBezTo>
                <a:cubicBezTo>
                  <a:pt x="494" y="157"/>
                  <a:pt x="494" y="158"/>
                  <a:pt x="494" y="158"/>
                </a:cubicBezTo>
                <a:cubicBezTo>
                  <a:pt x="495" y="158"/>
                  <a:pt x="495" y="158"/>
                  <a:pt x="495" y="158"/>
                </a:cubicBezTo>
                <a:cubicBezTo>
                  <a:pt x="495" y="157"/>
                  <a:pt x="495" y="157"/>
                  <a:pt x="495" y="157"/>
                </a:cubicBezTo>
                <a:cubicBezTo>
                  <a:pt x="495" y="157"/>
                  <a:pt x="495" y="157"/>
                  <a:pt x="496" y="157"/>
                </a:cubicBezTo>
                <a:cubicBezTo>
                  <a:pt x="496" y="157"/>
                  <a:pt x="496" y="157"/>
                  <a:pt x="497" y="157"/>
                </a:cubicBezTo>
                <a:cubicBezTo>
                  <a:pt x="497" y="157"/>
                  <a:pt x="497" y="157"/>
                  <a:pt x="498" y="157"/>
                </a:cubicBezTo>
                <a:cubicBezTo>
                  <a:pt x="498" y="157"/>
                  <a:pt x="498" y="157"/>
                  <a:pt x="498" y="157"/>
                </a:cubicBezTo>
                <a:cubicBezTo>
                  <a:pt x="498" y="157"/>
                  <a:pt x="499" y="157"/>
                  <a:pt x="499" y="157"/>
                </a:cubicBezTo>
                <a:cubicBezTo>
                  <a:pt x="499" y="156"/>
                  <a:pt x="498" y="156"/>
                  <a:pt x="498" y="156"/>
                </a:cubicBezTo>
                <a:cubicBezTo>
                  <a:pt x="498" y="156"/>
                  <a:pt x="498" y="156"/>
                  <a:pt x="498" y="156"/>
                </a:cubicBezTo>
                <a:cubicBezTo>
                  <a:pt x="499" y="156"/>
                  <a:pt x="499" y="156"/>
                  <a:pt x="499" y="155"/>
                </a:cubicBezTo>
                <a:cubicBezTo>
                  <a:pt x="499" y="156"/>
                  <a:pt x="499" y="156"/>
                  <a:pt x="500" y="156"/>
                </a:cubicBezTo>
                <a:cubicBezTo>
                  <a:pt x="499" y="156"/>
                  <a:pt x="499" y="156"/>
                  <a:pt x="499" y="156"/>
                </a:cubicBezTo>
                <a:cubicBezTo>
                  <a:pt x="500" y="156"/>
                  <a:pt x="500" y="157"/>
                  <a:pt x="500" y="157"/>
                </a:cubicBezTo>
                <a:cubicBezTo>
                  <a:pt x="500" y="157"/>
                  <a:pt x="500" y="157"/>
                  <a:pt x="500" y="157"/>
                </a:cubicBezTo>
                <a:cubicBezTo>
                  <a:pt x="500" y="156"/>
                  <a:pt x="501" y="156"/>
                  <a:pt x="501" y="156"/>
                </a:cubicBezTo>
                <a:cubicBezTo>
                  <a:pt x="501" y="156"/>
                  <a:pt x="502" y="155"/>
                  <a:pt x="502" y="155"/>
                </a:cubicBezTo>
                <a:cubicBezTo>
                  <a:pt x="502" y="155"/>
                  <a:pt x="502" y="155"/>
                  <a:pt x="503" y="155"/>
                </a:cubicBezTo>
                <a:cubicBezTo>
                  <a:pt x="503" y="155"/>
                  <a:pt x="503" y="155"/>
                  <a:pt x="503" y="155"/>
                </a:cubicBezTo>
                <a:cubicBezTo>
                  <a:pt x="503" y="155"/>
                  <a:pt x="503" y="155"/>
                  <a:pt x="503" y="155"/>
                </a:cubicBezTo>
                <a:cubicBezTo>
                  <a:pt x="502" y="156"/>
                  <a:pt x="502" y="156"/>
                  <a:pt x="501" y="156"/>
                </a:cubicBezTo>
                <a:cubicBezTo>
                  <a:pt x="501" y="157"/>
                  <a:pt x="501" y="157"/>
                  <a:pt x="501" y="157"/>
                </a:cubicBezTo>
                <a:cubicBezTo>
                  <a:pt x="501" y="157"/>
                  <a:pt x="502" y="157"/>
                  <a:pt x="502" y="157"/>
                </a:cubicBezTo>
                <a:cubicBezTo>
                  <a:pt x="502" y="157"/>
                  <a:pt x="502" y="158"/>
                  <a:pt x="503" y="158"/>
                </a:cubicBezTo>
                <a:cubicBezTo>
                  <a:pt x="503" y="158"/>
                  <a:pt x="504" y="158"/>
                  <a:pt x="504" y="159"/>
                </a:cubicBezTo>
                <a:cubicBezTo>
                  <a:pt x="505" y="158"/>
                  <a:pt x="505" y="158"/>
                  <a:pt x="506" y="158"/>
                </a:cubicBezTo>
                <a:cubicBezTo>
                  <a:pt x="506" y="158"/>
                  <a:pt x="506" y="158"/>
                  <a:pt x="506" y="158"/>
                </a:cubicBezTo>
                <a:cubicBezTo>
                  <a:pt x="506" y="158"/>
                  <a:pt x="505" y="158"/>
                  <a:pt x="505" y="158"/>
                </a:cubicBezTo>
                <a:cubicBezTo>
                  <a:pt x="505" y="158"/>
                  <a:pt x="505" y="158"/>
                  <a:pt x="506" y="157"/>
                </a:cubicBezTo>
                <a:cubicBezTo>
                  <a:pt x="506" y="157"/>
                  <a:pt x="506" y="157"/>
                  <a:pt x="507" y="157"/>
                </a:cubicBezTo>
                <a:cubicBezTo>
                  <a:pt x="507" y="157"/>
                  <a:pt x="507" y="158"/>
                  <a:pt x="508" y="158"/>
                </a:cubicBezTo>
                <a:cubicBezTo>
                  <a:pt x="508" y="158"/>
                  <a:pt x="508" y="157"/>
                  <a:pt x="508" y="157"/>
                </a:cubicBezTo>
                <a:cubicBezTo>
                  <a:pt x="508" y="157"/>
                  <a:pt x="509" y="157"/>
                  <a:pt x="509" y="157"/>
                </a:cubicBezTo>
                <a:cubicBezTo>
                  <a:pt x="509" y="156"/>
                  <a:pt x="509" y="156"/>
                  <a:pt x="510" y="156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1" y="156"/>
                  <a:pt x="511" y="156"/>
                  <a:pt x="511" y="156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09" y="157"/>
                  <a:pt x="509" y="157"/>
                  <a:pt x="509" y="157"/>
                </a:cubicBezTo>
                <a:cubicBezTo>
                  <a:pt x="509" y="158"/>
                  <a:pt x="509" y="158"/>
                  <a:pt x="509" y="158"/>
                </a:cubicBezTo>
                <a:cubicBezTo>
                  <a:pt x="509" y="158"/>
                  <a:pt x="510" y="158"/>
                  <a:pt x="510" y="158"/>
                </a:cubicBezTo>
                <a:cubicBezTo>
                  <a:pt x="510" y="158"/>
                  <a:pt x="511" y="158"/>
                  <a:pt x="511" y="159"/>
                </a:cubicBezTo>
                <a:cubicBezTo>
                  <a:pt x="511" y="158"/>
                  <a:pt x="512" y="158"/>
                  <a:pt x="512" y="158"/>
                </a:cubicBezTo>
                <a:cubicBezTo>
                  <a:pt x="512" y="158"/>
                  <a:pt x="513" y="158"/>
                  <a:pt x="513" y="158"/>
                </a:cubicBezTo>
                <a:cubicBezTo>
                  <a:pt x="514" y="158"/>
                  <a:pt x="514" y="158"/>
                  <a:pt x="514" y="158"/>
                </a:cubicBezTo>
                <a:cubicBezTo>
                  <a:pt x="514" y="158"/>
                  <a:pt x="515" y="158"/>
                  <a:pt x="515" y="158"/>
                </a:cubicBezTo>
                <a:cubicBezTo>
                  <a:pt x="516" y="158"/>
                  <a:pt x="516" y="157"/>
                  <a:pt x="517" y="157"/>
                </a:cubicBezTo>
                <a:cubicBezTo>
                  <a:pt x="517" y="157"/>
                  <a:pt x="517" y="158"/>
                  <a:pt x="517" y="158"/>
                </a:cubicBezTo>
                <a:cubicBezTo>
                  <a:pt x="518" y="158"/>
                  <a:pt x="518" y="158"/>
                  <a:pt x="519" y="158"/>
                </a:cubicBezTo>
                <a:cubicBezTo>
                  <a:pt x="519" y="158"/>
                  <a:pt x="519" y="158"/>
                  <a:pt x="519" y="158"/>
                </a:cubicBezTo>
                <a:cubicBezTo>
                  <a:pt x="519" y="158"/>
                  <a:pt x="520" y="158"/>
                  <a:pt x="520" y="158"/>
                </a:cubicBezTo>
                <a:cubicBezTo>
                  <a:pt x="520" y="158"/>
                  <a:pt x="521" y="158"/>
                  <a:pt x="522" y="158"/>
                </a:cubicBezTo>
                <a:cubicBezTo>
                  <a:pt x="522" y="158"/>
                  <a:pt x="522" y="158"/>
                  <a:pt x="522" y="158"/>
                </a:cubicBezTo>
                <a:cubicBezTo>
                  <a:pt x="522" y="158"/>
                  <a:pt x="522" y="158"/>
                  <a:pt x="523" y="158"/>
                </a:cubicBezTo>
                <a:cubicBezTo>
                  <a:pt x="523" y="158"/>
                  <a:pt x="523" y="157"/>
                  <a:pt x="523" y="157"/>
                </a:cubicBezTo>
                <a:cubicBezTo>
                  <a:pt x="523" y="157"/>
                  <a:pt x="523" y="157"/>
                  <a:pt x="523" y="157"/>
                </a:cubicBezTo>
                <a:cubicBezTo>
                  <a:pt x="522" y="157"/>
                  <a:pt x="522" y="157"/>
                  <a:pt x="522" y="157"/>
                </a:cubicBezTo>
                <a:cubicBezTo>
                  <a:pt x="521" y="157"/>
                  <a:pt x="521" y="156"/>
                  <a:pt x="521" y="156"/>
                </a:cubicBezTo>
                <a:cubicBezTo>
                  <a:pt x="520" y="156"/>
                  <a:pt x="520" y="156"/>
                  <a:pt x="520" y="156"/>
                </a:cubicBezTo>
                <a:cubicBezTo>
                  <a:pt x="519" y="156"/>
                  <a:pt x="518" y="155"/>
                  <a:pt x="518" y="155"/>
                </a:cubicBezTo>
                <a:cubicBezTo>
                  <a:pt x="517" y="155"/>
                  <a:pt x="517" y="155"/>
                  <a:pt x="517" y="155"/>
                </a:cubicBezTo>
                <a:cubicBezTo>
                  <a:pt x="518" y="155"/>
                  <a:pt x="518" y="155"/>
                  <a:pt x="518" y="155"/>
                </a:cubicBezTo>
                <a:cubicBezTo>
                  <a:pt x="518" y="155"/>
                  <a:pt x="519" y="155"/>
                  <a:pt x="519" y="155"/>
                </a:cubicBezTo>
                <a:cubicBezTo>
                  <a:pt x="519" y="155"/>
                  <a:pt x="519" y="155"/>
                  <a:pt x="519" y="155"/>
                </a:cubicBezTo>
                <a:cubicBezTo>
                  <a:pt x="520" y="155"/>
                  <a:pt x="520" y="155"/>
                  <a:pt x="521" y="156"/>
                </a:cubicBezTo>
                <a:cubicBezTo>
                  <a:pt x="521" y="156"/>
                  <a:pt x="521" y="156"/>
                  <a:pt x="521" y="156"/>
                </a:cubicBezTo>
                <a:cubicBezTo>
                  <a:pt x="521" y="156"/>
                  <a:pt x="522" y="156"/>
                  <a:pt x="522" y="156"/>
                </a:cubicBezTo>
                <a:cubicBezTo>
                  <a:pt x="522" y="156"/>
                  <a:pt x="522" y="156"/>
                  <a:pt x="523" y="156"/>
                </a:cubicBezTo>
                <a:cubicBezTo>
                  <a:pt x="523" y="156"/>
                  <a:pt x="523" y="157"/>
                  <a:pt x="524" y="157"/>
                </a:cubicBezTo>
                <a:cubicBezTo>
                  <a:pt x="524" y="157"/>
                  <a:pt x="524" y="157"/>
                  <a:pt x="524" y="157"/>
                </a:cubicBezTo>
                <a:cubicBezTo>
                  <a:pt x="524" y="157"/>
                  <a:pt x="525" y="157"/>
                  <a:pt x="525" y="157"/>
                </a:cubicBezTo>
                <a:cubicBezTo>
                  <a:pt x="525" y="157"/>
                  <a:pt x="525" y="158"/>
                  <a:pt x="526" y="158"/>
                </a:cubicBezTo>
                <a:cubicBezTo>
                  <a:pt x="526" y="158"/>
                  <a:pt x="526" y="158"/>
                  <a:pt x="526" y="158"/>
                </a:cubicBezTo>
                <a:cubicBezTo>
                  <a:pt x="527" y="158"/>
                  <a:pt x="527" y="158"/>
                  <a:pt x="527" y="158"/>
                </a:cubicBezTo>
                <a:cubicBezTo>
                  <a:pt x="528" y="158"/>
                  <a:pt x="528" y="158"/>
                  <a:pt x="528" y="158"/>
                </a:cubicBezTo>
                <a:cubicBezTo>
                  <a:pt x="527" y="158"/>
                  <a:pt x="527" y="157"/>
                  <a:pt x="527" y="157"/>
                </a:cubicBezTo>
                <a:cubicBezTo>
                  <a:pt x="527" y="157"/>
                  <a:pt x="526" y="157"/>
                  <a:pt x="526" y="156"/>
                </a:cubicBezTo>
                <a:cubicBezTo>
                  <a:pt x="526" y="156"/>
                  <a:pt x="527" y="156"/>
                  <a:pt x="527" y="156"/>
                </a:cubicBezTo>
                <a:cubicBezTo>
                  <a:pt x="528" y="156"/>
                  <a:pt x="529" y="156"/>
                  <a:pt x="530" y="156"/>
                </a:cubicBezTo>
                <a:cubicBezTo>
                  <a:pt x="530" y="156"/>
                  <a:pt x="531" y="156"/>
                  <a:pt x="531" y="156"/>
                </a:cubicBezTo>
                <a:cubicBezTo>
                  <a:pt x="531" y="156"/>
                  <a:pt x="531" y="156"/>
                  <a:pt x="531" y="156"/>
                </a:cubicBezTo>
                <a:cubicBezTo>
                  <a:pt x="531" y="156"/>
                  <a:pt x="531" y="157"/>
                  <a:pt x="531" y="157"/>
                </a:cubicBezTo>
                <a:cubicBezTo>
                  <a:pt x="532" y="157"/>
                  <a:pt x="532" y="157"/>
                  <a:pt x="533" y="157"/>
                </a:cubicBezTo>
                <a:cubicBezTo>
                  <a:pt x="533" y="157"/>
                  <a:pt x="533" y="157"/>
                  <a:pt x="534" y="157"/>
                </a:cubicBezTo>
                <a:cubicBezTo>
                  <a:pt x="534" y="157"/>
                  <a:pt x="534" y="157"/>
                  <a:pt x="534" y="157"/>
                </a:cubicBezTo>
                <a:cubicBezTo>
                  <a:pt x="535" y="157"/>
                  <a:pt x="536" y="156"/>
                  <a:pt x="536" y="156"/>
                </a:cubicBezTo>
                <a:cubicBezTo>
                  <a:pt x="537" y="156"/>
                  <a:pt x="537" y="156"/>
                  <a:pt x="537" y="156"/>
                </a:cubicBezTo>
                <a:cubicBezTo>
                  <a:pt x="537" y="155"/>
                  <a:pt x="538" y="155"/>
                  <a:pt x="538" y="155"/>
                </a:cubicBezTo>
                <a:cubicBezTo>
                  <a:pt x="538" y="155"/>
                  <a:pt x="538" y="154"/>
                  <a:pt x="538" y="154"/>
                </a:cubicBezTo>
                <a:cubicBezTo>
                  <a:pt x="538" y="154"/>
                  <a:pt x="538" y="154"/>
                  <a:pt x="538" y="153"/>
                </a:cubicBezTo>
                <a:cubicBezTo>
                  <a:pt x="538" y="153"/>
                  <a:pt x="538" y="153"/>
                  <a:pt x="537" y="153"/>
                </a:cubicBezTo>
                <a:cubicBezTo>
                  <a:pt x="537" y="153"/>
                  <a:pt x="536" y="152"/>
                  <a:pt x="536" y="152"/>
                </a:cubicBezTo>
                <a:cubicBezTo>
                  <a:pt x="536" y="152"/>
                  <a:pt x="536" y="152"/>
                  <a:pt x="535" y="152"/>
                </a:cubicBezTo>
                <a:cubicBezTo>
                  <a:pt x="535" y="152"/>
                  <a:pt x="535" y="152"/>
                  <a:pt x="534" y="152"/>
                </a:cubicBezTo>
                <a:cubicBezTo>
                  <a:pt x="534" y="151"/>
                  <a:pt x="534" y="151"/>
                  <a:pt x="534" y="151"/>
                </a:cubicBezTo>
                <a:cubicBezTo>
                  <a:pt x="535" y="151"/>
                  <a:pt x="535" y="151"/>
                  <a:pt x="535" y="151"/>
                </a:cubicBezTo>
                <a:cubicBezTo>
                  <a:pt x="535" y="150"/>
                  <a:pt x="535" y="150"/>
                  <a:pt x="535" y="150"/>
                </a:cubicBezTo>
                <a:cubicBezTo>
                  <a:pt x="535" y="150"/>
                  <a:pt x="535" y="150"/>
                  <a:pt x="535" y="150"/>
                </a:cubicBezTo>
                <a:cubicBezTo>
                  <a:pt x="535" y="150"/>
                  <a:pt x="536" y="150"/>
                  <a:pt x="536" y="150"/>
                </a:cubicBezTo>
                <a:cubicBezTo>
                  <a:pt x="536" y="150"/>
                  <a:pt x="536" y="151"/>
                  <a:pt x="536" y="151"/>
                </a:cubicBezTo>
                <a:cubicBezTo>
                  <a:pt x="536" y="150"/>
                  <a:pt x="536" y="150"/>
                  <a:pt x="537" y="150"/>
                </a:cubicBezTo>
                <a:cubicBezTo>
                  <a:pt x="537" y="150"/>
                  <a:pt x="537" y="149"/>
                  <a:pt x="536" y="149"/>
                </a:cubicBezTo>
                <a:cubicBezTo>
                  <a:pt x="537" y="149"/>
                  <a:pt x="537" y="149"/>
                  <a:pt x="537" y="148"/>
                </a:cubicBezTo>
                <a:cubicBezTo>
                  <a:pt x="537" y="148"/>
                  <a:pt x="537" y="148"/>
                  <a:pt x="538" y="148"/>
                </a:cubicBezTo>
                <a:cubicBezTo>
                  <a:pt x="538" y="148"/>
                  <a:pt x="538" y="149"/>
                  <a:pt x="538" y="149"/>
                </a:cubicBezTo>
                <a:cubicBezTo>
                  <a:pt x="538" y="149"/>
                  <a:pt x="538" y="149"/>
                  <a:pt x="538" y="149"/>
                </a:cubicBezTo>
                <a:cubicBezTo>
                  <a:pt x="538" y="149"/>
                  <a:pt x="538" y="149"/>
                  <a:pt x="538" y="150"/>
                </a:cubicBezTo>
                <a:cubicBezTo>
                  <a:pt x="538" y="150"/>
                  <a:pt x="538" y="150"/>
                  <a:pt x="537" y="150"/>
                </a:cubicBezTo>
                <a:cubicBezTo>
                  <a:pt x="537" y="150"/>
                  <a:pt x="537" y="151"/>
                  <a:pt x="537" y="151"/>
                </a:cubicBezTo>
                <a:cubicBezTo>
                  <a:pt x="537" y="151"/>
                  <a:pt x="538" y="151"/>
                  <a:pt x="538" y="151"/>
                </a:cubicBezTo>
                <a:cubicBezTo>
                  <a:pt x="538" y="151"/>
                  <a:pt x="538" y="151"/>
                  <a:pt x="538" y="151"/>
                </a:cubicBezTo>
                <a:cubicBezTo>
                  <a:pt x="538" y="152"/>
                  <a:pt x="538" y="152"/>
                  <a:pt x="538" y="152"/>
                </a:cubicBezTo>
                <a:cubicBezTo>
                  <a:pt x="539" y="152"/>
                  <a:pt x="540" y="152"/>
                  <a:pt x="540" y="152"/>
                </a:cubicBezTo>
                <a:cubicBezTo>
                  <a:pt x="540" y="152"/>
                  <a:pt x="541" y="152"/>
                  <a:pt x="541" y="152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41" y="152"/>
                  <a:pt x="542" y="152"/>
                  <a:pt x="542" y="152"/>
                </a:cubicBezTo>
                <a:cubicBezTo>
                  <a:pt x="542" y="152"/>
                  <a:pt x="542" y="152"/>
                  <a:pt x="543" y="151"/>
                </a:cubicBezTo>
                <a:cubicBezTo>
                  <a:pt x="543" y="151"/>
                  <a:pt x="543" y="152"/>
                  <a:pt x="543" y="152"/>
                </a:cubicBezTo>
                <a:cubicBezTo>
                  <a:pt x="543" y="152"/>
                  <a:pt x="543" y="152"/>
                  <a:pt x="543" y="152"/>
                </a:cubicBezTo>
                <a:cubicBezTo>
                  <a:pt x="543" y="152"/>
                  <a:pt x="543" y="153"/>
                  <a:pt x="543" y="153"/>
                </a:cubicBezTo>
                <a:cubicBezTo>
                  <a:pt x="543" y="153"/>
                  <a:pt x="543" y="154"/>
                  <a:pt x="543" y="154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2" y="155"/>
                  <a:pt x="542" y="155"/>
                  <a:pt x="542" y="155"/>
                </a:cubicBezTo>
                <a:cubicBezTo>
                  <a:pt x="542" y="156"/>
                  <a:pt x="542" y="156"/>
                  <a:pt x="541" y="157"/>
                </a:cubicBezTo>
                <a:cubicBezTo>
                  <a:pt x="541" y="157"/>
                  <a:pt x="541" y="157"/>
                  <a:pt x="541" y="157"/>
                </a:cubicBezTo>
                <a:cubicBezTo>
                  <a:pt x="542" y="157"/>
                  <a:pt x="542" y="157"/>
                  <a:pt x="542" y="157"/>
                </a:cubicBezTo>
                <a:cubicBezTo>
                  <a:pt x="542" y="157"/>
                  <a:pt x="542" y="156"/>
                  <a:pt x="542" y="156"/>
                </a:cubicBezTo>
                <a:cubicBezTo>
                  <a:pt x="542" y="156"/>
                  <a:pt x="543" y="156"/>
                  <a:pt x="543" y="156"/>
                </a:cubicBezTo>
                <a:cubicBezTo>
                  <a:pt x="543" y="156"/>
                  <a:pt x="543" y="156"/>
                  <a:pt x="543" y="156"/>
                </a:cubicBezTo>
                <a:cubicBezTo>
                  <a:pt x="543" y="156"/>
                  <a:pt x="544" y="156"/>
                  <a:pt x="544" y="156"/>
                </a:cubicBezTo>
                <a:cubicBezTo>
                  <a:pt x="544" y="156"/>
                  <a:pt x="544" y="156"/>
                  <a:pt x="545" y="157"/>
                </a:cubicBezTo>
                <a:cubicBezTo>
                  <a:pt x="545" y="157"/>
                  <a:pt x="546" y="156"/>
                  <a:pt x="546" y="156"/>
                </a:cubicBezTo>
                <a:cubicBezTo>
                  <a:pt x="546" y="157"/>
                  <a:pt x="546" y="157"/>
                  <a:pt x="545" y="157"/>
                </a:cubicBezTo>
                <a:cubicBezTo>
                  <a:pt x="545" y="157"/>
                  <a:pt x="545" y="157"/>
                  <a:pt x="545" y="157"/>
                </a:cubicBezTo>
                <a:cubicBezTo>
                  <a:pt x="545" y="157"/>
                  <a:pt x="545" y="158"/>
                  <a:pt x="545" y="158"/>
                </a:cubicBezTo>
                <a:cubicBezTo>
                  <a:pt x="545" y="158"/>
                  <a:pt x="544" y="157"/>
                  <a:pt x="544" y="157"/>
                </a:cubicBezTo>
                <a:cubicBezTo>
                  <a:pt x="544" y="158"/>
                  <a:pt x="544" y="158"/>
                  <a:pt x="543" y="158"/>
                </a:cubicBezTo>
                <a:cubicBezTo>
                  <a:pt x="544" y="158"/>
                  <a:pt x="544" y="158"/>
                  <a:pt x="544" y="158"/>
                </a:cubicBezTo>
                <a:cubicBezTo>
                  <a:pt x="544" y="158"/>
                  <a:pt x="544" y="158"/>
                  <a:pt x="544" y="158"/>
                </a:cubicBezTo>
                <a:cubicBezTo>
                  <a:pt x="545" y="158"/>
                  <a:pt x="545" y="158"/>
                  <a:pt x="545" y="158"/>
                </a:cubicBezTo>
                <a:cubicBezTo>
                  <a:pt x="545" y="158"/>
                  <a:pt x="545" y="158"/>
                  <a:pt x="546" y="158"/>
                </a:cubicBezTo>
                <a:cubicBezTo>
                  <a:pt x="546" y="158"/>
                  <a:pt x="546" y="159"/>
                  <a:pt x="546" y="159"/>
                </a:cubicBezTo>
                <a:cubicBezTo>
                  <a:pt x="546" y="159"/>
                  <a:pt x="546" y="159"/>
                  <a:pt x="546" y="159"/>
                </a:cubicBezTo>
                <a:cubicBezTo>
                  <a:pt x="546" y="159"/>
                  <a:pt x="546" y="159"/>
                  <a:pt x="546" y="159"/>
                </a:cubicBezTo>
                <a:cubicBezTo>
                  <a:pt x="547" y="160"/>
                  <a:pt x="547" y="160"/>
                  <a:pt x="547" y="160"/>
                </a:cubicBezTo>
                <a:cubicBezTo>
                  <a:pt x="547" y="160"/>
                  <a:pt x="548" y="160"/>
                  <a:pt x="548" y="160"/>
                </a:cubicBezTo>
                <a:cubicBezTo>
                  <a:pt x="548" y="160"/>
                  <a:pt x="549" y="160"/>
                  <a:pt x="549" y="160"/>
                </a:cubicBezTo>
                <a:cubicBezTo>
                  <a:pt x="549" y="160"/>
                  <a:pt x="549" y="160"/>
                  <a:pt x="549" y="161"/>
                </a:cubicBezTo>
                <a:cubicBezTo>
                  <a:pt x="549" y="161"/>
                  <a:pt x="549" y="161"/>
                  <a:pt x="549" y="161"/>
                </a:cubicBezTo>
                <a:cubicBezTo>
                  <a:pt x="549" y="161"/>
                  <a:pt x="549" y="162"/>
                  <a:pt x="548" y="162"/>
                </a:cubicBezTo>
                <a:cubicBezTo>
                  <a:pt x="548" y="162"/>
                  <a:pt x="548" y="162"/>
                  <a:pt x="548" y="162"/>
                </a:cubicBezTo>
                <a:cubicBezTo>
                  <a:pt x="548" y="162"/>
                  <a:pt x="547" y="162"/>
                  <a:pt x="547" y="162"/>
                </a:cubicBezTo>
                <a:cubicBezTo>
                  <a:pt x="547" y="162"/>
                  <a:pt x="547" y="162"/>
                  <a:pt x="547" y="162"/>
                </a:cubicBezTo>
                <a:cubicBezTo>
                  <a:pt x="546" y="162"/>
                  <a:pt x="546" y="162"/>
                  <a:pt x="546" y="162"/>
                </a:cubicBezTo>
                <a:cubicBezTo>
                  <a:pt x="546" y="162"/>
                  <a:pt x="545" y="162"/>
                  <a:pt x="545" y="162"/>
                </a:cubicBezTo>
                <a:cubicBezTo>
                  <a:pt x="545" y="163"/>
                  <a:pt x="545" y="163"/>
                  <a:pt x="545" y="163"/>
                </a:cubicBezTo>
                <a:cubicBezTo>
                  <a:pt x="545" y="163"/>
                  <a:pt x="545" y="163"/>
                  <a:pt x="545" y="163"/>
                </a:cubicBezTo>
                <a:cubicBezTo>
                  <a:pt x="545" y="164"/>
                  <a:pt x="545" y="164"/>
                  <a:pt x="545" y="164"/>
                </a:cubicBezTo>
                <a:cubicBezTo>
                  <a:pt x="545" y="164"/>
                  <a:pt x="545" y="164"/>
                  <a:pt x="545" y="164"/>
                </a:cubicBezTo>
                <a:cubicBezTo>
                  <a:pt x="545" y="164"/>
                  <a:pt x="545" y="165"/>
                  <a:pt x="545" y="165"/>
                </a:cubicBezTo>
                <a:cubicBezTo>
                  <a:pt x="545" y="165"/>
                  <a:pt x="545" y="165"/>
                  <a:pt x="546" y="165"/>
                </a:cubicBezTo>
                <a:cubicBezTo>
                  <a:pt x="546" y="164"/>
                  <a:pt x="546" y="164"/>
                  <a:pt x="546" y="164"/>
                </a:cubicBezTo>
                <a:cubicBezTo>
                  <a:pt x="546" y="164"/>
                  <a:pt x="546" y="164"/>
                  <a:pt x="546" y="164"/>
                </a:cubicBezTo>
                <a:cubicBezTo>
                  <a:pt x="547" y="164"/>
                  <a:pt x="547" y="164"/>
                  <a:pt x="547" y="164"/>
                </a:cubicBezTo>
                <a:cubicBezTo>
                  <a:pt x="548" y="164"/>
                  <a:pt x="548" y="163"/>
                  <a:pt x="548" y="163"/>
                </a:cubicBezTo>
                <a:cubicBezTo>
                  <a:pt x="548" y="163"/>
                  <a:pt x="549" y="163"/>
                  <a:pt x="549" y="163"/>
                </a:cubicBezTo>
                <a:cubicBezTo>
                  <a:pt x="549" y="163"/>
                  <a:pt x="549" y="163"/>
                  <a:pt x="549" y="162"/>
                </a:cubicBezTo>
                <a:cubicBezTo>
                  <a:pt x="550" y="162"/>
                  <a:pt x="550" y="162"/>
                  <a:pt x="550" y="162"/>
                </a:cubicBezTo>
                <a:cubicBezTo>
                  <a:pt x="550" y="162"/>
                  <a:pt x="550" y="163"/>
                  <a:pt x="550" y="163"/>
                </a:cubicBezTo>
                <a:cubicBezTo>
                  <a:pt x="550" y="163"/>
                  <a:pt x="551" y="163"/>
                  <a:pt x="551" y="163"/>
                </a:cubicBezTo>
                <a:cubicBezTo>
                  <a:pt x="551" y="163"/>
                  <a:pt x="551" y="163"/>
                  <a:pt x="551" y="163"/>
                </a:cubicBezTo>
                <a:cubicBezTo>
                  <a:pt x="552" y="162"/>
                  <a:pt x="552" y="162"/>
                  <a:pt x="552" y="162"/>
                </a:cubicBezTo>
                <a:cubicBezTo>
                  <a:pt x="552" y="161"/>
                  <a:pt x="553" y="161"/>
                  <a:pt x="553" y="161"/>
                </a:cubicBezTo>
                <a:cubicBezTo>
                  <a:pt x="553" y="161"/>
                  <a:pt x="553" y="161"/>
                  <a:pt x="553" y="161"/>
                </a:cubicBezTo>
                <a:cubicBezTo>
                  <a:pt x="553" y="161"/>
                  <a:pt x="553" y="161"/>
                  <a:pt x="553" y="162"/>
                </a:cubicBezTo>
                <a:cubicBezTo>
                  <a:pt x="553" y="162"/>
                  <a:pt x="553" y="162"/>
                  <a:pt x="553" y="162"/>
                </a:cubicBezTo>
                <a:cubicBezTo>
                  <a:pt x="553" y="162"/>
                  <a:pt x="552" y="162"/>
                  <a:pt x="552" y="162"/>
                </a:cubicBezTo>
                <a:cubicBezTo>
                  <a:pt x="553" y="162"/>
                  <a:pt x="553" y="162"/>
                  <a:pt x="553" y="162"/>
                </a:cubicBezTo>
                <a:cubicBezTo>
                  <a:pt x="553" y="162"/>
                  <a:pt x="553" y="162"/>
                  <a:pt x="553" y="163"/>
                </a:cubicBezTo>
                <a:cubicBezTo>
                  <a:pt x="553" y="163"/>
                  <a:pt x="552" y="163"/>
                  <a:pt x="552" y="163"/>
                </a:cubicBezTo>
                <a:cubicBezTo>
                  <a:pt x="552" y="163"/>
                  <a:pt x="552" y="163"/>
                  <a:pt x="552" y="163"/>
                </a:cubicBezTo>
                <a:cubicBezTo>
                  <a:pt x="552" y="163"/>
                  <a:pt x="553" y="163"/>
                  <a:pt x="553" y="163"/>
                </a:cubicBezTo>
                <a:cubicBezTo>
                  <a:pt x="553" y="163"/>
                  <a:pt x="553" y="163"/>
                  <a:pt x="554" y="163"/>
                </a:cubicBezTo>
                <a:cubicBezTo>
                  <a:pt x="553" y="164"/>
                  <a:pt x="553" y="164"/>
                  <a:pt x="553" y="164"/>
                </a:cubicBezTo>
                <a:cubicBezTo>
                  <a:pt x="553" y="164"/>
                  <a:pt x="553" y="165"/>
                  <a:pt x="553" y="165"/>
                </a:cubicBezTo>
                <a:cubicBezTo>
                  <a:pt x="553" y="165"/>
                  <a:pt x="553" y="165"/>
                  <a:pt x="554" y="165"/>
                </a:cubicBezTo>
                <a:cubicBezTo>
                  <a:pt x="554" y="165"/>
                  <a:pt x="554" y="165"/>
                  <a:pt x="554" y="165"/>
                </a:cubicBezTo>
                <a:cubicBezTo>
                  <a:pt x="555" y="165"/>
                  <a:pt x="555" y="165"/>
                  <a:pt x="556" y="165"/>
                </a:cubicBezTo>
                <a:cubicBezTo>
                  <a:pt x="556" y="165"/>
                  <a:pt x="556" y="165"/>
                  <a:pt x="556" y="165"/>
                </a:cubicBezTo>
                <a:cubicBezTo>
                  <a:pt x="556" y="164"/>
                  <a:pt x="555" y="164"/>
                  <a:pt x="555" y="164"/>
                </a:cubicBezTo>
                <a:cubicBezTo>
                  <a:pt x="555" y="164"/>
                  <a:pt x="555" y="164"/>
                  <a:pt x="555" y="164"/>
                </a:cubicBezTo>
                <a:cubicBezTo>
                  <a:pt x="555" y="164"/>
                  <a:pt x="556" y="164"/>
                  <a:pt x="556" y="163"/>
                </a:cubicBezTo>
                <a:cubicBezTo>
                  <a:pt x="556" y="164"/>
                  <a:pt x="557" y="164"/>
                  <a:pt x="557" y="164"/>
                </a:cubicBezTo>
                <a:cubicBezTo>
                  <a:pt x="557" y="164"/>
                  <a:pt x="557" y="164"/>
                  <a:pt x="557" y="164"/>
                </a:cubicBezTo>
                <a:cubicBezTo>
                  <a:pt x="557" y="165"/>
                  <a:pt x="557" y="165"/>
                  <a:pt x="557" y="165"/>
                </a:cubicBezTo>
                <a:cubicBezTo>
                  <a:pt x="557" y="165"/>
                  <a:pt x="557" y="165"/>
                  <a:pt x="558" y="165"/>
                </a:cubicBezTo>
                <a:cubicBezTo>
                  <a:pt x="558" y="165"/>
                  <a:pt x="558" y="165"/>
                  <a:pt x="558" y="165"/>
                </a:cubicBezTo>
                <a:cubicBezTo>
                  <a:pt x="557" y="166"/>
                  <a:pt x="557" y="166"/>
                  <a:pt x="556" y="166"/>
                </a:cubicBezTo>
                <a:cubicBezTo>
                  <a:pt x="556" y="166"/>
                  <a:pt x="556" y="166"/>
                  <a:pt x="556" y="167"/>
                </a:cubicBezTo>
                <a:cubicBezTo>
                  <a:pt x="556" y="167"/>
                  <a:pt x="557" y="167"/>
                  <a:pt x="557" y="167"/>
                </a:cubicBezTo>
                <a:cubicBezTo>
                  <a:pt x="558" y="167"/>
                  <a:pt x="559" y="167"/>
                  <a:pt x="559" y="167"/>
                </a:cubicBezTo>
                <a:cubicBezTo>
                  <a:pt x="559" y="167"/>
                  <a:pt x="560" y="167"/>
                  <a:pt x="560" y="167"/>
                </a:cubicBezTo>
                <a:cubicBezTo>
                  <a:pt x="560" y="167"/>
                  <a:pt x="560" y="167"/>
                  <a:pt x="560" y="167"/>
                </a:cubicBezTo>
                <a:cubicBezTo>
                  <a:pt x="560" y="167"/>
                  <a:pt x="560" y="168"/>
                  <a:pt x="560" y="168"/>
                </a:cubicBezTo>
                <a:cubicBezTo>
                  <a:pt x="560" y="168"/>
                  <a:pt x="560" y="168"/>
                  <a:pt x="560" y="167"/>
                </a:cubicBezTo>
                <a:cubicBezTo>
                  <a:pt x="560" y="167"/>
                  <a:pt x="560" y="167"/>
                  <a:pt x="560" y="167"/>
                </a:cubicBezTo>
                <a:cubicBezTo>
                  <a:pt x="561" y="167"/>
                  <a:pt x="561" y="167"/>
                  <a:pt x="561" y="167"/>
                </a:cubicBezTo>
                <a:cubicBezTo>
                  <a:pt x="561" y="166"/>
                  <a:pt x="561" y="166"/>
                  <a:pt x="561" y="166"/>
                </a:cubicBezTo>
                <a:cubicBezTo>
                  <a:pt x="562" y="166"/>
                  <a:pt x="562" y="167"/>
                  <a:pt x="562" y="167"/>
                </a:cubicBezTo>
                <a:cubicBezTo>
                  <a:pt x="561" y="167"/>
                  <a:pt x="561" y="167"/>
                  <a:pt x="561" y="167"/>
                </a:cubicBezTo>
                <a:cubicBezTo>
                  <a:pt x="561" y="168"/>
                  <a:pt x="561" y="168"/>
                  <a:pt x="561" y="168"/>
                </a:cubicBezTo>
                <a:cubicBezTo>
                  <a:pt x="561" y="168"/>
                  <a:pt x="561" y="168"/>
                  <a:pt x="560" y="168"/>
                </a:cubicBezTo>
                <a:cubicBezTo>
                  <a:pt x="560" y="169"/>
                  <a:pt x="560" y="169"/>
                  <a:pt x="560" y="169"/>
                </a:cubicBezTo>
                <a:cubicBezTo>
                  <a:pt x="560" y="169"/>
                  <a:pt x="560" y="170"/>
                  <a:pt x="560" y="170"/>
                </a:cubicBezTo>
                <a:cubicBezTo>
                  <a:pt x="561" y="170"/>
                  <a:pt x="561" y="170"/>
                  <a:pt x="561" y="170"/>
                </a:cubicBezTo>
                <a:cubicBezTo>
                  <a:pt x="561" y="170"/>
                  <a:pt x="561" y="170"/>
                  <a:pt x="561" y="170"/>
                </a:cubicBezTo>
                <a:cubicBezTo>
                  <a:pt x="561" y="171"/>
                  <a:pt x="561" y="171"/>
                  <a:pt x="561" y="171"/>
                </a:cubicBezTo>
                <a:cubicBezTo>
                  <a:pt x="561" y="171"/>
                  <a:pt x="561" y="171"/>
                  <a:pt x="561" y="172"/>
                </a:cubicBezTo>
                <a:cubicBezTo>
                  <a:pt x="561" y="172"/>
                  <a:pt x="561" y="172"/>
                  <a:pt x="561" y="172"/>
                </a:cubicBezTo>
                <a:cubicBezTo>
                  <a:pt x="561" y="172"/>
                  <a:pt x="561" y="172"/>
                  <a:pt x="561" y="172"/>
                </a:cubicBezTo>
                <a:cubicBezTo>
                  <a:pt x="561" y="173"/>
                  <a:pt x="561" y="173"/>
                  <a:pt x="561" y="173"/>
                </a:cubicBezTo>
                <a:cubicBezTo>
                  <a:pt x="561" y="174"/>
                  <a:pt x="561" y="174"/>
                  <a:pt x="561" y="174"/>
                </a:cubicBezTo>
                <a:cubicBezTo>
                  <a:pt x="561" y="174"/>
                  <a:pt x="561" y="174"/>
                  <a:pt x="561" y="175"/>
                </a:cubicBezTo>
                <a:cubicBezTo>
                  <a:pt x="561" y="175"/>
                  <a:pt x="561" y="175"/>
                  <a:pt x="561" y="175"/>
                </a:cubicBezTo>
                <a:cubicBezTo>
                  <a:pt x="561" y="175"/>
                  <a:pt x="560" y="176"/>
                  <a:pt x="560" y="176"/>
                </a:cubicBezTo>
                <a:cubicBezTo>
                  <a:pt x="559" y="176"/>
                  <a:pt x="559" y="176"/>
                  <a:pt x="558" y="176"/>
                </a:cubicBezTo>
                <a:cubicBezTo>
                  <a:pt x="558" y="176"/>
                  <a:pt x="558" y="176"/>
                  <a:pt x="557" y="176"/>
                </a:cubicBezTo>
                <a:cubicBezTo>
                  <a:pt x="557" y="176"/>
                  <a:pt x="557" y="177"/>
                  <a:pt x="557" y="177"/>
                </a:cubicBezTo>
                <a:cubicBezTo>
                  <a:pt x="557" y="177"/>
                  <a:pt x="556" y="178"/>
                  <a:pt x="555" y="178"/>
                </a:cubicBezTo>
                <a:cubicBezTo>
                  <a:pt x="555" y="178"/>
                  <a:pt x="556" y="179"/>
                  <a:pt x="556" y="179"/>
                </a:cubicBezTo>
                <a:cubicBezTo>
                  <a:pt x="556" y="179"/>
                  <a:pt x="557" y="179"/>
                  <a:pt x="557" y="179"/>
                </a:cubicBezTo>
                <a:cubicBezTo>
                  <a:pt x="557" y="179"/>
                  <a:pt x="557" y="179"/>
                  <a:pt x="557" y="179"/>
                </a:cubicBezTo>
                <a:cubicBezTo>
                  <a:pt x="556" y="179"/>
                  <a:pt x="556" y="179"/>
                  <a:pt x="556" y="180"/>
                </a:cubicBezTo>
                <a:cubicBezTo>
                  <a:pt x="556" y="179"/>
                  <a:pt x="555" y="179"/>
                  <a:pt x="555" y="179"/>
                </a:cubicBezTo>
                <a:cubicBezTo>
                  <a:pt x="555" y="179"/>
                  <a:pt x="555" y="179"/>
                  <a:pt x="555" y="179"/>
                </a:cubicBezTo>
                <a:cubicBezTo>
                  <a:pt x="554" y="180"/>
                  <a:pt x="554" y="180"/>
                  <a:pt x="553" y="181"/>
                </a:cubicBezTo>
                <a:cubicBezTo>
                  <a:pt x="553" y="181"/>
                  <a:pt x="553" y="181"/>
                  <a:pt x="553" y="181"/>
                </a:cubicBezTo>
                <a:cubicBezTo>
                  <a:pt x="552" y="181"/>
                  <a:pt x="551" y="182"/>
                  <a:pt x="551" y="182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49" y="183"/>
                  <a:pt x="549" y="184"/>
                  <a:pt x="549" y="184"/>
                </a:cubicBezTo>
                <a:cubicBezTo>
                  <a:pt x="549" y="184"/>
                  <a:pt x="548" y="184"/>
                  <a:pt x="548" y="184"/>
                </a:cubicBezTo>
                <a:cubicBezTo>
                  <a:pt x="548" y="184"/>
                  <a:pt x="548" y="185"/>
                  <a:pt x="548" y="185"/>
                </a:cubicBezTo>
                <a:cubicBezTo>
                  <a:pt x="548" y="185"/>
                  <a:pt x="549" y="185"/>
                  <a:pt x="549" y="185"/>
                </a:cubicBezTo>
                <a:cubicBezTo>
                  <a:pt x="549" y="186"/>
                  <a:pt x="549" y="186"/>
                  <a:pt x="549" y="186"/>
                </a:cubicBezTo>
                <a:cubicBezTo>
                  <a:pt x="550" y="186"/>
                  <a:pt x="550" y="186"/>
                  <a:pt x="550" y="187"/>
                </a:cubicBezTo>
                <a:cubicBezTo>
                  <a:pt x="551" y="187"/>
                  <a:pt x="551" y="188"/>
                  <a:pt x="551" y="188"/>
                </a:cubicBezTo>
                <a:cubicBezTo>
                  <a:pt x="551" y="189"/>
                  <a:pt x="551" y="189"/>
                  <a:pt x="551" y="189"/>
                </a:cubicBezTo>
                <a:cubicBezTo>
                  <a:pt x="551" y="189"/>
                  <a:pt x="550" y="189"/>
                  <a:pt x="550" y="189"/>
                </a:cubicBezTo>
                <a:cubicBezTo>
                  <a:pt x="550" y="189"/>
                  <a:pt x="550" y="189"/>
                  <a:pt x="550" y="189"/>
                </a:cubicBezTo>
                <a:cubicBezTo>
                  <a:pt x="550" y="190"/>
                  <a:pt x="550" y="190"/>
                  <a:pt x="550" y="190"/>
                </a:cubicBezTo>
                <a:cubicBezTo>
                  <a:pt x="549" y="190"/>
                  <a:pt x="549" y="190"/>
                  <a:pt x="549" y="189"/>
                </a:cubicBezTo>
                <a:cubicBezTo>
                  <a:pt x="549" y="189"/>
                  <a:pt x="549" y="189"/>
                  <a:pt x="549" y="189"/>
                </a:cubicBezTo>
                <a:cubicBezTo>
                  <a:pt x="549" y="188"/>
                  <a:pt x="548" y="188"/>
                  <a:pt x="548" y="188"/>
                </a:cubicBezTo>
                <a:cubicBezTo>
                  <a:pt x="548" y="188"/>
                  <a:pt x="548" y="189"/>
                  <a:pt x="547" y="189"/>
                </a:cubicBezTo>
                <a:cubicBezTo>
                  <a:pt x="547" y="189"/>
                  <a:pt x="547" y="189"/>
                  <a:pt x="547" y="190"/>
                </a:cubicBezTo>
                <a:cubicBezTo>
                  <a:pt x="547" y="190"/>
                  <a:pt x="546" y="190"/>
                  <a:pt x="546" y="190"/>
                </a:cubicBezTo>
                <a:cubicBezTo>
                  <a:pt x="546" y="190"/>
                  <a:pt x="545" y="190"/>
                  <a:pt x="545" y="190"/>
                </a:cubicBezTo>
                <a:cubicBezTo>
                  <a:pt x="545" y="190"/>
                  <a:pt x="545" y="190"/>
                  <a:pt x="545" y="190"/>
                </a:cubicBezTo>
                <a:cubicBezTo>
                  <a:pt x="545" y="190"/>
                  <a:pt x="545" y="190"/>
                  <a:pt x="545" y="190"/>
                </a:cubicBezTo>
                <a:cubicBezTo>
                  <a:pt x="545" y="190"/>
                  <a:pt x="544" y="190"/>
                  <a:pt x="544" y="190"/>
                </a:cubicBezTo>
                <a:cubicBezTo>
                  <a:pt x="544" y="190"/>
                  <a:pt x="544" y="190"/>
                  <a:pt x="544" y="191"/>
                </a:cubicBezTo>
                <a:cubicBezTo>
                  <a:pt x="543" y="191"/>
                  <a:pt x="543" y="191"/>
                  <a:pt x="543" y="191"/>
                </a:cubicBezTo>
                <a:cubicBezTo>
                  <a:pt x="542" y="191"/>
                  <a:pt x="542" y="191"/>
                  <a:pt x="542" y="192"/>
                </a:cubicBezTo>
                <a:cubicBezTo>
                  <a:pt x="541" y="192"/>
                  <a:pt x="541" y="192"/>
                  <a:pt x="541" y="192"/>
                </a:cubicBezTo>
                <a:cubicBezTo>
                  <a:pt x="541" y="192"/>
                  <a:pt x="541" y="191"/>
                  <a:pt x="540" y="191"/>
                </a:cubicBezTo>
                <a:cubicBezTo>
                  <a:pt x="540" y="191"/>
                  <a:pt x="540" y="191"/>
                  <a:pt x="539" y="191"/>
                </a:cubicBezTo>
                <a:cubicBezTo>
                  <a:pt x="539" y="192"/>
                  <a:pt x="539" y="192"/>
                  <a:pt x="539" y="192"/>
                </a:cubicBezTo>
                <a:cubicBezTo>
                  <a:pt x="538" y="192"/>
                  <a:pt x="538" y="192"/>
                  <a:pt x="538" y="192"/>
                </a:cubicBezTo>
                <a:cubicBezTo>
                  <a:pt x="537" y="192"/>
                  <a:pt x="537" y="192"/>
                  <a:pt x="537" y="192"/>
                </a:cubicBezTo>
                <a:cubicBezTo>
                  <a:pt x="537" y="192"/>
                  <a:pt x="536" y="192"/>
                  <a:pt x="536" y="192"/>
                </a:cubicBezTo>
                <a:cubicBezTo>
                  <a:pt x="536" y="191"/>
                  <a:pt x="535" y="191"/>
                  <a:pt x="535" y="191"/>
                </a:cubicBezTo>
                <a:cubicBezTo>
                  <a:pt x="534" y="191"/>
                  <a:pt x="534" y="191"/>
                  <a:pt x="533" y="191"/>
                </a:cubicBezTo>
                <a:cubicBezTo>
                  <a:pt x="533" y="191"/>
                  <a:pt x="532" y="191"/>
                  <a:pt x="532" y="191"/>
                </a:cubicBezTo>
                <a:cubicBezTo>
                  <a:pt x="532" y="191"/>
                  <a:pt x="532" y="191"/>
                  <a:pt x="532" y="191"/>
                </a:cubicBezTo>
                <a:cubicBezTo>
                  <a:pt x="532" y="191"/>
                  <a:pt x="532" y="191"/>
                  <a:pt x="532" y="191"/>
                </a:cubicBezTo>
                <a:cubicBezTo>
                  <a:pt x="532" y="191"/>
                  <a:pt x="532" y="192"/>
                  <a:pt x="532" y="192"/>
                </a:cubicBezTo>
                <a:cubicBezTo>
                  <a:pt x="532" y="192"/>
                  <a:pt x="531" y="192"/>
                  <a:pt x="531" y="192"/>
                </a:cubicBezTo>
                <a:cubicBezTo>
                  <a:pt x="531" y="192"/>
                  <a:pt x="531" y="192"/>
                  <a:pt x="531" y="192"/>
                </a:cubicBezTo>
                <a:cubicBezTo>
                  <a:pt x="531" y="192"/>
                  <a:pt x="531" y="192"/>
                  <a:pt x="531" y="192"/>
                </a:cubicBezTo>
                <a:cubicBezTo>
                  <a:pt x="531" y="192"/>
                  <a:pt x="531" y="193"/>
                  <a:pt x="532" y="193"/>
                </a:cubicBezTo>
                <a:cubicBezTo>
                  <a:pt x="532" y="193"/>
                  <a:pt x="532" y="193"/>
                  <a:pt x="532" y="193"/>
                </a:cubicBezTo>
                <a:cubicBezTo>
                  <a:pt x="531" y="193"/>
                  <a:pt x="531" y="193"/>
                  <a:pt x="531" y="193"/>
                </a:cubicBezTo>
                <a:cubicBezTo>
                  <a:pt x="531" y="193"/>
                  <a:pt x="530" y="194"/>
                  <a:pt x="530" y="194"/>
                </a:cubicBezTo>
                <a:cubicBezTo>
                  <a:pt x="530" y="194"/>
                  <a:pt x="530" y="194"/>
                  <a:pt x="530" y="194"/>
                </a:cubicBezTo>
                <a:cubicBezTo>
                  <a:pt x="529" y="194"/>
                  <a:pt x="529" y="195"/>
                  <a:pt x="528" y="195"/>
                </a:cubicBezTo>
                <a:cubicBezTo>
                  <a:pt x="528" y="195"/>
                  <a:pt x="528" y="195"/>
                  <a:pt x="528" y="195"/>
                </a:cubicBezTo>
                <a:cubicBezTo>
                  <a:pt x="528" y="196"/>
                  <a:pt x="528" y="196"/>
                  <a:pt x="528" y="196"/>
                </a:cubicBezTo>
                <a:cubicBezTo>
                  <a:pt x="528" y="196"/>
                  <a:pt x="527" y="196"/>
                  <a:pt x="527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8"/>
                  <a:pt x="528" y="198"/>
                  <a:pt x="528" y="199"/>
                </a:cubicBezTo>
                <a:cubicBezTo>
                  <a:pt x="528" y="199"/>
                  <a:pt x="529" y="199"/>
                  <a:pt x="529" y="199"/>
                </a:cubicBezTo>
                <a:cubicBezTo>
                  <a:pt x="529" y="199"/>
                  <a:pt x="529" y="199"/>
                  <a:pt x="529" y="199"/>
                </a:cubicBezTo>
                <a:cubicBezTo>
                  <a:pt x="530" y="199"/>
                  <a:pt x="530" y="199"/>
                  <a:pt x="531" y="199"/>
                </a:cubicBezTo>
                <a:cubicBezTo>
                  <a:pt x="531" y="199"/>
                  <a:pt x="531" y="200"/>
                  <a:pt x="531" y="200"/>
                </a:cubicBezTo>
                <a:cubicBezTo>
                  <a:pt x="531" y="200"/>
                  <a:pt x="532" y="200"/>
                  <a:pt x="532" y="200"/>
                </a:cubicBezTo>
                <a:cubicBezTo>
                  <a:pt x="533" y="200"/>
                  <a:pt x="533" y="200"/>
                  <a:pt x="533" y="200"/>
                </a:cubicBezTo>
                <a:cubicBezTo>
                  <a:pt x="534" y="199"/>
                  <a:pt x="534" y="199"/>
                  <a:pt x="534" y="199"/>
                </a:cubicBezTo>
                <a:cubicBezTo>
                  <a:pt x="534" y="199"/>
                  <a:pt x="535" y="199"/>
                  <a:pt x="535" y="199"/>
                </a:cubicBezTo>
                <a:cubicBezTo>
                  <a:pt x="535" y="199"/>
                  <a:pt x="535" y="199"/>
                  <a:pt x="535" y="198"/>
                </a:cubicBezTo>
                <a:cubicBezTo>
                  <a:pt x="536" y="198"/>
                  <a:pt x="536" y="198"/>
                  <a:pt x="537" y="198"/>
                </a:cubicBezTo>
                <a:cubicBezTo>
                  <a:pt x="537" y="198"/>
                  <a:pt x="537" y="198"/>
                  <a:pt x="537" y="198"/>
                </a:cubicBezTo>
                <a:cubicBezTo>
                  <a:pt x="537" y="198"/>
                  <a:pt x="538" y="198"/>
                  <a:pt x="538" y="198"/>
                </a:cubicBezTo>
                <a:cubicBezTo>
                  <a:pt x="538" y="198"/>
                  <a:pt x="538" y="198"/>
                  <a:pt x="539" y="197"/>
                </a:cubicBezTo>
                <a:cubicBezTo>
                  <a:pt x="539" y="197"/>
                  <a:pt x="538" y="197"/>
                  <a:pt x="538" y="197"/>
                </a:cubicBezTo>
                <a:cubicBezTo>
                  <a:pt x="538" y="196"/>
                  <a:pt x="539" y="196"/>
                  <a:pt x="539" y="196"/>
                </a:cubicBezTo>
                <a:cubicBezTo>
                  <a:pt x="539" y="196"/>
                  <a:pt x="539" y="196"/>
                  <a:pt x="539" y="196"/>
                </a:cubicBezTo>
                <a:cubicBezTo>
                  <a:pt x="540" y="196"/>
                  <a:pt x="540" y="197"/>
                  <a:pt x="540" y="197"/>
                </a:cubicBezTo>
                <a:cubicBezTo>
                  <a:pt x="541" y="197"/>
                  <a:pt x="541" y="197"/>
                  <a:pt x="541" y="197"/>
                </a:cubicBezTo>
                <a:cubicBezTo>
                  <a:pt x="542" y="197"/>
                  <a:pt x="542" y="197"/>
                  <a:pt x="542" y="197"/>
                </a:cubicBezTo>
                <a:cubicBezTo>
                  <a:pt x="543" y="197"/>
                  <a:pt x="543" y="197"/>
                  <a:pt x="543" y="197"/>
                </a:cubicBezTo>
                <a:cubicBezTo>
                  <a:pt x="544" y="197"/>
                  <a:pt x="544" y="197"/>
                  <a:pt x="544" y="197"/>
                </a:cubicBezTo>
                <a:cubicBezTo>
                  <a:pt x="544" y="196"/>
                  <a:pt x="544" y="196"/>
                  <a:pt x="544" y="196"/>
                </a:cubicBezTo>
                <a:cubicBezTo>
                  <a:pt x="544" y="196"/>
                  <a:pt x="545" y="196"/>
                  <a:pt x="545" y="196"/>
                </a:cubicBezTo>
                <a:cubicBezTo>
                  <a:pt x="545" y="195"/>
                  <a:pt x="545" y="195"/>
                  <a:pt x="546" y="195"/>
                </a:cubicBezTo>
                <a:cubicBezTo>
                  <a:pt x="546" y="195"/>
                  <a:pt x="546" y="195"/>
                  <a:pt x="546" y="195"/>
                </a:cubicBezTo>
                <a:cubicBezTo>
                  <a:pt x="546" y="195"/>
                  <a:pt x="546" y="195"/>
                  <a:pt x="546" y="195"/>
                </a:cubicBezTo>
                <a:cubicBezTo>
                  <a:pt x="546" y="195"/>
                  <a:pt x="546" y="196"/>
                  <a:pt x="547" y="196"/>
                </a:cubicBezTo>
                <a:cubicBezTo>
                  <a:pt x="546" y="196"/>
                  <a:pt x="546" y="196"/>
                  <a:pt x="546" y="197"/>
                </a:cubicBezTo>
                <a:cubicBezTo>
                  <a:pt x="546" y="197"/>
                  <a:pt x="546" y="197"/>
                  <a:pt x="546" y="197"/>
                </a:cubicBezTo>
                <a:cubicBezTo>
                  <a:pt x="546" y="197"/>
                  <a:pt x="547" y="197"/>
                  <a:pt x="547" y="197"/>
                </a:cubicBezTo>
                <a:cubicBezTo>
                  <a:pt x="547" y="196"/>
                  <a:pt x="547" y="196"/>
                  <a:pt x="547" y="195"/>
                </a:cubicBezTo>
                <a:cubicBezTo>
                  <a:pt x="547" y="195"/>
                  <a:pt x="548" y="195"/>
                  <a:pt x="548" y="196"/>
                </a:cubicBezTo>
                <a:cubicBezTo>
                  <a:pt x="548" y="195"/>
                  <a:pt x="548" y="195"/>
                  <a:pt x="548" y="195"/>
                </a:cubicBezTo>
                <a:cubicBezTo>
                  <a:pt x="548" y="195"/>
                  <a:pt x="549" y="195"/>
                  <a:pt x="549" y="195"/>
                </a:cubicBezTo>
                <a:cubicBezTo>
                  <a:pt x="549" y="196"/>
                  <a:pt x="549" y="196"/>
                  <a:pt x="549" y="196"/>
                </a:cubicBezTo>
                <a:cubicBezTo>
                  <a:pt x="549" y="196"/>
                  <a:pt x="549" y="196"/>
                  <a:pt x="549" y="197"/>
                </a:cubicBezTo>
                <a:cubicBezTo>
                  <a:pt x="549" y="196"/>
                  <a:pt x="549" y="196"/>
                  <a:pt x="549" y="196"/>
                </a:cubicBezTo>
                <a:cubicBezTo>
                  <a:pt x="550" y="195"/>
                  <a:pt x="550" y="195"/>
                  <a:pt x="551" y="195"/>
                </a:cubicBezTo>
                <a:cubicBezTo>
                  <a:pt x="551" y="195"/>
                  <a:pt x="551" y="195"/>
                  <a:pt x="551" y="195"/>
                </a:cubicBezTo>
                <a:cubicBezTo>
                  <a:pt x="551" y="195"/>
                  <a:pt x="550" y="195"/>
                  <a:pt x="550" y="196"/>
                </a:cubicBezTo>
                <a:cubicBezTo>
                  <a:pt x="550" y="196"/>
                  <a:pt x="550" y="196"/>
                  <a:pt x="550" y="196"/>
                </a:cubicBezTo>
                <a:cubicBezTo>
                  <a:pt x="550" y="196"/>
                  <a:pt x="551" y="196"/>
                  <a:pt x="551" y="196"/>
                </a:cubicBezTo>
                <a:cubicBezTo>
                  <a:pt x="551" y="197"/>
                  <a:pt x="552" y="197"/>
                  <a:pt x="552" y="197"/>
                </a:cubicBezTo>
                <a:cubicBezTo>
                  <a:pt x="552" y="197"/>
                  <a:pt x="552" y="198"/>
                  <a:pt x="552" y="198"/>
                </a:cubicBezTo>
                <a:cubicBezTo>
                  <a:pt x="552" y="198"/>
                  <a:pt x="552" y="198"/>
                  <a:pt x="552" y="199"/>
                </a:cubicBezTo>
                <a:cubicBezTo>
                  <a:pt x="553" y="198"/>
                  <a:pt x="553" y="198"/>
                  <a:pt x="553" y="198"/>
                </a:cubicBezTo>
                <a:cubicBezTo>
                  <a:pt x="553" y="198"/>
                  <a:pt x="553" y="199"/>
                  <a:pt x="553" y="199"/>
                </a:cubicBezTo>
                <a:cubicBezTo>
                  <a:pt x="553" y="199"/>
                  <a:pt x="554" y="199"/>
                  <a:pt x="554" y="199"/>
                </a:cubicBezTo>
                <a:cubicBezTo>
                  <a:pt x="554" y="199"/>
                  <a:pt x="554" y="199"/>
                  <a:pt x="554" y="198"/>
                </a:cubicBezTo>
                <a:cubicBezTo>
                  <a:pt x="554" y="199"/>
                  <a:pt x="554" y="199"/>
                  <a:pt x="554" y="199"/>
                </a:cubicBezTo>
                <a:cubicBezTo>
                  <a:pt x="554" y="200"/>
                  <a:pt x="554" y="200"/>
                  <a:pt x="554" y="200"/>
                </a:cubicBezTo>
                <a:cubicBezTo>
                  <a:pt x="554" y="200"/>
                  <a:pt x="555" y="200"/>
                  <a:pt x="555" y="201"/>
                </a:cubicBezTo>
                <a:cubicBezTo>
                  <a:pt x="555" y="200"/>
                  <a:pt x="555" y="200"/>
                  <a:pt x="555" y="200"/>
                </a:cubicBezTo>
                <a:cubicBezTo>
                  <a:pt x="555" y="200"/>
                  <a:pt x="555" y="199"/>
                  <a:pt x="555" y="199"/>
                </a:cubicBezTo>
                <a:cubicBezTo>
                  <a:pt x="556" y="199"/>
                  <a:pt x="556" y="199"/>
                  <a:pt x="556" y="199"/>
                </a:cubicBezTo>
                <a:cubicBezTo>
                  <a:pt x="556" y="199"/>
                  <a:pt x="556" y="199"/>
                  <a:pt x="556" y="199"/>
                </a:cubicBezTo>
                <a:cubicBezTo>
                  <a:pt x="556" y="199"/>
                  <a:pt x="556" y="200"/>
                  <a:pt x="556" y="200"/>
                </a:cubicBezTo>
                <a:cubicBezTo>
                  <a:pt x="557" y="200"/>
                  <a:pt x="557" y="200"/>
                  <a:pt x="557" y="201"/>
                </a:cubicBezTo>
                <a:cubicBezTo>
                  <a:pt x="558" y="200"/>
                  <a:pt x="558" y="200"/>
                  <a:pt x="559" y="200"/>
                </a:cubicBezTo>
                <a:cubicBezTo>
                  <a:pt x="559" y="200"/>
                  <a:pt x="559" y="200"/>
                  <a:pt x="558" y="201"/>
                </a:cubicBezTo>
                <a:cubicBezTo>
                  <a:pt x="558" y="201"/>
                  <a:pt x="557" y="201"/>
                  <a:pt x="557" y="202"/>
                </a:cubicBezTo>
                <a:cubicBezTo>
                  <a:pt x="556" y="202"/>
                  <a:pt x="556" y="202"/>
                  <a:pt x="555" y="202"/>
                </a:cubicBezTo>
                <a:cubicBezTo>
                  <a:pt x="555" y="202"/>
                  <a:pt x="555" y="202"/>
                  <a:pt x="555" y="202"/>
                </a:cubicBezTo>
                <a:cubicBezTo>
                  <a:pt x="555" y="202"/>
                  <a:pt x="556" y="203"/>
                  <a:pt x="556" y="203"/>
                </a:cubicBezTo>
                <a:cubicBezTo>
                  <a:pt x="556" y="203"/>
                  <a:pt x="556" y="203"/>
                  <a:pt x="556" y="203"/>
                </a:cubicBezTo>
                <a:cubicBezTo>
                  <a:pt x="556" y="204"/>
                  <a:pt x="557" y="204"/>
                  <a:pt x="557" y="204"/>
                </a:cubicBezTo>
                <a:cubicBezTo>
                  <a:pt x="557" y="204"/>
                  <a:pt x="558" y="204"/>
                  <a:pt x="558" y="204"/>
                </a:cubicBezTo>
                <a:cubicBezTo>
                  <a:pt x="558" y="204"/>
                  <a:pt x="558" y="204"/>
                  <a:pt x="559" y="204"/>
                </a:cubicBezTo>
                <a:cubicBezTo>
                  <a:pt x="559" y="204"/>
                  <a:pt x="559" y="204"/>
                  <a:pt x="559" y="205"/>
                </a:cubicBezTo>
                <a:cubicBezTo>
                  <a:pt x="559" y="205"/>
                  <a:pt x="559" y="205"/>
                  <a:pt x="560" y="205"/>
                </a:cubicBezTo>
                <a:cubicBezTo>
                  <a:pt x="560" y="205"/>
                  <a:pt x="560" y="205"/>
                  <a:pt x="560" y="205"/>
                </a:cubicBezTo>
                <a:cubicBezTo>
                  <a:pt x="561" y="205"/>
                  <a:pt x="561" y="205"/>
                  <a:pt x="561" y="205"/>
                </a:cubicBezTo>
                <a:cubicBezTo>
                  <a:pt x="562" y="205"/>
                  <a:pt x="562" y="205"/>
                  <a:pt x="563" y="205"/>
                </a:cubicBezTo>
                <a:cubicBezTo>
                  <a:pt x="563" y="205"/>
                  <a:pt x="564" y="205"/>
                  <a:pt x="564" y="205"/>
                </a:cubicBezTo>
                <a:cubicBezTo>
                  <a:pt x="564" y="205"/>
                  <a:pt x="564" y="205"/>
                  <a:pt x="564" y="206"/>
                </a:cubicBezTo>
                <a:cubicBezTo>
                  <a:pt x="564" y="206"/>
                  <a:pt x="564" y="206"/>
                  <a:pt x="565" y="206"/>
                </a:cubicBezTo>
                <a:cubicBezTo>
                  <a:pt x="565" y="206"/>
                  <a:pt x="565" y="205"/>
                  <a:pt x="565" y="205"/>
                </a:cubicBezTo>
                <a:cubicBezTo>
                  <a:pt x="565" y="205"/>
                  <a:pt x="565" y="205"/>
                  <a:pt x="565" y="205"/>
                </a:cubicBezTo>
                <a:cubicBezTo>
                  <a:pt x="565" y="205"/>
                  <a:pt x="566" y="205"/>
                  <a:pt x="566" y="205"/>
                </a:cubicBezTo>
                <a:cubicBezTo>
                  <a:pt x="566" y="205"/>
                  <a:pt x="566" y="205"/>
                  <a:pt x="566" y="205"/>
                </a:cubicBezTo>
                <a:cubicBezTo>
                  <a:pt x="566" y="206"/>
                  <a:pt x="565" y="206"/>
                  <a:pt x="565" y="206"/>
                </a:cubicBezTo>
                <a:cubicBezTo>
                  <a:pt x="565" y="206"/>
                  <a:pt x="566" y="206"/>
                  <a:pt x="566" y="206"/>
                </a:cubicBezTo>
                <a:cubicBezTo>
                  <a:pt x="566" y="206"/>
                  <a:pt x="566" y="206"/>
                  <a:pt x="567" y="207"/>
                </a:cubicBezTo>
                <a:cubicBezTo>
                  <a:pt x="567" y="207"/>
                  <a:pt x="567" y="206"/>
                  <a:pt x="567" y="206"/>
                </a:cubicBezTo>
                <a:cubicBezTo>
                  <a:pt x="567" y="207"/>
                  <a:pt x="567" y="207"/>
                  <a:pt x="567" y="207"/>
                </a:cubicBezTo>
                <a:cubicBezTo>
                  <a:pt x="568" y="207"/>
                  <a:pt x="568" y="207"/>
                  <a:pt x="569" y="208"/>
                </a:cubicBezTo>
                <a:cubicBezTo>
                  <a:pt x="569" y="207"/>
                  <a:pt x="569" y="207"/>
                  <a:pt x="569" y="207"/>
                </a:cubicBezTo>
                <a:cubicBezTo>
                  <a:pt x="570" y="207"/>
                  <a:pt x="570" y="208"/>
                  <a:pt x="570" y="208"/>
                </a:cubicBezTo>
                <a:cubicBezTo>
                  <a:pt x="570" y="208"/>
                  <a:pt x="570" y="208"/>
                  <a:pt x="570" y="208"/>
                </a:cubicBezTo>
                <a:cubicBezTo>
                  <a:pt x="571" y="208"/>
                  <a:pt x="572" y="208"/>
                  <a:pt x="572" y="208"/>
                </a:cubicBezTo>
                <a:cubicBezTo>
                  <a:pt x="572" y="208"/>
                  <a:pt x="572" y="208"/>
                  <a:pt x="572" y="208"/>
                </a:cubicBezTo>
                <a:cubicBezTo>
                  <a:pt x="573" y="208"/>
                  <a:pt x="573" y="208"/>
                  <a:pt x="573" y="208"/>
                </a:cubicBezTo>
                <a:cubicBezTo>
                  <a:pt x="573" y="208"/>
                  <a:pt x="574" y="208"/>
                  <a:pt x="574" y="208"/>
                </a:cubicBezTo>
                <a:cubicBezTo>
                  <a:pt x="574" y="208"/>
                  <a:pt x="574" y="208"/>
                  <a:pt x="575" y="208"/>
                </a:cubicBezTo>
                <a:cubicBezTo>
                  <a:pt x="575" y="208"/>
                  <a:pt x="575" y="208"/>
                  <a:pt x="575" y="208"/>
                </a:cubicBezTo>
                <a:cubicBezTo>
                  <a:pt x="576" y="208"/>
                  <a:pt x="576" y="209"/>
                  <a:pt x="577" y="209"/>
                </a:cubicBezTo>
                <a:cubicBezTo>
                  <a:pt x="577" y="209"/>
                  <a:pt x="577" y="209"/>
                  <a:pt x="578" y="209"/>
                </a:cubicBezTo>
                <a:cubicBezTo>
                  <a:pt x="578" y="209"/>
                  <a:pt x="578" y="209"/>
                  <a:pt x="578" y="209"/>
                </a:cubicBezTo>
                <a:cubicBezTo>
                  <a:pt x="579" y="209"/>
                  <a:pt x="580" y="209"/>
                  <a:pt x="580" y="209"/>
                </a:cubicBezTo>
                <a:cubicBezTo>
                  <a:pt x="581" y="209"/>
                  <a:pt x="581" y="209"/>
                  <a:pt x="581" y="209"/>
                </a:cubicBezTo>
                <a:cubicBezTo>
                  <a:pt x="582" y="209"/>
                  <a:pt x="582" y="209"/>
                  <a:pt x="582" y="209"/>
                </a:cubicBezTo>
                <a:cubicBezTo>
                  <a:pt x="582" y="209"/>
                  <a:pt x="582" y="209"/>
                  <a:pt x="582" y="209"/>
                </a:cubicBezTo>
                <a:cubicBezTo>
                  <a:pt x="582" y="209"/>
                  <a:pt x="582" y="208"/>
                  <a:pt x="582" y="208"/>
                </a:cubicBezTo>
                <a:cubicBezTo>
                  <a:pt x="582" y="208"/>
                  <a:pt x="582" y="208"/>
                  <a:pt x="582" y="208"/>
                </a:cubicBezTo>
                <a:cubicBezTo>
                  <a:pt x="581" y="208"/>
                  <a:pt x="581" y="208"/>
                  <a:pt x="581" y="208"/>
                </a:cubicBezTo>
                <a:cubicBezTo>
                  <a:pt x="581" y="207"/>
                  <a:pt x="581" y="207"/>
                  <a:pt x="582" y="207"/>
                </a:cubicBezTo>
                <a:cubicBezTo>
                  <a:pt x="582" y="207"/>
                  <a:pt x="582" y="207"/>
                  <a:pt x="582" y="207"/>
                </a:cubicBezTo>
                <a:cubicBezTo>
                  <a:pt x="582" y="207"/>
                  <a:pt x="583" y="207"/>
                  <a:pt x="583" y="207"/>
                </a:cubicBezTo>
                <a:cubicBezTo>
                  <a:pt x="582" y="207"/>
                  <a:pt x="582" y="206"/>
                  <a:pt x="582" y="206"/>
                </a:cubicBezTo>
                <a:cubicBezTo>
                  <a:pt x="582" y="206"/>
                  <a:pt x="582" y="206"/>
                  <a:pt x="582" y="207"/>
                </a:cubicBezTo>
                <a:cubicBezTo>
                  <a:pt x="582" y="206"/>
                  <a:pt x="582" y="206"/>
                  <a:pt x="581" y="206"/>
                </a:cubicBezTo>
                <a:cubicBezTo>
                  <a:pt x="581" y="206"/>
                  <a:pt x="581" y="206"/>
                  <a:pt x="581" y="206"/>
                </a:cubicBezTo>
                <a:cubicBezTo>
                  <a:pt x="581" y="205"/>
                  <a:pt x="581" y="205"/>
                  <a:pt x="581" y="205"/>
                </a:cubicBezTo>
                <a:cubicBezTo>
                  <a:pt x="581" y="206"/>
                  <a:pt x="581" y="206"/>
                  <a:pt x="580" y="206"/>
                </a:cubicBezTo>
                <a:cubicBezTo>
                  <a:pt x="580" y="206"/>
                  <a:pt x="580" y="206"/>
                  <a:pt x="580" y="206"/>
                </a:cubicBezTo>
                <a:cubicBezTo>
                  <a:pt x="580" y="206"/>
                  <a:pt x="580" y="206"/>
                  <a:pt x="580" y="205"/>
                </a:cubicBezTo>
                <a:cubicBezTo>
                  <a:pt x="580" y="205"/>
                  <a:pt x="579" y="206"/>
                  <a:pt x="579" y="206"/>
                </a:cubicBezTo>
                <a:cubicBezTo>
                  <a:pt x="579" y="205"/>
                  <a:pt x="580" y="205"/>
                  <a:pt x="580" y="205"/>
                </a:cubicBezTo>
                <a:cubicBezTo>
                  <a:pt x="580" y="204"/>
                  <a:pt x="580" y="204"/>
                  <a:pt x="580" y="204"/>
                </a:cubicBezTo>
                <a:cubicBezTo>
                  <a:pt x="579" y="204"/>
                  <a:pt x="579" y="204"/>
                  <a:pt x="579" y="204"/>
                </a:cubicBezTo>
                <a:cubicBezTo>
                  <a:pt x="579" y="204"/>
                  <a:pt x="578" y="204"/>
                  <a:pt x="578" y="204"/>
                </a:cubicBezTo>
                <a:cubicBezTo>
                  <a:pt x="578" y="204"/>
                  <a:pt x="578" y="204"/>
                  <a:pt x="578" y="204"/>
                </a:cubicBezTo>
                <a:cubicBezTo>
                  <a:pt x="578" y="203"/>
                  <a:pt x="578" y="203"/>
                  <a:pt x="577" y="203"/>
                </a:cubicBezTo>
                <a:cubicBezTo>
                  <a:pt x="577" y="203"/>
                  <a:pt x="577" y="203"/>
                  <a:pt x="577" y="203"/>
                </a:cubicBezTo>
                <a:cubicBezTo>
                  <a:pt x="577" y="203"/>
                  <a:pt x="576" y="203"/>
                  <a:pt x="576" y="203"/>
                </a:cubicBezTo>
                <a:cubicBezTo>
                  <a:pt x="576" y="203"/>
                  <a:pt x="576" y="202"/>
                  <a:pt x="576" y="202"/>
                </a:cubicBezTo>
                <a:cubicBezTo>
                  <a:pt x="576" y="202"/>
                  <a:pt x="576" y="202"/>
                  <a:pt x="576" y="202"/>
                </a:cubicBezTo>
                <a:cubicBezTo>
                  <a:pt x="575" y="202"/>
                  <a:pt x="575" y="202"/>
                  <a:pt x="575" y="202"/>
                </a:cubicBezTo>
                <a:cubicBezTo>
                  <a:pt x="575" y="202"/>
                  <a:pt x="575" y="202"/>
                  <a:pt x="575" y="202"/>
                </a:cubicBezTo>
                <a:cubicBezTo>
                  <a:pt x="575" y="202"/>
                  <a:pt x="575" y="202"/>
                  <a:pt x="575" y="201"/>
                </a:cubicBezTo>
                <a:cubicBezTo>
                  <a:pt x="574" y="201"/>
                  <a:pt x="574" y="201"/>
                  <a:pt x="573" y="201"/>
                </a:cubicBezTo>
                <a:cubicBezTo>
                  <a:pt x="573" y="202"/>
                  <a:pt x="573" y="202"/>
                  <a:pt x="573" y="202"/>
                </a:cubicBezTo>
                <a:cubicBezTo>
                  <a:pt x="573" y="201"/>
                  <a:pt x="573" y="201"/>
                  <a:pt x="572" y="201"/>
                </a:cubicBezTo>
                <a:cubicBezTo>
                  <a:pt x="572" y="201"/>
                  <a:pt x="572" y="200"/>
                  <a:pt x="572" y="200"/>
                </a:cubicBezTo>
                <a:cubicBezTo>
                  <a:pt x="572" y="200"/>
                  <a:pt x="572" y="200"/>
                  <a:pt x="572" y="200"/>
                </a:cubicBezTo>
                <a:cubicBezTo>
                  <a:pt x="572" y="200"/>
                  <a:pt x="571" y="200"/>
                  <a:pt x="570" y="199"/>
                </a:cubicBezTo>
                <a:cubicBezTo>
                  <a:pt x="570" y="199"/>
                  <a:pt x="570" y="199"/>
                  <a:pt x="570" y="199"/>
                </a:cubicBezTo>
                <a:cubicBezTo>
                  <a:pt x="570" y="198"/>
                  <a:pt x="570" y="198"/>
                  <a:pt x="570" y="198"/>
                </a:cubicBezTo>
                <a:cubicBezTo>
                  <a:pt x="570" y="198"/>
                  <a:pt x="570" y="198"/>
                  <a:pt x="571" y="198"/>
                </a:cubicBezTo>
                <a:cubicBezTo>
                  <a:pt x="571" y="198"/>
                  <a:pt x="571" y="198"/>
                  <a:pt x="571" y="198"/>
                </a:cubicBezTo>
                <a:cubicBezTo>
                  <a:pt x="571" y="198"/>
                  <a:pt x="572" y="197"/>
                  <a:pt x="572" y="197"/>
                </a:cubicBezTo>
                <a:cubicBezTo>
                  <a:pt x="572" y="198"/>
                  <a:pt x="572" y="198"/>
                  <a:pt x="572" y="198"/>
                </a:cubicBezTo>
                <a:cubicBezTo>
                  <a:pt x="573" y="198"/>
                  <a:pt x="573" y="199"/>
                  <a:pt x="573" y="199"/>
                </a:cubicBezTo>
                <a:cubicBezTo>
                  <a:pt x="574" y="199"/>
                  <a:pt x="574" y="199"/>
                  <a:pt x="575" y="199"/>
                </a:cubicBezTo>
                <a:cubicBezTo>
                  <a:pt x="575" y="199"/>
                  <a:pt x="575" y="199"/>
                  <a:pt x="575" y="199"/>
                </a:cubicBezTo>
                <a:cubicBezTo>
                  <a:pt x="575" y="199"/>
                  <a:pt x="575" y="200"/>
                  <a:pt x="576" y="200"/>
                </a:cubicBezTo>
                <a:cubicBezTo>
                  <a:pt x="576" y="200"/>
                  <a:pt x="576" y="200"/>
                  <a:pt x="576" y="200"/>
                </a:cubicBezTo>
                <a:cubicBezTo>
                  <a:pt x="576" y="200"/>
                  <a:pt x="576" y="200"/>
                  <a:pt x="576" y="199"/>
                </a:cubicBezTo>
                <a:cubicBezTo>
                  <a:pt x="576" y="199"/>
                  <a:pt x="575" y="199"/>
                  <a:pt x="575" y="199"/>
                </a:cubicBezTo>
                <a:cubicBezTo>
                  <a:pt x="575" y="199"/>
                  <a:pt x="575" y="198"/>
                  <a:pt x="575" y="198"/>
                </a:cubicBezTo>
                <a:cubicBezTo>
                  <a:pt x="575" y="198"/>
                  <a:pt x="576" y="198"/>
                  <a:pt x="576" y="198"/>
                </a:cubicBezTo>
                <a:cubicBezTo>
                  <a:pt x="576" y="198"/>
                  <a:pt x="576" y="198"/>
                  <a:pt x="576" y="198"/>
                </a:cubicBezTo>
                <a:cubicBezTo>
                  <a:pt x="576" y="199"/>
                  <a:pt x="576" y="199"/>
                  <a:pt x="576" y="199"/>
                </a:cubicBezTo>
                <a:cubicBezTo>
                  <a:pt x="577" y="199"/>
                  <a:pt x="577" y="199"/>
                  <a:pt x="577" y="199"/>
                </a:cubicBezTo>
                <a:cubicBezTo>
                  <a:pt x="577" y="199"/>
                  <a:pt x="577" y="200"/>
                  <a:pt x="578" y="200"/>
                </a:cubicBezTo>
                <a:cubicBezTo>
                  <a:pt x="578" y="200"/>
                  <a:pt x="578" y="200"/>
                  <a:pt x="578" y="200"/>
                </a:cubicBezTo>
                <a:cubicBezTo>
                  <a:pt x="579" y="200"/>
                  <a:pt x="579" y="200"/>
                  <a:pt x="579" y="200"/>
                </a:cubicBezTo>
                <a:cubicBezTo>
                  <a:pt x="579" y="200"/>
                  <a:pt x="579" y="201"/>
                  <a:pt x="579" y="201"/>
                </a:cubicBezTo>
                <a:cubicBezTo>
                  <a:pt x="580" y="201"/>
                  <a:pt x="580" y="201"/>
                  <a:pt x="580" y="202"/>
                </a:cubicBezTo>
                <a:cubicBezTo>
                  <a:pt x="581" y="201"/>
                  <a:pt x="581" y="201"/>
                  <a:pt x="581" y="201"/>
                </a:cubicBezTo>
                <a:cubicBezTo>
                  <a:pt x="581" y="201"/>
                  <a:pt x="581" y="201"/>
                  <a:pt x="581" y="201"/>
                </a:cubicBezTo>
                <a:cubicBezTo>
                  <a:pt x="580" y="200"/>
                  <a:pt x="580" y="200"/>
                  <a:pt x="580" y="199"/>
                </a:cubicBezTo>
                <a:cubicBezTo>
                  <a:pt x="580" y="199"/>
                  <a:pt x="580" y="199"/>
                  <a:pt x="580" y="199"/>
                </a:cubicBezTo>
                <a:cubicBezTo>
                  <a:pt x="580" y="199"/>
                  <a:pt x="580" y="199"/>
                  <a:pt x="581" y="199"/>
                </a:cubicBezTo>
                <a:cubicBezTo>
                  <a:pt x="581" y="200"/>
                  <a:pt x="581" y="200"/>
                  <a:pt x="581" y="200"/>
                </a:cubicBezTo>
                <a:cubicBezTo>
                  <a:pt x="581" y="200"/>
                  <a:pt x="581" y="201"/>
                  <a:pt x="581" y="201"/>
                </a:cubicBezTo>
                <a:cubicBezTo>
                  <a:pt x="581" y="201"/>
                  <a:pt x="582" y="201"/>
                  <a:pt x="582" y="201"/>
                </a:cubicBezTo>
                <a:cubicBezTo>
                  <a:pt x="582" y="201"/>
                  <a:pt x="582" y="201"/>
                  <a:pt x="582" y="201"/>
                </a:cubicBezTo>
                <a:cubicBezTo>
                  <a:pt x="582" y="201"/>
                  <a:pt x="583" y="202"/>
                  <a:pt x="583" y="202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4" y="201"/>
                  <a:pt x="584" y="201"/>
                </a:cubicBezTo>
                <a:cubicBezTo>
                  <a:pt x="584" y="201"/>
                  <a:pt x="584" y="201"/>
                  <a:pt x="584" y="202"/>
                </a:cubicBezTo>
                <a:cubicBezTo>
                  <a:pt x="584" y="202"/>
                  <a:pt x="584" y="202"/>
                  <a:pt x="584" y="202"/>
                </a:cubicBezTo>
                <a:cubicBezTo>
                  <a:pt x="584" y="202"/>
                  <a:pt x="584" y="201"/>
                  <a:pt x="584" y="201"/>
                </a:cubicBezTo>
                <a:cubicBezTo>
                  <a:pt x="584" y="201"/>
                  <a:pt x="585" y="201"/>
                  <a:pt x="585" y="201"/>
                </a:cubicBezTo>
                <a:cubicBezTo>
                  <a:pt x="585" y="201"/>
                  <a:pt x="585" y="202"/>
                  <a:pt x="585" y="202"/>
                </a:cubicBezTo>
                <a:cubicBezTo>
                  <a:pt x="585" y="202"/>
                  <a:pt x="585" y="202"/>
                  <a:pt x="585" y="202"/>
                </a:cubicBezTo>
                <a:cubicBezTo>
                  <a:pt x="586" y="202"/>
                  <a:pt x="586" y="202"/>
                  <a:pt x="586" y="202"/>
                </a:cubicBezTo>
                <a:cubicBezTo>
                  <a:pt x="586" y="202"/>
                  <a:pt x="586" y="202"/>
                  <a:pt x="587" y="202"/>
                </a:cubicBezTo>
                <a:cubicBezTo>
                  <a:pt x="587" y="202"/>
                  <a:pt x="587" y="202"/>
                  <a:pt x="587" y="202"/>
                </a:cubicBezTo>
                <a:cubicBezTo>
                  <a:pt x="587" y="202"/>
                  <a:pt x="587" y="203"/>
                  <a:pt x="586" y="203"/>
                </a:cubicBezTo>
                <a:cubicBezTo>
                  <a:pt x="587" y="203"/>
                  <a:pt x="587" y="203"/>
                  <a:pt x="587" y="204"/>
                </a:cubicBezTo>
                <a:cubicBezTo>
                  <a:pt x="587" y="204"/>
                  <a:pt x="588" y="204"/>
                  <a:pt x="588" y="204"/>
                </a:cubicBezTo>
                <a:cubicBezTo>
                  <a:pt x="588" y="204"/>
                  <a:pt x="588" y="204"/>
                  <a:pt x="589" y="204"/>
                </a:cubicBezTo>
                <a:cubicBezTo>
                  <a:pt x="589" y="204"/>
                  <a:pt x="589" y="204"/>
                  <a:pt x="589" y="203"/>
                </a:cubicBezTo>
                <a:cubicBezTo>
                  <a:pt x="589" y="203"/>
                  <a:pt x="588" y="203"/>
                  <a:pt x="588" y="203"/>
                </a:cubicBezTo>
                <a:cubicBezTo>
                  <a:pt x="588" y="203"/>
                  <a:pt x="588" y="203"/>
                  <a:pt x="588" y="202"/>
                </a:cubicBezTo>
                <a:cubicBezTo>
                  <a:pt x="588" y="202"/>
                  <a:pt x="588" y="202"/>
                  <a:pt x="587" y="201"/>
                </a:cubicBezTo>
                <a:cubicBezTo>
                  <a:pt x="588" y="201"/>
                  <a:pt x="588" y="201"/>
                  <a:pt x="588" y="201"/>
                </a:cubicBezTo>
                <a:cubicBezTo>
                  <a:pt x="588" y="201"/>
                  <a:pt x="589" y="201"/>
                  <a:pt x="589" y="201"/>
                </a:cubicBezTo>
                <a:cubicBezTo>
                  <a:pt x="589" y="201"/>
                  <a:pt x="590" y="201"/>
                  <a:pt x="590" y="201"/>
                </a:cubicBezTo>
                <a:cubicBezTo>
                  <a:pt x="590" y="201"/>
                  <a:pt x="590" y="201"/>
                  <a:pt x="590" y="201"/>
                </a:cubicBezTo>
                <a:cubicBezTo>
                  <a:pt x="590" y="201"/>
                  <a:pt x="590" y="201"/>
                  <a:pt x="589" y="201"/>
                </a:cubicBezTo>
                <a:cubicBezTo>
                  <a:pt x="590" y="200"/>
                  <a:pt x="590" y="200"/>
                  <a:pt x="590" y="200"/>
                </a:cubicBezTo>
                <a:cubicBezTo>
                  <a:pt x="590" y="200"/>
                  <a:pt x="590" y="199"/>
                  <a:pt x="590" y="199"/>
                </a:cubicBezTo>
                <a:cubicBezTo>
                  <a:pt x="589" y="198"/>
                  <a:pt x="589" y="198"/>
                  <a:pt x="589" y="198"/>
                </a:cubicBezTo>
                <a:cubicBezTo>
                  <a:pt x="589" y="197"/>
                  <a:pt x="589" y="197"/>
                  <a:pt x="589" y="197"/>
                </a:cubicBezTo>
                <a:cubicBezTo>
                  <a:pt x="589" y="196"/>
                  <a:pt x="589" y="196"/>
                  <a:pt x="589" y="196"/>
                </a:cubicBezTo>
                <a:cubicBezTo>
                  <a:pt x="589" y="196"/>
                  <a:pt x="589" y="196"/>
                  <a:pt x="589" y="197"/>
                </a:cubicBezTo>
                <a:cubicBezTo>
                  <a:pt x="589" y="197"/>
                  <a:pt x="589" y="197"/>
                  <a:pt x="589" y="197"/>
                </a:cubicBezTo>
                <a:cubicBezTo>
                  <a:pt x="589" y="198"/>
                  <a:pt x="589" y="198"/>
                  <a:pt x="590" y="198"/>
                </a:cubicBezTo>
                <a:cubicBezTo>
                  <a:pt x="590" y="198"/>
                  <a:pt x="591" y="199"/>
                  <a:pt x="591" y="199"/>
                </a:cubicBezTo>
                <a:cubicBezTo>
                  <a:pt x="591" y="199"/>
                  <a:pt x="591" y="199"/>
                  <a:pt x="592" y="199"/>
                </a:cubicBezTo>
                <a:cubicBezTo>
                  <a:pt x="591" y="198"/>
                  <a:pt x="591" y="198"/>
                  <a:pt x="591" y="198"/>
                </a:cubicBezTo>
                <a:cubicBezTo>
                  <a:pt x="591" y="198"/>
                  <a:pt x="591" y="197"/>
                  <a:pt x="592" y="197"/>
                </a:cubicBezTo>
                <a:cubicBezTo>
                  <a:pt x="592" y="197"/>
                  <a:pt x="591" y="196"/>
                  <a:pt x="591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1" y="195"/>
                  <a:pt x="591" y="195"/>
                  <a:pt x="590" y="195"/>
                </a:cubicBezTo>
                <a:cubicBezTo>
                  <a:pt x="590" y="194"/>
                  <a:pt x="590" y="194"/>
                  <a:pt x="590" y="194"/>
                </a:cubicBezTo>
                <a:cubicBezTo>
                  <a:pt x="590" y="194"/>
                  <a:pt x="590" y="194"/>
                  <a:pt x="589" y="194"/>
                </a:cubicBezTo>
                <a:cubicBezTo>
                  <a:pt x="589" y="193"/>
                  <a:pt x="589" y="193"/>
                  <a:pt x="589" y="193"/>
                </a:cubicBezTo>
                <a:cubicBezTo>
                  <a:pt x="589" y="193"/>
                  <a:pt x="589" y="193"/>
                  <a:pt x="589" y="192"/>
                </a:cubicBezTo>
                <a:cubicBezTo>
                  <a:pt x="588" y="192"/>
                  <a:pt x="588" y="192"/>
                  <a:pt x="588" y="192"/>
                </a:cubicBezTo>
                <a:cubicBezTo>
                  <a:pt x="588" y="192"/>
                  <a:pt x="589" y="192"/>
                  <a:pt x="589" y="192"/>
                </a:cubicBezTo>
                <a:cubicBezTo>
                  <a:pt x="589" y="192"/>
                  <a:pt x="589" y="192"/>
                  <a:pt x="589" y="191"/>
                </a:cubicBezTo>
                <a:cubicBezTo>
                  <a:pt x="590" y="191"/>
                  <a:pt x="590" y="191"/>
                  <a:pt x="590" y="191"/>
                </a:cubicBezTo>
                <a:cubicBezTo>
                  <a:pt x="590" y="191"/>
                  <a:pt x="590" y="191"/>
                  <a:pt x="590" y="191"/>
                </a:cubicBezTo>
                <a:cubicBezTo>
                  <a:pt x="589" y="191"/>
                  <a:pt x="589" y="191"/>
                  <a:pt x="589" y="191"/>
                </a:cubicBezTo>
                <a:cubicBezTo>
                  <a:pt x="588" y="191"/>
                  <a:pt x="588" y="191"/>
                  <a:pt x="588" y="191"/>
                </a:cubicBezTo>
                <a:cubicBezTo>
                  <a:pt x="587" y="191"/>
                  <a:pt x="587" y="191"/>
                  <a:pt x="587" y="191"/>
                </a:cubicBezTo>
                <a:cubicBezTo>
                  <a:pt x="587" y="191"/>
                  <a:pt x="587" y="191"/>
                  <a:pt x="587" y="191"/>
                </a:cubicBezTo>
                <a:cubicBezTo>
                  <a:pt x="587" y="191"/>
                  <a:pt x="587" y="191"/>
                  <a:pt x="587" y="190"/>
                </a:cubicBezTo>
                <a:cubicBezTo>
                  <a:pt x="587" y="190"/>
                  <a:pt x="588" y="190"/>
                  <a:pt x="588" y="190"/>
                </a:cubicBezTo>
                <a:cubicBezTo>
                  <a:pt x="588" y="190"/>
                  <a:pt x="588" y="189"/>
                  <a:pt x="588" y="189"/>
                </a:cubicBezTo>
                <a:cubicBezTo>
                  <a:pt x="588" y="189"/>
                  <a:pt x="588" y="189"/>
                  <a:pt x="587" y="189"/>
                </a:cubicBezTo>
                <a:cubicBezTo>
                  <a:pt x="587" y="189"/>
                  <a:pt x="587" y="189"/>
                  <a:pt x="587" y="189"/>
                </a:cubicBezTo>
                <a:cubicBezTo>
                  <a:pt x="587" y="189"/>
                  <a:pt x="587" y="189"/>
                  <a:pt x="587" y="189"/>
                </a:cubicBezTo>
                <a:cubicBezTo>
                  <a:pt x="587" y="189"/>
                  <a:pt x="587" y="190"/>
                  <a:pt x="586" y="190"/>
                </a:cubicBezTo>
                <a:cubicBezTo>
                  <a:pt x="586" y="190"/>
                  <a:pt x="586" y="189"/>
                  <a:pt x="586" y="189"/>
                </a:cubicBezTo>
                <a:cubicBezTo>
                  <a:pt x="586" y="189"/>
                  <a:pt x="586" y="189"/>
                  <a:pt x="586" y="190"/>
                </a:cubicBezTo>
                <a:cubicBezTo>
                  <a:pt x="585" y="190"/>
                  <a:pt x="585" y="190"/>
                  <a:pt x="585" y="190"/>
                </a:cubicBezTo>
                <a:cubicBezTo>
                  <a:pt x="585" y="190"/>
                  <a:pt x="584" y="190"/>
                  <a:pt x="584" y="190"/>
                </a:cubicBezTo>
                <a:cubicBezTo>
                  <a:pt x="585" y="190"/>
                  <a:pt x="585" y="189"/>
                  <a:pt x="585" y="189"/>
                </a:cubicBezTo>
                <a:cubicBezTo>
                  <a:pt x="585" y="189"/>
                  <a:pt x="585" y="189"/>
                  <a:pt x="585" y="189"/>
                </a:cubicBezTo>
                <a:cubicBezTo>
                  <a:pt x="585" y="189"/>
                  <a:pt x="585" y="189"/>
                  <a:pt x="585" y="189"/>
                </a:cubicBezTo>
                <a:cubicBezTo>
                  <a:pt x="585" y="188"/>
                  <a:pt x="585" y="188"/>
                  <a:pt x="584" y="188"/>
                </a:cubicBezTo>
                <a:cubicBezTo>
                  <a:pt x="584" y="188"/>
                  <a:pt x="584" y="188"/>
                  <a:pt x="584" y="188"/>
                </a:cubicBezTo>
                <a:cubicBezTo>
                  <a:pt x="584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9"/>
                </a:cubicBezTo>
                <a:cubicBezTo>
                  <a:pt x="583" y="189"/>
                  <a:pt x="583" y="189"/>
                  <a:pt x="583" y="189"/>
                </a:cubicBezTo>
                <a:cubicBezTo>
                  <a:pt x="583" y="189"/>
                  <a:pt x="583" y="189"/>
                  <a:pt x="583" y="189"/>
                </a:cubicBezTo>
                <a:cubicBezTo>
                  <a:pt x="583" y="189"/>
                  <a:pt x="583" y="189"/>
                  <a:pt x="583" y="188"/>
                </a:cubicBezTo>
                <a:cubicBezTo>
                  <a:pt x="582" y="188"/>
                  <a:pt x="582" y="188"/>
                  <a:pt x="582" y="188"/>
                </a:cubicBezTo>
                <a:cubicBezTo>
                  <a:pt x="582" y="188"/>
                  <a:pt x="582" y="188"/>
                  <a:pt x="582" y="188"/>
                </a:cubicBezTo>
                <a:cubicBezTo>
                  <a:pt x="582" y="188"/>
                  <a:pt x="582" y="187"/>
                  <a:pt x="582" y="187"/>
                </a:cubicBezTo>
                <a:cubicBezTo>
                  <a:pt x="582" y="187"/>
                  <a:pt x="582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6"/>
                  <a:pt x="581" y="186"/>
                  <a:pt x="581" y="186"/>
                </a:cubicBezTo>
                <a:cubicBezTo>
                  <a:pt x="581" y="186"/>
                  <a:pt x="581" y="186"/>
                  <a:pt x="582" y="186"/>
                </a:cubicBezTo>
                <a:cubicBezTo>
                  <a:pt x="582" y="186"/>
                  <a:pt x="582" y="186"/>
                  <a:pt x="582" y="186"/>
                </a:cubicBezTo>
                <a:cubicBezTo>
                  <a:pt x="582" y="186"/>
                  <a:pt x="582" y="185"/>
                  <a:pt x="582" y="185"/>
                </a:cubicBezTo>
                <a:cubicBezTo>
                  <a:pt x="581" y="185"/>
                  <a:pt x="581" y="185"/>
                  <a:pt x="581" y="185"/>
                </a:cubicBezTo>
                <a:cubicBezTo>
                  <a:pt x="580" y="185"/>
                  <a:pt x="580" y="185"/>
                  <a:pt x="580" y="185"/>
                </a:cubicBezTo>
                <a:cubicBezTo>
                  <a:pt x="580" y="185"/>
                  <a:pt x="580" y="185"/>
                  <a:pt x="581" y="185"/>
                </a:cubicBezTo>
                <a:cubicBezTo>
                  <a:pt x="581" y="185"/>
                  <a:pt x="581" y="184"/>
                  <a:pt x="581" y="184"/>
                </a:cubicBezTo>
                <a:cubicBezTo>
                  <a:pt x="581" y="184"/>
                  <a:pt x="581" y="184"/>
                  <a:pt x="581" y="184"/>
                </a:cubicBezTo>
                <a:cubicBezTo>
                  <a:pt x="581" y="184"/>
                  <a:pt x="581" y="184"/>
                  <a:pt x="581" y="184"/>
                </a:cubicBezTo>
                <a:cubicBezTo>
                  <a:pt x="580" y="184"/>
                  <a:pt x="580" y="184"/>
                  <a:pt x="579" y="184"/>
                </a:cubicBezTo>
                <a:cubicBezTo>
                  <a:pt x="579" y="184"/>
                  <a:pt x="579" y="184"/>
                  <a:pt x="579" y="184"/>
                </a:cubicBezTo>
                <a:cubicBezTo>
                  <a:pt x="579" y="185"/>
                  <a:pt x="579" y="185"/>
                  <a:pt x="579" y="185"/>
                </a:cubicBezTo>
                <a:cubicBezTo>
                  <a:pt x="578" y="185"/>
                  <a:pt x="577" y="185"/>
                  <a:pt x="577" y="186"/>
                </a:cubicBezTo>
                <a:cubicBezTo>
                  <a:pt x="577" y="185"/>
                  <a:pt x="577" y="185"/>
                  <a:pt x="577" y="185"/>
                </a:cubicBezTo>
                <a:cubicBezTo>
                  <a:pt x="578" y="185"/>
                  <a:pt x="578" y="184"/>
                  <a:pt x="579" y="184"/>
                </a:cubicBezTo>
                <a:cubicBezTo>
                  <a:pt x="579" y="184"/>
                  <a:pt x="579" y="183"/>
                  <a:pt x="579" y="183"/>
                </a:cubicBezTo>
                <a:cubicBezTo>
                  <a:pt x="579" y="183"/>
                  <a:pt x="579" y="183"/>
                  <a:pt x="579" y="183"/>
                </a:cubicBezTo>
                <a:cubicBezTo>
                  <a:pt x="579" y="183"/>
                  <a:pt x="579" y="183"/>
                  <a:pt x="578" y="183"/>
                </a:cubicBezTo>
                <a:cubicBezTo>
                  <a:pt x="578" y="183"/>
                  <a:pt x="578" y="183"/>
                  <a:pt x="578" y="183"/>
                </a:cubicBezTo>
                <a:cubicBezTo>
                  <a:pt x="578" y="183"/>
                  <a:pt x="578" y="183"/>
                  <a:pt x="578" y="183"/>
                </a:cubicBezTo>
                <a:cubicBezTo>
                  <a:pt x="578" y="182"/>
                  <a:pt x="578" y="182"/>
                  <a:pt x="578" y="182"/>
                </a:cubicBezTo>
                <a:cubicBezTo>
                  <a:pt x="577" y="182"/>
                  <a:pt x="577" y="182"/>
                  <a:pt x="577" y="182"/>
                </a:cubicBezTo>
                <a:cubicBezTo>
                  <a:pt x="577" y="182"/>
                  <a:pt x="577" y="182"/>
                  <a:pt x="577" y="182"/>
                </a:cubicBezTo>
                <a:cubicBezTo>
                  <a:pt x="577" y="182"/>
                  <a:pt x="577" y="182"/>
                  <a:pt x="577" y="181"/>
                </a:cubicBezTo>
                <a:cubicBezTo>
                  <a:pt x="577" y="181"/>
                  <a:pt x="577" y="181"/>
                  <a:pt x="577" y="181"/>
                </a:cubicBezTo>
                <a:cubicBezTo>
                  <a:pt x="577" y="181"/>
                  <a:pt x="577" y="181"/>
                  <a:pt x="576" y="181"/>
                </a:cubicBezTo>
                <a:cubicBezTo>
                  <a:pt x="576" y="181"/>
                  <a:pt x="575" y="181"/>
                  <a:pt x="575" y="181"/>
                </a:cubicBezTo>
                <a:cubicBezTo>
                  <a:pt x="575" y="181"/>
                  <a:pt x="574" y="181"/>
                  <a:pt x="574" y="181"/>
                </a:cubicBezTo>
                <a:cubicBezTo>
                  <a:pt x="574" y="181"/>
                  <a:pt x="573" y="181"/>
                  <a:pt x="573" y="181"/>
                </a:cubicBezTo>
                <a:cubicBezTo>
                  <a:pt x="574" y="181"/>
                  <a:pt x="574" y="180"/>
                  <a:pt x="575" y="180"/>
                </a:cubicBezTo>
                <a:cubicBezTo>
                  <a:pt x="575" y="180"/>
                  <a:pt x="575" y="180"/>
                  <a:pt x="575" y="180"/>
                </a:cubicBezTo>
                <a:cubicBezTo>
                  <a:pt x="576" y="180"/>
                  <a:pt x="576" y="180"/>
                  <a:pt x="576" y="180"/>
                </a:cubicBezTo>
                <a:cubicBezTo>
                  <a:pt x="576" y="180"/>
                  <a:pt x="576" y="180"/>
                  <a:pt x="577" y="180"/>
                </a:cubicBezTo>
                <a:cubicBezTo>
                  <a:pt x="577" y="180"/>
                  <a:pt x="577" y="180"/>
                  <a:pt x="577" y="180"/>
                </a:cubicBezTo>
                <a:cubicBezTo>
                  <a:pt x="577" y="180"/>
                  <a:pt x="577" y="180"/>
                  <a:pt x="578" y="180"/>
                </a:cubicBezTo>
                <a:cubicBezTo>
                  <a:pt x="578" y="180"/>
                  <a:pt x="578" y="180"/>
                  <a:pt x="579" y="180"/>
                </a:cubicBezTo>
                <a:cubicBezTo>
                  <a:pt x="579" y="181"/>
                  <a:pt x="579" y="181"/>
                  <a:pt x="579" y="181"/>
                </a:cubicBezTo>
                <a:cubicBezTo>
                  <a:pt x="579" y="181"/>
                  <a:pt x="579" y="181"/>
                  <a:pt x="579" y="181"/>
                </a:cubicBezTo>
                <a:cubicBezTo>
                  <a:pt x="579" y="181"/>
                  <a:pt x="579" y="182"/>
                  <a:pt x="579" y="182"/>
                </a:cubicBezTo>
                <a:cubicBezTo>
                  <a:pt x="579" y="182"/>
                  <a:pt x="580" y="182"/>
                  <a:pt x="580" y="182"/>
                </a:cubicBezTo>
                <a:cubicBezTo>
                  <a:pt x="580" y="182"/>
                  <a:pt x="580" y="182"/>
                  <a:pt x="580" y="182"/>
                </a:cubicBezTo>
                <a:cubicBezTo>
                  <a:pt x="581" y="182"/>
                  <a:pt x="581" y="182"/>
                  <a:pt x="581" y="182"/>
                </a:cubicBezTo>
                <a:cubicBezTo>
                  <a:pt x="581" y="182"/>
                  <a:pt x="581" y="182"/>
                  <a:pt x="581" y="182"/>
                </a:cubicBezTo>
                <a:cubicBezTo>
                  <a:pt x="582" y="182"/>
                  <a:pt x="582" y="182"/>
                  <a:pt x="582" y="182"/>
                </a:cubicBezTo>
                <a:cubicBezTo>
                  <a:pt x="583" y="182"/>
                  <a:pt x="583" y="182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2" y="180"/>
                  <a:pt x="582" y="180"/>
                  <a:pt x="582" y="180"/>
                </a:cubicBezTo>
                <a:cubicBezTo>
                  <a:pt x="582" y="180"/>
                  <a:pt x="582" y="180"/>
                  <a:pt x="581" y="180"/>
                </a:cubicBezTo>
                <a:cubicBezTo>
                  <a:pt x="581" y="180"/>
                  <a:pt x="581" y="180"/>
                  <a:pt x="581" y="180"/>
                </a:cubicBezTo>
                <a:cubicBezTo>
                  <a:pt x="581" y="180"/>
                  <a:pt x="581" y="179"/>
                  <a:pt x="581" y="179"/>
                </a:cubicBezTo>
                <a:cubicBezTo>
                  <a:pt x="581" y="179"/>
                  <a:pt x="581" y="179"/>
                  <a:pt x="581" y="179"/>
                </a:cubicBezTo>
                <a:cubicBezTo>
                  <a:pt x="580" y="179"/>
                  <a:pt x="580" y="179"/>
                  <a:pt x="580" y="178"/>
                </a:cubicBezTo>
                <a:cubicBezTo>
                  <a:pt x="580" y="178"/>
                  <a:pt x="580" y="178"/>
                  <a:pt x="580" y="178"/>
                </a:cubicBezTo>
                <a:cubicBezTo>
                  <a:pt x="580" y="178"/>
                  <a:pt x="581" y="178"/>
                  <a:pt x="581" y="178"/>
                </a:cubicBezTo>
                <a:cubicBezTo>
                  <a:pt x="581" y="179"/>
                  <a:pt x="581" y="179"/>
                  <a:pt x="581" y="179"/>
                </a:cubicBezTo>
                <a:cubicBezTo>
                  <a:pt x="581" y="179"/>
                  <a:pt x="582" y="179"/>
                  <a:pt x="582" y="179"/>
                </a:cubicBezTo>
                <a:cubicBezTo>
                  <a:pt x="582" y="179"/>
                  <a:pt x="582" y="179"/>
                  <a:pt x="583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2" y="179"/>
                  <a:pt x="582" y="179"/>
                  <a:pt x="583" y="179"/>
                </a:cubicBezTo>
                <a:cubicBezTo>
                  <a:pt x="583" y="179"/>
                  <a:pt x="583" y="179"/>
                  <a:pt x="583" y="179"/>
                </a:cubicBezTo>
                <a:cubicBezTo>
                  <a:pt x="583" y="178"/>
                  <a:pt x="583" y="178"/>
                  <a:pt x="583" y="178"/>
                </a:cubicBezTo>
                <a:cubicBezTo>
                  <a:pt x="583" y="178"/>
                  <a:pt x="582" y="178"/>
                  <a:pt x="582" y="177"/>
                </a:cubicBezTo>
                <a:cubicBezTo>
                  <a:pt x="582" y="177"/>
                  <a:pt x="581" y="177"/>
                  <a:pt x="581" y="177"/>
                </a:cubicBezTo>
                <a:cubicBezTo>
                  <a:pt x="581" y="177"/>
                  <a:pt x="582" y="177"/>
                  <a:pt x="582" y="177"/>
                </a:cubicBezTo>
                <a:cubicBezTo>
                  <a:pt x="582" y="177"/>
                  <a:pt x="582" y="177"/>
                  <a:pt x="583" y="177"/>
                </a:cubicBezTo>
                <a:cubicBezTo>
                  <a:pt x="583" y="177"/>
                  <a:pt x="583" y="177"/>
                  <a:pt x="583" y="178"/>
                </a:cubicBezTo>
                <a:cubicBezTo>
                  <a:pt x="584" y="177"/>
                  <a:pt x="584" y="177"/>
                  <a:pt x="584" y="177"/>
                </a:cubicBezTo>
                <a:cubicBezTo>
                  <a:pt x="584" y="177"/>
                  <a:pt x="584" y="177"/>
                  <a:pt x="584" y="177"/>
                </a:cubicBezTo>
                <a:cubicBezTo>
                  <a:pt x="584" y="177"/>
                  <a:pt x="584" y="176"/>
                  <a:pt x="584" y="176"/>
                </a:cubicBezTo>
                <a:cubicBezTo>
                  <a:pt x="584" y="176"/>
                  <a:pt x="584" y="176"/>
                  <a:pt x="584" y="176"/>
                </a:cubicBezTo>
                <a:cubicBezTo>
                  <a:pt x="584" y="176"/>
                  <a:pt x="584" y="176"/>
                  <a:pt x="584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8"/>
                  <a:pt x="585" y="178"/>
                </a:cubicBezTo>
                <a:cubicBezTo>
                  <a:pt x="585" y="178"/>
                  <a:pt x="585" y="178"/>
                  <a:pt x="585" y="178"/>
                </a:cubicBezTo>
                <a:cubicBezTo>
                  <a:pt x="585" y="178"/>
                  <a:pt x="585" y="178"/>
                  <a:pt x="586" y="178"/>
                </a:cubicBezTo>
                <a:cubicBezTo>
                  <a:pt x="586" y="178"/>
                  <a:pt x="586" y="178"/>
                  <a:pt x="586" y="178"/>
                </a:cubicBezTo>
                <a:cubicBezTo>
                  <a:pt x="586" y="178"/>
                  <a:pt x="586" y="178"/>
                  <a:pt x="586" y="178"/>
                </a:cubicBezTo>
                <a:cubicBezTo>
                  <a:pt x="586" y="179"/>
                  <a:pt x="586" y="179"/>
                  <a:pt x="586" y="179"/>
                </a:cubicBezTo>
                <a:cubicBezTo>
                  <a:pt x="585" y="179"/>
                  <a:pt x="585" y="179"/>
                  <a:pt x="585" y="179"/>
                </a:cubicBezTo>
                <a:cubicBezTo>
                  <a:pt x="585" y="179"/>
                  <a:pt x="586" y="179"/>
                  <a:pt x="586" y="179"/>
                </a:cubicBezTo>
                <a:cubicBezTo>
                  <a:pt x="586" y="179"/>
                  <a:pt x="586" y="179"/>
                  <a:pt x="586" y="179"/>
                </a:cubicBezTo>
                <a:cubicBezTo>
                  <a:pt x="587" y="179"/>
                  <a:pt x="587" y="179"/>
                  <a:pt x="587" y="179"/>
                </a:cubicBezTo>
                <a:cubicBezTo>
                  <a:pt x="587" y="179"/>
                  <a:pt x="587" y="179"/>
                  <a:pt x="587" y="180"/>
                </a:cubicBezTo>
                <a:cubicBezTo>
                  <a:pt x="587" y="180"/>
                  <a:pt x="587" y="180"/>
                  <a:pt x="587" y="180"/>
                </a:cubicBezTo>
                <a:cubicBezTo>
                  <a:pt x="587" y="180"/>
                  <a:pt x="587" y="180"/>
                  <a:pt x="588" y="180"/>
                </a:cubicBezTo>
                <a:cubicBezTo>
                  <a:pt x="588" y="180"/>
                  <a:pt x="588" y="180"/>
                  <a:pt x="588" y="179"/>
                </a:cubicBezTo>
                <a:cubicBezTo>
                  <a:pt x="589" y="179"/>
                  <a:pt x="590" y="179"/>
                  <a:pt x="590" y="178"/>
                </a:cubicBezTo>
                <a:cubicBezTo>
                  <a:pt x="590" y="178"/>
                  <a:pt x="591" y="178"/>
                  <a:pt x="591" y="177"/>
                </a:cubicBezTo>
                <a:cubicBezTo>
                  <a:pt x="591" y="177"/>
                  <a:pt x="591" y="178"/>
                  <a:pt x="591" y="178"/>
                </a:cubicBezTo>
                <a:cubicBezTo>
                  <a:pt x="591" y="178"/>
                  <a:pt x="591" y="178"/>
                  <a:pt x="591" y="178"/>
                </a:cubicBezTo>
                <a:cubicBezTo>
                  <a:pt x="591" y="178"/>
                  <a:pt x="591" y="178"/>
                  <a:pt x="590" y="179"/>
                </a:cubicBezTo>
                <a:cubicBezTo>
                  <a:pt x="590" y="179"/>
                  <a:pt x="590" y="179"/>
                  <a:pt x="589" y="179"/>
                </a:cubicBezTo>
                <a:cubicBezTo>
                  <a:pt x="589" y="180"/>
                  <a:pt x="589" y="180"/>
                  <a:pt x="588" y="180"/>
                </a:cubicBezTo>
                <a:cubicBezTo>
                  <a:pt x="588" y="181"/>
                  <a:pt x="588" y="181"/>
                  <a:pt x="588" y="181"/>
                </a:cubicBezTo>
                <a:cubicBezTo>
                  <a:pt x="588" y="181"/>
                  <a:pt x="589" y="181"/>
                  <a:pt x="589" y="181"/>
                </a:cubicBezTo>
                <a:cubicBezTo>
                  <a:pt x="589" y="181"/>
                  <a:pt x="590" y="181"/>
                  <a:pt x="590" y="181"/>
                </a:cubicBezTo>
                <a:cubicBezTo>
                  <a:pt x="590" y="180"/>
                  <a:pt x="591" y="180"/>
                  <a:pt x="591" y="180"/>
                </a:cubicBezTo>
                <a:cubicBezTo>
                  <a:pt x="591" y="180"/>
                  <a:pt x="592" y="180"/>
                  <a:pt x="592" y="179"/>
                </a:cubicBezTo>
                <a:cubicBezTo>
                  <a:pt x="592" y="179"/>
                  <a:pt x="593" y="179"/>
                  <a:pt x="593" y="179"/>
                </a:cubicBezTo>
                <a:cubicBezTo>
                  <a:pt x="593" y="179"/>
                  <a:pt x="593" y="178"/>
                  <a:pt x="594" y="178"/>
                </a:cubicBezTo>
                <a:cubicBezTo>
                  <a:pt x="594" y="178"/>
                  <a:pt x="594" y="178"/>
                  <a:pt x="594" y="178"/>
                </a:cubicBezTo>
                <a:cubicBezTo>
                  <a:pt x="594" y="178"/>
                  <a:pt x="595" y="177"/>
                  <a:pt x="595" y="177"/>
                </a:cubicBezTo>
                <a:cubicBezTo>
                  <a:pt x="595" y="177"/>
                  <a:pt x="595" y="177"/>
                  <a:pt x="596" y="177"/>
                </a:cubicBezTo>
                <a:cubicBezTo>
                  <a:pt x="596" y="177"/>
                  <a:pt x="596" y="177"/>
                  <a:pt x="596" y="177"/>
                </a:cubicBezTo>
                <a:cubicBezTo>
                  <a:pt x="596" y="177"/>
                  <a:pt x="595" y="177"/>
                  <a:pt x="595" y="178"/>
                </a:cubicBezTo>
                <a:cubicBezTo>
                  <a:pt x="595" y="178"/>
                  <a:pt x="595" y="178"/>
                  <a:pt x="595" y="178"/>
                </a:cubicBezTo>
                <a:cubicBezTo>
                  <a:pt x="594" y="178"/>
                  <a:pt x="594" y="179"/>
                  <a:pt x="594" y="179"/>
                </a:cubicBezTo>
                <a:cubicBezTo>
                  <a:pt x="594" y="179"/>
                  <a:pt x="594" y="179"/>
                  <a:pt x="594" y="179"/>
                </a:cubicBezTo>
                <a:cubicBezTo>
                  <a:pt x="593" y="180"/>
                  <a:pt x="593" y="180"/>
                  <a:pt x="593" y="180"/>
                </a:cubicBezTo>
                <a:cubicBezTo>
                  <a:pt x="592" y="180"/>
                  <a:pt x="592" y="180"/>
                  <a:pt x="592" y="180"/>
                </a:cubicBezTo>
                <a:cubicBezTo>
                  <a:pt x="591" y="180"/>
                  <a:pt x="591" y="181"/>
                  <a:pt x="591" y="181"/>
                </a:cubicBezTo>
                <a:cubicBezTo>
                  <a:pt x="591" y="181"/>
                  <a:pt x="591" y="181"/>
                  <a:pt x="590" y="182"/>
                </a:cubicBezTo>
                <a:cubicBezTo>
                  <a:pt x="590" y="182"/>
                  <a:pt x="590" y="182"/>
                  <a:pt x="590" y="182"/>
                </a:cubicBezTo>
                <a:cubicBezTo>
                  <a:pt x="590" y="182"/>
                  <a:pt x="591" y="182"/>
                  <a:pt x="591" y="182"/>
                </a:cubicBezTo>
                <a:cubicBezTo>
                  <a:pt x="591" y="182"/>
                  <a:pt x="591" y="182"/>
                  <a:pt x="591" y="182"/>
                </a:cubicBezTo>
                <a:cubicBezTo>
                  <a:pt x="592" y="182"/>
                  <a:pt x="592" y="181"/>
                  <a:pt x="592" y="181"/>
                </a:cubicBezTo>
                <a:cubicBezTo>
                  <a:pt x="592" y="181"/>
                  <a:pt x="593" y="181"/>
                  <a:pt x="593" y="182"/>
                </a:cubicBezTo>
                <a:cubicBezTo>
                  <a:pt x="593" y="182"/>
                  <a:pt x="592" y="182"/>
                  <a:pt x="592" y="182"/>
                </a:cubicBezTo>
                <a:cubicBezTo>
                  <a:pt x="592" y="182"/>
                  <a:pt x="592" y="182"/>
                  <a:pt x="591" y="182"/>
                </a:cubicBezTo>
                <a:cubicBezTo>
                  <a:pt x="591" y="182"/>
                  <a:pt x="591" y="182"/>
                  <a:pt x="591" y="182"/>
                </a:cubicBezTo>
                <a:cubicBezTo>
                  <a:pt x="591" y="182"/>
                  <a:pt x="591" y="183"/>
                  <a:pt x="591" y="183"/>
                </a:cubicBezTo>
                <a:cubicBezTo>
                  <a:pt x="591" y="183"/>
                  <a:pt x="591" y="183"/>
                  <a:pt x="591" y="183"/>
                </a:cubicBezTo>
                <a:cubicBezTo>
                  <a:pt x="592" y="183"/>
                  <a:pt x="592" y="183"/>
                  <a:pt x="592" y="182"/>
                </a:cubicBezTo>
                <a:cubicBezTo>
                  <a:pt x="592" y="182"/>
                  <a:pt x="592" y="182"/>
                  <a:pt x="593" y="182"/>
                </a:cubicBezTo>
                <a:cubicBezTo>
                  <a:pt x="592" y="183"/>
                  <a:pt x="592" y="183"/>
                  <a:pt x="592" y="183"/>
                </a:cubicBezTo>
                <a:cubicBezTo>
                  <a:pt x="592" y="183"/>
                  <a:pt x="591" y="183"/>
                  <a:pt x="591" y="183"/>
                </a:cubicBezTo>
                <a:cubicBezTo>
                  <a:pt x="591" y="183"/>
                  <a:pt x="591" y="184"/>
                  <a:pt x="591" y="184"/>
                </a:cubicBezTo>
                <a:cubicBezTo>
                  <a:pt x="591" y="184"/>
                  <a:pt x="591" y="184"/>
                  <a:pt x="591" y="184"/>
                </a:cubicBezTo>
                <a:cubicBezTo>
                  <a:pt x="591" y="184"/>
                  <a:pt x="592" y="184"/>
                  <a:pt x="592" y="184"/>
                </a:cubicBezTo>
                <a:cubicBezTo>
                  <a:pt x="592" y="184"/>
                  <a:pt x="592" y="184"/>
                  <a:pt x="593" y="184"/>
                </a:cubicBezTo>
                <a:cubicBezTo>
                  <a:pt x="593" y="184"/>
                  <a:pt x="593" y="184"/>
                  <a:pt x="593" y="184"/>
                </a:cubicBezTo>
                <a:cubicBezTo>
                  <a:pt x="594" y="184"/>
                  <a:pt x="594" y="184"/>
                  <a:pt x="594" y="184"/>
                </a:cubicBezTo>
                <a:cubicBezTo>
                  <a:pt x="594" y="184"/>
                  <a:pt x="593" y="184"/>
                  <a:pt x="593" y="184"/>
                </a:cubicBezTo>
                <a:cubicBezTo>
                  <a:pt x="593" y="184"/>
                  <a:pt x="593" y="184"/>
                  <a:pt x="593" y="184"/>
                </a:cubicBezTo>
                <a:cubicBezTo>
                  <a:pt x="593" y="184"/>
                  <a:pt x="593" y="184"/>
                  <a:pt x="592" y="185"/>
                </a:cubicBezTo>
                <a:cubicBezTo>
                  <a:pt x="592" y="185"/>
                  <a:pt x="592" y="185"/>
                  <a:pt x="592" y="185"/>
                </a:cubicBezTo>
                <a:cubicBezTo>
                  <a:pt x="592" y="185"/>
                  <a:pt x="592" y="185"/>
                  <a:pt x="592" y="185"/>
                </a:cubicBezTo>
                <a:cubicBezTo>
                  <a:pt x="592" y="185"/>
                  <a:pt x="593" y="185"/>
                  <a:pt x="593" y="186"/>
                </a:cubicBezTo>
                <a:cubicBezTo>
                  <a:pt x="593" y="186"/>
                  <a:pt x="593" y="186"/>
                  <a:pt x="593" y="186"/>
                </a:cubicBezTo>
                <a:cubicBezTo>
                  <a:pt x="593" y="186"/>
                  <a:pt x="593" y="186"/>
                  <a:pt x="593" y="186"/>
                </a:cubicBezTo>
                <a:cubicBezTo>
                  <a:pt x="593" y="186"/>
                  <a:pt x="593" y="186"/>
                  <a:pt x="594" y="186"/>
                </a:cubicBezTo>
                <a:cubicBezTo>
                  <a:pt x="594" y="185"/>
                  <a:pt x="594" y="185"/>
                  <a:pt x="594" y="185"/>
                </a:cubicBezTo>
                <a:cubicBezTo>
                  <a:pt x="594" y="185"/>
                  <a:pt x="594" y="184"/>
                  <a:pt x="594" y="184"/>
                </a:cubicBezTo>
                <a:cubicBezTo>
                  <a:pt x="594" y="184"/>
                  <a:pt x="595" y="184"/>
                  <a:pt x="595" y="184"/>
                </a:cubicBezTo>
                <a:cubicBezTo>
                  <a:pt x="595" y="184"/>
                  <a:pt x="595" y="185"/>
                  <a:pt x="595" y="185"/>
                </a:cubicBezTo>
                <a:cubicBezTo>
                  <a:pt x="595" y="185"/>
                  <a:pt x="595" y="185"/>
                  <a:pt x="595" y="185"/>
                </a:cubicBezTo>
                <a:cubicBezTo>
                  <a:pt x="594" y="185"/>
                  <a:pt x="594" y="185"/>
                  <a:pt x="594" y="185"/>
                </a:cubicBezTo>
                <a:cubicBezTo>
                  <a:pt x="594" y="185"/>
                  <a:pt x="594" y="185"/>
                  <a:pt x="594" y="186"/>
                </a:cubicBezTo>
                <a:cubicBezTo>
                  <a:pt x="594" y="186"/>
                  <a:pt x="595" y="186"/>
                  <a:pt x="595" y="186"/>
                </a:cubicBezTo>
                <a:cubicBezTo>
                  <a:pt x="595" y="186"/>
                  <a:pt x="594" y="186"/>
                  <a:pt x="594" y="186"/>
                </a:cubicBezTo>
                <a:cubicBezTo>
                  <a:pt x="595" y="186"/>
                  <a:pt x="595" y="186"/>
                  <a:pt x="595" y="186"/>
                </a:cubicBezTo>
                <a:cubicBezTo>
                  <a:pt x="595" y="186"/>
                  <a:pt x="595" y="186"/>
                  <a:pt x="595" y="186"/>
                </a:cubicBezTo>
                <a:cubicBezTo>
                  <a:pt x="595" y="186"/>
                  <a:pt x="595" y="186"/>
                  <a:pt x="596" y="186"/>
                </a:cubicBezTo>
                <a:cubicBezTo>
                  <a:pt x="596" y="186"/>
                  <a:pt x="596" y="186"/>
                  <a:pt x="596" y="186"/>
                </a:cubicBezTo>
                <a:cubicBezTo>
                  <a:pt x="596" y="186"/>
                  <a:pt x="596" y="186"/>
                  <a:pt x="597" y="186"/>
                </a:cubicBezTo>
                <a:cubicBezTo>
                  <a:pt x="597" y="186"/>
                  <a:pt x="597" y="186"/>
                  <a:pt x="597" y="186"/>
                </a:cubicBezTo>
                <a:cubicBezTo>
                  <a:pt x="597" y="186"/>
                  <a:pt x="596" y="186"/>
                  <a:pt x="596" y="186"/>
                </a:cubicBezTo>
                <a:cubicBezTo>
                  <a:pt x="596" y="186"/>
                  <a:pt x="596" y="186"/>
                  <a:pt x="596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8" y="187"/>
                </a:cubicBezTo>
                <a:cubicBezTo>
                  <a:pt x="598" y="187"/>
                  <a:pt x="598" y="187"/>
                  <a:pt x="598" y="187"/>
                </a:cubicBezTo>
                <a:cubicBezTo>
                  <a:pt x="598" y="187"/>
                  <a:pt x="598" y="187"/>
                  <a:pt x="598" y="187"/>
                </a:cubicBezTo>
                <a:cubicBezTo>
                  <a:pt x="599" y="187"/>
                  <a:pt x="599" y="187"/>
                  <a:pt x="599" y="187"/>
                </a:cubicBezTo>
                <a:cubicBezTo>
                  <a:pt x="599" y="186"/>
                  <a:pt x="599" y="186"/>
                  <a:pt x="599" y="186"/>
                </a:cubicBezTo>
                <a:cubicBezTo>
                  <a:pt x="599" y="186"/>
                  <a:pt x="599" y="186"/>
                  <a:pt x="599" y="186"/>
                </a:cubicBezTo>
                <a:cubicBezTo>
                  <a:pt x="599" y="185"/>
                  <a:pt x="599" y="185"/>
                  <a:pt x="598" y="185"/>
                </a:cubicBezTo>
                <a:cubicBezTo>
                  <a:pt x="598" y="185"/>
                  <a:pt x="598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4"/>
                  <a:pt x="599" y="184"/>
                </a:cubicBezTo>
                <a:cubicBezTo>
                  <a:pt x="599" y="184"/>
                  <a:pt x="599" y="184"/>
                  <a:pt x="599" y="184"/>
                </a:cubicBezTo>
                <a:cubicBezTo>
                  <a:pt x="599" y="184"/>
                  <a:pt x="599" y="184"/>
                  <a:pt x="599" y="184"/>
                </a:cubicBezTo>
                <a:cubicBezTo>
                  <a:pt x="599" y="184"/>
                  <a:pt x="599" y="184"/>
                  <a:pt x="599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8" y="183"/>
                  <a:pt x="598" y="183"/>
                </a:cubicBezTo>
                <a:cubicBezTo>
                  <a:pt x="598" y="183"/>
                  <a:pt x="598" y="183"/>
                  <a:pt x="598" y="183"/>
                </a:cubicBezTo>
                <a:cubicBezTo>
                  <a:pt x="598" y="183"/>
                  <a:pt x="598" y="183"/>
                  <a:pt x="598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9" y="182"/>
                  <a:pt x="599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8" y="182"/>
                  <a:pt x="598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9" y="182"/>
                  <a:pt x="600" y="181"/>
                </a:cubicBezTo>
                <a:cubicBezTo>
                  <a:pt x="599" y="181"/>
                  <a:pt x="599" y="181"/>
                  <a:pt x="599" y="180"/>
                </a:cubicBezTo>
                <a:cubicBezTo>
                  <a:pt x="599" y="180"/>
                  <a:pt x="599" y="180"/>
                  <a:pt x="599" y="180"/>
                </a:cubicBezTo>
                <a:cubicBezTo>
                  <a:pt x="600" y="180"/>
                  <a:pt x="600" y="180"/>
                  <a:pt x="600" y="180"/>
                </a:cubicBezTo>
                <a:cubicBezTo>
                  <a:pt x="600" y="180"/>
                  <a:pt x="600" y="181"/>
                  <a:pt x="600" y="181"/>
                </a:cubicBezTo>
                <a:cubicBezTo>
                  <a:pt x="600" y="181"/>
                  <a:pt x="600" y="181"/>
                  <a:pt x="600" y="181"/>
                </a:cubicBezTo>
                <a:cubicBezTo>
                  <a:pt x="600" y="181"/>
                  <a:pt x="600" y="182"/>
                  <a:pt x="600" y="182"/>
                </a:cubicBezTo>
                <a:cubicBezTo>
                  <a:pt x="600" y="182"/>
                  <a:pt x="601" y="182"/>
                  <a:pt x="601" y="182"/>
                </a:cubicBezTo>
                <a:cubicBezTo>
                  <a:pt x="601" y="182"/>
                  <a:pt x="601" y="182"/>
                  <a:pt x="602" y="182"/>
                </a:cubicBezTo>
                <a:cubicBezTo>
                  <a:pt x="602" y="181"/>
                  <a:pt x="602" y="181"/>
                  <a:pt x="602" y="181"/>
                </a:cubicBezTo>
                <a:cubicBezTo>
                  <a:pt x="602" y="181"/>
                  <a:pt x="602" y="181"/>
                  <a:pt x="602" y="181"/>
                </a:cubicBezTo>
                <a:cubicBezTo>
                  <a:pt x="602" y="181"/>
                  <a:pt x="602" y="181"/>
                  <a:pt x="602" y="182"/>
                </a:cubicBezTo>
                <a:cubicBezTo>
                  <a:pt x="602" y="182"/>
                  <a:pt x="602" y="182"/>
                  <a:pt x="603" y="182"/>
                </a:cubicBezTo>
                <a:cubicBezTo>
                  <a:pt x="603" y="182"/>
                  <a:pt x="603" y="182"/>
                  <a:pt x="603" y="182"/>
                </a:cubicBezTo>
                <a:cubicBezTo>
                  <a:pt x="603" y="182"/>
                  <a:pt x="603" y="182"/>
                  <a:pt x="603" y="182"/>
                </a:cubicBezTo>
                <a:cubicBezTo>
                  <a:pt x="603" y="181"/>
                  <a:pt x="603" y="181"/>
                  <a:pt x="603" y="181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3" y="180"/>
                  <a:pt x="603" y="180"/>
                  <a:pt x="602" y="180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4" y="180"/>
                  <a:pt x="604" y="180"/>
                  <a:pt x="604" y="180"/>
                </a:cubicBezTo>
                <a:cubicBezTo>
                  <a:pt x="604" y="180"/>
                  <a:pt x="604" y="180"/>
                  <a:pt x="604" y="180"/>
                </a:cubicBezTo>
                <a:cubicBezTo>
                  <a:pt x="605" y="180"/>
                  <a:pt x="605" y="180"/>
                  <a:pt x="605" y="180"/>
                </a:cubicBezTo>
                <a:cubicBezTo>
                  <a:pt x="605" y="180"/>
                  <a:pt x="605" y="180"/>
                  <a:pt x="605" y="180"/>
                </a:cubicBezTo>
                <a:cubicBezTo>
                  <a:pt x="605" y="180"/>
                  <a:pt x="605" y="179"/>
                  <a:pt x="605" y="179"/>
                </a:cubicBezTo>
                <a:cubicBezTo>
                  <a:pt x="605" y="179"/>
                  <a:pt x="605" y="179"/>
                  <a:pt x="605" y="179"/>
                </a:cubicBezTo>
                <a:cubicBezTo>
                  <a:pt x="604" y="178"/>
                  <a:pt x="604" y="178"/>
                  <a:pt x="603" y="178"/>
                </a:cubicBezTo>
                <a:cubicBezTo>
                  <a:pt x="603" y="178"/>
                  <a:pt x="603" y="178"/>
                  <a:pt x="603" y="178"/>
                </a:cubicBezTo>
                <a:cubicBezTo>
                  <a:pt x="603" y="178"/>
                  <a:pt x="603" y="178"/>
                  <a:pt x="603" y="178"/>
                </a:cubicBezTo>
                <a:cubicBezTo>
                  <a:pt x="604" y="178"/>
                  <a:pt x="604" y="178"/>
                  <a:pt x="604" y="178"/>
                </a:cubicBezTo>
                <a:cubicBezTo>
                  <a:pt x="604" y="178"/>
                  <a:pt x="605" y="178"/>
                  <a:pt x="605" y="178"/>
                </a:cubicBezTo>
                <a:cubicBezTo>
                  <a:pt x="605" y="179"/>
                  <a:pt x="605" y="179"/>
                  <a:pt x="605" y="179"/>
                </a:cubicBezTo>
                <a:cubicBezTo>
                  <a:pt x="606" y="179"/>
                  <a:pt x="606" y="179"/>
                  <a:pt x="607" y="179"/>
                </a:cubicBezTo>
                <a:cubicBezTo>
                  <a:pt x="607" y="178"/>
                  <a:pt x="607" y="178"/>
                  <a:pt x="607" y="178"/>
                </a:cubicBezTo>
                <a:cubicBezTo>
                  <a:pt x="607" y="178"/>
                  <a:pt x="607" y="178"/>
                  <a:pt x="607" y="178"/>
                </a:cubicBezTo>
                <a:cubicBezTo>
                  <a:pt x="607" y="178"/>
                  <a:pt x="607" y="178"/>
                  <a:pt x="606" y="178"/>
                </a:cubicBezTo>
                <a:cubicBezTo>
                  <a:pt x="606" y="178"/>
                  <a:pt x="606" y="177"/>
                  <a:pt x="606" y="177"/>
                </a:cubicBezTo>
                <a:cubicBezTo>
                  <a:pt x="605" y="177"/>
                  <a:pt x="605" y="177"/>
                  <a:pt x="605" y="178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5" y="177"/>
                  <a:pt x="605" y="177"/>
                  <a:pt x="605" y="177"/>
                </a:cubicBezTo>
                <a:cubicBezTo>
                  <a:pt x="605" y="177"/>
                  <a:pt x="606" y="177"/>
                  <a:pt x="606" y="177"/>
                </a:cubicBezTo>
                <a:cubicBezTo>
                  <a:pt x="606" y="177"/>
                  <a:pt x="606" y="177"/>
                  <a:pt x="606" y="177"/>
                </a:cubicBezTo>
                <a:cubicBezTo>
                  <a:pt x="606" y="176"/>
                  <a:pt x="606" y="176"/>
                  <a:pt x="606" y="176"/>
                </a:cubicBezTo>
                <a:cubicBezTo>
                  <a:pt x="605" y="176"/>
                  <a:pt x="605" y="176"/>
                  <a:pt x="605" y="176"/>
                </a:cubicBezTo>
                <a:cubicBezTo>
                  <a:pt x="605" y="176"/>
                  <a:pt x="605" y="176"/>
                  <a:pt x="605" y="176"/>
                </a:cubicBezTo>
                <a:cubicBezTo>
                  <a:pt x="605" y="176"/>
                  <a:pt x="605" y="175"/>
                  <a:pt x="605" y="175"/>
                </a:cubicBezTo>
                <a:cubicBezTo>
                  <a:pt x="605" y="175"/>
                  <a:pt x="606" y="176"/>
                  <a:pt x="606" y="176"/>
                </a:cubicBezTo>
                <a:cubicBezTo>
                  <a:pt x="606" y="176"/>
                  <a:pt x="606" y="176"/>
                  <a:pt x="607" y="176"/>
                </a:cubicBezTo>
                <a:cubicBezTo>
                  <a:pt x="607" y="176"/>
                  <a:pt x="607" y="176"/>
                  <a:pt x="607" y="176"/>
                </a:cubicBezTo>
                <a:cubicBezTo>
                  <a:pt x="607" y="176"/>
                  <a:pt x="607" y="176"/>
                  <a:pt x="607" y="177"/>
                </a:cubicBezTo>
                <a:cubicBezTo>
                  <a:pt x="607" y="177"/>
                  <a:pt x="607" y="177"/>
                  <a:pt x="607" y="177"/>
                </a:cubicBezTo>
                <a:cubicBezTo>
                  <a:pt x="608" y="177"/>
                  <a:pt x="608" y="177"/>
                  <a:pt x="609" y="176"/>
                </a:cubicBezTo>
                <a:cubicBezTo>
                  <a:pt x="609" y="176"/>
                  <a:pt x="609" y="176"/>
                  <a:pt x="609" y="176"/>
                </a:cubicBezTo>
                <a:cubicBezTo>
                  <a:pt x="610" y="176"/>
                  <a:pt x="610" y="176"/>
                  <a:pt x="610" y="176"/>
                </a:cubicBezTo>
                <a:cubicBezTo>
                  <a:pt x="610" y="176"/>
                  <a:pt x="611" y="176"/>
                  <a:pt x="611" y="176"/>
                </a:cubicBezTo>
                <a:cubicBezTo>
                  <a:pt x="611" y="175"/>
                  <a:pt x="611" y="175"/>
                  <a:pt x="611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09" y="176"/>
                  <a:pt x="609" y="176"/>
                </a:cubicBezTo>
                <a:cubicBezTo>
                  <a:pt x="608" y="176"/>
                  <a:pt x="608" y="176"/>
                  <a:pt x="608" y="175"/>
                </a:cubicBezTo>
                <a:cubicBezTo>
                  <a:pt x="608" y="175"/>
                  <a:pt x="609" y="175"/>
                  <a:pt x="609" y="175"/>
                </a:cubicBezTo>
                <a:cubicBezTo>
                  <a:pt x="609" y="175"/>
                  <a:pt x="609" y="175"/>
                  <a:pt x="610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09" y="174"/>
                  <a:pt x="609" y="174"/>
                </a:cubicBezTo>
                <a:cubicBezTo>
                  <a:pt x="609" y="174"/>
                  <a:pt x="609" y="174"/>
                  <a:pt x="610" y="174"/>
                </a:cubicBezTo>
                <a:cubicBezTo>
                  <a:pt x="609" y="174"/>
                  <a:pt x="609" y="174"/>
                  <a:pt x="609" y="174"/>
                </a:cubicBezTo>
                <a:cubicBezTo>
                  <a:pt x="609" y="174"/>
                  <a:pt x="609" y="174"/>
                  <a:pt x="609" y="174"/>
                </a:cubicBezTo>
                <a:cubicBezTo>
                  <a:pt x="608" y="174"/>
                  <a:pt x="608" y="174"/>
                  <a:pt x="608" y="174"/>
                </a:cubicBezTo>
                <a:cubicBezTo>
                  <a:pt x="608" y="174"/>
                  <a:pt x="608" y="174"/>
                  <a:pt x="608" y="174"/>
                </a:cubicBezTo>
                <a:cubicBezTo>
                  <a:pt x="609" y="174"/>
                  <a:pt x="609" y="174"/>
                  <a:pt x="609" y="173"/>
                </a:cubicBezTo>
                <a:cubicBezTo>
                  <a:pt x="609" y="173"/>
                  <a:pt x="609" y="173"/>
                  <a:pt x="609" y="174"/>
                </a:cubicBezTo>
                <a:cubicBezTo>
                  <a:pt x="609" y="174"/>
                  <a:pt x="610" y="174"/>
                  <a:pt x="610" y="174"/>
                </a:cubicBezTo>
                <a:cubicBezTo>
                  <a:pt x="610" y="174"/>
                  <a:pt x="610" y="174"/>
                  <a:pt x="610" y="174"/>
                </a:cubicBezTo>
                <a:cubicBezTo>
                  <a:pt x="610" y="174"/>
                  <a:pt x="610" y="174"/>
                  <a:pt x="610" y="174"/>
                </a:cubicBezTo>
                <a:cubicBezTo>
                  <a:pt x="611" y="174"/>
                  <a:pt x="611" y="174"/>
                  <a:pt x="612" y="174"/>
                </a:cubicBezTo>
                <a:cubicBezTo>
                  <a:pt x="612" y="174"/>
                  <a:pt x="612" y="174"/>
                  <a:pt x="612" y="174"/>
                </a:cubicBezTo>
                <a:cubicBezTo>
                  <a:pt x="612" y="174"/>
                  <a:pt x="612" y="174"/>
                  <a:pt x="612" y="174"/>
                </a:cubicBezTo>
                <a:cubicBezTo>
                  <a:pt x="612" y="174"/>
                  <a:pt x="612" y="173"/>
                  <a:pt x="612" y="173"/>
                </a:cubicBezTo>
                <a:cubicBezTo>
                  <a:pt x="612" y="173"/>
                  <a:pt x="612" y="173"/>
                  <a:pt x="611" y="173"/>
                </a:cubicBezTo>
                <a:cubicBezTo>
                  <a:pt x="611" y="173"/>
                  <a:pt x="611" y="173"/>
                  <a:pt x="611" y="173"/>
                </a:cubicBezTo>
                <a:cubicBezTo>
                  <a:pt x="611" y="172"/>
                  <a:pt x="611" y="172"/>
                  <a:pt x="611" y="172"/>
                </a:cubicBezTo>
                <a:cubicBezTo>
                  <a:pt x="610" y="172"/>
                  <a:pt x="610" y="172"/>
                  <a:pt x="610" y="173"/>
                </a:cubicBezTo>
                <a:cubicBezTo>
                  <a:pt x="610" y="172"/>
                  <a:pt x="610" y="172"/>
                  <a:pt x="610" y="172"/>
                </a:cubicBezTo>
                <a:cubicBezTo>
                  <a:pt x="610" y="172"/>
                  <a:pt x="610" y="171"/>
                  <a:pt x="609" y="171"/>
                </a:cubicBezTo>
                <a:cubicBezTo>
                  <a:pt x="609" y="171"/>
                  <a:pt x="609" y="172"/>
                  <a:pt x="609" y="172"/>
                </a:cubicBezTo>
                <a:cubicBezTo>
                  <a:pt x="608" y="172"/>
                  <a:pt x="608" y="172"/>
                  <a:pt x="608" y="172"/>
                </a:cubicBezTo>
                <a:cubicBezTo>
                  <a:pt x="608" y="171"/>
                  <a:pt x="608" y="171"/>
                  <a:pt x="609" y="171"/>
                </a:cubicBezTo>
                <a:cubicBezTo>
                  <a:pt x="609" y="171"/>
                  <a:pt x="608" y="171"/>
                  <a:pt x="608" y="171"/>
                </a:cubicBezTo>
                <a:cubicBezTo>
                  <a:pt x="608" y="171"/>
                  <a:pt x="607" y="171"/>
                  <a:pt x="607" y="172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72"/>
                  <a:pt x="607" y="173"/>
                  <a:pt x="607" y="173"/>
                </a:cubicBezTo>
                <a:cubicBezTo>
                  <a:pt x="607" y="173"/>
                  <a:pt x="607" y="173"/>
                  <a:pt x="607" y="173"/>
                </a:cubicBezTo>
                <a:cubicBezTo>
                  <a:pt x="606" y="173"/>
                  <a:pt x="606" y="173"/>
                  <a:pt x="606" y="173"/>
                </a:cubicBezTo>
                <a:cubicBezTo>
                  <a:pt x="606" y="172"/>
                  <a:pt x="606" y="172"/>
                  <a:pt x="606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3"/>
                  <a:pt x="604" y="173"/>
                  <a:pt x="604" y="173"/>
                </a:cubicBezTo>
                <a:cubicBezTo>
                  <a:pt x="604" y="173"/>
                  <a:pt x="604" y="174"/>
                  <a:pt x="604" y="174"/>
                </a:cubicBezTo>
                <a:cubicBezTo>
                  <a:pt x="604" y="174"/>
                  <a:pt x="604" y="173"/>
                  <a:pt x="604" y="173"/>
                </a:cubicBezTo>
                <a:cubicBezTo>
                  <a:pt x="604" y="173"/>
                  <a:pt x="604" y="173"/>
                  <a:pt x="604" y="172"/>
                </a:cubicBezTo>
                <a:cubicBezTo>
                  <a:pt x="604" y="172"/>
                  <a:pt x="604" y="172"/>
                  <a:pt x="605" y="171"/>
                </a:cubicBezTo>
                <a:cubicBezTo>
                  <a:pt x="605" y="171"/>
                  <a:pt x="605" y="171"/>
                  <a:pt x="605" y="171"/>
                </a:cubicBezTo>
                <a:cubicBezTo>
                  <a:pt x="604" y="171"/>
                  <a:pt x="604" y="171"/>
                  <a:pt x="604" y="171"/>
                </a:cubicBezTo>
                <a:cubicBezTo>
                  <a:pt x="603" y="172"/>
                  <a:pt x="603" y="172"/>
                  <a:pt x="603" y="172"/>
                </a:cubicBezTo>
                <a:cubicBezTo>
                  <a:pt x="603" y="173"/>
                  <a:pt x="603" y="173"/>
                  <a:pt x="603" y="173"/>
                </a:cubicBezTo>
                <a:cubicBezTo>
                  <a:pt x="602" y="173"/>
                  <a:pt x="602" y="173"/>
                  <a:pt x="602" y="173"/>
                </a:cubicBezTo>
                <a:cubicBezTo>
                  <a:pt x="602" y="173"/>
                  <a:pt x="602" y="173"/>
                  <a:pt x="601" y="173"/>
                </a:cubicBezTo>
                <a:cubicBezTo>
                  <a:pt x="601" y="173"/>
                  <a:pt x="601" y="173"/>
                  <a:pt x="601" y="173"/>
                </a:cubicBezTo>
                <a:cubicBezTo>
                  <a:pt x="601" y="173"/>
                  <a:pt x="601" y="173"/>
                  <a:pt x="602" y="172"/>
                </a:cubicBezTo>
                <a:cubicBezTo>
                  <a:pt x="602" y="172"/>
                  <a:pt x="602" y="172"/>
                  <a:pt x="603" y="172"/>
                </a:cubicBezTo>
                <a:cubicBezTo>
                  <a:pt x="603" y="171"/>
                  <a:pt x="603" y="171"/>
                  <a:pt x="603" y="171"/>
                </a:cubicBezTo>
                <a:cubicBezTo>
                  <a:pt x="603" y="171"/>
                  <a:pt x="603" y="171"/>
                  <a:pt x="604" y="170"/>
                </a:cubicBezTo>
                <a:cubicBezTo>
                  <a:pt x="604" y="170"/>
                  <a:pt x="604" y="170"/>
                  <a:pt x="604" y="170"/>
                </a:cubicBezTo>
                <a:cubicBezTo>
                  <a:pt x="604" y="170"/>
                  <a:pt x="604" y="170"/>
                  <a:pt x="605" y="170"/>
                </a:cubicBezTo>
                <a:cubicBezTo>
                  <a:pt x="605" y="169"/>
                  <a:pt x="605" y="169"/>
                  <a:pt x="605" y="169"/>
                </a:cubicBezTo>
                <a:cubicBezTo>
                  <a:pt x="604" y="169"/>
                  <a:pt x="604" y="169"/>
                  <a:pt x="604" y="169"/>
                </a:cubicBezTo>
                <a:cubicBezTo>
                  <a:pt x="604" y="169"/>
                  <a:pt x="603" y="170"/>
                  <a:pt x="603" y="170"/>
                </a:cubicBezTo>
                <a:cubicBezTo>
                  <a:pt x="603" y="170"/>
                  <a:pt x="602" y="170"/>
                  <a:pt x="602" y="171"/>
                </a:cubicBezTo>
                <a:cubicBezTo>
                  <a:pt x="602" y="171"/>
                  <a:pt x="602" y="171"/>
                  <a:pt x="601" y="171"/>
                </a:cubicBezTo>
                <a:cubicBezTo>
                  <a:pt x="601" y="171"/>
                  <a:pt x="601" y="171"/>
                  <a:pt x="601" y="172"/>
                </a:cubicBezTo>
                <a:cubicBezTo>
                  <a:pt x="601" y="171"/>
                  <a:pt x="601" y="171"/>
                  <a:pt x="601" y="171"/>
                </a:cubicBezTo>
                <a:cubicBezTo>
                  <a:pt x="601" y="171"/>
                  <a:pt x="601" y="170"/>
                  <a:pt x="602" y="170"/>
                </a:cubicBezTo>
                <a:cubicBezTo>
                  <a:pt x="602" y="170"/>
                  <a:pt x="601" y="170"/>
                  <a:pt x="601" y="170"/>
                </a:cubicBezTo>
                <a:cubicBezTo>
                  <a:pt x="601" y="170"/>
                  <a:pt x="601" y="170"/>
                  <a:pt x="600" y="170"/>
                </a:cubicBezTo>
                <a:cubicBezTo>
                  <a:pt x="600" y="170"/>
                  <a:pt x="600" y="171"/>
                  <a:pt x="600" y="171"/>
                </a:cubicBezTo>
                <a:cubicBezTo>
                  <a:pt x="599" y="171"/>
                  <a:pt x="599" y="171"/>
                  <a:pt x="598" y="171"/>
                </a:cubicBezTo>
                <a:cubicBezTo>
                  <a:pt x="598" y="171"/>
                  <a:pt x="598" y="171"/>
                  <a:pt x="597" y="171"/>
                </a:cubicBezTo>
                <a:cubicBezTo>
                  <a:pt x="597" y="171"/>
                  <a:pt x="597" y="171"/>
                  <a:pt x="597" y="171"/>
                </a:cubicBezTo>
                <a:cubicBezTo>
                  <a:pt x="597" y="171"/>
                  <a:pt x="597" y="171"/>
                  <a:pt x="598" y="171"/>
                </a:cubicBezTo>
                <a:cubicBezTo>
                  <a:pt x="599" y="170"/>
                  <a:pt x="599" y="170"/>
                  <a:pt x="600" y="170"/>
                </a:cubicBezTo>
                <a:cubicBezTo>
                  <a:pt x="600" y="170"/>
                  <a:pt x="599" y="170"/>
                  <a:pt x="599" y="170"/>
                </a:cubicBezTo>
                <a:cubicBezTo>
                  <a:pt x="599" y="170"/>
                  <a:pt x="598" y="170"/>
                  <a:pt x="598" y="170"/>
                </a:cubicBezTo>
                <a:cubicBezTo>
                  <a:pt x="598" y="170"/>
                  <a:pt x="599" y="170"/>
                  <a:pt x="599" y="170"/>
                </a:cubicBezTo>
                <a:cubicBezTo>
                  <a:pt x="599" y="170"/>
                  <a:pt x="599" y="169"/>
                  <a:pt x="600" y="169"/>
                </a:cubicBezTo>
                <a:cubicBezTo>
                  <a:pt x="600" y="169"/>
                  <a:pt x="599" y="169"/>
                  <a:pt x="599" y="169"/>
                </a:cubicBezTo>
                <a:cubicBezTo>
                  <a:pt x="599" y="169"/>
                  <a:pt x="599" y="169"/>
                  <a:pt x="598" y="169"/>
                </a:cubicBezTo>
                <a:cubicBezTo>
                  <a:pt x="598" y="169"/>
                  <a:pt x="598" y="169"/>
                  <a:pt x="598" y="169"/>
                </a:cubicBezTo>
                <a:cubicBezTo>
                  <a:pt x="599" y="168"/>
                  <a:pt x="599" y="168"/>
                  <a:pt x="599" y="168"/>
                </a:cubicBezTo>
                <a:cubicBezTo>
                  <a:pt x="599" y="168"/>
                  <a:pt x="599" y="168"/>
                  <a:pt x="599" y="168"/>
                </a:cubicBezTo>
                <a:close/>
                <a:moveTo>
                  <a:pt x="514" y="92"/>
                </a:moveTo>
                <a:cubicBezTo>
                  <a:pt x="514" y="93"/>
                  <a:pt x="515" y="93"/>
                  <a:pt x="515" y="93"/>
                </a:cubicBezTo>
                <a:cubicBezTo>
                  <a:pt x="515" y="93"/>
                  <a:pt x="515" y="94"/>
                  <a:pt x="515" y="94"/>
                </a:cubicBezTo>
                <a:cubicBezTo>
                  <a:pt x="515" y="94"/>
                  <a:pt x="515" y="95"/>
                  <a:pt x="515" y="95"/>
                </a:cubicBezTo>
                <a:cubicBezTo>
                  <a:pt x="516" y="95"/>
                  <a:pt x="516" y="95"/>
                  <a:pt x="517" y="95"/>
                </a:cubicBezTo>
                <a:cubicBezTo>
                  <a:pt x="517" y="95"/>
                  <a:pt x="517" y="95"/>
                  <a:pt x="517" y="95"/>
                </a:cubicBezTo>
                <a:cubicBezTo>
                  <a:pt x="517" y="94"/>
                  <a:pt x="517" y="94"/>
                  <a:pt x="517" y="94"/>
                </a:cubicBezTo>
                <a:cubicBezTo>
                  <a:pt x="517" y="94"/>
                  <a:pt x="517" y="94"/>
                  <a:pt x="517" y="94"/>
                </a:cubicBezTo>
                <a:cubicBezTo>
                  <a:pt x="517" y="94"/>
                  <a:pt x="517" y="94"/>
                  <a:pt x="517" y="93"/>
                </a:cubicBezTo>
                <a:cubicBezTo>
                  <a:pt x="517" y="93"/>
                  <a:pt x="517" y="92"/>
                  <a:pt x="517" y="92"/>
                </a:cubicBezTo>
                <a:cubicBezTo>
                  <a:pt x="517" y="92"/>
                  <a:pt x="517" y="91"/>
                  <a:pt x="517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5" y="91"/>
                  <a:pt x="514" y="91"/>
                  <a:pt x="514" y="92"/>
                </a:cubicBezTo>
                <a:cubicBezTo>
                  <a:pt x="514" y="92"/>
                  <a:pt x="514" y="92"/>
                  <a:pt x="514" y="92"/>
                </a:cubicBezTo>
                <a:cubicBezTo>
                  <a:pt x="514" y="92"/>
                  <a:pt x="514" y="92"/>
                  <a:pt x="514" y="92"/>
                </a:cubicBezTo>
                <a:close/>
                <a:moveTo>
                  <a:pt x="517" y="88"/>
                </a:moveTo>
                <a:cubicBezTo>
                  <a:pt x="517" y="87"/>
                  <a:pt x="517" y="87"/>
                  <a:pt x="517" y="87"/>
                </a:cubicBezTo>
                <a:cubicBezTo>
                  <a:pt x="517" y="87"/>
                  <a:pt x="517" y="87"/>
                  <a:pt x="517" y="87"/>
                </a:cubicBezTo>
                <a:cubicBezTo>
                  <a:pt x="517" y="87"/>
                  <a:pt x="516" y="87"/>
                  <a:pt x="516" y="87"/>
                </a:cubicBezTo>
                <a:cubicBezTo>
                  <a:pt x="516" y="87"/>
                  <a:pt x="516" y="86"/>
                  <a:pt x="516" y="86"/>
                </a:cubicBezTo>
                <a:cubicBezTo>
                  <a:pt x="516" y="86"/>
                  <a:pt x="516" y="86"/>
                  <a:pt x="516" y="86"/>
                </a:cubicBezTo>
                <a:cubicBezTo>
                  <a:pt x="516" y="87"/>
                  <a:pt x="516" y="87"/>
                  <a:pt x="516" y="87"/>
                </a:cubicBezTo>
                <a:cubicBezTo>
                  <a:pt x="516" y="87"/>
                  <a:pt x="516" y="87"/>
                  <a:pt x="516" y="87"/>
                </a:cubicBezTo>
                <a:cubicBezTo>
                  <a:pt x="516" y="88"/>
                  <a:pt x="516" y="88"/>
                  <a:pt x="517" y="88"/>
                </a:cubicBezTo>
                <a:close/>
                <a:moveTo>
                  <a:pt x="510" y="82"/>
                </a:moveTo>
                <a:cubicBezTo>
                  <a:pt x="510" y="82"/>
                  <a:pt x="510" y="81"/>
                  <a:pt x="510" y="81"/>
                </a:cubicBezTo>
                <a:cubicBezTo>
                  <a:pt x="509" y="81"/>
                  <a:pt x="509" y="82"/>
                  <a:pt x="509" y="82"/>
                </a:cubicBezTo>
                <a:cubicBezTo>
                  <a:pt x="508" y="82"/>
                  <a:pt x="508" y="82"/>
                  <a:pt x="508" y="82"/>
                </a:cubicBezTo>
                <a:cubicBezTo>
                  <a:pt x="508" y="82"/>
                  <a:pt x="508" y="82"/>
                  <a:pt x="507" y="82"/>
                </a:cubicBezTo>
                <a:cubicBezTo>
                  <a:pt x="508" y="82"/>
                  <a:pt x="508" y="81"/>
                  <a:pt x="508" y="81"/>
                </a:cubicBezTo>
                <a:cubicBezTo>
                  <a:pt x="508" y="81"/>
                  <a:pt x="507" y="81"/>
                  <a:pt x="507" y="81"/>
                </a:cubicBezTo>
                <a:cubicBezTo>
                  <a:pt x="506" y="81"/>
                  <a:pt x="506" y="81"/>
                  <a:pt x="505" y="81"/>
                </a:cubicBezTo>
                <a:cubicBezTo>
                  <a:pt x="505" y="81"/>
                  <a:pt x="505" y="81"/>
                  <a:pt x="505" y="81"/>
                </a:cubicBezTo>
                <a:cubicBezTo>
                  <a:pt x="504" y="81"/>
                  <a:pt x="504" y="81"/>
                  <a:pt x="504" y="81"/>
                </a:cubicBezTo>
                <a:cubicBezTo>
                  <a:pt x="503" y="81"/>
                  <a:pt x="503" y="81"/>
                  <a:pt x="503" y="81"/>
                </a:cubicBezTo>
                <a:cubicBezTo>
                  <a:pt x="503" y="81"/>
                  <a:pt x="502" y="81"/>
                  <a:pt x="502" y="81"/>
                </a:cubicBezTo>
                <a:cubicBezTo>
                  <a:pt x="502" y="81"/>
                  <a:pt x="502" y="81"/>
                  <a:pt x="502" y="81"/>
                </a:cubicBezTo>
                <a:cubicBezTo>
                  <a:pt x="502" y="81"/>
                  <a:pt x="501" y="81"/>
                  <a:pt x="501" y="81"/>
                </a:cubicBezTo>
                <a:cubicBezTo>
                  <a:pt x="501" y="81"/>
                  <a:pt x="501" y="81"/>
                  <a:pt x="500" y="81"/>
                </a:cubicBezTo>
                <a:cubicBezTo>
                  <a:pt x="500" y="81"/>
                  <a:pt x="500" y="81"/>
                  <a:pt x="499" y="81"/>
                </a:cubicBezTo>
                <a:cubicBezTo>
                  <a:pt x="499" y="81"/>
                  <a:pt x="499" y="81"/>
                  <a:pt x="499" y="81"/>
                </a:cubicBezTo>
                <a:cubicBezTo>
                  <a:pt x="498" y="81"/>
                  <a:pt x="498" y="81"/>
                  <a:pt x="497" y="82"/>
                </a:cubicBezTo>
                <a:cubicBezTo>
                  <a:pt x="497" y="82"/>
                  <a:pt x="497" y="82"/>
                  <a:pt x="497" y="82"/>
                </a:cubicBezTo>
                <a:cubicBezTo>
                  <a:pt x="496" y="83"/>
                  <a:pt x="496" y="83"/>
                  <a:pt x="496" y="84"/>
                </a:cubicBezTo>
                <a:cubicBezTo>
                  <a:pt x="496" y="84"/>
                  <a:pt x="496" y="84"/>
                  <a:pt x="497" y="85"/>
                </a:cubicBezTo>
                <a:cubicBezTo>
                  <a:pt x="497" y="85"/>
                  <a:pt x="497" y="85"/>
                  <a:pt x="497" y="85"/>
                </a:cubicBezTo>
                <a:cubicBezTo>
                  <a:pt x="498" y="84"/>
                  <a:pt x="498" y="84"/>
                  <a:pt x="499" y="84"/>
                </a:cubicBezTo>
                <a:cubicBezTo>
                  <a:pt x="499" y="84"/>
                  <a:pt x="499" y="85"/>
                  <a:pt x="500" y="85"/>
                </a:cubicBezTo>
                <a:cubicBezTo>
                  <a:pt x="500" y="85"/>
                  <a:pt x="500" y="85"/>
                  <a:pt x="501" y="85"/>
                </a:cubicBezTo>
                <a:cubicBezTo>
                  <a:pt x="501" y="85"/>
                  <a:pt x="502" y="85"/>
                  <a:pt x="502" y="84"/>
                </a:cubicBezTo>
                <a:cubicBezTo>
                  <a:pt x="503" y="85"/>
                  <a:pt x="503" y="85"/>
                  <a:pt x="504" y="85"/>
                </a:cubicBezTo>
                <a:cubicBezTo>
                  <a:pt x="505" y="85"/>
                  <a:pt x="505" y="85"/>
                  <a:pt x="506" y="84"/>
                </a:cubicBezTo>
                <a:cubicBezTo>
                  <a:pt x="506" y="85"/>
                  <a:pt x="507" y="85"/>
                  <a:pt x="507" y="85"/>
                </a:cubicBezTo>
                <a:cubicBezTo>
                  <a:pt x="508" y="85"/>
                  <a:pt x="508" y="84"/>
                  <a:pt x="508" y="84"/>
                </a:cubicBezTo>
                <a:cubicBezTo>
                  <a:pt x="509" y="84"/>
                  <a:pt x="509" y="84"/>
                  <a:pt x="510" y="83"/>
                </a:cubicBezTo>
                <a:cubicBezTo>
                  <a:pt x="510" y="83"/>
                  <a:pt x="511" y="83"/>
                  <a:pt x="511" y="83"/>
                </a:cubicBezTo>
                <a:cubicBezTo>
                  <a:pt x="511" y="83"/>
                  <a:pt x="511" y="83"/>
                  <a:pt x="512" y="83"/>
                </a:cubicBezTo>
                <a:cubicBezTo>
                  <a:pt x="511" y="83"/>
                  <a:pt x="511" y="83"/>
                  <a:pt x="511" y="82"/>
                </a:cubicBezTo>
                <a:cubicBezTo>
                  <a:pt x="511" y="82"/>
                  <a:pt x="511" y="82"/>
                  <a:pt x="511" y="82"/>
                </a:cubicBezTo>
                <a:cubicBezTo>
                  <a:pt x="511" y="82"/>
                  <a:pt x="511" y="82"/>
                  <a:pt x="510" y="82"/>
                </a:cubicBezTo>
                <a:close/>
                <a:moveTo>
                  <a:pt x="493" y="89"/>
                </a:moveTo>
                <a:cubicBezTo>
                  <a:pt x="492" y="89"/>
                  <a:pt x="491" y="90"/>
                  <a:pt x="490" y="90"/>
                </a:cubicBezTo>
                <a:cubicBezTo>
                  <a:pt x="490" y="90"/>
                  <a:pt x="490" y="90"/>
                  <a:pt x="490" y="90"/>
                </a:cubicBezTo>
                <a:cubicBezTo>
                  <a:pt x="490" y="90"/>
                  <a:pt x="490" y="90"/>
                  <a:pt x="490" y="90"/>
                </a:cubicBezTo>
                <a:cubicBezTo>
                  <a:pt x="489" y="91"/>
                  <a:pt x="489" y="91"/>
                  <a:pt x="489" y="91"/>
                </a:cubicBezTo>
                <a:cubicBezTo>
                  <a:pt x="490" y="91"/>
                  <a:pt x="490" y="91"/>
                  <a:pt x="490" y="92"/>
                </a:cubicBezTo>
                <a:cubicBezTo>
                  <a:pt x="490" y="92"/>
                  <a:pt x="491" y="92"/>
                  <a:pt x="491" y="92"/>
                </a:cubicBezTo>
                <a:cubicBezTo>
                  <a:pt x="491" y="92"/>
                  <a:pt x="490" y="92"/>
                  <a:pt x="490" y="92"/>
                </a:cubicBezTo>
                <a:cubicBezTo>
                  <a:pt x="490" y="92"/>
                  <a:pt x="489" y="92"/>
                  <a:pt x="488" y="91"/>
                </a:cubicBezTo>
                <a:cubicBezTo>
                  <a:pt x="488" y="92"/>
                  <a:pt x="488" y="92"/>
                  <a:pt x="488" y="92"/>
                </a:cubicBezTo>
                <a:cubicBezTo>
                  <a:pt x="489" y="92"/>
                  <a:pt x="489" y="93"/>
                  <a:pt x="489" y="93"/>
                </a:cubicBezTo>
                <a:cubicBezTo>
                  <a:pt x="489" y="93"/>
                  <a:pt x="490" y="93"/>
                  <a:pt x="490" y="93"/>
                </a:cubicBezTo>
                <a:cubicBezTo>
                  <a:pt x="491" y="93"/>
                  <a:pt x="491" y="94"/>
                  <a:pt x="492" y="94"/>
                </a:cubicBezTo>
                <a:cubicBezTo>
                  <a:pt x="492" y="94"/>
                  <a:pt x="492" y="94"/>
                  <a:pt x="493" y="94"/>
                </a:cubicBezTo>
                <a:cubicBezTo>
                  <a:pt x="493" y="94"/>
                  <a:pt x="492" y="94"/>
                  <a:pt x="492" y="94"/>
                </a:cubicBezTo>
                <a:cubicBezTo>
                  <a:pt x="492" y="94"/>
                  <a:pt x="491" y="94"/>
                  <a:pt x="491" y="94"/>
                </a:cubicBezTo>
                <a:cubicBezTo>
                  <a:pt x="491" y="95"/>
                  <a:pt x="491" y="95"/>
                  <a:pt x="491" y="95"/>
                </a:cubicBezTo>
                <a:cubicBezTo>
                  <a:pt x="492" y="95"/>
                  <a:pt x="492" y="96"/>
                  <a:pt x="493" y="96"/>
                </a:cubicBezTo>
                <a:cubicBezTo>
                  <a:pt x="493" y="96"/>
                  <a:pt x="494" y="96"/>
                  <a:pt x="494" y="96"/>
                </a:cubicBezTo>
                <a:cubicBezTo>
                  <a:pt x="494" y="96"/>
                  <a:pt x="494" y="96"/>
                  <a:pt x="494" y="97"/>
                </a:cubicBezTo>
                <a:cubicBezTo>
                  <a:pt x="494" y="96"/>
                  <a:pt x="494" y="96"/>
                  <a:pt x="494" y="96"/>
                </a:cubicBezTo>
                <a:cubicBezTo>
                  <a:pt x="493" y="96"/>
                  <a:pt x="492" y="97"/>
                  <a:pt x="492" y="97"/>
                </a:cubicBezTo>
                <a:cubicBezTo>
                  <a:pt x="492" y="97"/>
                  <a:pt x="492" y="97"/>
                  <a:pt x="492" y="97"/>
                </a:cubicBezTo>
                <a:cubicBezTo>
                  <a:pt x="492" y="97"/>
                  <a:pt x="491" y="97"/>
                  <a:pt x="491" y="97"/>
                </a:cubicBezTo>
                <a:cubicBezTo>
                  <a:pt x="491" y="98"/>
                  <a:pt x="491" y="98"/>
                  <a:pt x="491" y="98"/>
                </a:cubicBezTo>
                <a:cubicBezTo>
                  <a:pt x="492" y="98"/>
                  <a:pt x="492" y="98"/>
                  <a:pt x="493" y="97"/>
                </a:cubicBezTo>
                <a:cubicBezTo>
                  <a:pt x="493" y="97"/>
                  <a:pt x="493" y="97"/>
                  <a:pt x="493" y="98"/>
                </a:cubicBezTo>
                <a:cubicBezTo>
                  <a:pt x="494" y="97"/>
                  <a:pt x="495" y="97"/>
                  <a:pt x="495" y="97"/>
                </a:cubicBezTo>
                <a:cubicBezTo>
                  <a:pt x="495" y="97"/>
                  <a:pt x="495" y="97"/>
                  <a:pt x="496" y="97"/>
                </a:cubicBezTo>
                <a:cubicBezTo>
                  <a:pt x="496" y="97"/>
                  <a:pt x="496" y="97"/>
                  <a:pt x="497" y="97"/>
                </a:cubicBezTo>
                <a:cubicBezTo>
                  <a:pt x="497" y="97"/>
                  <a:pt x="497" y="97"/>
                  <a:pt x="497" y="97"/>
                </a:cubicBezTo>
                <a:cubicBezTo>
                  <a:pt x="498" y="98"/>
                  <a:pt x="498" y="98"/>
                  <a:pt x="499" y="98"/>
                </a:cubicBezTo>
                <a:cubicBezTo>
                  <a:pt x="499" y="98"/>
                  <a:pt x="499" y="98"/>
                  <a:pt x="500" y="98"/>
                </a:cubicBezTo>
                <a:cubicBezTo>
                  <a:pt x="499" y="98"/>
                  <a:pt x="499" y="97"/>
                  <a:pt x="499" y="97"/>
                </a:cubicBezTo>
                <a:cubicBezTo>
                  <a:pt x="500" y="97"/>
                  <a:pt x="500" y="97"/>
                  <a:pt x="500" y="97"/>
                </a:cubicBezTo>
                <a:cubicBezTo>
                  <a:pt x="500" y="97"/>
                  <a:pt x="501" y="97"/>
                  <a:pt x="501" y="97"/>
                </a:cubicBezTo>
                <a:cubicBezTo>
                  <a:pt x="501" y="97"/>
                  <a:pt x="502" y="97"/>
                  <a:pt x="502" y="97"/>
                </a:cubicBezTo>
                <a:cubicBezTo>
                  <a:pt x="502" y="97"/>
                  <a:pt x="502" y="97"/>
                  <a:pt x="502" y="97"/>
                </a:cubicBezTo>
                <a:cubicBezTo>
                  <a:pt x="502" y="97"/>
                  <a:pt x="502" y="98"/>
                  <a:pt x="502" y="98"/>
                </a:cubicBezTo>
                <a:cubicBezTo>
                  <a:pt x="502" y="98"/>
                  <a:pt x="502" y="99"/>
                  <a:pt x="502" y="99"/>
                </a:cubicBezTo>
                <a:cubicBezTo>
                  <a:pt x="502" y="99"/>
                  <a:pt x="502" y="100"/>
                  <a:pt x="502" y="100"/>
                </a:cubicBezTo>
                <a:cubicBezTo>
                  <a:pt x="502" y="100"/>
                  <a:pt x="502" y="101"/>
                  <a:pt x="502" y="101"/>
                </a:cubicBezTo>
                <a:cubicBezTo>
                  <a:pt x="502" y="101"/>
                  <a:pt x="503" y="101"/>
                  <a:pt x="503" y="101"/>
                </a:cubicBezTo>
                <a:cubicBezTo>
                  <a:pt x="503" y="102"/>
                  <a:pt x="503" y="102"/>
                  <a:pt x="503" y="102"/>
                </a:cubicBezTo>
                <a:cubicBezTo>
                  <a:pt x="503" y="102"/>
                  <a:pt x="503" y="103"/>
                  <a:pt x="503" y="103"/>
                </a:cubicBezTo>
                <a:cubicBezTo>
                  <a:pt x="503" y="103"/>
                  <a:pt x="503" y="103"/>
                  <a:pt x="503" y="104"/>
                </a:cubicBezTo>
                <a:cubicBezTo>
                  <a:pt x="502" y="104"/>
                  <a:pt x="502" y="104"/>
                  <a:pt x="501" y="105"/>
                </a:cubicBezTo>
                <a:cubicBezTo>
                  <a:pt x="501" y="105"/>
                  <a:pt x="500" y="105"/>
                  <a:pt x="500" y="105"/>
                </a:cubicBezTo>
                <a:cubicBezTo>
                  <a:pt x="500" y="105"/>
                  <a:pt x="500" y="106"/>
                  <a:pt x="500" y="106"/>
                </a:cubicBezTo>
                <a:cubicBezTo>
                  <a:pt x="499" y="106"/>
                  <a:pt x="499" y="107"/>
                  <a:pt x="499" y="107"/>
                </a:cubicBezTo>
                <a:cubicBezTo>
                  <a:pt x="499" y="107"/>
                  <a:pt x="499" y="107"/>
                  <a:pt x="499" y="108"/>
                </a:cubicBezTo>
                <a:cubicBezTo>
                  <a:pt x="499" y="108"/>
                  <a:pt x="498" y="108"/>
                  <a:pt x="498" y="108"/>
                </a:cubicBezTo>
                <a:cubicBezTo>
                  <a:pt x="498" y="108"/>
                  <a:pt x="498" y="109"/>
                  <a:pt x="497" y="109"/>
                </a:cubicBezTo>
                <a:cubicBezTo>
                  <a:pt x="498" y="109"/>
                  <a:pt x="498" y="109"/>
                  <a:pt x="498" y="110"/>
                </a:cubicBezTo>
                <a:cubicBezTo>
                  <a:pt x="498" y="110"/>
                  <a:pt x="498" y="110"/>
                  <a:pt x="499" y="110"/>
                </a:cubicBezTo>
                <a:cubicBezTo>
                  <a:pt x="499" y="110"/>
                  <a:pt x="499" y="110"/>
                  <a:pt x="499" y="110"/>
                </a:cubicBezTo>
                <a:cubicBezTo>
                  <a:pt x="498" y="110"/>
                  <a:pt x="498" y="110"/>
                  <a:pt x="498" y="111"/>
                </a:cubicBezTo>
                <a:cubicBezTo>
                  <a:pt x="498" y="111"/>
                  <a:pt x="498" y="111"/>
                  <a:pt x="498" y="111"/>
                </a:cubicBezTo>
                <a:cubicBezTo>
                  <a:pt x="498" y="111"/>
                  <a:pt x="498" y="111"/>
                  <a:pt x="498" y="111"/>
                </a:cubicBezTo>
                <a:cubicBezTo>
                  <a:pt x="498" y="112"/>
                  <a:pt x="498" y="112"/>
                  <a:pt x="498" y="112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98" y="113"/>
                  <a:pt x="498" y="113"/>
                  <a:pt x="498" y="114"/>
                </a:cubicBezTo>
                <a:cubicBezTo>
                  <a:pt x="498" y="114"/>
                  <a:pt x="499" y="114"/>
                  <a:pt x="499" y="114"/>
                </a:cubicBezTo>
                <a:cubicBezTo>
                  <a:pt x="499" y="114"/>
                  <a:pt x="499" y="114"/>
                  <a:pt x="499" y="114"/>
                </a:cubicBezTo>
                <a:cubicBezTo>
                  <a:pt x="499" y="114"/>
                  <a:pt x="500" y="114"/>
                  <a:pt x="500" y="114"/>
                </a:cubicBezTo>
                <a:cubicBezTo>
                  <a:pt x="500" y="114"/>
                  <a:pt x="500" y="114"/>
                  <a:pt x="501" y="114"/>
                </a:cubicBezTo>
                <a:cubicBezTo>
                  <a:pt x="501" y="114"/>
                  <a:pt x="501" y="114"/>
                  <a:pt x="501" y="113"/>
                </a:cubicBezTo>
                <a:cubicBezTo>
                  <a:pt x="501" y="113"/>
                  <a:pt x="501" y="113"/>
                  <a:pt x="501" y="113"/>
                </a:cubicBezTo>
                <a:cubicBezTo>
                  <a:pt x="501" y="113"/>
                  <a:pt x="501" y="113"/>
                  <a:pt x="502" y="113"/>
                </a:cubicBezTo>
                <a:cubicBezTo>
                  <a:pt x="502" y="113"/>
                  <a:pt x="502" y="113"/>
                  <a:pt x="502" y="113"/>
                </a:cubicBezTo>
                <a:cubicBezTo>
                  <a:pt x="502" y="113"/>
                  <a:pt x="503" y="112"/>
                  <a:pt x="503" y="112"/>
                </a:cubicBezTo>
                <a:cubicBezTo>
                  <a:pt x="503" y="112"/>
                  <a:pt x="503" y="112"/>
                  <a:pt x="503" y="112"/>
                </a:cubicBezTo>
                <a:cubicBezTo>
                  <a:pt x="503" y="113"/>
                  <a:pt x="503" y="113"/>
                  <a:pt x="503" y="113"/>
                </a:cubicBezTo>
                <a:cubicBezTo>
                  <a:pt x="503" y="113"/>
                  <a:pt x="502" y="113"/>
                  <a:pt x="502" y="114"/>
                </a:cubicBezTo>
                <a:cubicBezTo>
                  <a:pt x="502" y="114"/>
                  <a:pt x="502" y="114"/>
                  <a:pt x="502" y="114"/>
                </a:cubicBezTo>
                <a:cubicBezTo>
                  <a:pt x="502" y="114"/>
                  <a:pt x="502" y="114"/>
                  <a:pt x="502" y="114"/>
                </a:cubicBezTo>
                <a:cubicBezTo>
                  <a:pt x="503" y="114"/>
                  <a:pt x="503" y="114"/>
                  <a:pt x="503" y="115"/>
                </a:cubicBezTo>
                <a:cubicBezTo>
                  <a:pt x="503" y="115"/>
                  <a:pt x="504" y="115"/>
                  <a:pt x="504" y="115"/>
                </a:cubicBezTo>
                <a:cubicBezTo>
                  <a:pt x="504" y="115"/>
                  <a:pt x="505" y="115"/>
                  <a:pt x="505" y="115"/>
                </a:cubicBezTo>
                <a:cubicBezTo>
                  <a:pt x="505" y="115"/>
                  <a:pt x="505" y="115"/>
                  <a:pt x="505" y="115"/>
                </a:cubicBezTo>
                <a:cubicBezTo>
                  <a:pt x="506" y="115"/>
                  <a:pt x="506" y="115"/>
                  <a:pt x="507" y="115"/>
                </a:cubicBezTo>
                <a:cubicBezTo>
                  <a:pt x="507" y="115"/>
                  <a:pt x="507" y="114"/>
                  <a:pt x="507" y="114"/>
                </a:cubicBezTo>
                <a:cubicBezTo>
                  <a:pt x="508" y="114"/>
                  <a:pt x="508" y="114"/>
                  <a:pt x="509" y="114"/>
                </a:cubicBezTo>
                <a:cubicBezTo>
                  <a:pt x="509" y="113"/>
                  <a:pt x="509" y="113"/>
                  <a:pt x="508" y="113"/>
                </a:cubicBezTo>
                <a:cubicBezTo>
                  <a:pt x="509" y="113"/>
                  <a:pt x="509" y="113"/>
                  <a:pt x="509" y="113"/>
                </a:cubicBezTo>
                <a:cubicBezTo>
                  <a:pt x="509" y="112"/>
                  <a:pt x="509" y="112"/>
                  <a:pt x="510" y="112"/>
                </a:cubicBezTo>
                <a:cubicBezTo>
                  <a:pt x="510" y="112"/>
                  <a:pt x="510" y="112"/>
                  <a:pt x="510" y="113"/>
                </a:cubicBezTo>
                <a:cubicBezTo>
                  <a:pt x="510" y="113"/>
                  <a:pt x="510" y="113"/>
                  <a:pt x="510" y="113"/>
                </a:cubicBezTo>
                <a:cubicBezTo>
                  <a:pt x="510" y="113"/>
                  <a:pt x="510" y="113"/>
                  <a:pt x="510" y="113"/>
                </a:cubicBezTo>
                <a:cubicBezTo>
                  <a:pt x="510" y="113"/>
                  <a:pt x="510" y="113"/>
                  <a:pt x="511" y="113"/>
                </a:cubicBezTo>
                <a:cubicBezTo>
                  <a:pt x="511" y="113"/>
                  <a:pt x="511" y="112"/>
                  <a:pt x="511" y="112"/>
                </a:cubicBezTo>
                <a:cubicBezTo>
                  <a:pt x="511" y="112"/>
                  <a:pt x="511" y="112"/>
                  <a:pt x="512" y="112"/>
                </a:cubicBezTo>
                <a:cubicBezTo>
                  <a:pt x="512" y="112"/>
                  <a:pt x="512" y="112"/>
                  <a:pt x="512" y="112"/>
                </a:cubicBezTo>
                <a:cubicBezTo>
                  <a:pt x="512" y="112"/>
                  <a:pt x="512" y="112"/>
                  <a:pt x="512" y="113"/>
                </a:cubicBezTo>
                <a:cubicBezTo>
                  <a:pt x="511" y="113"/>
                  <a:pt x="511" y="114"/>
                  <a:pt x="511" y="114"/>
                </a:cubicBezTo>
                <a:cubicBezTo>
                  <a:pt x="510" y="114"/>
                  <a:pt x="510" y="115"/>
                  <a:pt x="510" y="115"/>
                </a:cubicBezTo>
                <a:cubicBezTo>
                  <a:pt x="510" y="115"/>
                  <a:pt x="510" y="115"/>
                  <a:pt x="510" y="115"/>
                </a:cubicBezTo>
                <a:cubicBezTo>
                  <a:pt x="511" y="115"/>
                  <a:pt x="511" y="115"/>
                  <a:pt x="511" y="115"/>
                </a:cubicBezTo>
                <a:cubicBezTo>
                  <a:pt x="512" y="115"/>
                  <a:pt x="512" y="116"/>
                  <a:pt x="513" y="116"/>
                </a:cubicBezTo>
                <a:cubicBezTo>
                  <a:pt x="513" y="116"/>
                  <a:pt x="513" y="115"/>
                  <a:pt x="514" y="115"/>
                </a:cubicBezTo>
                <a:cubicBezTo>
                  <a:pt x="514" y="115"/>
                  <a:pt x="514" y="115"/>
                  <a:pt x="514" y="116"/>
                </a:cubicBezTo>
                <a:cubicBezTo>
                  <a:pt x="514" y="115"/>
                  <a:pt x="515" y="115"/>
                  <a:pt x="515" y="115"/>
                </a:cubicBezTo>
                <a:cubicBezTo>
                  <a:pt x="515" y="115"/>
                  <a:pt x="515" y="115"/>
                  <a:pt x="515" y="115"/>
                </a:cubicBezTo>
                <a:cubicBezTo>
                  <a:pt x="516" y="115"/>
                  <a:pt x="516" y="115"/>
                  <a:pt x="517" y="115"/>
                </a:cubicBezTo>
                <a:cubicBezTo>
                  <a:pt x="517" y="115"/>
                  <a:pt x="516" y="115"/>
                  <a:pt x="516" y="115"/>
                </a:cubicBezTo>
                <a:cubicBezTo>
                  <a:pt x="516" y="115"/>
                  <a:pt x="517" y="115"/>
                  <a:pt x="517" y="115"/>
                </a:cubicBezTo>
                <a:cubicBezTo>
                  <a:pt x="517" y="115"/>
                  <a:pt x="517" y="115"/>
                  <a:pt x="517" y="115"/>
                </a:cubicBezTo>
                <a:cubicBezTo>
                  <a:pt x="518" y="115"/>
                  <a:pt x="518" y="115"/>
                  <a:pt x="518" y="115"/>
                </a:cubicBezTo>
                <a:cubicBezTo>
                  <a:pt x="519" y="115"/>
                  <a:pt x="519" y="115"/>
                  <a:pt x="519" y="115"/>
                </a:cubicBezTo>
                <a:cubicBezTo>
                  <a:pt x="519" y="115"/>
                  <a:pt x="519" y="115"/>
                  <a:pt x="519" y="115"/>
                </a:cubicBezTo>
                <a:cubicBezTo>
                  <a:pt x="519" y="114"/>
                  <a:pt x="519" y="114"/>
                  <a:pt x="519" y="114"/>
                </a:cubicBezTo>
                <a:cubicBezTo>
                  <a:pt x="519" y="114"/>
                  <a:pt x="519" y="114"/>
                  <a:pt x="519" y="113"/>
                </a:cubicBezTo>
                <a:cubicBezTo>
                  <a:pt x="519" y="113"/>
                  <a:pt x="519" y="114"/>
                  <a:pt x="520" y="114"/>
                </a:cubicBezTo>
                <a:cubicBezTo>
                  <a:pt x="519" y="114"/>
                  <a:pt x="519" y="114"/>
                  <a:pt x="519" y="114"/>
                </a:cubicBezTo>
                <a:cubicBezTo>
                  <a:pt x="520" y="115"/>
                  <a:pt x="520" y="115"/>
                  <a:pt x="520" y="115"/>
                </a:cubicBezTo>
                <a:cubicBezTo>
                  <a:pt x="520" y="115"/>
                  <a:pt x="520" y="115"/>
                  <a:pt x="521" y="115"/>
                </a:cubicBezTo>
                <a:cubicBezTo>
                  <a:pt x="521" y="115"/>
                  <a:pt x="521" y="114"/>
                  <a:pt x="521" y="114"/>
                </a:cubicBezTo>
                <a:cubicBezTo>
                  <a:pt x="521" y="114"/>
                  <a:pt x="521" y="114"/>
                  <a:pt x="521" y="114"/>
                </a:cubicBezTo>
                <a:cubicBezTo>
                  <a:pt x="521" y="114"/>
                  <a:pt x="522" y="114"/>
                  <a:pt x="522" y="113"/>
                </a:cubicBezTo>
                <a:cubicBezTo>
                  <a:pt x="522" y="114"/>
                  <a:pt x="522" y="114"/>
                  <a:pt x="522" y="114"/>
                </a:cubicBezTo>
                <a:cubicBezTo>
                  <a:pt x="522" y="114"/>
                  <a:pt x="522" y="114"/>
                  <a:pt x="521" y="114"/>
                </a:cubicBezTo>
                <a:cubicBezTo>
                  <a:pt x="522" y="115"/>
                  <a:pt x="522" y="115"/>
                  <a:pt x="522" y="115"/>
                </a:cubicBezTo>
                <a:cubicBezTo>
                  <a:pt x="522" y="115"/>
                  <a:pt x="523" y="115"/>
                  <a:pt x="523" y="115"/>
                </a:cubicBezTo>
                <a:cubicBezTo>
                  <a:pt x="523" y="114"/>
                  <a:pt x="524" y="114"/>
                  <a:pt x="524" y="114"/>
                </a:cubicBezTo>
                <a:cubicBezTo>
                  <a:pt x="524" y="114"/>
                  <a:pt x="524" y="113"/>
                  <a:pt x="525" y="113"/>
                </a:cubicBezTo>
                <a:cubicBezTo>
                  <a:pt x="525" y="113"/>
                  <a:pt x="525" y="113"/>
                  <a:pt x="525" y="113"/>
                </a:cubicBezTo>
                <a:cubicBezTo>
                  <a:pt x="525" y="113"/>
                  <a:pt x="525" y="114"/>
                  <a:pt x="524" y="114"/>
                </a:cubicBezTo>
                <a:cubicBezTo>
                  <a:pt x="524" y="114"/>
                  <a:pt x="525" y="114"/>
                  <a:pt x="525" y="114"/>
                </a:cubicBezTo>
                <a:cubicBezTo>
                  <a:pt x="525" y="114"/>
                  <a:pt x="525" y="114"/>
                  <a:pt x="526" y="114"/>
                </a:cubicBezTo>
                <a:cubicBezTo>
                  <a:pt x="526" y="114"/>
                  <a:pt x="526" y="113"/>
                  <a:pt x="526" y="113"/>
                </a:cubicBezTo>
                <a:cubicBezTo>
                  <a:pt x="526" y="113"/>
                  <a:pt x="526" y="112"/>
                  <a:pt x="527" y="112"/>
                </a:cubicBezTo>
                <a:cubicBezTo>
                  <a:pt x="527" y="113"/>
                  <a:pt x="527" y="113"/>
                  <a:pt x="527" y="114"/>
                </a:cubicBezTo>
                <a:cubicBezTo>
                  <a:pt x="527" y="114"/>
                  <a:pt x="527" y="114"/>
                  <a:pt x="527" y="114"/>
                </a:cubicBezTo>
                <a:cubicBezTo>
                  <a:pt x="527" y="114"/>
                  <a:pt x="528" y="114"/>
                  <a:pt x="528" y="114"/>
                </a:cubicBezTo>
                <a:cubicBezTo>
                  <a:pt x="529" y="114"/>
                  <a:pt x="529" y="114"/>
                  <a:pt x="530" y="114"/>
                </a:cubicBezTo>
                <a:cubicBezTo>
                  <a:pt x="530" y="114"/>
                  <a:pt x="530" y="114"/>
                  <a:pt x="531" y="114"/>
                </a:cubicBezTo>
                <a:cubicBezTo>
                  <a:pt x="531" y="114"/>
                  <a:pt x="531" y="114"/>
                  <a:pt x="531" y="114"/>
                </a:cubicBezTo>
                <a:cubicBezTo>
                  <a:pt x="532" y="114"/>
                  <a:pt x="532" y="114"/>
                  <a:pt x="532" y="114"/>
                </a:cubicBezTo>
                <a:cubicBezTo>
                  <a:pt x="532" y="114"/>
                  <a:pt x="533" y="114"/>
                  <a:pt x="533" y="113"/>
                </a:cubicBezTo>
                <a:cubicBezTo>
                  <a:pt x="533" y="113"/>
                  <a:pt x="534" y="113"/>
                  <a:pt x="534" y="113"/>
                </a:cubicBezTo>
                <a:cubicBezTo>
                  <a:pt x="534" y="113"/>
                  <a:pt x="534" y="112"/>
                  <a:pt x="534" y="112"/>
                </a:cubicBezTo>
                <a:cubicBezTo>
                  <a:pt x="534" y="112"/>
                  <a:pt x="534" y="112"/>
                  <a:pt x="535" y="111"/>
                </a:cubicBezTo>
                <a:cubicBezTo>
                  <a:pt x="535" y="111"/>
                  <a:pt x="535" y="111"/>
                  <a:pt x="535" y="111"/>
                </a:cubicBezTo>
                <a:cubicBezTo>
                  <a:pt x="535" y="111"/>
                  <a:pt x="535" y="110"/>
                  <a:pt x="534" y="110"/>
                </a:cubicBezTo>
                <a:cubicBezTo>
                  <a:pt x="534" y="110"/>
                  <a:pt x="535" y="110"/>
                  <a:pt x="535" y="109"/>
                </a:cubicBezTo>
                <a:cubicBezTo>
                  <a:pt x="535" y="109"/>
                  <a:pt x="535" y="109"/>
                  <a:pt x="535" y="109"/>
                </a:cubicBezTo>
                <a:cubicBezTo>
                  <a:pt x="535" y="110"/>
                  <a:pt x="535" y="110"/>
                  <a:pt x="535" y="110"/>
                </a:cubicBezTo>
                <a:cubicBezTo>
                  <a:pt x="536" y="110"/>
                  <a:pt x="536" y="110"/>
                  <a:pt x="536" y="110"/>
                </a:cubicBezTo>
                <a:cubicBezTo>
                  <a:pt x="536" y="110"/>
                  <a:pt x="536" y="111"/>
                  <a:pt x="536" y="111"/>
                </a:cubicBezTo>
                <a:cubicBezTo>
                  <a:pt x="536" y="111"/>
                  <a:pt x="536" y="111"/>
                  <a:pt x="536" y="111"/>
                </a:cubicBezTo>
                <a:cubicBezTo>
                  <a:pt x="535" y="112"/>
                  <a:pt x="535" y="112"/>
                  <a:pt x="535" y="112"/>
                </a:cubicBezTo>
                <a:cubicBezTo>
                  <a:pt x="535" y="113"/>
                  <a:pt x="536" y="113"/>
                  <a:pt x="536" y="114"/>
                </a:cubicBezTo>
                <a:cubicBezTo>
                  <a:pt x="536" y="114"/>
                  <a:pt x="537" y="114"/>
                  <a:pt x="537" y="114"/>
                </a:cubicBezTo>
                <a:cubicBezTo>
                  <a:pt x="537" y="114"/>
                  <a:pt x="538" y="113"/>
                  <a:pt x="538" y="113"/>
                </a:cubicBezTo>
                <a:cubicBezTo>
                  <a:pt x="538" y="113"/>
                  <a:pt x="538" y="114"/>
                  <a:pt x="538" y="114"/>
                </a:cubicBezTo>
                <a:cubicBezTo>
                  <a:pt x="539" y="114"/>
                  <a:pt x="539" y="114"/>
                  <a:pt x="540" y="114"/>
                </a:cubicBezTo>
                <a:cubicBezTo>
                  <a:pt x="540" y="114"/>
                  <a:pt x="540" y="114"/>
                  <a:pt x="540" y="114"/>
                </a:cubicBezTo>
                <a:cubicBezTo>
                  <a:pt x="540" y="114"/>
                  <a:pt x="541" y="114"/>
                  <a:pt x="541" y="114"/>
                </a:cubicBezTo>
                <a:cubicBezTo>
                  <a:pt x="542" y="113"/>
                  <a:pt x="542" y="113"/>
                  <a:pt x="543" y="113"/>
                </a:cubicBezTo>
                <a:cubicBezTo>
                  <a:pt x="543" y="112"/>
                  <a:pt x="544" y="112"/>
                  <a:pt x="544" y="112"/>
                </a:cubicBezTo>
                <a:cubicBezTo>
                  <a:pt x="545" y="112"/>
                  <a:pt x="545" y="112"/>
                  <a:pt x="546" y="112"/>
                </a:cubicBezTo>
                <a:cubicBezTo>
                  <a:pt x="546" y="112"/>
                  <a:pt x="546" y="112"/>
                  <a:pt x="547" y="112"/>
                </a:cubicBezTo>
                <a:cubicBezTo>
                  <a:pt x="547" y="112"/>
                  <a:pt x="547" y="112"/>
                  <a:pt x="548" y="112"/>
                </a:cubicBezTo>
                <a:cubicBezTo>
                  <a:pt x="548" y="112"/>
                  <a:pt x="548" y="112"/>
                  <a:pt x="548" y="112"/>
                </a:cubicBezTo>
                <a:cubicBezTo>
                  <a:pt x="548" y="112"/>
                  <a:pt x="548" y="111"/>
                  <a:pt x="548" y="111"/>
                </a:cubicBezTo>
                <a:cubicBezTo>
                  <a:pt x="548" y="111"/>
                  <a:pt x="548" y="111"/>
                  <a:pt x="549" y="110"/>
                </a:cubicBezTo>
                <a:cubicBezTo>
                  <a:pt x="549" y="110"/>
                  <a:pt x="549" y="110"/>
                  <a:pt x="549" y="110"/>
                </a:cubicBezTo>
                <a:cubicBezTo>
                  <a:pt x="549" y="110"/>
                  <a:pt x="549" y="110"/>
                  <a:pt x="549" y="110"/>
                </a:cubicBezTo>
                <a:cubicBezTo>
                  <a:pt x="549" y="109"/>
                  <a:pt x="549" y="109"/>
                  <a:pt x="549" y="109"/>
                </a:cubicBezTo>
                <a:cubicBezTo>
                  <a:pt x="548" y="109"/>
                  <a:pt x="548" y="109"/>
                  <a:pt x="548" y="108"/>
                </a:cubicBezTo>
                <a:cubicBezTo>
                  <a:pt x="549" y="108"/>
                  <a:pt x="549" y="108"/>
                  <a:pt x="549" y="109"/>
                </a:cubicBezTo>
                <a:cubicBezTo>
                  <a:pt x="549" y="109"/>
                  <a:pt x="549" y="109"/>
                  <a:pt x="549" y="109"/>
                </a:cubicBezTo>
                <a:cubicBezTo>
                  <a:pt x="550" y="109"/>
                  <a:pt x="550" y="109"/>
                  <a:pt x="550" y="110"/>
                </a:cubicBezTo>
                <a:cubicBezTo>
                  <a:pt x="550" y="109"/>
                  <a:pt x="551" y="109"/>
                  <a:pt x="551" y="109"/>
                </a:cubicBezTo>
                <a:cubicBezTo>
                  <a:pt x="551" y="109"/>
                  <a:pt x="551" y="109"/>
                  <a:pt x="551" y="109"/>
                </a:cubicBezTo>
                <a:cubicBezTo>
                  <a:pt x="552" y="109"/>
                  <a:pt x="552" y="109"/>
                  <a:pt x="552" y="109"/>
                </a:cubicBezTo>
                <a:cubicBezTo>
                  <a:pt x="552" y="109"/>
                  <a:pt x="553" y="109"/>
                  <a:pt x="553" y="109"/>
                </a:cubicBezTo>
                <a:cubicBezTo>
                  <a:pt x="553" y="109"/>
                  <a:pt x="553" y="109"/>
                  <a:pt x="553" y="108"/>
                </a:cubicBezTo>
                <a:cubicBezTo>
                  <a:pt x="553" y="108"/>
                  <a:pt x="553" y="108"/>
                  <a:pt x="552" y="108"/>
                </a:cubicBezTo>
                <a:cubicBezTo>
                  <a:pt x="552" y="107"/>
                  <a:pt x="552" y="107"/>
                  <a:pt x="552" y="107"/>
                </a:cubicBezTo>
                <a:cubicBezTo>
                  <a:pt x="552" y="107"/>
                  <a:pt x="552" y="107"/>
                  <a:pt x="552" y="107"/>
                </a:cubicBezTo>
                <a:cubicBezTo>
                  <a:pt x="551" y="107"/>
                  <a:pt x="551" y="107"/>
                  <a:pt x="550" y="107"/>
                </a:cubicBezTo>
                <a:cubicBezTo>
                  <a:pt x="550" y="108"/>
                  <a:pt x="550" y="108"/>
                  <a:pt x="549" y="108"/>
                </a:cubicBezTo>
                <a:cubicBezTo>
                  <a:pt x="549" y="108"/>
                  <a:pt x="549" y="107"/>
                  <a:pt x="549" y="107"/>
                </a:cubicBezTo>
                <a:cubicBezTo>
                  <a:pt x="549" y="107"/>
                  <a:pt x="549" y="107"/>
                  <a:pt x="549" y="107"/>
                </a:cubicBezTo>
                <a:cubicBezTo>
                  <a:pt x="549" y="107"/>
                  <a:pt x="550" y="107"/>
                  <a:pt x="550" y="107"/>
                </a:cubicBezTo>
                <a:cubicBezTo>
                  <a:pt x="550" y="107"/>
                  <a:pt x="551" y="107"/>
                  <a:pt x="551" y="106"/>
                </a:cubicBezTo>
                <a:cubicBezTo>
                  <a:pt x="551" y="106"/>
                  <a:pt x="552" y="106"/>
                  <a:pt x="552" y="106"/>
                </a:cubicBezTo>
                <a:cubicBezTo>
                  <a:pt x="552" y="106"/>
                  <a:pt x="552" y="106"/>
                  <a:pt x="552" y="106"/>
                </a:cubicBezTo>
                <a:cubicBezTo>
                  <a:pt x="553" y="106"/>
                  <a:pt x="553" y="106"/>
                  <a:pt x="553" y="106"/>
                </a:cubicBezTo>
                <a:cubicBezTo>
                  <a:pt x="553" y="105"/>
                  <a:pt x="553" y="105"/>
                  <a:pt x="554" y="105"/>
                </a:cubicBezTo>
                <a:cubicBezTo>
                  <a:pt x="554" y="105"/>
                  <a:pt x="553" y="105"/>
                  <a:pt x="553" y="105"/>
                </a:cubicBezTo>
                <a:cubicBezTo>
                  <a:pt x="554" y="104"/>
                  <a:pt x="554" y="104"/>
                  <a:pt x="554" y="104"/>
                </a:cubicBezTo>
                <a:cubicBezTo>
                  <a:pt x="554" y="104"/>
                  <a:pt x="554" y="103"/>
                  <a:pt x="553" y="103"/>
                </a:cubicBezTo>
                <a:cubicBezTo>
                  <a:pt x="554" y="103"/>
                  <a:pt x="554" y="103"/>
                  <a:pt x="554" y="103"/>
                </a:cubicBezTo>
                <a:cubicBezTo>
                  <a:pt x="554" y="103"/>
                  <a:pt x="554" y="103"/>
                  <a:pt x="554" y="103"/>
                </a:cubicBezTo>
                <a:cubicBezTo>
                  <a:pt x="554" y="103"/>
                  <a:pt x="553" y="103"/>
                  <a:pt x="553" y="103"/>
                </a:cubicBezTo>
                <a:cubicBezTo>
                  <a:pt x="552" y="103"/>
                  <a:pt x="552" y="103"/>
                  <a:pt x="552" y="103"/>
                </a:cubicBezTo>
                <a:cubicBezTo>
                  <a:pt x="552" y="103"/>
                  <a:pt x="552" y="103"/>
                  <a:pt x="552" y="102"/>
                </a:cubicBezTo>
                <a:cubicBezTo>
                  <a:pt x="552" y="102"/>
                  <a:pt x="552" y="102"/>
                  <a:pt x="553" y="102"/>
                </a:cubicBezTo>
                <a:cubicBezTo>
                  <a:pt x="553" y="102"/>
                  <a:pt x="553" y="102"/>
                  <a:pt x="553" y="101"/>
                </a:cubicBezTo>
                <a:cubicBezTo>
                  <a:pt x="552" y="101"/>
                  <a:pt x="552" y="101"/>
                  <a:pt x="551" y="101"/>
                </a:cubicBezTo>
                <a:cubicBezTo>
                  <a:pt x="551" y="101"/>
                  <a:pt x="550" y="102"/>
                  <a:pt x="549" y="102"/>
                </a:cubicBezTo>
                <a:cubicBezTo>
                  <a:pt x="549" y="102"/>
                  <a:pt x="549" y="102"/>
                  <a:pt x="549" y="101"/>
                </a:cubicBezTo>
                <a:cubicBezTo>
                  <a:pt x="549" y="101"/>
                  <a:pt x="549" y="101"/>
                  <a:pt x="549" y="101"/>
                </a:cubicBezTo>
                <a:cubicBezTo>
                  <a:pt x="549" y="101"/>
                  <a:pt x="549" y="101"/>
                  <a:pt x="549" y="101"/>
                </a:cubicBezTo>
                <a:cubicBezTo>
                  <a:pt x="549" y="100"/>
                  <a:pt x="549" y="100"/>
                  <a:pt x="549" y="100"/>
                </a:cubicBezTo>
                <a:cubicBezTo>
                  <a:pt x="548" y="100"/>
                  <a:pt x="547" y="100"/>
                  <a:pt x="547" y="100"/>
                </a:cubicBezTo>
                <a:cubicBezTo>
                  <a:pt x="546" y="100"/>
                  <a:pt x="546" y="100"/>
                  <a:pt x="546" y="100"/>
                </a:cubicBezTo>
                <a:cubicBezTo>
                  <a:pt x="545" y="100"/>
                  <a:pt x="545" y="100"/>
                  <a:pt x="545" y="100"/>
                </a:cubicBezTo>
                <a:cubicBezTo>
                  <a:pt x="544" y="100"/>
                  <a:pt x="544" y="100"/>
                  <a:pt x="543" y="101"/>
                </a:cubicBezTo>
                <a:cubicBezTo>
                  <a:pt x="543" y="101"/>
                  <a:pt x="542" y="101"/>
                  <a:pt x="541" y="101"/>
                </a:cubicBezTo>
                <a:cubicBezTo>
                  <a:pt x="541" y="101"/>
                  <a:pt x="540" y="101"/>
                  <a:pt x="539" y="101"/>
                </a:cubicBezTo>
                <a:cubicBezTo>
                  <a:pt x="539" y="101"/>
                  <a:pt x="539" y="100"/>
                  <a:pt x="539" y="100"/>
                </a:cubicBezTo>
                <a:cubicBezTo>
                  <a:pt x="539" y="100"/>
                  <a:pt x="538" y="100"/>
                  <a:pt x="538" y="100"/>
                </a:cubicBezTo>
                <a:cubicBezTo>
                  <a:pt x="538" y="100"/>
                  <a:pt x="538" y="101"/>
                  <a:pt x="537" y="101"/>
                </a:cubicBezTo>
                <a:cubicBezTo>
                  <a:pt x="537" y="101"/>
                  <a:pt x="537" y="101"/>
                  <a:pt x="536" y="101"/>
                </a:cubicBezTo>
                <a:cubicBezTo>
                  <a:pt x="536" y="101"/>
                  <a:pt x="536" y="101"/>
                  <a:pt x="536" y="101"/>
                </a:cubicBezTo>
                <a:cubicBezTo>
                  <a:pt x="535" y="101"/>
                  <a:pt x="535" y="101"/>
                  <a:pt x="534" y="102"/>
                </a:cubicBezTo>
                <a:cubicBezTo>
                  <a:pt x="534" y="102"/>
                  <a:pt x="534" y="102"/>
                  <a:pt x="534" y="102"/>
                </a:cubicBezTo>
                <a:cubicBezTo>
                  <a:pt x="534" y="102"/>
                  <a:pt x="534" y="102"/>
                  <a:pt x="533" y="102"/>
                </a:cubicBezTo>
                <a:cubicBezTo>
                  <a:pt x="533" y="102"/>
                  <a:pt x="533" y="102"/>
                  <a:pt x="532" y="102"/>
                </a:cubicBezTo>
                <a:cubicBezTo>
                  <a:pt x="532" y="102"/>
                  <a:pt x="532" y="102"/>
                  <a:pt x="531" y="102"/>
                </a:cubicBezTo>
                <a:cubicBezTo>
                  <a:pt x="531" y="102"/>
                  <a:pt x="530" y="103"/>
                  <a:pt x="530" y="103"/>
                </a:cubicBezTo>
                <a:cubicBezTo>
                  <a:pt x="530" y="103"/>
                  <a:pt x="530" y="103"/>
                  <a:pt x="530" y="103"/>
                </a:cubicBezTo>
                <a:cubicBezTo>
                  <a:pt x="530" y="103"/>
                  <a:pt x="530" y="103"/>
                  <a:pt x="530" y="104"/>
                </a:cubicBezTo>
                <a:cubicBezTo>
                  <a:pt x="530" y="103"/>
                  <a:pt x="530" y="103"/>
                  <a:pt x="530" y="103"/>
                </a:cubicBezTo>
                <a:cubicBezTo>
                  <a:pt x="529" y="103"/>
                  <a:pt x="529" y="103"/>
                  <a:pt x="529" y="103"/>
                </a:cubicBezTo>
                <a:cubicBezTo>
                  <a:pt x="529" y="103"/>
                  <a:pt x="528" y="103"/>
                  <a:pt x="528" y="103"/>
                </a:cubicBezTo>
                <a:cubicBezTo>
                  <a:pt x="527" y="103"/>
                  <a:pt x="526" y="104"/>
                  <a:pt x="525" y="104"/>
                </a:cubicBezTo>
                <a:cubicBezTo>
                  <a:pt x="525" y="104"/>
                  <a:pt x="525" y="104"/>
                  <a:pt x="525" y="104"/>
                </a:cubicBezTo>
                <a:cubicBezTo>
                  <a:pt x="525" y="104"/>
                  <a:pt x="526" y="104"/>
                  <a:pt x="526" y="104"/>
                </a:cubicBezTo>
                <a:cubicBezTo>
                  <a:pt x="526" y="104"/>
                  <a:pt x="526" y="105"/>
                  <a:pt x="526" y="105"/>
                </a:cubicBezTo>
                <a:cubicBezTo>
                  <a:pt x="526" y="105"/>
                  <a:pt x="527" y="105"/>
                  <a:pt x="527" y="105"/>
                </a:cubicBezTo>
                <a:cubicBezTo>
                  <a:pt x="527" y="105"/>
                  <a:pt x="526" y="105"/>
                  <a:pt x="526" y="105"/>
                </a:cubicBezTo>
                <a:cubicBezTo>
                  <a:pt x="526" y="105"/>
                  <a:pt x="525" y="105"/>
                  <a:pt x="525" y="105"/>
                </a:cubicBezTo>
                <a:cubicBezTo>
                  <a:pt x="525" y="105"/>
                  <a:pt x="525" y="105"/>
                  <a:pt x="524" y="105"/>
                </a:cubicBezTo>
                <a:cubicBezTo>
                  <a:pt x="524" y="105"/>
                  <a:pt x="523" y="105"/>
                  <a:pt x="523" y="105"/>
                </a:cubicBezTo>
                <a:cubicBezTo>
                  <a:pt x="523" y="105"/>
                  <a:pt x="522" y="105"/>
                  <a:pt x="522" y="105"/>
                </a:cubicBezTo>
                <a:cubicBezTo>
                  <a:pt x="522" y="105"/>
                  <a:pt x="523" y="105"/>
                  <a:pt x="523" y="105"/>
                </a:cubicBezTo>
                <a:cubicBezTo>
                  <a:pt x="523" y="105"/>
                  <a:pt x="523" y="104"/>
                  <a:pt x="523" y="104"/>
                </a:cubicBezTo>
                <a:cubicBezTo>
                  <a:pt x="523" y="104"/>
                  <a:pt x="522" y="104"/>
                  <a:pt x="522" y="104"/>
                </a:cubicBezTo>
                <a:cubicBezTo>
                  <a:pt x="522" y="103"/>
                  <a:pt x="522" y="103"/>
                  <a:pt x="522" y="103"/>
                </a:cubicBezTo>
                <a:cubicBezTo>
                  <a:pt x="522" y="103"/>
                  <a:pt x="521" y="103"/>
                  <a:pt x="521" y="103"/>
                </a:cubicBezTo>
                <a:cubicBezTo>
                  <a:pt x="521" y="103"/>
                  <a:pt x="520" y="103"/>
                  <a:pt x="520" y="104"/>
                </a:cubicBezTo>
                <a:cubicBezTo>
                  <a:pt x="520" y="104"/>
                  <a:pt x="520" y="104"/>
                  <a:pt x="520" y="104"/>
                </a:cubicBezTo>
                <a:cubicBezTo>
                  <a:pt x="520" y="104"/>
                  <a:pt x="520" y="104"/>
                  <a:pt x="520" y="105"/>
                </a:cubicBezTo>
                <a:cubicBezTo>
                  <a:pt x="520" y="105"/>
                  <a:pt x="519" y="105"/>
                  <a:pt x="519" y="105"/>
                </a:cubicBezTo>
                <a:cubicBezTo>
                  <a:pt x="519" y="104"/>
                  <a:pt x="519" y="104"/>
                  <a:pt x="519" y="104"/>
                </a:cubicBezTo>
                <a:cubicBezTo>
                  <a:pt x="519" y="104"/>
                  <a:pt x="519" y="104"/>
                  <a:pt x="519" y="104"/>
                </a:cubicBezTo>
                <a:cubicBezTo>
                  <a:pt x="519" y="104"/>
                  <a:pt x="518" y="104"/>
                  <a:pt x="518" y="104"/>
                </a:cubicBezTo>
                <a:cubicBezTo>
                  <a:pt x="518" y="104"/>
                  <a:pt x="518" y="104"/>
                  <a:pt x="517" y="104"/>
                </a:cubicBezTo>
                <a:cubicBezTo>
                  <a:pt x="517" y="104"/>
                  <a:pt x="517" y="104"/>
                  <a:pt x="517" y="104"/>
                </a:cubicBezTo>
                <a:cubicBezTo>
                  <a:pt x="517" y="104"/>
                  <a:pt x="517" y="104"/>
                  <a:pt x="517" y="104"/>
                </a:cubicBezTo>
                <a:cubicBezTo>
                  <a:pt x="517" y="103"/>
                  <a:pt x="517" y="103"/>
                  <a:pt x="517" y="103"/>
                </a:cubicBezTo>
                <a:cubicBezTo>
                  <a:pt x="517" y="103"/>
                  <a:pt x="516" y="103"/>
                  <a:pt x="516" y="102"/>
                </a:cubicBezTo>
                <a:cubicBezTo>
                  <a:pt x="516" y="103"/>
                  <a:pt x="516" y="103"/>
                  <a:pt x="515" y="103"/>
                </a:cubicBezTo>
                <a:cubicBezTo>
                  <a:pt x="515" y="103"/>
                  <a:pt x="514" y="104"/>
                  <a:pt x="514" y="104"/>
                </a:cubicBezTo>
                <a:cubicBezTo>
                  <a:pt x="514" y="104"/>
                  <a:pt x="514" y="105"/>
                  <a:pt x="514" y="105"/>
                </a:cubicBezTo>
                <a:cubicBezTo>
                  <a:pt x="514" y="105"/>
                  <a:pt x="514" y="105"/>
                  <a:pt x="514" y="105"/>
                </a:cubicBezTo>
                <a:cubicBezTo>
                  <a:pt x="513" y="105"/>
                  <a:pt x="513" y="105"/>
                  <a:pt x="513" y="105"/>
                </a:cubicBezTo>
                <a:cubicBezTo>
                  <a:pt x="513" y="104"/>
                  <a:pt x="513" y="104"/>
                  <a:pt x="513" y="104"/>
                </a:cubicBezTo>
                <a:cubicBezTo>
                  <a:pt x="513" y="104"/>
                  <a:pt x="513" y="104"/>
                  <a:pt x="513" y="103"/>
                </a:cubicBezTo>
                <a:cubicBezTo>
                  <a:pt x="513" y="103"/>
                  <a:pt x="514" y="103"/>
                  <a:pt x="514" y="102"/>
                </a:cubicBezTo>
                <a:cubicBezTo>
                  <a:pt x="513" y="102"/>
                  <a:pt x="513" y="102"/>
                  <a:pt x="513" y="102"/>
                </a:cubicBezTo>
                <a:cubicBezTo>
                  <a:pt x="512" y="102"/>
                  <a:pt x="512" y="102"/>
                  <a:pt x="512" y="102"/>
                </a:cubicBezTo>
                <a:cubicBezTo>
                  <a:pt x="511" y="102"/>
                  <a:pt x="511" y="102"/>
                  <a:pt x="511" y="102"/>
                </a:cubicBezTo>
                <a:cubicBezTo>
                  <a:pt x="512" y="102"/>
                  <a:pt x="512" y="102"/>
                  <a:pt x="512" y="102"/>
                </a:cubicBezTo>
                <a:cubicBezTo>
                  <a:pt x="512" y="101"/>
                  <a:pt x="513" y="101"/>
                  <a:pt x="513" y="101"/>
                </a:cubicBezTo>
                <a:cubicBezTo>
                  <a:pt x="513" y="101"/>
                  <a:pt x="513" y="100"/>
                  <a:pt x="512" y="100"/>
                </a:cubicBezTo>
                <a:cubicBezTo>
                  <a:pt x="512" y="100"/>
                  <a:pt x="512" y="100"/>
                  <a:pt x="512" y="101"/>
                </a:cubicBezTo>
                <a:cubicBezTo>
                  <a:pt x="511" y="101"/>
                  <a:pt x="511" y="101"/>
                  <a:pt x="511" y="101"/>
                </a:cubicBezTo>
                <a:cubicBezTo>
                  <a:pt x="510" y="101"/>
                  <a:pt x="510" y="101"/>
                  <a:pt x="510" y="101"/>
                </a:cubicBezTo>
                <a:cubicBezTo>
                  <a:pt x="510" y="101"/>
                  <a:pt x="510" y="101"/>
                  <a:pt x="509" y="101"/>
                </a:cubicBezTo>
                <a:cubicBezTo>
                  <a:pt x="509" y="101"/>
                  <a:pt x="510" y="101"/>
                  <a:pt x="510" y="101"/>
                </a:cubicBezTo>
                <a:cubicBezTo>
                  <a:pt x="510" y="101"/>
                  <a:pt x="510" y="101"/>
                  <a:pt x="509" y="100"/>
                </a:cubicBezTo>
                <a:cubicBezTo>
                  <a:pt x="509" y="100"/>
                  <a:pt x="509" y="101"/>
                  <a:pt x="509" y="101"/>
                </a:cubicBezTo>
                <a:cubicBezTo>
                  <a:pt x="508" y="101"/>
                  <a:pt x="508" y="101"/>
                  <a:pt x="508" y="101"/>
                </a:cubicBezTo>
                <a:cubicBezTo>
                  <a:pt x="507" y="101"/>
                  <a:pt x="507" y="102"/>
                  <a:pt x="507" y="102"/>
                </a:cubicBezTo>
                <a:cubicBezTo>
                  <a:pt x="507" y="102"/>
                  <a:pt x="506" y="101"/>
                  <a:pt x="506" y="101"/>
                </a:cubicBezTo>
                <a:cubicBezTo>
                  <a:pt x="507" y="101"/>
                  <a:pt x="507" y="101"/>
                  <a:pt x="507" y="101"/>
                </a:cubicBezTo>
                <a:cubicBezTo>
                  <a:pt x="507" y="101"/>
                  <a:pt x="507" y="100"/>
                  <a:pt x="508" y="100"/>
                </a:cubicBezTo>
                <a:cubicBezTo>
                  <a:pt x="508" y="100"/>
                  <a:pt x="508" y="100"/>
                  <a:pt x="508" y="100"/>
                </a:cubicBezTo>
                <a:cubicBezTo>
                  <a:pt x="508" y="100"/>
                  <a:pt x="508" y="100"/>
                  <a:pt x="508" y="99"/>
                </a:cubicBezTo>
                <a:cubicBezTo>
                  <a:pt x="509" y="100"/>
                  <a:pt x="509" y="100"/>
                  <a:pt x="510" y="100"/>
                </a:cubicBezTo>
                <a:cubicBezTo>
                  <a:pt x="510" y="100"/>
                  <a:pt x="511" y="100"/>
                  <a:pt x="511" y="100"/>
                </a:cubicBezTo>
                <a:cubicBezTo>
                  <a:pt x="511" y="99"/>
                  <a:pt x="511" y="99"/>
                  <a:pt x="511" y="99"/>
                </a:cubicBezTo>
                <a:cubicBezTo>
                  <a:pt x="511" y="99"/>
                  <a:pt x="510" y="99"/>
                  <a:pt x="510" y="99"/>
                </a:cubicBezTo>
                <a:cubicBezTo>
                  <a:pt x="509" y="99"/>
                  <a:pt x="509" y="99"/>
                  <a:pt x="509" y="99"/>
                </a:cubicBezTo>
                <a:cubicBezTo>
                  <a:pt x="509" y="99"/>
                  <a:pt x="509" y="99"/>
                  <a:pt x="509" y="98"/>
                </a:cubicBezTo>
                <a:cubicBezTo>
                  <a:pt x="509" y="98"/>
                  <a:pt x="508" y="98"/>
                  <a:pt x="508" y="98"/>
                </a:cubicBezTo>
                <a:cubicBezTo>
                  <a:pt x="507" y="98"/>
                  <a:pt x="507" y="98"/>
                  <a:pt x="506" y="98"/>
                </a:cubicBezTo>
                <a:cubicBezTo>
                  <a:pt x="507" y="98"/>
                  <a:pt x="507" y="98"/>
                  <a:pt x="507" y="98"/>
                </a:cubicBezTo>
                <a:cubicBezTo>
                  <a:pt x="507" y="97"/>
                  <a:pt x="507" y="97"/>
                  <a:pt x="507" y="97"/>
                </a:cubicBezTo>
                <a:cubicBezTo>
                  <a:pt x="507" y="97"/>
                  <a:pt x="507" y="97"/>
                  <a:pt x="508" y="97"/>
                </a:cubicBezTo>
                <a:cubicBezTo>
                  <a:pt x="508" y="97"/>
                  <a:pt x="508" y="97"/>
                  <a:pt x="508" y="97"/>
                </a:cubicBezTo>
                <a:cubicBezTo>
                  <a:pt x="509" y="98"/>
                  <a:pt x="509" y="98"/>
                  <a:pt x="510" y="98"/>
                </a:cubicBezTo>
                <a:cubicBezTo>
                  <a:pt x="510" y="98"/>
                  <a:pt x="511" y="98"/>
                  <a:pt x="511" y="98"/>
                </a:cubicBezTo>
                <a:cubicBezTo>
                  <a:pt x="512" y="98"/>
                  <a:pt x="512" y="98"/>
                  <a:pt x="512" y="98"/>
                </a:cubicBezTo>
                <a:cubicBezTo>
                  <a:pt x="512" y="98"/>
                  <a:pt x="513" y="98"/>
                  <a:pt x="513" y="98"/>
                </a:cubicBezTo>
                <a:cubicBezTo>
                  <a:pt x="513" y="98"/>
                  <a:pt x="513" y="98"/>
                  <a:pt x="514" y="98"/>
                </a:cubicBezTo>
                <a:cubicBezTo>
                  <a:pt x="514" y="98"/>
                  <a:pt x="515" y="98"/>
                  <a:pt x="515" y="98"/>
                </a:cubicBezTo>
                <a:cubicBezTo>
                  <a:pt x="516" y="98"/>
                  <a:pt x="516" y="98"/>
                  <a:pt x="517" y="98"/>
                </a:cubicBezTo>
                <a:cubicBezTo>
                  <a:pt x="517" y="97"/>
                  <a:pt x="517" y="97"/>
                  <a:pt x="517" y="97"/>
                </a:cubicBezTo>
                <a:cubicBezTo>
                  <a:pt x="517" y="97"/>
                  <a:pt x="517" y="96"/>
                  <a:pt x="516" y="96"/>
                </a:cubicBezTo>
                <a:cubicBezTo>
                  <a:pt x="516" y="96"/>
                  <a:pt x="515" y="96"/>
                  <a:pt x="514" y="96"/>
                </a:cubicBezTo>
                <a:cubicBezTo>
                  <a:pt x="513" y="96"/>
                  <a:pt x="513" y="95"/>
                  <a:pt x="513" y="95"/>
                </a:cubicBezTo>
                <a:cubicBezTo>
                  <a:pt x="512" y="95"/>
                  <a:pt x="512" y="95"/>
                  <a:pt x="512" y="95"/>
                </a:cubicBezTo>
                <a:cubicBezTo>
                  <a:pt x="512" y="95"/>
                  <a:pt x="512" y="95"/>
                  <a:pt x="511" y="95"/>
                </a:cubicBezTo>
                <a:cubicBezTo>
                  <a:pt x="511" y="95"/>
                  <a:pt x="511" y="95"/>
                  <a:pt x="510" y="94"/>
                </a:cubicBezTo>
                <a:cubicBezTo>
                  <a:pt x="510" y="94"/>
                  <a:pt x="510" y="95"/>
                  <a:pt x="510" y="95"/>
                </a:cubicBezTo>
                <a:cubicBezTo>
                  <a:pt x="509" y="94"/>
                  <a:pt x="509" y="94"/>
                  <a:pt x="509" y="94"/>
                </a:cubicBezTo>
                <a:cubicBezTo>
                  <a:pt x="509" y="94"/>
                  <a:pt x="509" y="94"/>
                  <a:pt x="509" y="94"/>
                </a:cubicBezTo>
                <a:cubicBezTo>
                  <a:pt x="510" y="94"/>
                  <a:pt x="510" y="94"/>
                  <a:pt x="510" y="94"/>
                </a:cubicBezTo>
                <a:cubicBezTo>
                  <a:pt x="511" y="94"/>
                  <a:pt x="511" y="94"/>
                  <a:pt x="511" y="94"/>
                </a:cubicBezTo>
                <a:cubicBezTo>
                  <a:pt x="512" y="94"/>
                  <a:pt x="512" y="94"/>
                  <a:pt x="512" y="94"/>
                </a:cubicBezTo>
                <a:cubicBezTo>
                  <a:pt x="512" y="94"/>
                  <a:pt x="512" y="94"/>
                  <a:pt x="512" y="95"/>
                </a:cubicBezTo>
                <a:cubicBezTo>
                  <a:pt x="513" y="95"/>
                  <a:pt x="513" y="95"/>
                  <a:pt x="513" y="95"/>
                </a:cubicBezTo>
                <a:cubicBezTo>
                  <a:pt x="513" y="94"/>
                  <a:pt x="513" y="94"/>
                  <a:pt x="513" y="94"/>
                </a:cubicBezTo>
                <a:cubicBezTo>
                  <a:pt x="513" y="94"/>
                  <a:pt x="513" y="93"/>
                  <a:pt x="513" y="93"/>
                </a:cubicBezTo>
                <a:cubicBezTo>
                  <a:pt x="512" y="93"/>
                  <a:pt x="512" y="92"/>
                  <a:pt x="511" y="92"/>
                </a:cubicBezTo>
                <a:cubicBezTo>
                  <a:pt x="511" y="92"/>
                  <a:pt x="511" y="92"/>
                  <a:pt x="510" y="92"/>
                </a:cubicBezTo>
                <a:cubicBezTo>
                  <a:pt x="510" y="92"/>
                  <a:pt x="510" y="92"/>
                  <a:pt x="510" y="92"/>
                </a:cubicBezTo>
                <a:cubicBezTo>
                  <a:pt x="509" y="92"/>
                  <a:pt x="509" y="92"/>
                  <a:pt x="509" y="93"/>
                </a:cubicBezTo>
                <a:cubicBezTo>
                  <a:pt x="508" y="93"/>
                  <a:pt x="508" y="93"/>
                  <a:pt x="507" y="93"/>
                </a:cubicBezTo>
                <a:cubicBezTo>
                  <a:pt x="507" y="93"/>
                  <a:pt x="507" y="93"/>
                  <a:pt x="506" y="94"/>
                </a:cubicBezTo>
                <a:cubicBezTo>
                  <a:pt x="506" y="93"/>
                  <a:pt x="506" y="93"/>
                  <a:pt x="505" y="93"/>
                </a:cubicBezTo>
                <a:cubicBezTo>
                  <a:pt x="505" y="93"/>
                  <a:pt x="505" y="94"/>
                  <a:pt x="504" y="94"/>
                </a:cubicBezTo>
                <a:cubicBezTo>
                  <a:pt x="504" y="93"/>
                  <a:pt x="504" y="93"/>
                  <a:pt x="503" y="93"/>
                </a:cubicBezTo>
                <a:cubicBezTo>
                  <a:pt x="503" y="94"/>
                  <a:pt x="503" y="94"/>
                  <a:pt x="503" y="95"/>
                </a:cubicBezTo>
                <a:cubicBezTo>
                  <a:pt x="502" y="95"/>
                  <a:pt x="502" y="95"/>
                  <a:pt x="501" y="95"/>
                </a:cubicBezTo>
                <a:cubicBezTo>
                  <a:pt x="501" y="96"/>
                  <a:pt x="501" y="96"/>
                  <a:pt x="501" y="96"/>
                </a:cubicBezTo>
                <a:cubicBezTo>
                  <a:pt x="501" y="96"/>
                  <a:pt x="500" y="96"/>
                  <a:pt x="500" y="97"/>
                </a:cubicBezTo>
                <a:cubicBezTo>
                  <a:pt x="500" y="96"/>
                  <a:pt x="500" y="96"/>
                  <a:pt x="500" y="96"/>
                </a:cubicBezTo>
                <a:cubicBezTo>
                  <a:pt x="500" y="96"/>
                  <a:pt x="500" y="95"/>
                  <a:pt x="501" y="95"/>
                </a:cubicBezTo>
                <a:cubicBezTo>
                  <a:pt x="501" y="95"/>
                  <a:pt x="501" y="95"/>
                  <a:pt x="501" y="95"/>
                </a:cubicBezTo>
                <a:cubicBezTo>
                  <a:pt x="502" y="94"/>
                  <a:pt x="503" y="94"/>
                  <a:pt x="503" y="93"/>
                </a:cubicBezTo>
                <a:cubicBezTo>
                  <a:pt x="503" y="93"/>
                  <a:pt x="503" y="93"/>
                  <a:pt x="503" y="92"/>
                </a:cubicBezTo>
                <a:cubicBezTo>
                  <a:pt x="503" y="92"/>
                  <a:pt x="503" y="92"/>
                  <a:pt x="503" y="92"/>
                </a:cubicBezTo>
                <a:cubicBezTo>
                  <a:pt x="503" y="91"/>
                  <a:pt x="502" y="91"/>
                  <a:pt x="502" y="90"/>
                </a:cubicBezTo>
                <a:cubicBezTo>
                  <a:pt x="502" y="90"/>
                  <a:pt x="503" y="90"/>
                  <a:pt x="503" y="90"/>
                </a:cubicBezTo>
                <a:cubicBezTo>
                  <a:pt x="502" y="90"/>
                  <a:pt x="502" y="90"/>
                  <a:pt x="502" y="90"/>
                </a:cubicBezTo>
                <a:cubicBezTo>
                  <a:pt x="502" y="90"/>
                  <a:pt x="501" y="90"/>
                  <a:pt x="501" y="90"/>
                </a:cubicBezTo>
                <a:cubicBezTo>
                  <a:pt x="501" y="90"/>
                  <a:pt x="500" y="90"/>
                  <a:pt x="500" y="90"/>
                </a:cubicBezTo>
                <a:cubicBezTo>
                  <a:pt x="500" y="90"/>
                  <a:pt x="499" y="90"/>
                  <a:pt x="499" y="90"/>
                </a:cubicBezTo>
                <a:cubicBezTo>
                  <a:pt x="499" y="90"/>
                  <a:pt x="499" y="90"/>
                  <a:pt x="499" y="89"/>
                </a:cubicBezTo>
                <a:cubicBezTo>
                  <a:pt x="499" y="89"/>
                  <a:pt x="499" y="89"/>
                  <a:pt x="499" y="89"/>
                </a:cubicBezTo>
                <a:cubicBezTo>
                  <a:pt x="498" y="89"/>
                  <a:pt x="497" y="89"/>
                  <a:pt x="497" y="89"/>
                </a:cubicBezTo>
                <a:cubicBezTo>
                  <a:pt x="496" y="89"/>
                  <a:pt x="496" y="89"/>
                  <a:pt x="496" y="89"/>
                </a:cubicBezTo>
                <a:cubicBezTo>
                  <a:pt x="495" y="89"/>
                  <a:pt x="495" y="89"/>
                  <a:pt x="494" y="89"/>
                </a:cubicBezTo>
                <a:cubicBezTo>
                  <a:pt x="494" y="89"/>
                  <a:pt x="493" y="89"/>
                  <a:pt x="493" y="89"/>
                </a:cubicBezTo>
                <a:cubicBezTo>
                  <a:pt x="493" y="89"/>
                  <a:pt x="493" y="89"/>
                  <a:pt x="493" y="89"/>
                </a:cubicBezTo>
                <a:close/>
                <a:moveTo>
                  <a:pt x="551" y="97"/>
                </a:moveTo>
                <a:cubicBezTo>
                  <a:pt x="551" y="97"/>
                  <a:pt x="552" y="97"/>
                  <a:pt x="552" y="97"/>
                </a:cubicBezTo>
                <a:cubicBezTo>
                  <a:pt x="552" y="97"/>
                  <a:pt x="552" y="97"/>
                  <a:pt x="552" y="97"/>
                </a:cubicBezTo>
                <a:cubicBezTo>
                  <a:pt x="552" y="97"/>
                  <a:pt x="552" y="97"/>
                  <a:pt x="552" y="97"/>
                </a:cubicBezTo>
                <a:cubicBezTo>
                  <a:pt x="552" y="96"/>
                  <a:pt x="552" y="96"/>
                  <a:pt x="552" y="96"/>
                </a:cubicBezTo>
                <a:cubicBezTo>
                  <a:pt x="552" y="97"/>
                  <a:pt x="551" y="97"/>
                  <a:pt x="551" y="97"/>
                </a:cubicBezTo>
                <a:close/>
                <a:moveTo>
                  <a:pt x="510" y="74"/>
                </a:moveTo>
                <a:cubicBezTo>
                  <a:pt x="510" y="74"/>
                  <a:pt x="510" y="74"/>
                  <a:pt x="509" y="74"/>
                </a:cubicBezTo>
                <a:cubicBezTo>
                  <a:pt x="510" y="75"/>
                  <a:pt x="510" y="75"/>
                  <a:pt x="510" y="75"/>
                </a:cubicBezTo>
                <a:cubicBezTo>
                  <a:pt x="510" y="75"/>
                  <a:pt x="510" y="76"/>
                  <a:pt x="510" y="76"/>
                </a:cubicBezTo>
                <a:cubicBezTo>
                  <a:pt x="510" y="76"/>
                  <a:pt x="510" y="76"/>
                  <a:pt x="511" y="76"/>
                </a:cubicBezTo>
                <a:cubicBezTo>
                  <a:pt x="511" y="75"/>
                  <a:pt x="511" y="75"/>
                  <a:pt x="511" y="75"/>
                </a:cubicBezTo>
                <a:cubicBezTo>
                  <a:pt x="511" y="75"/>
                  <a:pt x="510" y="74"/>
                  <a:pt x="510" y="74"/>
                </a:cubicBezTo>
                <a:cubicBezTo>
                  <a:pt x="510" y="74"/>
                  <a:pt x="510" y="74"/>
                  <a:pt x="510" y="74"/>
                </a:cubicBezTo>
                <a:close/>
                <a:moveTo>
                  <a:pt x="478" y="107"/>
                </a:moveTo>
                <a:cubicBezTo>
                  <a:pt x="478" y="107"/>
                  <a:pt x="478" y="108"/>
                  <a:pt x="478" y="108"/>
                </a:cubicBezTo>
                <a:cubicBezTo>
                  <a:pt x="478" y="108"/>
                  <a:pt x="478" y="108"/>
                  <a:pt x="478" y="109"/>
                </a:cubicBezTo>
                <a:cubicBezTo>
                  <a:pt x="478" y="109"/>
                  <a:pt x="478" y="109"/>
                  <a:pt x="479" y="109"/>
                </a:cubicBezTo>
                <a:cubicBezTo>
                  <a:pt x="479" y="109"/>
                  <a:pt x="479" y="109"/>
                  <a:pt x="479" y="108"/>
                </a:cubicBezTo>
                <a:cubicBezTo>
                  <a:pt x="479" y="108"/>
                  <a:pt x="479" y="108"/>
                  <a:pt x="479" y="108"/>
                </a:cubicBezTo>
                <a:cubicBezTo>
                  <a:pt x="480" y="108"/>
                  <a:pt x="480" y="108"/>
                  <a:pt x="480" y="108"/>
                </a:cubicBezTo>
                <a:cubicBezTo>
                  <a:pt x="480" y="108"/>
                  <a:pt x="480" y="107"/>
                  <a:pt x="480" y="107"/>
                </a:cubicBezTo>
                <a:cubicBezTo>
                  <a:pt x="480" y="107"/>
                  <a:pt x="480" y="107"/>
                  <a:pt x="480" y="107"/>
                </a:cubicBezTo>
                <a:cubicBezTo>
                  <a:pt x="480" y="107"/>
                  <a:pt x="480" y="107"/>
                  <a:pt x="480" y="107"/>
                </a:cubicBezTo>
                <a:cubicBezTo>
                  <a:pt x="480" y="107"/>
                  <a:pt x="479" y="107"/>
                  <a:pt x="479" y="107"/>
                </a:cubicBezTo>
                <a:cubicBezTo>
                  <a:pt x="479" y="107"/>
                  <a:pt x="479" y="107"/>
                  <a:pt x="478" y="107"/>
                </a:cubicBezTo>
                <a:cubicBezTo>
                  <a:pt x="478" y="107"/>
                  <a:pt x="478" y="107"/>
                  <a:pt x="478" y="107"/>
                </a:cubicBezTo>
                <a:close/>
                <a:moveTo>
                  <a:pt x="480" y="105"/>
                </a:moveTo>
                <a:cubicBezTo>
                  <a:pt x="480" y="105"/>
                  <a:pt x="479" y="105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80" y="106"/>
                  <a:pt x="480" y="105"/>
                </a:cubicBezTo>
                <a:close/>
                <a:moveTo>
                  <a:pt x="478" y="112"/>
                </a:moveTo>
                <a:cubicBezTo>
                  <a:pt x="478" y="112"/>
                  <a:pt x="478" y="112"/>
                  <a:pt x="478" y="112"/>
                </a:cubicBezTo>
                <a:cubicBezTo>
                  <a:pt x="478" y="112"/>
                  <a:pt x="478" y="113"/>
                  <a:pt x="478" y="113"/>
                </a:cubicBezTo>
                <a:cubicBezTo>
                  <a:pt x="478" y="113"/>
                  <a:pt x="478" y="113"/>
                  <a:pt x="478" y="113"/>
                </a:cubicBezTo>
                <a:cubicBezTo>
                  <a:pt x="478" y="113"/>
                  <a:pt x="478" y="113"/>
                  <a:pt x="479" y="113"/>
                </a:cubicBezTo>
                <a:cubicBezTo>
                  <a:pt x="479" y="113"/>
                  <a:pt x="479" y="113"/>
                  <a:pt x="478" y="113"/>
                </a:cubicBezTo>
                <a:cubicBezTo>
                  <a:pt x="478" y="113"/>
                  <a:pt x="478" y="113"/>
                  <a:pt x="478" y="114"/>
                </a:cubicBezTo>
                <a:cubicBezTo>
                  <a:pt x="479" y="114"/>
                  <a:pt x="479" y="114"/>
                  <a:pt x="479" y="114"/>
                </a:cubicBezTo>
                <a:cubicBezTo>
                  <a:pt x="479" y="113"/>
                  <a:pt x="479" y="113"/>
                  <a:pt x="479" y="113"/>
                </a:cubicBezTo>
                <a:cubicBezTo>
                  <a:pt x="479" y="113"/>
                  <a:pt x="480" y="113"/>
                  <a:pt x="480" y="113"/>
                </a:cubicBezTo>
                <a:cubicBezTo>
                  <a:pt x="480" y="113"/>
                  <a:pt x="480" y="114"/>
                  <a:pt x="479" y="114"/>
                </a:cubicBezTo>
                <a:cubicBezTo>
                  <a:pt x="480" y="114"/>
                  <a:pt x="480" y="114"/>
                  <a:pt x="480" y="114"/>
                </a:cubicBezTo>
                <a:cubicBezTo>
                  <a:pt x="480" y="114"/>
                  <a:pt x="480" y="114"/>
                  <a:pt x="481" y="114"/>
                </a:cubicBezTo>
                <a:cubicBezTo>
                  <a:pt x="481" y="114"/>
                  <a:pt x="481" y="114"/>
                  <a:pt x="481" y="114"/>
                </a:cubicBezTo>
                <a:cubicBezTo>
                  <a:pt x="481" y="114"/>
                  <a:pt x="481" y="114"/>
                  <a:pt x="481" y="114"/>
                </a:cubicBezTo>
                <a:cubicBezTo>
                  <a:pt x="482" y="114"/>
                  <a:pt x="482" y="114"/>
                  <a:pt x="482" y="115"/>
                </a:cubicBezTo>
                <a:cubicBezTo>
                  <a:pt x="482" y="115"/>
                  <a:pt x="482" y="115"/>
                  <a:pt x="482" y="114"/>
                </a:cubicBezTo>
                <a:cubicBezTo>
                  <a:pt x="482" y="114"/>
                  <a:pt x="482" y="114"/>
                  <a:pt x="482" y="114"/>
                </a:cubicBezTo>
                <a:cubicBezTo>
                  <a:pt x="483" y="114"/>
                  <a:pt x="483" y="114"/>
                  <a:pt x="483" y="114"/>
                </a:cubicBezTo>
                <a:cubicBezTo>
                  <a:pt x="483" y="114"/>
                  <a:pt x="483" y="115"/>
                  <a:pt x="483" y="115"/>
                </a:cubicBezTo>
                <a:cubicBezTo>
                  <a:pt x="483" y="115"/>
                  <a:pt x="484" y="115"/>
                  <a:pt x="484" y="115"/>
                </a:cubicBezTo>
                <a:cubicBezTo>
                  <a:pt x="484" y="115"/>
                  <a:pt x="484" y="115"/>
                  <a:pt x="485" y="115"/>
                </a:cubicBezTo>
                <a:cubicBezTo>
                  <a:pt x="485" y="115"/>
                  <a:pt x="485" y="115"/>
                  <a:pt x="485" y="115"/>
                </a:cubicBezTo>
                <a:cubicBezTo>
                  <a:pt x="486" y="115"/>
                  <a:pt x="486" y="115"/>
                  <a:pt x="486" y="115"/>
                </a:cubicBezTo>
                <a:cubicBezTo>
                  <a:pt x="487" y="115"/>
                  <a:pt x="487" y="115"/>
                  <a:pt x="488" y="115"/>
                </a:cubicBezTo>
                <a:cubicBezTo>
                  <a:pt x="488" y="115"/>
                  <a:pt x="489" y="115"/>
                  <a:pt x="489" y="115"/>
                </a:cubicBezTo>
                <a:cubicBezTo>
                  <a:pt x="489" y="115"/>
                  <a:pt x="489" y="115"/>
                  <a:pt x="489" y="115"/>
                </a:cubicBezTo>
                <a:cubicBezTo>
                  <a:pt x="489" y="115"/>
                  <a:pt x="490" y="115"/>
                  <a:pt x="490" y="115"/>
                </a:cubicBezTo>
                <a:cubicBezTo>
                  <a:pt x="489" y="115"/>
                  <a:pt x="489" y="115"/>
                  <a:pt x="489" y="115"/>
                </a:cubicBezTo>
                <a:cubicBezTo>
                  <a:pt x="489" y="114"/>
                  <a:pt x="490" y="114"/>
                  <a:pt x="490" y="114"/>
                </a:cubicBezTo>
                <a:cubicBezTo>
                  <a:pt x="490" y="114"/>
                  <a:pt x="490" y="113"/>
                  <a:pt x="490" y="113"/>
                </a:cubicBezTo>
                <a:cubicBezTo>
                  <a:pt x="490" y="113"/>
                  <a:pt x="490" y="113"/>
                  <a:pt x="490" y="112"/>
                </a:cubicBezTo>
                <a:cubicBezTo>
                  <a:pt x="490" y="112"/>
                  <a:pt x="490" y="112"/>
                  <a:pt x="491" y="111"/>
                </a:cubicBezTo>
                <a:cubicBezTo>
                  <a:pt x="491" y="111"/>
                  <a:pt x="491" y="111"/>
                  <a:pt x="491" y="111"/>
                </a:cubicBezTo>
                <a:cubicBezTo>
                  <a:pt x="491" y="110"/>
                  <a:pt x="491" y="110"/>
                  <a:pt x="491" y="109"/>
                </a:cubicBezTo>
                <a:cubicBezTo>
                  <a:pt x="491" y="109"/>
                  <a:pt x="491" y="109"/>
                  <a:pt x="491" y="109"/>
                </a:cubicBezTo>
                <a:cubicBezTo>
                  <a:pt x="491" y="108"/>
                  <a:pt x="491" y="108"/>
                  <a:pt x="492" y="108"/>
                </a:cubicBezTo>
                <a:cubicBezTo>
                  <a:pt x="491" y="108"/>
                  <a:pt x="491" y="108"/>
                  <a:pt x="491" y="108"/>
                </a:cubicBezTo>
                <a:cubicBezTo>
                  <a:pt x="491" y="107"/>
                  <a:pt x="490" y="107"/>
                  <a:pt x="490" y="107"/>
                </a:cubicBezTo>
                <a:cubicBezTo>
                  <a:pt x="490" y="107"/>
                  <a:pt x="490" y="107"/>
                  <a:pt x="490" y="107"/>
                </a:cubicBezTo>
                <a:cubicBezTo>
                  <a:pt x="490" y="106"/>
                  <a:pt x="489" y="106"/>
                  <a:pt x="489" y="106"/>
                </a:cubicBezTo>
                <a:cubicBezTo>
                  <a:pt x="489" y="106"/>
                  <a:pt x="489" y="106"/>
                  <a:pt x="489" y="106"/>
                </a:cubicBezTo>
                <a:cubicBezTo>
                  <a:pt x="488" y="106"/>
                  <a:pt x="488" y="106"/>
                  <a:pt x="487" y="106"/>
                </a:cubicBezTo>
                <a:cubicBezTo>
                  <a:pt x="487" y="106"/>
                  <a:pt x="486" y="106"/>
                  <a:pt x="486" y="106"/>
                </a:cubicBezTo>
                <a:cubicBezTo>
                  <a:pt x="486" y="106"/>
                  <a:pt x="485" y="106"/>
                  <a:pt x="485" y="106"/>
                </a:cubicBezTo>
                <a:cubicBezTo>
                  <a:pt x="484" y="106"/>
                  <a:pt x="484" y="107"/>
                  <a:pt x="483" y="107"/>
                </a:cubicBezTo>
                <a:cubicBezTo>
                  <a:pt x="483" y="107"/>
                  <a:pt x="483" y="107"/>
                  <a:pt x="483" y="107"/>
                </a:cubicBezTo>
                <a:cubicBezTo>
                  <a:pt x="483" y="107"/>
                  <a:pt x="484" y="107"/>
                  <a:pt x="484" y="108"/>
                </a:cubicBezTo>
                <a:cubicBezTo>
                  <a:pt x="484" y="108"/>
                  <a:pt x="484" y="108"/>
                  <a:pt x="484" y="108"/>
                </a:cubicBezTo>
                <a:cubicBezTo>
                  <a:pt x="484" y="108"/>
                  <a:pt x="484" y="108"/>
                  <a:pt x="484" y="108"/>
                </a:cubicBezTo>
                <a:cubicBezTo>
                  <a:pt x="483" y="108"/>
                  <a:pt x="483" y="108"/>
                  <a:pt x="483" y="108"/>
                </a:cubicBezTo>
                <a:cubicBezTo>
                  <a:pt x="482" y="108"/>
                  <a:pt x="482" y="108"/>
                  <a:pt x="482" y="108"/>
                </a:cubicBezTo>
                <a:cubicBezTo>
                  <a:pt x="482" y="108"/>
                  <a:pt x="481" y="108"/>
                  <a:pt x="481" y="108"/>
                </a:cubicBezTo>
                <a:cubicBezTo>
                  <a:pt x="482" y="108"/>
                  <a:pt x="482" y="108"/>
                  <a:pt x="482" y="108"/>
                </a:cubicBezTo>
                <a:cubicBezTo>
                  <a:pt x="483" y="108"/>
                  <a:pt x="483" y="108"/>
                  <a:pt x="483" y="108"/>
                </a:cubicBezTo>
                <a:cubicBezTo>
                  <a:pt x="483" y="108"/>
                  <a:pt x="483" y="109"/>
                  <a:pt x="483" y="109"/>
                </a:cubicBezTo>
                <a:cubicBezTo>
                  <a:pt x="482" y="109"/>
                  <a:pt x="482" y="109"/>
                  <a:pt x="481" y="109"/>
                </a:cubicBezTo>
                <a:cubicBezTo>
                  <a:pt x="481" y="109"/>
                  <a:pt x="481" y="109"/>
                  <a:pt x="481" y="109"/>
                </a:cubicBezTo>
                <a:cubicBezTo>
                  <a:pt x="481" y="110"/>
                  <a:pt x="481" y="110"/>
                  <a:pt x="482" y="110"/>
                </a:cubicBezTo>
                <a:cubicBezTo>
                  <a:pt x="482" y="110"/>
                  <a:pt x="482" y="110"/>
                  <a:pt x="482" y="110"/>
                </a:cubicBezTo>
                <a:cubicBezTo>
                  <a:pt x="482" y="110"/>
                  <a:pt x="482" y="110"/>
                  <a:pt x="482" y="110"/>
                </a:cubicBezTo>
                <a:cubicBezTo>
                  <a:pt x="481" y="110"/>
                  <a:pt x="481" y="110"/>
                  <a:pt x="481" y="110"/>
                </a:cubicBezTo>
                <a:cubicBezTo>
                  <a:pt x="480" y="110"/>
                  <a:pt x="480" y="111"/>
                  <a:pt x="479" y="111"/>
                </a:cubicBezTo>
                <a:cubicBezTo>
                  <a:pt x="479" y="111"/>
                  <a:pt x="479" y="111"/>
                  <a:pt x="478" y="112"/>
                </a:cubicBezTo>
                <a:close/>
                <a:moveTo>
                  <a:pt x="479" y="76"/>
                </a:moveTo>
                <a:cubicBezTo>
                  <a:pt x="479" y="76"/>
                  <a:pt x="479" y="76"/>
                  <a:pt x="479" y="76"/>
                </a:cubicBezTo>
                <a:cubicBezTo>
                  <a:pt x="479" y="76"/>
                  <a:pt x="479" y="76"/>
                  <a:pt x="479" y="76"/>
                </a:cubicBezTo>
                <a:cubicBezTo>
                  <a:pt x="480" y="76"/>
                  <a:pt x="480" y="76"/>
                  <a:pt x="480" y="76"/>
                </a:cubicBezTo>
                <a:cubicBezTo>
                  <a:pt x="480" y="76"/>
                  <a:pt x="480" y="76"/>
                  <a:pt x="480" y="75"/>
                </a:cubicBezTo>
                <a:cubicBezTo>
                  <a:pt x="480" y="75"/>
                  <a:pt x="480" y="75"/>
                  <a:pt x="480" y="75"/>
                </a:cubicBezTo>
                <a:cubicBezTo>
                  <a:pt x="480" y="75"/>
                  <a:pt x="479" y="76"/>
                  <a:pt x="479" y="76"/>
                </a:cubicBezTo>
                <a:close/>
                <a:moveTo>
                  <a:pt x="481" y="104"/>
                </a:moveTo>
                <a:cubicBezTo>
                  <a:pt x="481" y="104"/>
                  <a:pt x="480" y="104"/>
                  <a:pt x="480" y="105"/>
                </a:cubicBezTo>
                <a:cubicBezTo>
                  <a:pt x="480" y="105"/>
                  <a:pt x="481" y="105"/>
                  <a:pt x="481" y="105"/>
                </a:cubicBezTo>
                <a:cubicBezTo>
                  <a:pt x="481" y="105"/>
                  <a:pt x="481" y="105"/>
                  <a:pt x="481" y="105"/>
                </a:cubicBezTo>
                <a:cubicBezTo>
                  <a:pt x="481" y="104"/>
                  <a:pt x="482" y="104"/>
                  <a:pt x="482" y="104"/>
                </a:cubicBezTo>
                <a:cubicBezTo>
                  <a:pt x="482" y="104"/>
                  <a:pt x="482" y="104"/>
                  <a:pt x="482" y="104"/>
                </a:cubicBezTo>
                <a:cubicBezTo>
                  <a:pt x="482" y="104"/>
                  <a:pt x="482" y="104"/>
                  <a:pt x="482" y="104"/>
                </a:cubicBezTo>
                <a:cubicBezTo>
                  <a:pt x="482" y="104"/>
                  <a:pt x="481" y="104"/>
                  <a:pt x="481" y="104"/>
                </a:cubicBezTo>
                <a:close/>
                <a:moveTo>
                  <a:pt x="540" y="124"/>
                </a:moveTo>
                <a:cubicBezTo>
                  <a:pt x="540" y="124"/>
                  <a:pt x="540" y="125"/>
                  <a:pt x="540" y="125"/>
                </a:cubicBezTo>
                <a:cubicBezTo>
                  <a:pt x="540" y="126"/>
                  <a:pt x="540" y="126"/>
                  <a:pt x="541" y="126"/>
                </a:cubicBezTo>
                <a:cubicBezTo>
                  <a:pt x="541" y="126"/>
                  <a:pt x="541" y="126"/>
                  <a:pt x="542" y="126"/>
                </a:cubicBezTo>
                <a:cubicBezTo>
                  <a:pt x="542" y="126"/>
                  <a:pt x="542" y="126"/>
                  <a:pt x="542" y="126"/>
                </a:cubicBezTo>
                <a:cubicBezTo>
                  <a:pt x="542" y="126"/>
                  <a:pt x="542" y="127"/>
                  <a:pt x="542" y="127"/>
                </a:cubicBezTo>
                <a:cubicBezTo>
                  <a:pt x="542" y="127"/>
                  <a:pt x="542" y="127"/>
                  <a:pt x="542" y="127"/>
                </a:cubicBezTo>
                <a:cubicBezTo>
                  <a:pt x="542" y="128"/>
                  <a:pt x="541" y="128"/>
                  <a:pt x="541" y="128"/>
                </a:cubicBezTo>
                <a:cubicBezTo>
                  <a:pt x="541" y="128"/>
                  <a:pt x="541" y="129"/>
                  <a:pt x="541" y="129"/>
                </a:cubicBezTo>
                <a:cubicBezTo>
                  <a:pt x="541" y="129"/>
                  <a:pt x="541" y="129"/>
                  <a:pt x="541" y="130"/>
                </a:cubicBezTo>
                <a:cubicBezTo>
                  <a:pt x="542" y="130"/>
                  <a:pt x="542" y="130"/>
                  <a:pt x="542" y="130"/>
                </a:cubicBezTo>
                <a:cubicBezTo>
                  <a:pt x="542" y="130"/>
                  <a:pt x="542" y="130"/>
                  <a:pt x="543" y="130"/>
                </a:cubicBezTo>
                <a:cubicBezTo>
                  <a:pt x="543" y="130"/>
                  <a:pt x="544" y="130"/>
                  <a:pt x="544" y="130"/>
                </a:cubicBezTo>
                <a:cubicBezTo>
                  <a:pt x="545" y="130"/>
                  <a:pt x="545" y="130"/>
                  <a:pt x="546" y="131"/>
                </a:cubicBezTo>
                <a:cubicBezTo>
                  <a:pt x="546" y="130"/>
                  <a:pt x="546" y="130"/>
                  <a:pt x="546" y="130"/>
                </a:cubicBezTo>
                <a:cubicBezTo>
                  <a:pt x="547" y="130"/>
                  <a:pt x="547" y="130"/>
                  <a:pt x="547" y="129"/>
                </a:cubicBezTo>
                <a:cubicBezTo>
                  <a:pt x="548" y="129"/>
                  <a:pt x="548" y="129"/>
                  <a:pt x="548" y="129"/>
                </a:cubicBezTo>
                <a:cubicBezTo>
                  <a:pt x="549" y="129"/>
                  <a:pt x="549" y="129"/>
                  <a:pt x="550" y="129"/>
                </a:cubicBezTo>
                <a:cubicBezTo>
                  <a:pt x="550" y="129"/>
                  <a:pt x="551" y="129"/>
                  <a:pt x="551" y="129"/>
                </a:cubicBezTo>
                <a:cubicBezTo>
                  <a:pt x="551" y="129"/>
                  <a:pt x="551" y="129"/>
                  <a:pt x="552" y="129"/>
                </a:cubicBezTo>
                <a:cubicBezTo>
                  <a:pt x="552" y="129"/>
                  <a:pt x="553" y="129"/>
                  <a:pt x="553" y="129"/>
                </a:cubicBezTo>
                <a:cubicBezTo>
                  <a:pt x="553" y="129"/>
                  <a:pt x="554" y="129"/>
                  <a:pt x="554" y="129"/>
                </a:cubicBezTo>
                <a:cubicBezTo>
                  <a:pt x="555" y="129"/>
                  <a:pt x="555" y="129"/>
                  <a:pt x="556" y="129"/>
                </a:cubicBezTo>
                <a:cubicBezTo>
                  <a:pt x="556" y="129"/>
                  <a:pt x="556" y="129"/>
                  <a:pt x="556" y="129"/>
                </a:cubicBezTo>
                <a:cubicBezTo>
                  <a:pt x="557" y="129"/>
                  <a:pt x="558" y="129"/>
                  <a:pt x="559" y="129"/>
                </a:cubicBezTo>
                <a:cubicBezTo>
                  <a:pt x="559" y="129"/>
                  <a:pt x="559" y="128"/>
                  <a:pt x="559" y="128"/>
                </a:cubicBezTo>
                <a:cubicBezTo>
                  <a:pt x="559" y="128"/>
                  <a:pt x="559" y="128"/>
                  <a:pt x="560" y="128"/>
                </a:cubicBezTo>
                <a:cubicBezTo>
                  <a:pt x="560" y="128"/>
                  <a:pt x="560" y="127"/>
                  <a:pt x="560" y="127"/>
                </a:cubicBezTo>
                <a:cubicBezTo>
                  <a:pt x="559" y="127"/>
                  <a:pt x="559" y="127"/>
                  <a:pt x="558" y="127"/>
                </a:cubicBezTo>
                <a:cubicBezTo>
                  <a:pt x="558" y="127"/>
                  <a:pt x="558" y="127"/>
                  <a:pt x="559" y="127"/>
                </a:cubicBezTo>
                <a:cubicBezTo>
                  <a:pt x="559" y="127"/>
                  <a:pt x="559" y="126"/>
                  <a:pt x="559" y="126"/>
                </a:cubicBezTo>
                <a:cubicBezTo>
                  <a:pt x="558" y="126"/>
                  <a:pt x="558" y="126"/>
                  <a:pt x="558" y="126"/>
                </a:cubicBezTo>
                <a:cubicBezTo>
                  <a:pt x="558" y="125"/>
                  <a:pt x="558" y="125"/>
                  <a:pt x="558" y="125"/>
                </a:cubicBezTo>
                <a:cubicBezTo>
                  <a:pt x="558" y="125"/>
                  <a:pt x="558" y="125"/>
                  <a:pt x="557" y="124"/>
                </a:cubicBezTo>
                <a:cubicBezTo>
                  <a:pt x="558" y="124"/>
                  <a:pt x="558" y="124"/>
                  <a:pt x="558" y="124"/>
                </a:cubicBezTo>
                <a:cubicBezTo>
                  <a:pt x="557" y="124"/>
                  <a:pt x="557" y="124"/>
                  <a:pt x="557" y="124"/>
                </a:cubicBezTo>
                <a:cubicBezTo>
                  <a:pt x="557" y="124"/>
                  <a:pt x="556" y="124"/>
                  <a:pt x="556" y="123"/>
                </a:cubicBezTo>
                <a:cubicBezTo>
                  <a:pt x="557" y="123"/>
                  <a:pt x="557" y="123"/>
                  <a:pt x="557" y="123"/>
                </a:cubicBezTo>
                <a:cubicBezTo>
                  <a:pt x="556" y="122"/>
                  <a:pt x="556" y="122"/>
                  <a:pt x="556" y="122"/>
                </a:cubicBezTo>
                <a:cubicBezTo>
                  <a:pt x="555" y="122"/>
                  <a:pt x="555" y="122"/>
                  <a:pt x="554" y="122"/>
                </a:cubicBezTo>
                <a:cubicBezTo>
                  <a:pt x="554" y="121"/>
                  <a:pt x="554" y="121"/>
                  <a:pt x="554" y="121"/>
                </a:cubicBezTo>
                <a:cubicBezTo>
                  <a:pt x="554" y="121"/>
                  <a:pt x="553" y="121"/>
                  <a:pt x="553" y="121"/>
                </a:cubicBezTo>
                <a:cubicBezTo>
                  <a:pt x="552" y="121"/>
                  <a:pt x="552" y="121"/>
                  <a:pt x="551" y="121"/>
                </a:cubicBezTo>
                <a:cubicBezTo>
                  <a:pt x="551" y="121"/>
                  <a:pt x="550" y="121"/>
                  <a:pt x="549" y="121"/>
                </a:cubicBezTo>
                <a:cubicBezTo>
                  <a:pt x="549" y="121"/>
                  <a:pt x="549" y="121"/>
                  <a:pt x="549" y="121"/>
                </a:cubicBezTo>
                <a:cubicBezTo>
                  <a:pt x="548" y="122"/>
                  <a:pt x="548" y="122"/>
                  <a:pt x="547" y="122"/>
                </a:cubicBezTo>
                <a:cubicBezTo>
                  <a:pt x="547" y="121"/>
                  <a:pt x="547" y="121"/>
                  <a:pt x="546" y="121"/>
                </a:cubicBezTo>
                <a:cubicBezTo>
                  <a:pt x="546" y="121"/>
                  <a:pt x="545" y="121"/>
                  <a:pt x="544" y="121"/>
                </a:cubicBezTo>
                <a:cubicBezTo>
                  <a:pt x="544" y="121"/>
                  <a:pt x="544" y="121"/>
                  <a:pt x="544" y="121"/>
                </a:cubicBezTo>
                <a:cubicBezTo>
                  <a:pt x="543" y="121"/>
                  <a:pt x="543" y="120"/>
                  <a:pt x="543" y="120"/>
                </a:cubicBezTo>
                <a:cubicBezTo>
                  <a:pt x="542" y="120"/>
                  <a:pt x="542" y="121"/>
                  <a:pt x="542" y="121"/>
                </a:cubicBezTo>
                <a:cubicBezTo>
                  <a:pt x="542" y="121"/>
                  <a:pt x="542" y="121"/>
                  <a:pt x="542" y="122"/>
                </a:cubicBezTo>
                <a:cubicBezTo>
                  <a:pt x="541" y="122"/>
                  <a:pt x="541" y="122"/>
                  <a:pt x="541" y="122"/>
                </a:cubicBezTo>
                <a:cubicBezTo>
                  <a:pt x="541" y="123"/>
                  <a:pt x="541" y="123"/>
                  <a:pt x="541" y="123"/>
                </a:cubicBezTo>
                <a:cubicBezTo>
                  <a:pt x="541" y="123"/>
                  <a:pt x="541" y="123"/>
                  <a:pt x="541" y="124"/>
                </a:cubicBezTo>
                <a:cubicBezTo>
                  <a:pt x="541" y="124"/>
                  <a:pt x="541" y="124"/>
                  <a:pt x="540" y="124"/>
                </a:cubicBezTo>
                <a:close/>
                <a:moveTo>
                  <a:pt x="481" y="107"/>
                </a:moveTo>
                <a:cubicBezTo>
                  <a:pt x="482" y="107"/>
                  <a:pt x="482" y="107"/>
                  <a:pt x="482" y="107"/>
                </a:cubicBezTo>
                <a:cubicBezTo>
                  <a:pt x="482" y="106"/>
                  <a:pt x="482" y="106"/>
                  <a:pt x="482" y="106"/>
                </a:cubicBezTo>
                <a:cubicBezTo>
                  <a:pt x="481" y="106"/>
                  <a:pt x="481" y="106"/>
                  <a:pt x="481" y="106"/>
                </a:cubicBezTo>
                <a:cubicBezTo>
                  <a:pt x="481" y="106"/>
                  <a:pt x="481" y="106"/>
                  <a:pt x="481" y="106"/>
                </a:cubicBezTo>
                <a:cubicBezTo>
                  <a:pt x="481" y="106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lose/>
                <a:moveTo>
                  <a:pt x="422" y="179"/>
                </a:moveTo>
                <a:cubicBezTo>
                  <a:pt x="421" y="179"/>
                  <a:pt x="421" y="180"/>
                  <a:pt x="421" y="180"/>
                </a:cubicBezTo>
                <a:cubicBezTo>
                  <a:pt x="421" y="180"/>
                  <a:pt x="421" y="180"/>
                  <a:pt x="421" y="180"/>
                </a:cubicBezTo>
                <a:cubicBezTo>
                  <a:pt x="420" y="180"/>
                  <a:pt x="420" y="180"/>
                  <a:pt x="420" y="180"/>
                </a:cubicBezTo>
                <a:cubicBezTo>
                  <a:pt x="420" y="180"/>
                  <a:pt x="420" y="181"/>
                  <a:pt x="419" y="181"/>
                </a:cubicBezTo>
                <a:cubicBezTo>
                  <a:pt x="420" y="181"/>
                  <a:pt x="420" y="181"/>
                  <a:pt x="420" y="181"/>
                </a:cubicBezTo>
                <a:cubicBezTo>
                  <a:pt x="421" y="181"/>
                  <a:pt x="421" y="181"/>
                  <a:pt x="421" y="181"/>
                </a:cubicBezTo>
                <a:cubicBezTo>
                  <a:pt x="421" y="181"/>
                  <a:pt x="422" y="181"/>
                  <a:pt x="422" y="181"/>
                </a:cubicBezTo>
                <a:cubicBezTo>
                  <a:pt x="422" y="180"/>
                  <a:pt x="422" y="180"/>
                  <a:pt x="422" y="180"/>
                </a:cubicBezTo>
                <a:cubicBezTo>
                  <a:pt x="422" y="180"/>
                  <a:pt x="422" y="180"/>
                  <a:pt x="422" y="180"/>
                </a:cubicBezTo>
                <a:cubicBezTo>
                  <a:pt x="422" y="180"/>
                  <a:pt x="422" y="179"/>
                  <a:pt x="422" y="179"/>
                </a:cubicBezTo>
                <a:cubicBezTo>
                  <a:pt x="422" y="179"/>
                  <a:pt x="422" y="179"/>
                  <a:pt x="422" y="179"/>
                </a:cubicBezTo>
                <a:close/>
                <a:moveTo>
                  <a:pt x="487" y="95"/>
                </a:moveTo>
                <a:cubicBezTo>
                  <a:pt x="487" y="94"/>
                  <a:pt x="487" y="94"/>
                  <a:pt x="487" y="94"/>
                </a:cubicBezTo>
                <a:cubicBezTo>
                  <a:pt x="487" y="94"/>
                  <a:pt x="487" y="94"/>
                  <a:pt x="487" y="94"/>
                </a:cubicBezTo>
                <a:cubicBezTo>
                  <a:pt x="487" y="94"/>
                  <a:pt x="487" y="94"/>
                  <a:pt x="487" y="94"/>
                </a:cubicBezTo>
                <a:cubicBezTo>
                  <a:pt x="486" y="94"/>
                  <a:pt x="486" y="95"/>
                  <a:pt x="486" y="95"/>
                </a:cubicBezTo>
                <a:cubicBezTo>
                  <a:pt x="486" y="95"/>
                  <a:pt x="486" y="95"/>
                  <a:pt x="487" y="95"/>
                </a:cubicBezTo>
                <a:close/>
                <a:moveTo>
                  <a:pt x="480" y="116"/>
                </a:moveTo>
                <a:cubicBezTo>
                  <a:pt x="480" y="116"/>
                  <a:pt x="479" y="116"/>
                  <a:pt x="479" y="116"/>
                </a:cubicBezTo>
                <a:cubicBezTo>
                  <a:pt x="480" y="117"/>
                  <a:pt x="480" y="117"/>
                  <a:pt x="480" y="117"/>
                </a:cubicBezTo>
                <a:cubicBezTo>
                  <a:pt x="480" y="117"/>
                  <a:pt x="480" y="117"/>
                  <a:pt x="480" y="117"/>
                </a:cubicBezTo>
                <a:cubicBezTo>
                  <a:pt x="480" y="117"/>
                  <a:pt x="481" y="117"/>
                  <a:pt x="481" y="117"/>
                </a:cubicBezTo>
                <a:cubicBezTo>
                  <a:pt x="481" y="117"/>
                  <a:pt x="481" y="117"/>
                  <a:pt x="481" y="116"/>
                </a:cubicBezTo>
                <a:cubicBezTo>
                  <a:pt x="481" y="116"/>
                  <a:pt x="480" y="116"/>
                  <a:pt x="480" y="116"/>
                </a:cubicBezTo>
                <a:cubicBezTo>
                  <a:pt x="480" y="116"/>
                  <a:pt x="480" y="116"/>
                  <a:pt x="480" y="116"/>
                </a:cubicBezTo>
                <a:close/>
                <a:moveTo>
                  <a:pt x="539" y="132"/>
                </a:moveTo>
                <a:cubicBezTo>
                  <a:pt x="539" y="133"/>
                  <a:pt x="539" y="133"/>
                  <a:pt x="539" y="133"/>
                </a:cubicBezTo>
                <a:cubicBezTo>
                  <a:pt x="539" y="133"/>
                  <a:pt x="540" y="133"/>
                  <a:pt x="540" y="133"/>
                </a:cubicBezTo>
                <a:cubicBezTo>
                  <a:pt x="540" y="132"/>
                  <a:pt x="540" y="132"/>
                  <a:pt x="540" y="132"/>
                </a:cubicBezTo>
                <a:cubicBezTo>
                  <a:pt x="540" y="132"/>
                  <a:pt x="539" y="132"/>
                  <a:pt x="539" y="132"/>
                </a:cubicBezTo>
                <a:cubicBezTo>
                  <a:pt x="539" y="132"/>
                  <a:pt x="539" y="132"/>
                  <a:pt x="539" y="132"/>
                </a:cubicBezTo>
                <a:close/>
                <a:moveTo>
                  <a:pt x="543" y="132"/>
                </a:moveTo>
                <a:cubicBezTo>
                  <a:pt x="543" y="132"/>
                  <a:pt x="543" y="133"/>
                  <a:pt x="543" y="133"/>
                </a:cubicBezTo>
                <a:cubicBezTo>
                  <a:pt x="544" y="133"/>
                  <a:pt x="544" y="133"/>
                  <a:pt x="544" y="133"/>
                </a:cubicBezTo>
                <a:cubicBezTo>
                  <a:pt x="544" y="133"/>
                  <a:pt x="544" y="133"/>
                  <a:pt x="544" y="132"/>
                </a:cubicBezTo>
                <a:cubicBezTo>
                  <a:pt x="544" y="132"/>
                  <a:pt x="544" y="132"/>
                  <a:pt x="544" y="132"/>
                </a:cubicBezTo>
                <a:cubicBezTo>
                  <a:pt x="543" y="132"/>
                  <a:pt x="543" y="132"/>
                  <a:pt x="543" y="132"/>
                </a:cubicBezTo>
                <a:close/>
                <a:moveTo>
                  <a:pt x="570" y="138"/>
                </a:moveTo>
                <a:cubicBezTo>
                  <a:pt x="570" y="138"/>
                  <a:pt x="570" y="138"/>
                  <a:pt x="570" y="138"/>
                </a:cubicBezTo>
                <a:cubicBezTo>
                  <a:pt x="570" y="137"/>
                  <a:pt x="570" y="137"/>
                  <a:pt x="570" y="137"/>
                </a:cubicBezTo>
                <a:cubicBezTo>
                  <a:pt x="570" y="137"/>
                  <a:pt x="569" y="137"/>
                  <a:pt x="569" y="138"/>
                </a:cubicBezTo>
                <a:cubicBezTo>
                  <a:pt x="569" y="138"/>
                  <a:pt x="569" y="138"/>
                  <a:pt x="569" y="138"/>
                </a:cubicBezTo>
                <a:cubicBezTo>
                  <a:pt x="569" y="138"/>
                  <a:pt x="570" y="138"/>
                  <a:pt x="570" y="138"/>
                </a:cubicBezTo>
                <a:cubicBezTo>
                  <a:pt x="570" y="138"/>
                  <a:pt x="570" y="138"/>
                  <a:pt x="570" y="138"/>
                </a:cubicBezTo>
                <a:close/>
                <a:moveTo>
                  <a:pt x="568" y="140"/>
                </a:moveTo>
                <a:cubicBezTo>
                  <a:pt x="568" y="140"/>
                  <a:pt x="568" y="140"/>
                  <a:pt x="567" y="140"/>
                </a:cubicBezTo>
                <a:cubicBezTo>
                  <a:pt x="568" y="140"/>
                  <a:pt x="568" y="140"/>
                  <a:pt x="568" y="141"/>
                </a:cubicBezTo>
                <a:cubicBezTo>
                  <a:pt x="568" y="141"/>
                  <a:pt x="568" y="140"/>
                  <a:pt x="568" y="140"/>
                </a:cubicBezTo>
                <a:cubicBezTo>
                  <a:pt x="568" y="140"/>
                  <a:pt x="569" y="140"/>
                  <a:pt x="569" y="140"/>
                </a:cubicBezTo>
                <a:cubicBezTo>
                  <a:pt x="569" y="139"/>
                  <a:pt x="569" y="139"/>
                  <a:pt x="569" y="139"/>
                </a:cubicBezTo>
                <a:cubicBezTo>
                  <a:pt x="569" y="139"/>
                  <a:pt x="569" y="139"/>
                  <a:pt x="569" y="139"/>
                </a:cubicBezTo>
                <a:cubicBezTo>
                  <a:pt x="569" y="139"/>
                  <a:pt x="569" y="139"/>
                  <a:pt x="568" y="139"/>
                </a:cubicBezTo>
                <a:cubicBezTo>
                  <a:pt x="568" y="139"/>
                  <a:pt x="568" y="139"/>
                  <a:pt x="568" y="139"/>
                </a:cubicBezTo>
                <a:cubicBezTo>
                  <a:pt x="568" y="139"/>
                  <a:pt x="568" y="139"/>
                  <a:pt x="567" y="139"/>
                </a:cubicBezTo>
                <a:cubicBezTo>
                  <a:pt x="568" y="139"/>
                  <a:pt x="568" y="140"/>
                  <a:pt x="568" y="140"/>
                </a:cubicBezTo>
                <a:close/>
                <a:moveTo>
                  <a:pt x="489" y="104"/>
                </a:moveTo>
                <a:cubicBezTo>
                  <a:pt x="489" y="104"/>
                  <a:pt x="489" y="104"/>
                  <a:pt x="489" y="104"/>
                </a:cubicBezTo>
                <a:cubicBezTo>
                  <a:pt x="489" y="104"/>
                  <a:pt x="489" y="104"/>
                  <a:pt x="489" y="105"/>
                </a:cubicBezTo>
                <a:cubicBezTo>
                  <a:pt x="489" y="105"/>
                  <a:pt x="490" y="104"/>
                  <a:pt x="490" y="104"/>
                </a:cubicBezTo>
                <a:cubicBezTo>
                  <a:pt x="490" y="104"/>
                  <a:pt x="490" y="104"/>
                  <a:pt x="490" y="103"/>
                </a:cubicBezTo>
                <a:cubicBezTo>
                  <a:pt x="490" y="103"/>
                  <a:pt x="490" y="102"/>
                  <a:pt x="491" y="102"/>
                </a:cubicBezTo>
                <a:cubicBezTo>
                  <a:pt x="490" y="102"/>
                  <a:pt x="490" y="102"/>
                  <a:pt x="489" y="102"/>
                </a:cubicBezTo>
                <a:cubicBezTo>
                  <a:pt x="489" y="102"/>
                  <a:pt x="489" y="102"/>
                  <a:pt x="489" y="102"/>
                </a:cubicBezTo>
                <a:cubicBezTo>
                  <a:pt x="489" y="103"/>
                  <a:pt x="489" y="103"/>
                  <a:pt x="489" y="103"/>
                </a:cubicBezTo>
                <a:cubicBezTo>
                  <a:pt x="489" y="103"/>
                  <a:pt x="489" y="103"/>
                  <a:pt x="489" y="104"/>
                </a:cubicBezTo>
                <a:cubicBezTo>
                  <a:pt x="489" y="104"/>
                  <a:pt x="489" y="104"/>
                  <a:pt x="489" y="104"/>
                </a:cubicBezTo>
                <a:close/>
                <a:moveTo>
                  <a:pt x="541" y="133"/>
                </a:moveTo>
                <a:cubicBezTo>
                  <a:pt x="541" y="133"/>
                  <a:pt x="541" y="133"/>
                  <a:pt x="541" y="133"/>
                </a:cubicBezTo>
                <a:cubicBezTo>
                  <a:pt x="541" y="133"/>
                  <a:pt x="541" y="133"/>
                  <a:pt x="542" y="133"/>
                </a:cubicBezTo>
                <a:cubicBezTo>
                  <a:pt x="542" y="133"/>
                  <a:pt x="541" y="133"/>
                  <a:pt x="541" y="133"/>
                </a:cubicBezTo>
                <a:cubicBezTo>
                  <a:pt x="541" y="133"/>
                  <a:pt x="541" y="133"/>
                  <a:pt x="541" y="133"/>
                </a:cubicBezTo>
                <a:cubicBezTo>
                  <a:pt x="541" y="133"/>
                  <a:pt x="541" y="133"/>
                  <a:pt x="541" y="133"/>
                </a:cubicBezTo>
                <a:close/>
                <a:moveTo>
                  <a:pt x="502" y="121"/>
                </a:moveTo>
                <a:cubicBezTo>
                  <a:pt x="502" y="121"/>
                  <a:pt x="502" y="121"/>
                  <a:pt x="503" y="121"/>
                </a:cubicBezTo>
                <a:cubicBezTo>
                  <a:pt x="503" y="121"/>
                  <a:pt x="503" y="120"/>
                  <a:pt x="502" y="120"/>
                </a:cubicBezTo>
                <a:cubicBezTo>
                  <a:pt x="502" y="120"/>
                  <a:pt x="501" y="120"/>
                  <a:pt x="501" y="120"/>
                </a:cubicBezTo>
                <a:cubicBezTo>
                  <a:pt x="501" y="121"/>
                  <a:pt x="501" y="121"/>
                  <a:pt x="501" y="121"/>
                </a:cubicBezTo>
                <a:cubicBezTo>
                  <a:pt x="501" y="121"/>
                  <a:pt x="501" y="121"/>
                  <a:pt x="501" y="121"/>
                </a:cubicBezTo>
                <a:cubicBezTo>
                  <a:pt x="502" y="121"/>
                  <a:pt x="502" y="121"/>
                  <a:pt x="502" y="121"/>
                </a:cubicBezTo>
                <a:close/>
                <a:moveTo>
                  <a:pt x="489" y="100"/>
                </a:moveTo>
                <a:cubicBezTo>
                  <a:pt x="489" y="100"/>
                  <a:pt x="489" y="100"/>
                  <a:pt x="489" y="100"/>
                </a:cubicBezTo>
                <a:cubicBezTo>
                  <a:pt x="489" y="100"/>
                  <a:pt x="490" y="100"/>
                  <a:pt x="490" y="101"/>
                </a:cubicBezTo>
                <a:cubicBezTo>
                  <a:pt x="490" y="101"/>
                  <a:pt x="490" y="100"/>
                  <a:pt x="490" y="100"/>
                </a:cubicBezTo>
                <a:cubicBezTo>
                  <a:pt x="490" y="100"/>
                  <a:pt x="490" y="100"/>
                  <a:pt x="489" y="100"/>
                </a:cubicBezTo>
                <a:close/>
                <a:moveTo>
                  <a:pt x="488" y="90"/>
                </a:moveTo>
                <a:cubicBezTo>
                  <a:pt x="488" y="90"/>
                  <a:pt x="488" y="89"/>
                  <a:pt x="488" y="89"/>
                </a:cubicBezTo>
                <a:cubicBezTo>
                  <a:pt x="488" y="89"/>
                  <a:pt x="487" y="89"/>
                  <a:pt x="487" y="89"/>
                </a:cubicBezTo>
                <a:cubicBezTo>
                  <a:pt x="487" y="89"/>
                  <a:pt x="487" y="90"/>
                  <a:pt x="487" y="90"/>
                </a:cubicBezTo>
                <a:cubicBezTo>
                  <a:pt x="487" y="90"/>
                  <a:pt x="487" y="90"/>
                  <a:pt x="487" y="90"/>
                </a:cubicBezTo>
                <a:cubicBezTo>
                  <a:pt x="487" y="90"/>
                  <a:pt x="488" y="90"/>
                  <a:pt x="488" y="90"/>
                </a:cubicBezTo>
                <a:close/>
                <a:moveTo>
                  <a:pt x="456" y="103"/>
                </a:moveTo>
                <a:cubicBezTo>
                  <a:pt x="456" y="103"/>
                  <a:pt x="457" y="103"/>
                  <a:pt x="457" y="103"/>
                </a:cubicBezTo>
                <a:cubicBezTo>
                  <a:pt x="457" y="103"/>
                  <a:pt x="457" y="103"/>
                  <a:pt x="458" y="103"/>
                </a:cubicBezTo>
                <a:cubicBezTo>
                  <a:pt x="458" y="103"/>
                  <a:pt x="458" y="103"/>
                  <a:pt x="458" y="103"/>
                </a:cubicBezTo>
                <a:cubicBezTo>
                  <a:pt x="459" y="103"/>
                  <a:pt x="459" y="102"/>
                  <a:pt x="459" y="102"/>
                </a:cubicBezTo>
                <a:cubicBezTo>
                  <a:pt x="459" y="102"/>
                  <a:pt x="459" y="102"/>
                  <a:pt x="459" y="102"/>
                </a:cubicBezTo>
                <a:cubicBezTo>
                  <a:pt x="459" y="102"/>
                  <a:pt x="459" y="102"/>
                  <a:pt x="458" y="102"/>
                </a:cubicBezTo>
                <a:cubicBezTo>
                  <a:pt x="457" y="102"/>
                  <a:pt x="457" y="102"/>
                  <a:pt x="456" y="103"/>
                </a:cubicBezTo>
                <a:cubicBezTo>
                  <a:pt x="455" y="103"/>
                  <a:pt x="455" y="103"/>
                  <a:pt x="455" y="103"/>
                </a:cubicBezTo>
                <a:cubicBezTo>
                  <a:pt x="454" y="103"/>
                  <a:pt x="454" y="103"/>
                  <a:pt x="454" y="103"/>
                </a:cubicBezTo>
                <a:cubicBezTo>
                  <a:pt x="454" y="103"/>
                  <a:pt x="453" y="103"/>
                  <a:pt x="453" y="103"/>
                </a:cubicBezTo>
                <a:cubicBezTo>
                  <a:pt x="452" y="103"/>
                  <a:pt x="452" y="104"/>
                  <a:pt x="452" y="104"/>
                </a:cubicBezTo>
                <a:cubicBezTo>
                  <a:pt x="452" y="104"/>
                  <a:pt x="452" y="104"/>
                  <a:pt x="452" y="104"/>
                </a:cubicBezTo>
                <a:cubicBezTo>
                  <a:pt x="453" y="104"/>
                  <a:pt x="454" y="104"/>
                  <a:pt x="455" y="104"/>
                </a:cubicBezTo>
                <a:cubicBezTo>
                  <a:pt x="455" y="104"/>
                  <a:pt x="456" y="103"/>
                  <a:pt x="456" y="103"/>
                </a:cubicBezTo>
                <a:close/>
                <a:moveTo>
                  <a:pt x="386" y="112"/>
                </a:moveTo>
                <a:cubicBezTo>
                  <a:pt x="387" y="111"/>
                  <a:pt x="388" y="110"/>
                  <a:pt x="389" y="109"/>
                </a:cubicBezTo>
                <a:cubicBezTo>
                  <a:pt x="390" y="109"/>
                  <a:pt x="390" y="108"/>
                  <a:pt x="391" y="108"/>
                </a:cubicBezTo>
                <a:cubicBezTo>
                  <a:pt x="391" y="108"/>
                  <a:pt x="392" y="107"/>
                  <a:pt x="392" y="107"/>
                </a:cubicBezTo>
                <a:cubicBezTo>
                  <a:pt x="393" y="107"/>
                  <a:pt x="393" y="106"/>
                  <a:pt x="393" y="106"/>
                </a:cubicBezTo>
                <a:cubicBezTo>
                  <a:pt x="392" y="106"/>
                  <a:pt x="392" y="106"/>
                  <a:pt x="392" y="106"/>
                </a:cubicBezTo>
                <a:cubicBezTo>
                  <a:pt x="391" y="107"/>
                  <a:pt x="391" y="107"/>
                  <a:pt x="390" y="107"/>
                </a:cubicBezTo>
                <a:cubicBezTo>
                  <a:pt x="390" y="107"/>
                  <a:pt x="390" y="107"/>
                  <a:pt x="390" y="107"/>
                </a:cubicBezTo>
                <a:cubicBezTo>
                  <a:pt x="389" y="107"/>
                  <a:pt x="389" y="108"/>
                  <a:pt x="389" y="108"/>
                </a:cubicBezTo>
                <a:cubicBezTo>
                  <a:pt x="388" y="108"/>
                  <a:pt x="388" y="108"/>
                  <a:pt x="387" y="108"/>
                </a:cubicBezTo>
                <a:cubicBezTo>
                  <a:pt x="387" y="109"/>
                  <a:pt x="386" y="109"/>
                  <a:pt x="386" y="110"/>
                </a:cubicBezTo>
                <a:cubicBezTo>
                  <a:pt x="385" y="110"/>
                  <a:pt x="385" y="110"/>
                  <a:pt x="385" y="110"/>
                </a:cubicBezTo>
                <a:cubicBezTo>
                  <a:pt x="385" y="110"/>
                  <a:pt x="384" y="110"/>
                  <a:pt x="384" y="111"/>
                </a:cubicBezTo>
                <a:cubicBezTo>
                  <a:pt x="384" y="111"/>
                  <a:pt x="383" y="111"/>
                  <a:pt x="382" y="111"/>
                </a:cubicBezTo>
                <a:cubicBezTo>
                  <a:pt x="382" y="112"/>
                  <a:pt x="381" y="113"/>
                  <a:pt x="380" y="113"/>
                </a:cubicBezTo>
                <a:cubicBezTo>
                  <a:pt x="380" y="113"/>
                  <a:pt x="380" y="114"/>
                  <a:pt x="380" y="114"/>
                </a:cubicBezTo>
                <a:cubicBezTo>
                  <a:pt x="380" y="114"/>
                  <a:pt x="380" y="114"/>
                  <a:pt x="381" y="114"/>
                </a:cubicBezTo>
                <a:cubicBezTo>
                  <a:pt x="381" y="114"/>
                  <a:pt x="381" y="114"/>
                  <a:pt x="381" y="114"/>
                </a:cubicBezTo>
                <a:cubicBezTo>
                  <a:pt x="382" y="114"/>
                  <a:pt x="382" y="114"/>
                  <a:pt x="382" y="114"/>
                </a:cubicBezTo>
                <a:cubicBezTo>
                  <a:pt x="382" y="114"/>
                  <a:pt x="383" y="114"/>
                  <a:pt x="383" y="114"/>
                </a:cubicBezTo>
                <a:cubicBezTo>
                  <a:pt x="383" y="114"/>
                  <a:pt x="383" y="114"/>
                  <a:pt x="383" y="114"/>
                </a:cubicBezTo>
                <a:cubicBezTo>
                  <a:pt x="383" y="114"/>
                  <a:pt x="384" y="114"/>
                  <a:pt x="384" y="114"/>
                </a:cubicBezTo>
                <a:cubicBezTo>
                  <a:pt x="384" y="114"/>
                  <a:pt x="384" y="114"/>
                  <a:pt x="384" y="114"/>
                </a:cubicBezTo>
                <a:cubicBezTo>
                  <a:pt x="385" y="113"/>
                  <a:pt x="385" y="113"/>
                  <a:pt x="385" y="113"/>
                </a:cubicBezTo>
                <a:cubicBezTo>
                  <a:pt x="386" y="113"/>
                  <a:pt x="386" y="112"/>
                  <a:pt x="386" y="112"/>
                </a:cubicBezTo>
                <a:close/>
                <a:moveTo>
                  <a:pt x="453" y="169"/>
                </a:moveTo>
                <a:cubicBezTo>
                  <a:pt x="453" y="169"/>
                  <a:pt x="453" y="169"/>
                  <a:pt x="454" y="170"/>
                </a:cubicBezTo>
                <a:cubicBezTo>
                  <a:pt x="454" y="170"/>
                  <a:pt x="454" y="170"/>
                  <a:pt x="454" y="170"/>
                </a:cubicBezTo>
                <a:cubicBezTo>
                  <a:pt x="454" y="169"/>
                  <a:pt x="454" y="169"/>
                  <a:pt x="454" y="169"/>
                </a:cubicBezTo>
                <a:cubicBezTo>
                  <a:pt x="454" y="168"/>
                  <a:pt x="454" y="168"/>
                  <a:pt x="454" y="168"/>
                </a:cubicBezTo>
                <a:cubicBezTo>
                  <a:pt x="453" y="168"/>
                  <a:pt x="453" y="168"/>
                  <a:pt x="453" y="169"/>
                </a:cubicBezTo>
                <a:close/>
                <a:moveTo>
                  <a:pt x="374" y="111"/>
                </a:moveTo>
                <a:cubicBezTo>
                  <a:pt x="375" y="111"/>
                  <a:pt x="375" y="111"/>
                  <a:pt x="375" y="110"/>
                </a:cubicBezTo>
                <a:cubicBezTo>
                  <a:pt x="375" y="110"/>
                  <a:pt x="375" y="110"/>
                  <a:pt x="375" y="110"/>
                </a:cubicBezTo>
                <a:cubicBezTo>
                  <a:pt x="375" y="110"/>
                  <a:pt x="375" y="111"/>
                  <a:pt x="374" y="111"/>
                </a:cubicBezTo>
                <a:cubicBezTo>
                  <a:pt x="374" y="111"/>
                  <a:pt x="374" y="111"/>
                  <a:pt x="374" y="111"/>
                </a:cubicBezTo>
                <a:close/>
                <a:moveTo>
                  <a:pt x="385" y="192"/>
                </a:moveTo>
                <a:cubicBezTo>
                  <a:pt x="385" y="192"/>
                  <a:pt x="384" y="192"/>
                  <a:pt x="384" y="192"/>
                </a:cubicBezTo>
                <a:cubicBezTo>
                  <a:pt x="384" y="193"/>
                  <a:pt x="385" y="193"/>
                  <a:pt x="385" y="193"/>
                </a:cubicBezTo>
                <a:cubicBezTo>
                  <a:pt x="385" y="193"/>
                  <a:pt x="385" y="193"/>
                  <a:pt x="385" y="193"/>
                </a:cubicBezTo>
                <a:cubicBezTo>
                  <a:pt x="385" y="193"/>
                  <a:pt x="385" y="192"/>
                  <a:pt x="385" y="192"/>
                </a:cubicBezTo>
                <a:close/>
                <a:moveTo>
                  <a:pt x="438" y="160"/>
                </a:moveTo>
                <a:cubicBezTo>
                  <a:pt x="438" y="160"/>
                  <a:pt x="438" y="160"/>
                  <a:pt x="438" y="160"/>
                </a:cubicBezTo>
                <a:cubicBezTo>
                  <a:pt x="438" y="160"/>
                  <a:pt x="437" y="160"/>
                  <a:pt x="437" y="159"/>
                </a:cubicBezTo>
                <a:cubicBezTo>
                  <a:pt x="437" y="160"/>
                  <a:pt x="437" y="160"/>
                  <a:pt x="437" y="160"/>
                </a:cubicBezTo>
                <a:cubicBezTo>
                  <a:pt x="437" y="160"/>
                  <a:pt x="437" y="160"/>
                  <a:pt x="437" y="161"/>
                </a:cubicBezTo>
                <a:cubicBezTo>
                  <a:pt x="437" y="161"/>
                  <a:pt x="437" y="161"/>
                  <a:pt x="437" y="161"/>
                </a:cubicBezTo>
                <a:cubicBezTo>
                  <a:pt x="437" y="161"/>
                  <a:pt x="437" y="161"/>
                  <a:pt x="437" y="162"/>
                </a:cubicBezTo>
                <a:cubicBezTo>
                  <a:pt x="438" y="162"/>
                  <a:pt x="438" y="162"/>
                  <a:pt x="438" y="162"/>
                </a:cubicBezTo>
                <a:cubicBezTo>
                  <a:pt x="438" y="161"/>
                  <a:pt x="438" y="161"/>
                  <a:pt x="438" y="161"/>
                </a:cubicBezTo>
                <a:cubicBezTo>
                  <a:pt x="438" y="161"/>
                  <a:pt x="438" y="160"/>
                  <a:pt x="438" y="160"/>
                </a:cubicBezTo>
                <a:cubicBezTo>
                  <a:pt x="438" y="160"/>
                  <a:pt x="438" y="160"/>
                  <a:pt x="438" y="160"/>
                </a:cubicBezTo>
                <a:close/>
                <a:moveTo>
                  <a:pt x="434" y="131"/>
                </a:moveTo>
                <a:cubicBezTo>
                  <a:pt x="434" y="131"/>
                  <a:pt x="434" y="131"/>
                  <a:pt x="433" y="131"/>
                </a:cubicBezTo>
                <a:cubicBezTo>
                  <a:pt x="433" y="131"/>
                  <a:pt x="433" y="131"/>
                  <a:pt x="434" y="130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3" y="130"/>
                  <a:pt x="433" y="129"/>
                  <a:pt x="432" y="129"/>
                </a:cubicBezTo>
                <a:cubicBezTo>
                  <a:pt x="432" y="129"/>
                  <a:pt x="432" y="129"/>
                  <a:pt x="431" y="129"/>
                </a:cubicBezTo>
                <a:cubicBezTo>
                  <a:pt x="431" y="130"/>
                  <a:pt x="431" y="130"/>
                  <a:pt x="431" y="130"/>
                </a:cubicBezTo>
                <a:cubicBezTo>
                  <a:pt x="430" y="130"/>
                  <a:pt x="430" y="130"/>
                  <a:pt x="429" y="130"/>
                </a:cubicBezTo>
                <a:cubicBezTo>
                  <a:pt x="429" y="130"/>
                  <a:pt x="429" y="130"/>
                  <a:pt x="429" y="130"/>
                </a:cubicBezTo>
                <a:cubicBezTo>
                  <a:pt x="428" y="130"/>
                  <a:pt x="428" y="130"/>
                  <a:pt x="428" y="130"/>
                </a:cubicBezTo>
                <a:cubicBezTo>
                  <a:pt x="427" y="130"/>
                  <a:pt x="427" y="130"/>
                  <a:pt x="427" y="130"/>
                </a:cubicBezTo>
                <a:cubicBezTo>
                  <a:pt x="426" y="130"/>
                  <a:pt x="426" y="130"/>
                  <a:pt x="426" y="130"/>
                </a:cubicBezTo>
                <a:cubicBezTo>
                  <a:pt x="425" y="130"/>
                  <a:pt x="425" y="130"/>
                  <a:pt x="424" y="130"/>
                </a:cubicBezTo>
                <a:cubicBezTo>
                  <a:pt x="424" y="131"/>
                  <a:pt x="424" y="131"/>
                  <a:pt x="423" y="131"/>
                </a:cubicBezTo>
                <a:cubicBezTo>
                  <a:pt x="423" y="131"/>
                  <a:pt x="423" y="132"/>
                  <a:pt x="422" y="132"/>
                </a:cubicBezTo>
                <a:cubicBezTo>
                  <a:pt x="422" y="132"/>
                  <a:pt x="421" y="133"/>
                  <a:pt x="421" y="133"/>
                </a:cubicBezTo>
                <a:cubicBezTo>
                  <a:pt x="421" y="133"/>
                  <a:pt x="421" y="133"/>
                  <a:pt x="421" y="134"/>
                </a:cubicBezTo>
                <a:cubicBezTo>
                  <a:pt x="421" y="134"/>
                  <a:pt x="422" y="134"/>
                  <a:pt x="422" y="134"/>
                </a:cubicBezTo>
                <a:cubicBezTo>
                  <a:pt x="422" y="134"/>
                  <a:pt x="423" y="134"/>
                  <a:pt x="423" y="134"/>
                </a:cubicBezTo>
                <a:cubicBezTo>
                  <a:pt x="423" y="135"/>
                  <a:pt x="423" y="135"/>
                  <a:pt x="423" y="135"/>
                </a:cubicBezTo>
                <a:cubicBezTo>
                  <a:pt x="424" y="135"/>
                  <a:pt x="424" y="136"/>
                  <a:pt x="424" y="136"/>
                </a:cubicBezTo>
                <a:cubicBezTo>
                  <a:pt x="424" y="136"/>
                  <a:pt x="424" y="136"/>
                  <a:pt x="424" y="136"/>
                </a:cubicBezTo>
                <a:cubicBezTo>
                  <a:pt x="424" y="137"/>
                  <a:pt x="424" y="137"/>
                  <a:pt x="424" y="137"/>
                </a:cubicBezTo>
                <a:cubicBezTo>
                  <a:pt x="424" y="137"/>
                  <a:pt x="425" y="137"/>
                  <a:pt x="425" y="137"/>
                </a:cubicBezTo>
                <a:cubicBezTo>
                  <a:pt x="425" y="138"/>
                  <a:pt x="425" y="138"/>
                  <a:pt x="426" y="139"/>
                </a:cubicBezTo>
                <a:cubicBezTo>
                  <a:pt x="426" y="139"/>
                  <a:pt x="426" y="139"/>
                  <a:pt x="427" y="139"/>
                </a:cubicBezTo>
                <a:cubicBezTo>
                  <a:pt x="427" y="139"/>
                  <a:pt x="427" y="139"/>
                  <a:pt x="427" y="139"/>
                </a:cubicBezTo>
                <a:cubicBezTo>
                  <a:pt x="427" y="139"/>
                  <a:pt x="427" y="139"/>
                  <a:pt x="427" y="139"/>
                </a:cubicBezTo>
                <a:cubicBezTo>
                  <a:pt x="427" y="138"/>
                  <a:pt x="427" y="138"/>
                  <a:pt x="427" y="138"/>
                </a:cubicBezTo>
                <a:cubicBezTo>
                  <a:pt x="428" y="138"/>
                  <a:pt x="428" y="138"/>
                  <a:pt x="428" y="138"/>
                </a:cubicBezTo>
                <a:cubicBezTo>
                  <a:pt x="429" y="137"/>
                  <a:pt x="429" y="137"/>
                  <a:pt x="430" y="136"/>
                </a:cubicBezTo>
                <a:cubicBezTo>
                  <a:pt x="430" y="136"/>
                  <a:pt x="430" y="136"/>
                  <a:pt x="431" y="135"/>
                </a:cubicBezTo>
                <a:cubicBezTo>
                  <a:pt x="431" y="135"/>
                  <a:pt x="432" y="135"/>
                  <a:pt x="432" y="134"/>
                </a:cubicBezTo>
                <a:cubicBezTo>
                  <a:pt x="432" y="134"/>
                  <a:pt x="433" y="134"/>
                  <a:pt x="433" y="134"/>
                </a:cubicBezTo>
                <a:cubicBezTo>
                  <a:pt x="433" y="134"/>
                  <a:pt x="434" y="133"/>
                  <a:pt x="434" y="133"/>
                </a:cubicBezTo>
                <a:cubicBezTo>
                  <a:pt x="434" y="133"/>
                  <a:pt x="434" y="132"/>
                  <a:pt x="434" y="132"/>
                </a:cubicBezTo>
                <a:cubicBezTo>
                  <a:pt x="434" y="132"/>
                  <a:pt x="434" y="132"/>
                  <a:pt x="434" y="132"/>
                </a:cubicBezTo>
                <a:cubicBezTo>
                  <a:pt x="434" y="132"/>
                  <a:pt x="434" y="131"/>
                  <a:pt x="434" y="131"/>
                </a:cubicBezTo>
                <a:close/>
                <a:moveTo>
                  <a:pt x="418" y="133"/>
                </a:moveTo>
                <a:cubicBezTo>
                  <a:pt x="418" y="133"/>
                  <a:pt x="418" y="133"/>
                  <a:pt x="419" y="133"/>
                </a:cubicBezTo>
                <a:cubicBezTo>
                  <a:pt x="419" y="132"/>
                  <a:pt x="419" y="132"/>
                  <a:pt x="419" y="132"/>
                </a:cubicBezTo>
                <a:cubicBezTo>
                  <a:pt x="419" y="132"/>
                  <a:pt x="419" y="132"/>
                  <a:pt x="418" y="132"/>
                </a:cubicBezTo>
                <a:cubicBezTo>
                  <a:pt x="418" y="132"/>
                  <a:pt x="417" y="132"/>
                  <a:pt x="417" y="132"/>
                </a:cubicBezTo>
                <a:cubicBezTo>
                  <a:pt x="417" y="132"/>
                  <a:pt x="417" y="132"/>
                  <a:pt x="416" y="132"/>
                </a:cubicBezTo>
                <a:cubicBezTo>
                  <a:pt x="417" y="133"/>
                  <a:pt x="417" y="133"/>
                  <a:pt x="417" y="133"/>
                </a:cubicBezTo>
                <a:cubicBezTo>
                  <a:pt x="417" y="133"/>
                  <a:pt x="417" y="133"/>
                  <a:pt x="417" y="133"/>
                </a:cubicBezTo>
                <a:cubicBezTo>
                  <a:pt x="417" y="133"/>
                  <a:pt x="417" y="133"/>
                  <a:pt x="418" y="133"/>
                </a:cubicBezTo>
                <a:close/>
                <a:moveTo>
                  <a:pt x="388" y="194"/>
                </a:moveTo>
                <a:cubicBezTo>
                  <a:pt x="388" y="194"/>
                  <a:pt x="388" y="194"/>
                  <a:pt x="388" y="194"/>
                </a:cubicBezTo>
                <a:cubicBezTo>
                  <a:pt x="388" y="194"/>
                  <a:pt x="388" y="194"/>
                  <a:pt x="388" y="194"/>
                </a:cubicBezTo>
                <a:cubicBezTo>
                  <a:pt x="387" y="194"/>
                  <a:pt x="387" y="194"/>
                  <a:pt x="387" y="194"/>
                </a:cubicBezTo>
                <a:cubicBezTo>
                  <a:pt x="387" y="195"/>
                  <a:pt x="388" y="195"/>
                  <a:pt x="388" y="195"/>
                </a:cubicBezTo>
                <a:cubicBezTo>
                  <a:pt x="388" y="195"/>
                  <a:pt x="388" y="195"/>
                  <a:pt x="388" y="195"/>
                </a:cubicBezTo>
                <a:cubicBezTo>
                  <a:pt x="389" y="195"/>
                  <a:pt x="389" y="194"/>
                  <a:pt x="389" y="194"/>
                </a:cubicBezTo>
                <a:cubicBezTo>
                  <a:pt x="389" y="194"/>
                  <a:pt x="389" y="194"/>
                  <a:pt x="389" y="194"/>
                </a:cubicBezTo>
                <a:cubicBezTo>
                  <a:pt x="389" y="194"/>
                  <a:pt x="389" y="194"/>
                  <a:pt x="389" y="193"/>
                </a:cubicBezTo>
                <a:cubicBezTo>
                  <a:pt x="389" y="193"/>
                  <a:pt x="389" y="194"/>
                  <a:pt x="388" y="194"/>
                </a:cubicBezTo>
                <a:close/>
                <a:moveTo>
                  <a:pt x="386" y="188"/>
                </a:moveTo>
                <a:cubicBezTo>
                  <a:pt x="386" y="188"/>
                  <a:pt x="386" y="189"/>
                  <a:pt x="386" y="189"/>
                </a:cubicBezTo>
                <a:cubicBezTo>
                  <a:pt x="386" y="189"/>
                  <a:pt x="386" y="188"/>
                  <a:pt x="386" y="188"/>
                </a:cubicBezTo>
                <a:cubicBezTo>
                  <a:pt x="387" y="188"/>
                  <a:pt x="387" y="188"/>
                  <a:pt x="387" y="188"/>
                </a:cubicBezTo>
                <a:cubicBezTo>
                  <a:pt x="387" y="188"/>
                  <a:pt x="386" y="188"/>
                  <a:pt x="386" y="188"/>
                </a:cubicBezTo>
                <a:close/>
                <a:moveTo>
                  <a:pt x="382" y="191"/>
                </a:moveTo>
                <a:cubicBezTo>
                  <a:pt x="383" y="191"/>
                  <a:pt x="383" y="191"/>
                  <a:pt x="383" y="190"/>
                </a:cubicBezTo>
                <a:cubicBezTo>
                  <a:pt x="383" y="190"/>
                  <a:pt x="383" y="190"/>
                  <a:pt x="383" y="190"/>
                </a:cubicBezTo>
                <a:cubicBezTo>
                  <a:pt x="383" y="190"/>
                  <a:pt x="383" y="190"/>
                  <a:pt x="382" y="190"/>
                </a:cubicBezTo>
                <a:cubicBezTo>
                  <a:pt x="382" y="190"/>
                  <a:pt x="382" y="191"/>
                  <a:pt x="382" y="191"/>
                </a:cubicBezTo>
                <a:close/>
                <a:moveTo>
                  <a:pt x="387" y="199"/>
                </a:moveTo>
                <a:cubicBezTo>
                  <a:pt x="387" y="198"/>
                  <a:pt x="387" y="198"/>
                  <a:pt x="387" y="198"/>
                </a:cubicBezTo>
                <a:cubicBezTo>
                  <a:pt x="388" y="198"/>
                  <a:pt x="388" y="198"/>
                  <a:pt x="388" y="198"/>
                </a:cubicBezTo>
                <a:cubicBezTo>
                  <a:pt x="388" y="198"/>
                  <a:pt x="388" y="197"/>
                  <a:pt x="388" y="197"/>
                </a:cubicBezTo>
                <a:cubicBezTo>
                  <a:pt x="388" y="197"/>
                  <a:pt x="388" y="197"/>
                  <a:pt x="388" y="197"/>
                </a:cubicBezTo>
                <a:cubicBezTo>
                  <a:pt x="388" y="197"/>
                  <a:pt x="388" y="197"/>
                  <a:pt x="387" y="197"/>
                </a:cubicBezTo>
                <a:cubicBezTo>
                  <a:pt x="387" y="196"/>
                  <a:pt x="387" y="196"/>
                  <a:pt x="387" y="196"/>
                </a:cubicBezTo>
                <a:cubicBezTo>
                  <a:pt x="387" y="196"/>
                  <a:pt x="387" y="196"/>
                  <a:pt x="387" y="196"/>
                </a:cubicBezTo>
                <a:cubicBezTo>
                  <a:pt x="387" y="196"/>
                  <a:pt x="387" y="197"/>
                  <a:pt x="387" y="197"/>
                </a:cubicBezTo>
                <a:cubicBezTo>
                  <a:pt x="387" y="197"/>
                  <a:pt x="387" y="197"/>
                  <a:pt x="387" y="197"/>
                </a:cubicBezTo>
                <a:cubicBezTo>
                  <a:pt x="386" y="198"/>
                  <a:pt x="386" y="198"/>
                  <a:pt x="386" y="198"/>
                </a:cubicBezTo>
                <a:cubicBezTo>
                  <a:pt x="386" y="198"/>
                  <a:pt x="387" y="199"/>
                  <a:pt x="387" y="199"/>
                </a:cubicBezTo>
                <a:cubicBezTo>
                  <a:pt x="387" y="199"/>
                  <a:pt x="387" y="199"/>
                  <a:pt x="387" y="199"/>
                </a:cubicBezTo>
                <a:close/>
                <a:moveTo>
                  <a:pt x="384" y="193"/>
                </a:moveTo>
                <a:cubicBezTo>
                  <a:pt x="384" y="193"/>
                  <a:pt x="384" y="193"/>
                  <a:pt x="384" y="193"/>
                </a:cubicBezTo>
                <a:cubicBezTo>
                  <a:pt x="384" y="193"/>
                  <a:pt x="385" y="193"/>
                  <a:pt x="385" y="193"/>
                </a:cubicBezTo>
                <a:cubicBezTo>
                  <a:pt x="384" y="193"/>
                  <a:pt x="384" y="193"/>
                  <a:pt x="384" y="192"/>
                </a:cubicBezTo>
                <a:cubicBezTo>
                  <a:pt x="384" y="193"/>
                  <a:pt x="384" y="193"/>
                  <a:pt x="384" y="193"/>
                </a:cubicBezTo>
                <a:close/>
                <a:moveTo>
                  <a:pt x="476" y="110"/>
                </a:moveTo>
                <a:cubicBezTo>
                  <a:pt x="476" y="109"/>
                  <a:pt x="476" y="109"/>
                  <a:pt x="476" y="109"/>
                </a:cubicBezTo>
                <a:cubicBezTo>
                  <a:pt x="476" y="109"/>
                  <a:pt x="476" y="109"/>
                  <a:pt x="476" y="109"/>
                </a:cubicBezTo>
                <a:cubicBezTo>
                  <a:pt x="476" y="109"/>
                  <a:pt x="476" y="109"/>
                  <a:pt x="475" y="109"/>
                </a:cubicBezTo>
                <a:cubicBezTo>
                  <a:pt x="476" y="109"/>
                  <a:pt x="476" y="110"/>
                  <a:pt x="476" y="110"/>
                </a:cubicBezTo>
                <a:cubicBezTo>
                  <a:pt x="476" y="110"/>
                  <a:pt x="476" y="110"/>
                  <a:pt x="476" y="110"/>
                </a:cubicBezTo>
                <a:close/>
                <a:moveTo>
                  <a:pt x="465" y="136"/>
                </a:moveTo>
                <a:cubicBezTo>
                  <a:pt x="465" y="136"/>
                  <a:pt x="465" y="136"/>
                  <a:pt x="465" y="136"/>
                </a:cubicBezTo>
                <a:cubicBezTo>
                  <a:pt x="465" y="136"/>
                  <a:pt x="465" y="136"/>
                  <a:pt x="466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36"/>
                  <a:pt x="466" y="135"/>
                  <a:pt x="466" y="135"/>
                </a:cubicBezTo>
                <a:cubicBezTo>
                  <a:pt x="466" y="135"/>
                  <a:pt x="466" y="135"/>
                  <a:pt x="466" y="135"/>
                </a:cubicBezTo>
                <a:cubicBezTo>
                  <a:pt x="465" y="135"/>
                  <a:pt x="465" y="136"/>
                  <a:pt x="465" y="136"/>
                </a:cubicBezTo>
                <a:close/>
                <a:moveTo>
                  <a:pt x="470" y="118"/>
                </a:moveTo>
                <a:cubicBezTo>
                  <a:pt x="470" y="118"/>
                  <a:pt x="470" y="118"/>
                  <a:pt x="471" y="118"/>
                </a:cubicBezTo>
                <a:cubicBezTo>
                  <a:pt x="471" y="118"/>
                  <a:pt x="471" y="117"/>
                  <a:pt x="471" y="117"/>
                </a:cubicBezTo>
                <a:cubicBezTo>
                  <a:pt x="471" y="117"/>
                  <a:pt x="470" y="117"/>
                  <a:pt x="470" y="117"/>
                </a:cubicBezTo>
                <a:cubicBezTo>
                  <a:pt x="470" y="117"/>
                  <a:pt x="469" y="118"/>
                  <a:pt x="469" y="118"/>
                </a:cubicBezTo>
                <a:cubicBezTo>
                  <a:pt x="468" y="118"/>
                  <a:pt x="468" y="118"/>
                  <a:pt x="468" y="119"/>
                </a:cubicBezTo>
                <a:cubicBezTo>
                  <a:pt x="468" y="119"/>
                  <a:pt x="469" y="119"/>
                  <a:pt x="469" y="119"/>
                </a:cubicBezTo>
                <a:cubicBezTo>
                  <a:pt x="469" y="118"/>
                  <a:pt x="470" y="118"/>
                  <a:pt x="470" y="118"/>
                </a:cubicBezTo>
                <a:close/>
                <a:moveTo>
                  <a:pt x="467" y="131"/>
                </a:moveTo>
                <a:cubicBezTo>
                  <a:pt x="467" y="131"/>
                  <a:pt x="466" y="131"/>
                  <a:pt x="466" y="131"/>
                </a:cubicBezTo>
                <a:cubicBezTo>
                  <a:pt x="466" y="132"/>
                  <a:pt x="466" y="132"/>
                  <a:pt x="466" y="132"/>
                </a:cubicBezTo>
                <a:cubicBezTo>
                  <a:pt x="466" y="132"/>
                  <a:pt x="466" y="132"/>
                  <a:pt x="467" y="132"/>
                </a:cubicBezTo>
                <a:cubicBezTo>
                  <a:pt x="467" y="132"/>
                  <a:pt x="467" y="131"/>
                  <a:pt x="467" y="131"/>
                </a:cubicBezTo>
                <a:close/>
                <a:moveTo>
                  <a:pt x="467" y="133"/>
                </a:moveTo>
                <a:cubicBezTo>
                  <a:pt x="467" y="133"/>
                  <a:pt x="467" y="133"/>
                  <a:pt x="467" y="133"/>
                </a:cubicBezTo>
                <a:cubicBezTo>
                  <a:pt x="467" y="133"/>
                  <a:pt x="467" y="133"/>
                  <a:pt x="467" y="133"/>
                </a:cubicBezTo>
                <a:cubicBezTo>
                  <a:pt x="467" y="132"/>
                  <a:pt x="467" y="132"/>
                  <a:pt x="466" y="132"/>
                </a:cubicBezTo>
                <a:cubicBezTo>
                  <a:pt x="466" y="132"/>
                  <a:pt x="466" y="132"/>
                  <a:pt x="466" y="133"/>
                </a:cubicBezTo>
                <a:cubicBezTo>
                  <a:pt x="466" y="133"/>
                  <a:pt x="466" y="133"/>
                  <a:pt x="465" y="133"/>
                </a:cubicBezTo>
                <a:cubicBezTo>
                  <a:pt x="465" y="133"/>
                  <a:pt x="465" y="133"/>
                  <a:pt x="465" y="134"/>
                </a:cubicBezTo>
                <a:cubicBezTo>
                  <a:pt x="465" y="134"/>
                  <a:pt x="465" y="134"/>
                  <a:pt x="465" y="134"/>
                </a:cubicBezTo>
                <a:cubicBezTo>
                  <a:pt x="465" y="134"/>
                  <a:pt x="466" y="134"/>
                  <a:pt x="466" y="135"/>
                </a:cubicBezTo>
                <a:cubicBezTo>
                  <a:pt x="466" y="135"/>
                  <a:pt x="466" y="134"/>
                  <a:pt x="466" y="134"/>
                </a:cubicBezTo>
                <a:cubicBezTo>
                  <a:pt x="467" y="134"/>
                  <a:pt x="467" y="134"/>
                  <a:pt x="467" y="133"/>
                </a:cubicBezTo>
                <a:close/>
                <a:moveTo>
                  <a:pt x="442" y="113"/>
                </a:moveTo>
                <a:cubicBezTo>
                  <a:pt x="442" y="113"/>
                  <a:pt x="442" y="113"/>
                  <a:pt x="442" y="113"/>
                </a:cubicBezTo>
                <a:cubicBezTo>
                  <a:pt x="442" y="113"/>
                  <a:pt x="442" y="113"/>
                  <a:pt x="442" y="113"/>
                </a:cubicBezTo>
                <a:cubicBezTo>
                  <a:pt x="443" y="114"/>
                  <a:pt x="443" y="114"/>
                  <a:pt x="443" y="114"/>
                </a:cubicBezTo>
                <a:cubicBezTo>
                  <a:pt x="443" y="114"/>
                  <a:pt x="444" y="114"/>
                  <a:pt x="444" y="114"/>
                </a:cubicBezTo>
                <a:cubicBezTo>
                  <a:pt x="444" y="114"/>
                  <a:pt x="444" y="114"/>
                  <a:pt x="445" y="114"/>
                </a:cubicBezTo>
                <a:cubicBezTo>
                  <a:pt x="445" y="114"/>
                  <a:pt x="445" y="114"/>
                  <a:pt x="445" y="113"/>
                </a:cubicBezTo>
                <a:cubicBezTo>
                  <a:pt x="446" y="113"/>
                  <a:pt x="446" y="113"/>
                  <a:pt x="446" y="113"/>
                </a:cubicBezTo>
                <a:cubicBezTo>
                  <a:pt x="447" y="113"/>
                  <a:pt x="447" y="113"/>
                  <a:pt x="447" y="112"/>
                </a:cubicBezTo>
                <a:cubicBezTo>
                  <a:pt x="447" y="112"/>
                  <a:pt x="447" y="112"/>
                  <a:pt x="447" y="112"/>
                </a:cubicBezTo>
                <a:cubicBezTo>
                  <a:pt x="447" y="111"/>
                  <a:pt x="447" y="111"/>
                  <a:pt x="447" y="111"/>
                </a:cubicBezTo>
                <a:cubicBezTo>
                  <a:pt x="447" y="111"/>
                  <a:pt x="447" y="111"/>
                  <a:pt x="447" y="110"/>
                </a:cubicBezTo>
                <a:cubicBezTo>
                  <a:pt x="447" y="110"/>
                  <a:pt x="447" y="110"/>
                  <a:pt x="447" y="110"/>
                </a:cubicBezTo>
                <a:cubicBezTo>
                  <a:pt x="446" y="110"/>
                  <a:pt x="446" y="110"/>
                  <a:pt x="445" y="110"/>
                </a:cubicBezTo>
                <a:cubicBezTo>
                  <a:pt x="445" y="110"/>
                  <a:pt x="445" y="110"/>
                  <a:pt x="445" y="110"/>
                </a:cubicBezTo>
                <a:cubicBezTo>
                  <a:pt x="445" y="111"/>
                  <a:pt x="444" y="111"/>
                  <a:pt x="444" y="111"/>
                </a:cubicBezTo>
                <a:cubicBezTo>
                  <a:pt x="444" y="112"/>
                  <a:pt x="444" y="112"/>
                  <a:pt x="444" y="112"/>
                </a:cubicBezTo>
                <a:cubicBezTo>
                  <a:pt x="444" y="112"/>
                  <a:pt x="443" y="112"/>
                  <a:pt x="443" y="112"/>
                </a:cubicBezTo>
                <a:cubicBezTo>
                  <a:pt x="443" y="113"/>
                  <a:pt x="443" y="113"/>
                  <a:pt x="442" y="113"/>
                </a:cubicBezTo>
                <a:close/>
                <a:moveTo>
                  <a:pt x="568" y="137"/>
                </a:moveTo>
                <a:cubicBezTo>
                  <a:pt x="568" y="137"/>
                  <a:pt x="568" y="137"/>
                  <a:pt x="568" y="138"/>
                </a:cubicBezTo>
                <a:cubicBezTo>
                  <a:pt x="568" y="138"/>
                  <a:pt x="568" y="138"/>
                  <a:pt x="568" y="138"/>
                </a:cubicBezTo>
                <a:cubicBezTo>
                  <a:pt x="568" y="138"/>
                  <a:pt x="568" y="138"/>
                  <a:pt x="568" y="138"/>
                </a:cubicBezTo>
                <a:cubicBezTo>
                  <a:pt x="568" y="138"/>
                  <a:pt x="568" y="137"/>
                  <a:pt x="568" y="137"/>
                </a:cubicBezTo>
                <a:close/>
                <a:moveTo>
                  <a:pt x="452" y="102"/>
                </a:moveTo>
                <a:cubicBezTo>
                  <a:pt x="452" y="102"/>
                  <a:pt x="453" y="102"/>
                  <a:pt x="453" y="102"/>
                </a:cubicBezTo>
                <a:cubicBezTo>
                  <a:pt x="453" y="102"/>
                  <a:pt x="453" y="102"/>
                  <a:pt x="454" y="102"/>
                </a:cubicBezTo>
                <a:cubicBezTo>
                  <a:pt x="454" y="102"/>
                  <a:pt x="454" y="102"/>
                  <a:pt x="455" y="102"/>
                </a:cubicBezTo>
                <a:cubicBezTo>
                  <a:pt x="455" y="102"/>
                  <a:pt x="456" y="102"/>
                  <a:pt x="456" y="102"/>
                </a:cubicBezTo>
                <a:cubicBezTo>
                  <a:pt x="457" y="102"/>
                  <a:pt x="458" y="102"/>
                  <a:pt x="459" y="102"/>
                </a:cubicBezTo>
                <a:cubicBezTo>
                  <a:pt x="459" y="101"/>
                  <a:pt x="459" y="101"/>
                  <a:pt x="459" y="101"/>
                </a:cubicBezTo>
                <a:cubicBezTo>
                  <a:pt x="459" y="100"/>
                  <a:pt x="460" y="100"/>
                  <a:pt x="460" y="100"/>
                </a:cubicBezTo>
                <a:cubicBezTo>
                  <a:pt x="460" y="100"/>
                  <a:pt x="459" y="99"/>
                  <a:pt x="459" y="99"/>
                </a:cubicBezTo>
                <a:cubicBezTo>
                  <a:pt x="459" y="99"/>
                  <a:pt x="458" y="99"/>
                  <a:pt x="458" y="100"/>
                </a:cubicBezTo>
                <a:cubicBezTo>
                  <a:pt x="457" y="100"/>
                  <a:pt x="457" y="100"/>
                  <a:pt x="456" y="100"/>
                </a:cubicBezTo>
                <a:cubicBezTo>
                  <a:pt x="456" y="100"/>
                  <a:pt x="455" y="100"/>
                  <a:pt x="455" y="100"/>
                </a:cubicBezTo>
                <a:cubicBezTo>
                  <a:pt x="454" y="100"/>
                  <a:pt x="454" y="100"/>
                  <a:pt x="454" y="100"/>
                </a:cubicBezTo>
                <a:cubicBezTo>
                  <a:pt x="453" y="100"/>
                  <a:pt x="453" y="100"/>
                  <a:pt x="453" y="100"/>
                </a:cubicBezTo>
                <a:cubicBezTo>
                  <a:pt x="453" y="100"/>
                  <a:pt x="452" y="101"/>
                  <a:pt x="452" y="101"/>
                </a:cubicBezTo>
                <a:cubicBezTo>
                  <a:pt x="452" y="101"/>
                  <a:pt x="452" y="101"/>
                  <a:pt x="452" y="101"/>
                </a:cubicBezTo>
                <a:cubicBezTo>
                  <a:pt x="452" y="101"/>
                  <a:pt x="452" y="102"/>
                  <a:pt x="452" y="102"/>
                </a:cubicBezTo>
                <a:cubicBezTo>
                  <a:pt x="452" y="102"/>
                  <a:pt x="452" y="102"/>
                  <a:pt x="452" y="102"/>
                </a:cubicBezTo>
                <a:cubicBezTo>
                  <a:pt x="452" y="102"/>
                  <a:pt x="452" y="102"/>
                  <a:pt x="452" y="102"/>
                </a:cubicBezTo>
                <a:close/>
                <a:moveTo>
                  <a:pt x="459" y="108"/>
                </a:move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lose/>
                <a:moveTo>
                  <a:pt x="453" y="106"/>
                </a:moveTo>
                <a:cubicBezTo>
                  <a:pt x="453" y="106"/>
                  <a:pt x="454" y="106"/>
                  <a:pt x="454" y="106"/>
                </a:cubicBezTo>
                <a:cubicBezTo>
                  <a:pt x="454" y="106"/>
                  <a:pt x="455" y="106"/>
                  <a:pt x="455" y="106"/>
                </a:cubicBezTo>
                <a:cubicBezTo>
                  <a:pt x="456" y="106"/>
                  <a:pt x="456" y="105"/>
                  <a:pt x="456" y="105"/>
                </a:cubicBezTo>
                <a:cubicBezTo>
                  <a:pt x="457" y="105"/>
                  <a:pt x="457" y="105"/>
                  <a:pt x="457" y="105"/>
                </a:cubicBezTo>
                <a:cubicBezTo>
                  <a:pt x="457" y="105"/>
                  <a:pt x="458" y="104"/>
                  <a:pt x="458" y="104"/>
                </a:cubicBezTo>
                <a:cubicBezTo>
                  <a:pt x="458" y="104"/>
                  <a:pt x="459" y="104"/>
                  <a:pt x="459" y="104"/>
                </a:cubicBezTo>
                <a:cubicBezTo>
                  <a:pt x="459" y="104"/>
                  <a:pt x="459" y="104"/>
                  <a:pt x="460" y="103"/>
                </a:cubicBezTo>
                <a:cubicBezTo>
                  <a:pt x="460" y="103"/>
                  <a:pt x="460" y="103"/>
                  <a:pt x="459" y="103"/>
                </a:cubicBezTo>
                <a:cubicBezTo>
                  <a:pt x="459" y="103"/>
                  <a:pt x="459" y="103"/>
                  <a:pt x="459" y="103"/>
                </a:cubicBezTo>
                <a:cubicBezTo>
                  <a:pt x="458" y="103"/>
                  <a:pt x="458" y="103"/>
                  <a:pt x="458" y="104"/>
                </a:cubicBezTo>
                <a:cubicBezTo>
                  <a:pt x="458" y="104"/>
                  <a:pt x="458" y="104"/>
                  <a:pt x="457" y="104"/>
                </a:cubicBezTo>
                <a:cubicBezTo>
                  <a:pt x="457" y="104"/>
                  <a:pt x="456" y="104"/>
                  <a:pt x="455" y="104"/>
                </a:cubicBezTo>
                <a:cubicBezTo>
                  <a:pt x="455" y="105"/>
                  <a:pt x="454" y="105"/>
                  <a:pt x="454" y="105"/>
                </a:cubicBezTo>
                <a:cubicBezTo>
                  <a:pt x="454" y="105"/>
                  <a:pt x="453" y="105"/>
                  <a:pt x="453" y="106"/>
                </a:cubicBezTo>
                <a:cubicBezTo>
                  <a:pt x="453" y="106"/>
                  <a:pt x="452" y="106"/>
                  <a:pt x="452" y="106"/>
                </a:cubicBezTo>
                <a:cubicBezTo>
                  <a:pt x="452" y="106"/>
                  <a:pt x="452" y="106"/>
                  <a:pt x="452" y="106"/>
                </a:cubicBezTo>
                <a:cubicBezTo>
                  <a:pt x="452" y="106"/>
                  <a:pt x="452" y="106"/>
                  <a:pt x="453" y="106"/>
                </a:cubicBezTo>
                <a:cubicBezTo>
                  <a:pt x="453" y="106"/>
                  <a:pt x="453" y="106"/>
                  <a:pt x="453" y="106"/>
                </a:cubicBezTo>
                <a:close/>
                <a:moveTo>
                  <a:pt x="458" y="125"/>
                </a:moveTo>
                <a:cubicBezTo>
                  <a:pt x="458" y="125"/>
                  <a:pt x="458" y="126"/>
                  <a:pt x="458" y="126"/>
                </a:cubicBezTo>
                <a:cubicBezTo>
                  <a:pt x="459" y="126"/>
                  <a:pt x="460" y="126"/>
                  <a:pt x="460" y="126"/>
                </a:cubicBezTo>
                <a:cubicBezTo>
                  <a:pt x="461" y="126"/>
                  <a:pt x="461" y="126"/>
                  <a:pt x="462" y="126"/>
                </a:cubicBezTo>
                <a:cubicBezTo>
                  <a:pt x="462" y="126"/>
                  <a:pt x="462" y="126"/>
                  <a:pt x="462" y="125"/>
                </a:cubicBezTo>
                <a:cubicBezTo>
                  <a:pt x="463" y="125"/>
                  <a:pt x="463" y="125"/>
                  <a:pt x="463" y="125"/>
                </a:cubicBezTo>
                <a:cubicBezTo>
                  <a:pt x="464" y="125"/>
                  <a:pt x="464" y="125"/>
                  <a:pt x="465" y="125"/>
                </a:cubicBezTo>
                <a:cubicBezTo>
                  <a:pt x="465" y="125"/>
                  <a:pt x="465" y="125"/>
                  <a:pt x="466" y="125"/>
                </a:cubicBezTo>
                <a:cubicBezTo>
                  <a:pt x="466" y="124"/>
                  <a:pt x="466" y="124"/>
                  <a:pt x="466" y="124"/>
                </a:cubicBezTo>
                <a:cubicBezTo>
                  <a:pt x="467" y="124"/>
                  <a:pt x="467" y="124"/>
                  <a:pt x="467" y="123"/>
                </a:cubicBezTo>
                <a:cubicBezTo>
                  <a:pt x="467" y="123"/>
                  <a:pt x="468" y="123"/>
                  <a:pt x="468" y="123"/>
                </a:cubicBezTo>
                <a:cubicBezTo>
                  <a:pt x="468" y="123"/>
                  <a:pt x="468" y="123"/>
                  <a:pt x="468" y="123"/>
                </a:cubicBezTo>
                <a:cubicBezTo>
                  <a:pt x="468" y="123"/>
                  <a:pt x="467" y="123"/>
                  <a:pt x="466" y="122"/>
                </a:cubicBezTo>
                <a:cubicBezTo>
                  <a:pt x="466" y="123"/>
                  <a:pt x="466" y="123"/>
                  <a:pt x="465" y="123"/>
                </a:cubicBezTo>
                <a:cubicBezTo>
                  <a:pt x="465" y="123"/>
                  <a:pt x="465" y="123"/>
                  <a:pt x="464" y="123"/>
                </a:cubicBezTo>
                <a:cubicBezTo>
                  <a:pt x="464" y="123"/>
                  <a:pt x="464" y="123"/>
                  <a:pt x="463" y="123"/>
                </a:cubicBezTo>
                <a:cubicBezTo>
                  <a:pt x="463" y="124"/>
                  <a:pt x="463" y="124"/>
                  <a:pt x="462" y="124"/>
                </a:cubicBezTo>
                <a:cubicBezTo>
                  <a:pt x="462" y="124"/>
                  <a:pt x="461" y="124"/>
                  <a:pt x="461" y="124"/>
                </a:cubicBezTo>
                <a:cubicBezTo>
                  <a:pt x="460" y="124"/>
                  <a:pt x="460" y="125"/>
                  <a:pt x="460" y="125"/>
                </a:cubicBezTo>
                <a:cubicBezTo>
                  <a:pt x="459" y="125"/>
                  <a:pt x="459" y="125"/>
                  <a:pt x="458" y="125"/>
                </a:cubicBezTo>
                <a:cubicBezTo>
                  <a:pt x="458" y="125"/>
                  <a:pt x="458" y="125"/>
                  <a:pt x="458" y="125"/>
                </a:cubicBezTo>
                <a:close/>
                <a:moveTo>
                  <a:pt x="561" y="96"/>
                </a:moveTo>
                <a:cubicBezTo>
                  <a:pt x="562" y="96"/>
                  <a:pt x="562" y="96"/>
                  <a:pt x="562" y="95"/>
                </a:cubicBezTo>
                <a:cubicBezTo>
                  <a:pt x="562" y="95"/>
                  <a:pt x="561" y="96"/>
                  <a:pt x="561" y="96"/>
                </a:cubicBezTo>
                <a:cubicBezTo>
                  <a:pt x="560" y="96"/>
                  <a:pt x="559" y="97"/>
                  <a:pt x="558" y="97"/>
                </a:cubicBezTo>
                <a:cubicBezTo>
                  <a:pt x="558" y="97"/>
                  <a:pt x="558" y="98"/>
                  <a:pt x="558" y="98"/>
                </a:cubicBezTo>
                <a:cubicBezTo>
                  <a:pt x="558" y="98"/>
                  <a:pt x="557" y="98"/>
                  <a:pt x="557" y="98"/>
                </a:cubicBezTo>
                <a:cubicBezTo>
                  <a:pt x="557" y="99"/>
                  <a:pt x="557" y="99"/>
                  <a:pt x="558" y="99"/>
                </a:cubicBezTo>
                <a:cubicBezTo>
                  <a:pt x="558" y="99"/>
                  <a:pt x="558" y="99"/>
                  <a:pt x="558" y="99"/>
                </a:cubicBezTo>
                <a:cubicBezTo>
                  <a:pt x="558" y="99"/>
                  <a:pt x="558" y="99"/>
                  <a:pt x="558" y="99"/>
                </a:cubicBezTo>
                <a:cubicBezTo>
                  <a:pt x="559" y="99"/>
                  <a:pt x="559" y="98"/>
                  <a:pt x="559" y="98"/>
                </a:cubicBezTo>
                <a:cubicBezTo>
                  <a:pt x="559" y="99"/>
                  <a:pt x="559" y="99"/>
                  <a:pt x="559" y="99"/>
                </a:cubicBezTo>
                <a:cubicBezTo>
                  <a:pt x="560" y="99"/>
                  <a:pt x="560" y="99"/>
                  <a:pt x="560" y="99"/>
                </a:cubicBezTo>
                <a:cubicBezTo>
                  <a:pt x="560" y="99"/>
                  <a:pt x="560" y="98"/>
                  <a:pt x="560" y="98"/>
                </a:cubicBezTo>
                <a:cubicBezTo>
                  <a:pt x="560" y="98"/>
                  <a:pt x="560" y="98"/>
                  <a:pt x="560" y="98"/>
                </a:cubicBezTo>
                <a:cubicBezTo>
                  <a:pt x="560" y="98"/>
                  <a:pt x="560" y="98"/>
                  <a:pt x="560" y="97"/>
                </a:cubicBezTo>
                <a:cubicBezTo>
                  <a:pt x="560" y="97"/>
                  <a:pt x="561" y="97"/>
                  <a:pt x="561" y="96"/>
                </a:cubicBezTo>
                <a:close/>
                <a:moveTo>
                  <a:pt x="260" y="339"/>
                </a:moveTo>
                <a:cubicBezTo>
                  <a:pt x="259" y="340"/>
                  <a:pt x="259" y="340"/>
                  <a:pt x="259" y="340"/>
                </a:cubicBezTo>
                <a:cubicBezTo>
                  <a:pt x="259" y="341"/>
                  <a:pt x="259" y="341"/>
                  <a:pt x="259" y="341"/>
                </a:cubicBezTo>
                <a:cubicBezTo>
                  <a:pt x="259" y="341"/>
                  <a:pt x="259" y="341"/>
                  <a:pt x="259" y="341"/>
                </a:cubicBezTo>
                <a:cubicBezTo>
                  <a:pt x="259" y="341"/>
                  <a:pt x="260" y="341"/>
                  <a:pt x="260" y="341"/>
                </a:cubicBezTo>
                <a:cubicBezTo>
                  <a:pt x="260" y="340"/>
                  <a:pt x="260" y="340"/>
                  <a:pt x="260" y="340"/>
                </a:cubicBezTo>
                <a:cubicBezTo>
                  <a:pt x="260" y="340"/>
                  <a:pt x="260" y="339"/>
                  <a:pt x="260" y="339"/>
                </a:cubicBezTo>
                <a:close/>
                <a:moveTo>
                  <a:pt x="279" y="350"/>
                </a:moveTo>
                <a:cubicBezTo>
                  <a:pt x="278" y="350"/>
                  <a:pt x="278" y="350"/>
                  <a:pt x="277" y="350"/>
                </a:cubicBezTo>
                <a:cubicBezTo>
                  <a:pt x="277" y="350"/>
                  <a:pt x="276" y="350"/>
                  <a:pt x="276" y="350"/>
                </a:cubicBezTo>
                <a:cubicBezTo>
                  <a:pt x="276" y="350"/>
                  <a:pt x="276" y="350"/>
                  <a:pt x="277" y="351"/>
                </a:cubicBezTo>
                <a:cubicBezTo>
                  <a:pt x="277" y="351"/>
                  <a:pt x="278" y="351"/>
                  <a:pt x="278" y="351"/>
                </a:cubicBezTo>
                <a:cubicBezTo>
                  <a:pt x="278" y="351"/>
                  <a:pt x="278" y="351"/>
                  <a:pt x="279" y="350"/>
                </a:cubicBezTo>
                <a:close/>
                <a:moveTo>
                  <a:pt x="259" y="342"/>
                </a:moveTo>
                <a:cubicBezTo>
                  <a:pt x="259" y="342"/>
                  <a:pt x="259" y="342"/>
                  <a:pt x="259" y="343"/>
                </a:cubicBezTo>
                <a:cubicBezTo>
                  <a:pt x="259" y="343"/>
                  <a:pt x="259" y="343"/>
                  <a:pt x="259" y="343"/>
                </a:cubicBezTo>
                <a:cubicBezTo>
                  <a:pt x="259" y="343"/>
                  <a:pt x="260" y="343"/>
                  <a:pt x="260" y="343"/>
                </a:cubicBezTo>
                <a:cubicBezTo>
                  <a:pt x="260" y="343"/>
                  <a:pt x="260" y="343"/>
                  <a:pt x="260" y="342"/>
                </a:cubicBezTo>
                <a:cubicBezTo>
                  <a:pt x="260" y="342"/>
                  <a:pt x="259" y="342"/>
                  <a:pt x="259" y="342"/>
                </a:cubicBezTo>
                <a:close/>
                <a:moveTo>
                  <a:pt x="258" y="339"/>
                </a:moveTo>
                <a:cubicBezTo>
                  <a:pt x="258" y="339"/>
                  <a:pt x="259" y="339"/>
                  <a:pt x="259" y="340"/>
                </a:cubicBezTo>
                <a:cubicBezTo>
                  <a:pt x="259" y="340"/>
                  <a:pt x="259" y="339"/>
                  <a:pt x="259" y="339"/>
                </a:cubicBezTo>
                <a:cubicBezTo>
                  <a:pt x="259" y="339"/>
                  <a:pt x="259" y="339"/>
                  <a:pt x="259" y="339"/>
                </a:cubicBezTo>
                <a:cubicBezTo>
                  <a:pt x="259" y="339"/>
                  <a:pt x="259" y="339"/>
                  <a:pt x="259" y="339"/>
                </a:cubicBezTo>
                <a:cubicBezTo>
                  <a:pt x="259" y="339"/>
                  <a:pt x="259" y="339"/>
                  <a:pt x="258" y="339"/>
                </a:cubicBezTo>
                <a:close/>
                <a:moveTo>
                  <a:pt x="254" y="335"/>
                </a:moveTo>
                <a:cubicBezTo>
                  <a:pt x="254" y="336"/>
                  <a:pt x="254" y="336"/>
                  <a:pt x="254" y="337"/>
                </a:cubicBezTo>
                <a:cubicBezTo>
                  <a:pt x="254" y="337"/>
                  <a:pt x="254" y="337"/>
                  <a:pt x="255" y="337"/>
                </a:cubicBezTo>
                <a:cubicBezTo>
                  <a:pt x="255" y="337"/>
                  <a:pt x="255" y="337"/>
                  <a:pt x="255" y="337"/>
                </a:cubicBezTo>
                <a:cubicBezTo>
                  <a:pt x="255" y="337"/>
                  <a:pt x="255" y="337"/>
                  <a:pt x="255" y="336"/>
                </a:cubicBezTo>
                <a:cubicBezTo>
                  <a:pt x="255" y="336"/>
                  <a:pt x="255" y="336"/>
                  <a:pt x="255" y="336"/>
                </a:cubicBezTo>
                <a:cubicBezTo>
                  <a:pt x="254" y="336"/>
                  <a:pt x="254" y="336"/>
                  <a:pt x="254" y="335"/>
                </a:cubicBezTo>
                <a:close/>
                <a:moveTo>
                  <a:pt x="258" y="336"/>
                </a:moveTo>
                <a:cubicBezTo>
                  <a:pt x="257" y="336"/>
                  <a:pt x="257" y="336"/>
                  <a:pt x="257" y="336"/>
                </a:cubicBezTo>
                <a:cubicBezTo>
                  <a:pt x="257" y="336"/>
                  <a:pt x="256" y="337"/>
                  <a:pt x="256" y="337"/>
                </a:cubicBezTo>
                <a:cubicBezTo>
                  <a:pt x="256" y="337"/>
                  <a:pt x="257" y="337"/>
                  <a:pt x="257" y="337"/>
                </a:cubicBezTo>
                <a:cubicBezTo>
                  <a:pt x="257" y="337"/>
                  <a:pt x="257" y="336"/>
                  <a:pt x="258" y="336"/>
                </a:cubicBezTo>
                <a:close/>
                <a:moveTo>
                  <a:pt x="453" y="98"/>
                </a:moveTo>
                <a:cubicBezTo>
                  <a:pt x="453" y="98"/>
                  <a:pt x="453" y="99"/>
                  <a:pt x="453" y="99"/>
                </a:cubicBezTo>
                <a:cubicBezTo>
                  <a:pt x="454" y="99"/>
                  <a:pt x="454" y="99"/>
                  <a:pt x="455" y="99"/>
                </a:cubicBezTo>
                <a:cubicBezTo>
                  <a:pt x="455" y="99"/>
                  <a:pt x="456" y="99"/>
                  <a:pt x="456" y="99"/>
                </a:cubicBezTo>
                <a:cubicBezTo>
                  <a:pt x="457" y="99"/>
                  <a:pt x="457" y="99"/>
                  <a:pt x="457" y="99"/>
                </a:cubicBezTo>
                <a:cubicBezTo>
                  <a:pt x="457" y="99"/>
                  <a:pt x="458" y="99"/>
                  <a:pt x="458" y="99"/>
                </a:cubicBezTo>
                <a:cubicBezTo>
                  <a:pt x="458" y="98"/>
                  <a:pt x="458" y="98"/>
                  <a:pt x="458" y="98"/>
                </a:cubicBezTo>
                <a:cubicBezTo>
                  <a:pt x="458" y="98"/>
                  <a:pt x="458" y="97"/>
                  <a:pt x="458" y="97"/>
                </a:cubicBezTo>
                <a:cubicBezTo>
                  <a:pt x="458" y="97"/>
                  <a:pt x="457" y="97"/>
                  <a:pt x="457" y="97"/>
                </a:cubicBezTo>
                <a:cubicBezTo>
                  <a:pt x="457" y="97"/>
                  <a:pt x="458" y="96"/>
                  <a:pt x="458" y="96"/>
                </a:cubicBezTo>
                <a:cubicBezTo>
                  <a:pt x="458" y="96"/>
                  <a:pt x="458" y="96"/>
                  <a:pt x="458" y="96"/>
                </a:cubicBezTo>
                <a:cubicBezTo>
                  <a:pt x="457" y="96"/>
                  <a:pt x="457" y="96"/>
                  <a:pt x="456" y="96"/>
                </a:cubicBezTo>
                <a:cubicBezTo>
                  <a:pt x="456" y="96"/>
                  <a:pt x="456" y="96"/>
                  <a:pt x="456" y="96"/>
                </a:cubicBezTo>
                <a:cubicBezTo>
                  <a:pt x="456" y="96"/>
                  <a:pt x="456" y="96"/>
                  <a:pt x="456" y="96"/>
                </a:cubicBezTo>
                <a:cubicBezTo>
                  <a:pt x="456" y="96"/>
                  <a:pt x="457" y="96"/>
                  <a:pt x="457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6" y="95"/>
                  <a:pt x="456" y="95"/>
                  <a:pt x="456" y="95"/>
                </a:cubicBezTo>
                <a:cubicBezTo>
                  <a:pt x="456" y="95"/>
                  <a:pt x="456" y="95"/>
                  <a:pt x="455" y="95"/>
                </a:cubicBezTo>
                <a:cubicBezTo>
                  <a:pt x="455" y="95"/>
                  <a:pt x="454" y="95"/>
                  <a:pt x="454" y="95"/>
                </a:cubicBezTo>
                <a:cubicBezTo>
                  <a:pt x="454" y="96"/>
                  <a:pt x="453" y="96"/>
                  <a:pt x="453" y="96"/>
                </a:cubicBezTo>
                <a:cubicBezTo>
                  <a:pt x="453" y="96"/>
                  <a:pt x="453" y="96"/>
                  <a:pt x="453" y="97"/>
                </a:cubicBezTo>
                <a:cubicBezTo>
                  <a:pt x="453" y="97"/>
                  <a:pt x="454" y="97"/>
                  <a:pt x="454" y="97"/>
                </a:cubicBezTo>
                <a:cubicBezTo>
                  <a:pt x="454" y="97"/>
                  <a:pt x="454" y="97"/>
                  <a:pt x="454" y="97"/>
                </a:cubicBezTo>
                <a:cubicBezTo>
                  <a:pt x="453" y="98"/>
                  <a:pt x="453" y="98"/>
                  <a:pt x="453" y="98"/>
                </a:cubicBezTo>
                <a:close/>
                <a:moveTo>
                  <a:pt x="456" y="89"/>
                </a:moveTo>
                <a:cubicBezTo>
                  <a:pt x="456" y="89"/>
                  <a:pt x="457" y="89"/>
                  <a:pt x="457" y="90"/>
                </a:cubicBezTo>
                <a:cubicBezTo>
                  <a:pt x="458" y="89"/>
                  <a:pt x="458" y="89"/>
                  <a:pt x="458" y="89"/>
                </a:cubicBezTo>
                <a:cubicBezTo>
                  <a:pt x="459" y="89"/>
                  <a:pt x="459" y="89"/>
                  <a:pt x="460" y="89"/>
                </a:cubicBezTo>
                <a:cubicBezTo>
                  <a:pt x="460" y="88"/>
                  <a:pt x="460" y="87"/>
                  <a:pt x="460" y="87"/>
                </a:cubicBezTo>
                <a:cubicBezTo>
                  <a:pt x="460" y="86"/>
                  <a:pt x="460" y="86"/>
                  <a:pt x="460" y="86"/>
                </a:cubicBezTo>
                <a:cubicBezTo>
                  <a:pt x="460" y="86"/>
                  <a:pt x="460" y="86"/>
                  <a:pt x="460" y="85"/>
                </a:cubicBezTo>
                <a:cubicBezTo>
                  <a:pt x="460" y="85"/>
                  <a:pt x="460" y="85"/>
                  <a:pt x="460" y="85"/>
                </a:cubicBezTo>
                <a:cubicBezTo>
                  <a:pt x="460" y="84"/>
                  <a:pt x="460" y="84"/>
                  <a:pt x="460" y="83"/>
                </a:cubicBezTo>
                <a:cubicBezTo>
                  <a:pt x="460" y="83"/>
                  <a:pt x="460" y="83"/>
                  <a:pt x="460" y="83"/>
                </a:cubicBezTo>
                <a:cubicBezTo>
                  <a:pt x="460" y="82"/>
                  <a:pt x="460" y="82"/>
                  <a:pt x="459" y="82"/>
                </a:cubicBezTo>
                <a:cubicBezTo>
                  <a:pt x="459" y="82"/>
                  <a:pt x="459" y="82"/>
                  <a:pt x="459" y="82"/>
                </a:cubicBezTo>
                <a:cubicBezTo>
                  <a:pt x="458" y="82"/>
                  <a:pt x="458" y="82"/>
                  <a:pt x="458" y="82"/>
                </a:cubicBezTo>
                <a:cubicBezTo>
                  <a:pt x="458" y="82"/>
                  <a:pt x="458" y="83"/>
                  <a:pt x="458" y="83"/>
                </a:cubicBezTo>
                <a:cubicBezTo>
                  <a:pt x="458" y="83"/>
                  <a:pt x="458" y="84"/>
                  <a:pt x="458" y="84"/>
                </a:cubicBezTo>
                <a:cubicBezTo>
                  <a:pt x="458" y="84"/>
                  <a:pt x="458" y="84"/>
                  <a:pt x="458" y="85"/>
                </a:cubicBezTo>
                <a:cubicBezTo>
                  <a:pt x="458" y="85"/>
                  <a:pt x="457" y="85"/>
                  <a:pt x="457" y="85"/>
                </a:cubicBezTo>
                <a:cubicBezTo>
                  <a:pt x="457" y="85"/>
                  <a:pt x="457" y="85"/>
                  <a:pt x="457" y="85"/>
                </a:cubicBezTo>
                <a:cubicBezTo>
                  <a:pt x="457" y="86"/>
                  <a:pt x="457" y="86"/>
                  <a:pt x="456" y="86"/>
                </a:cubicBezTo>
                <a:cubicBezTo>
                  <a:pt x="456" y="86"/>
                  <a:pt x="456" y="87"/>
                  <a:pt x="456" y="87"/>
                </a:cubicBezTo>
                <a:cubicBezTo>
                  <a:pt x="456" y="87"/>
                  <a:pt x="456" y="88"/>
                  <a:pt x="456" y="88"/>
                </a:cubicBezTo>
                <a:cubicBezTo>
                  <a:pt x="456" y="88"/>
                  <a:pt x="456" y="89"/>
                  <a:pt x="456" y="89"/>
                </a:cubicBezTo>
                <a:close/>
                <a:moveTo>
                  <a:pt x="273" y="348"/>
                </a:moveTo>
                <a:cubicBezTo>
                  <a:pt x="273" y="348"/>
                  <a:pt x="273" y="349"/>
                  <a:pt x="273" y="349"/>
                </a:cubicBezTo>
                <a:cubicBezTo>
                  <a:pt x="273" y="348"/>
                  <a:pt x="273" y="348"/>
                  <a:pt x="273" y="348"/>
                </a:cubicBezTo>
                <a:cubicBezTo>
                  <a:pt x="273" y="348"/>
                  <a:pt x="273" y="348"/>
                  <a:pt x="273" y="348"/>
                </a:cubicBezTo>
                <a:close/>
                <a:moveTo>
                  <a:pt x="253" y="334"/>
                </a:moveTo>
                <a:cubicBezTo>
                  <a:pt x="253" y="334"/>
                  <a:pt x="253" y="334"/>
                  <a:pt x="253" y="334"/>
                </a:cubicBezTo>
                <a:cubicBezTo>
                  <a:pt x="253" y="334"/>
                  <a:pt x="254" y="334"/>
                  <a:pt x="254" y="334"/>
                </a:cubicBezTo>
                <a:cubicBezTo>
                  <a:pt x="253" y="334"/>
                  <a:pt x="253" y="334"/>
                  <a:pt x="253" y="334"/>
                </a:cubicBezTo>
                <a:close/>
                <a:moveTo>
                  <a:pt x="458" y="90"/>
                </a:moveTo>
                <a:cubicBezTo>
                  <a:pt x="458" y="90"/>
                  <a:pt x="459" y="90"/>
                  <a:pt x="459" y="90"/>
                </a:cubicBezTo>
                <a:cubicBezTo>
                  <a:pt x="459" y="90"/>
                  <a:pt x="460" y="90"/>
                  <a:pt x="460" y="90"/>
                </a:cubicBezTo>
                <a:cubicBezTo>
                  <a:pt x="460" y="90"/>
                  <a:pt x="460" y="89"/>
                  <a:pt x="461" y="89"/>
                </a:cubicBezTo>
                <a:cubicBezTo>
                  <a:pt x="460" y="89"/>
                  <a:pt x="459" y="90"/>
                  <a:pt x="459" y="90"/>
                </a:cubicBezTo>
                <a:cubicBezTo>
                  <a:pt x="459" y="90"/>
                  <a:pt x="458" y="90"/>
                  <a:pt x="458" y="90"/>
                </a:cubicBezTo>
                <a:close/>
                <a:moveTo>
                  <a:pt x="433" y="76"/>
                </a:moveTo>
                <a:cubicBezTo>
                  <a:pt x="433" y="75"/>
                  <a:pt x="434" y="75"/>
                  <a:pt x="434" y="75"/>
                </a:cubicBezTo>
                <a:cubicBezTo>
                  <a:pt x="435" y="75"/>
                  <a:pt x="435" y="75"/>
                  <a:pt x="435" y="75"/>
                </a:cubicBezTo>
                <a:cubicBezTo>
                  <a:pt x="435" y="75"/>
                  <a:pt x="436" y="75"/>
                  <a:pt x="436" y="75"/>
                </a:cubicBezTo>
                <a:cubicBezTo>
                  <a:pt x="436" y="75"/>
                  <a:pt x="437" y="75"/>
                  <a:pt x="437" y="75"/>
                </a:cubicBezTo>
                <a:cubicBezTo>
                  <a:pt x="437" y="75"/>
                  <a:pt x="438" y="75"/>
                  <a:pt x="438" y="75"/>
                </a:cubicBezTo>
                <a:cubicBezTo>
                  <a:pt x="438" y="75"/>
                  <a:pt x="438" y="75"/>
                  <a:pt x="437" y="75"/>
                </a:cubicBezTo>
                <a:cubicBezTo>
                  <a:pt x="438" y="76"/>
                  <a:pt x="438" y="76"/>
                  <a:pt x="438" y="76"/>
                </a:cubicBezTo>
                <a:cubicBezTo>
                  <a:pt x="438" y="76"/>
                  <a:pt x="439" y="76"/>
                  <a:pt x="439" y="76"/>
                </a:cubicBezTo>
                <a:cubicBezTo>
                  <a:pt x="439" y="76"/>
                  <a:pt x="440" y="76"/>
                  <a:pt x="440" y="76"/>
                </a:cubicBezTo>
                <a:cubicBezTo>
                  <a:pt x="440" y="75"/>
                  <a:pt x="440" y="75"/>
                  <a:pt x="440" y="75"/>
                </a:cubicBezTo>
                <a:cubicBezTo>
                  <a:pt x="440" y="75"/>
                  <a:pt x="440" y="75"/>
                  <a:pt x="440" y="75"/>
                </a:cubicBezTo>
                <a:cubicBezTo>
                  <a:pt x="440" y="75"/>
                  <a:pt x="441" y="75"/>
                  <a:pt x="441" y="75"/>
                </a:cubicBezTo>
                <a:cubicBezTo>
                  <a:pt x="441" y="76"/>
                  <a:pt x="441" y="76"/>
                  <a:pt x="441" y="76"/>
                </a:cubicBezTo>
                <a:cubicBezTo>
                  <a:pt x="442" y="76"/>
                  <a:pt x="443" y="77"/>
                  <a:pt x="443" y="77"/>
                </a:cubicBezTo>
                <a:cubicBezTo>
                  <a:pt x="443" y="77"/>
                  <a:pt x="444" y="76"/>
                  <a:pt x="444" y="76"/>
                </a:cubicBezTo>
                <a:cubicBezTo>
                  <a:pt x="444" y="76"/>
                  <a:pt x="445" y="76"/>
                  <a:pt x="445" y="77"/>
                </a:cubicBezTo>
                <a:cubicBezTo>
                  <a:pt x="445" y="76"/>
                  <a:pt x="446" y="76"/>
                  <a:pt x="446" y="76"/>
                </a:cubicBezTo>
                <a:cubicBezTo>
                  <a:pt x="446" y="76"/>
                  <a:pt x="447" y="76"/>
                  <a:pt x="447" y="76"/>
                </a:cubicBezTo>
                <a:cubicBezTo>
                  <a:pt x="447" y="76"/>
                  <a:pt x="448" y="76"/>
                  <a:pt x="448" y="75"/>
                </a:cubicBezTo>
                <a:cubicBezTo>
                  <a:pt x="448" y="75"/>
                  <a:pt x="449" y="75"/>
                  <a:pt x="449" y="74"/>
                </a:cubicBezTo>
                <a:cubicBezTo>
                  <a:pt x="449" y="74"/>
                  <a:pt x="450" y="73"/>
                  <a:pt x="450" y="73"/>
                </a:cubicBezTo>
                <a:cubicBezTo>
                  <a:pt x="449" y="73"/>
                  <a:pt x="449" y="72"/>
                  <a:pt x="449" y="72"/>
                </a:cubicBezTo>
                <a:cubicBezTo>
                  <a:pt x="449" y="72"/>
                  <a:pt x="449" y="71"/>
                  <a:pt x="450" y="71"/>
                </a:cubicBezTo>
                <a:cubicBezTo>
                  <a:pt x="449" y="71"/>
                  <a:pt x="449" y="70"/>
                  <a:pt x="449" y="70"/>
                </a:cubicBezTo>
                <a:cubicBezTo>
                  <a:pt x="449" y="70"/>
                  <a:pt x="449" y="70"/>
                  <a:pt x="448" y="70"/>
                </a:cubicBezTo>
                <a:cubicBezTo>
                  <a:pt x="448" y="69"/>
                  <a:pt x="448" y="69"/>
                  <a:pt x="448" y="69"/>
                </a:cubicBezTo>
                <a:cubicBezTo>
                  <a:pt x="448" y="69"/>
                  <a:pt x="448" y="69"/>
                  <a:pt x="448" y="69"/>
                </a:cubicBezTo>
                <a:cubicBezTo>
                  <a:pt x="447" y="69"/>
                  <a:pt x="447" y="69"/>
                  <a:pt x="447" y="70"/>
                </a:cubicBezTo>
                <a:cubicBezTo>
                  <a:pt x="447" y="70"/>
                  <a:pt x="447" y="70"/>
                  <a:pt x="446" y="70"/>
                </a:cubicBezTo>
                <a:cubicBezTo>
                  <a:pt x="446" y="70"/>
                  <a:pt x="445" y="70"/>
                  <a:pt x="444" y="70"/>
                </a:cubicBezTo>
                <a:cubicBezTo>
                  <a:pt x="444" y="71"/>
                  <a:pt x="443" y="71"/>
                  <a:pt x="443" y="71"/>
                </a:cubicBezTo>
                <a:cubicBezTo>
                  <a:pt x="443" y="71"/>
                  <a:pt x="442" y="71"/>
                  <a:pt x="442" y="72"/>
                </a:cubicBezTo>
                <a:cubicBezTo>
                  <a:pt x="441" y="72"/>
                  <a:pt x="441" y="72"/>
                  <a:pt x="441" y="72"/>
                </a:cubicBezTo>
                <a:cubicBezTo>
                  <a:pt x="441" y="72"/>
                  <a:pt x="440" y="72"/>
                  <a:pt x="440" y="72"/>
                </a:cubicBezTo>
                <a:cubicBezTo>
                  <a:pt x="439" y="72"/>
                  <a:pt x="439" y="72"/>
                  <a:pt x="439" y="72"/>
                </a:cubicBezTo>
                <a:cubicBezTo>
                  <a:pt x="438" y="72"/>
                  <a:pt x="436" y="73"/>
                  <a:pt x="435" y="73"/>
                </a:cubicBezTo>
                <a:cubicBezTo>
                  <a:pt x="435" y="73"/>
                  <a:pt x="434" y="73"/>
                  <a:pt x="434" y="74"/>
                </a:cubicBezTo>
                <a:cubicBezTo>
                  <a:pt x="434" y="74"/>
                  <a:pt x="433" y="74"/>
                  <a:pt x="433" y="74"/>
                </a:cubicBezTo>
                <a:cubicBezTo>
                  <a:pt x="433" y="74"/>
                  <a:pt x="433" y="74"/>
                  <a:pt x="433" y="75"/>
                </a:cubicBezTo>
                <a:cubicBezTo>
                  <a:pt x="432" y="75"/>
                  <a:pt x="432" y="75"/>
                  <a:pt x="432" y="75"/>
                </a:cubicBezTo>
                <a:cubicBezTo>
                  <a:pt x="432" y="76"/>
                  <a:pt x="432" y="76"/>
                  <a:pt x="432" y="76"/>
                </a:cubicBezTo>
                <a:cubicBezTo>
                  <a:pt x="432" y="76"/>
                  <a:pt x="433" y="76"/>
                  <a:pt x="433" y="76"/>
                </a:cubicBezTo>
                <a:close/>
                <a:moveTo>
                  <a:pt x="275" y="357"/>
                </a:moveTo>
                <a:cubicBezTo>
                  <a:pt x="276" y="357"/>
                  <a:pt x="276" y="357"/>
                  <a:pt x="276" y="357"/>
                </a:cubicBezTo>
                <a:cubicBezTo>
                  <a:pt x="276" y="357"/>
                  <a:pt x="277" y="357"/>
                  <a:pt x="277" y="357"/>
                </a:cubicBezTo>
                <a:cubicBezTo>
                  <a:pt x="278" y="357"/>
                  <a:pt x="279" y="357"/>
                  <a:pt x="280" y="357"/>
                </a:cubicBezTo>
                <a:cubicBezTo>
                  <a:pt x="281" y="357"/>
                  <a:pt x="281" y="357"/>
                  <a:pt x="281" y="357"/>
                </a:cubicBezTo>
                <a:cubicBezTo>
                  <a:pt x="281" y="357"/>
                  <a:pt x="281" y="357"/>
                  <a:pt x="282" y="357"/>
                </a:cubicBezTo>
                <a:cubicBezTo>
                  <a:pt x="281" y="356"/>
                  <a:pt x="281" y="356"/>
                  <a:pt x="280" y="355"/>
                </a:cubicBezTo>
                <a:cubicBezTo>
                  <a:pt x="280" y="355"/>
                  <a:pt x="280" y="355"/>
                  <a:pt x="280" y="354"/>
                </a:cubicBezTo>
                <a:cubicBezTo>
                  <a:pt x="280" y="354"/>
                  <a:pt x="280" y="354"/>
                  <a:pt x="280" y="354"/>
                </a:cubicBezTo>
                <a:cubicBezTo>
                  <a:pt x="279" y="353"/>
                  <a:pt x="279" y="353"/>
                  <a:pt x="279" y="352"/>
                </a:cubicBezTo>
                <a:cubicBezTo>
                  <a:pt x="279" y="352"/>
                  <a:pt x="278" y="352"/>
                  <a:pt x="278" y="352"/>
                </a:cubicBezTo>
                <a:cubicBezTo>
                  <a:pt x="277" y="352"/>
                  <a:pt x="276" y="352"/>
                  <a:pt x="275" y="352"/>
                </a:cubicBezTo>
                <a:cubicBezTo>
                  <a:pt x="275" y="351"/>
                  <a:pt x="275" y="351"/>
                  <a:pt x="274" y="350"/>
                </a:cubicBezTo>
                <a:cubicBezTo>
                  <a:pt x="274" y="350"/>
                  <a:pt x="273" y="349"/>
                  <a:pt x="272" y="349"/>
                </a:cubicBezTo>
                <a:cubicBezTo>
                  <a:pt x="272" y="349"/>
                  <a:pt x="272" y="348"/>
                  <a:pt x="272" y="348"/>
                </a:cubicBezTo>
                <a:cubicBezTo>
                  <a:pt x="272" y="348"/>
                  <a:pt x="271" y="348"/>
                  <a:pt x="271" y="348"/>
                </a:cubicBezTo>
                <a:cubicBezTo>
                  <a:pt x="271" y="348"/>
                  <a:pt x="270" y="348"/>
                  <a:pt x="270" y="348"/>
                </a:cubicBezTo>
                <a:cubicBezTo>
                  <a:pt x="269" y="348"/>
                  <a:pt x="269" y="348"/>
                  <a:pt x="268" y="348"/>
                </a:cubicBezTo>
                <a:cubicBezTo>
                  <a:pt x="268" y="348"/>
                  <a:pt x="267" y="348"/>
                  <a:pt x="267" y="349"/>
                </a:cubicBezTo>
                <a:cubicBezTo>
                  <a:pt x="266" y="349"/>
                  <a:pt x="266" y="349"/>
                  <a:pt x="266" y="349"/>
                </a:cubicBezTo>
                <a:cubicBezTo>
                  <a:pt x="265" y="349"/>
                  <a:pt x="265" y="348"/>
                  <a:pt x="265" y="348"/>
                </a:cubicBezTo>
                <a:cubicBezTo>
                  <a:pt x="264" y="348"/>
                  <a:pt x="264" y="348"/>
                  <a:pt x="263" y="348"/>
                </a:cubicBezTo>
                <a:cubicBezTo>
                  <a:pt x="263" y="348"/>
                  <a:pt x="262" y="348"/>
                  <a:pt x="262" y="348"/>
                </a:cubicBezTo>
                <a:cubicBezTo>
                  <a:pt x="262" y="348"/>
                  <a:pt x="262" y="348"/>
                  <a:pt x="261" y="348"/>
                </a:cubicBezTo>
                <a:cubicBezTo>
                  <a:pt x="261" y="348"/>
                  <a:pt x="261" y="348"/>
                  <a:pt x="260" y="348"/>
                </a:cubicBezTo>
                <a:cubicBezTo>
                  <a:pt x="260" y="348"/>
                  <a:pt x="260" y="348"/>
                  <a:pt x="259" y="348"/>
                </a:cubicBezTo>
                <a:cubicBezTo>
                  <a:pt x="259" y="348"/>
                  <a:pt x="259" y="348"/>
                  <a:pt x="258" y="348"/>
                </a:cubicBezTo>
                <a:cubicBezTo>
                  <a:pt x="258" y="348"/>
                  <a:pt x="258" y="348"/>
                  <a:pt x="258" y="348"/>
                </a:cubicBezTo>
                <a:cubicBezTo>
                  <a:pt x="257" y="348"/>
                  <a:pt x="257" y="349"/>
                  <a:pt x="256" y="349"/>
                </a:cubicBezTo>
                <a:cubicBezTo>
                  <a:pt x="257" y="349"/>
                  <a:pt x="257" y="349"/>
                  <a:pt x="257" y="350"/>
                </a:cubicBezTo>
                <a:cubicBezTo>
                  <a:pt x="257" y="349"/>
                  <a:pt x="258" y="349"/>
                  <a:pt x="258" y="349"/>
                </a:cubicBezTo>
                <a:cubicBezTo>
                  <a:pt x="258" y="350"/>
                  <a:pt x="258" y="350"/>
                  <a:pt x="259" y="350"/>
                </a:cubicBezTo>
                <a:cubicBezTo>
                  <a:pt x="259" y="350"/>
                  <a:pt x="260" y="349"/>
                  <a:pt x="261" y="349"/>
                </a:cubicBezTo>
                <a:cubicBezTo>
                  <a:pt x="261" y="349"/>
                  <a:pt x="261" y="350"/>
                  <a:pt x="260" y="350"/>
                </a:cubicBezTo>
                <a:cubicBezTo>
                  <a:pt x="260" y="350"/>
                  <a:pt x="259" y="350"/>
                  <a:pt x="259" y="350"/>
                </a:cubicBezTo>
                <a:cubicBezTo>
                  <a:pt x="259" y="351"/>
                  <a:pt x="259" y="351"/>
                  <a:pt x="259" y="352"/>
                </a:cubicBezTo>
                <a:cubicBezTo>
                  <a:pt x="259" y="352"/>
                  <a:pt x="259" y="352"/>
                  <a:pt x="259" y="352"/>
                </a:cubicBezTo>
                <a:cubicBezTo>
                  <a:pt x="259" y="352"/>
                  <a:pt x="259" y="352"/>
                  <a:pt x="259" y="353"/>
                </a:cubicBezTo>
                <a:cubicBezTo>
                  <a:pt x="259" y="353"/>
                  <a:pt x="259" y="353"/>
                  <a:pt x="259" y="353"/>
                </a:cubicBezTo>
                <a:cubicBezTo>
                  <a:pt x="260" y="352"/>
                  <a:pt x="260" y="352"/>
                  <a:pt x="261" y="352"/>
                </a:cubicBezTo>
                <a:cubicBezTo>
                  <a:pt x="261" y="352"/>
                  <a:pt x="261" y="352"/>
                  <a:pt x="261" y="353"/>
                </a:cubicBezTo>
                <a:cubicBezTo>
                  <a:pt x="261" y="352"/>
                  <a:pt x="262" y="352"/>
                  <a:pt x="262" y="352"/>
                </a:cubicBezTo>
                <a:cubicBezTo>
                  <a:pt x="262" y="352"/>
                  <a:pt x="262" y="352"/>
                  <a:pt x="262" y="353"/>
                </a:cubicBezTo>
                <a:cubicBezTo>
                  <a:pt x="263" y="353"/>
                  <a:pt x="263" y="353"/>
                  <a:pt x="264" y="353"/>
                </a:cubicBezTo>
                <a:cubicBezTo>
                  <a:pt x="264" y="352"/>
                  <a:pt x="264" y="352"/>
                  <a:pt x="265" y="352"/>
                </a:cubicBezTo>
                <a:cubicBezTo>
                  <a:pt x="264" y="352"/>
                  <a:pt x="264" y="353"/>
                  <a:pt x="264" y="354"/>
                </a:cubicBezTo>
                <a:cubicBezTo>
                  <a:pt x="264" y="354"/>
                  <a:pt x="264" y="354"/>
                  <a:pt x="265" y="354"/>
                </a:cubicBezTo>
                <a:cubicBezTo>
                  <a:pt x="265" y="354"/>
                  <a:pt x="265" y="354"/>
                  <a:pt x="265" y="354"/>
                </a:cubicBezTo>
                <a:cubicBezTo>
                  <a:pt x="265" y="353"/>
                  <a:pt x="265" y="353"/>
                  <a:pt x="265" y="353"/>
                </a:cubicBezTo>
                <a:cubicBezTo>
                  <a:pt x="265" y="353"/>
                  <a:pt x="266" y="352"/>
                  <a:pt x="266" y="352"/>
                </a:cubicBezTo>
                <a:cubicBezTo>
                  <a:pt x="266" y="353"/>
                  <a:pt x="266" y="353"/>
                  <a:pt x="266" y="353"/>
                </a:cubicBezTo>
                <a:cubicBezTo>
                  <a:pt x="266" y="353"/>
                  <a:pt x="266" y="354"/>
                  <a:pt x="266" y="354"/>
                </a:cubicBezTo>
                <a:cubicBezTo>
                  <a:pt x="266" y="354"/>
                  <a:pt x="266" y="354"/>
                  <a:pt x="266" y="355"/>
                </a:cubicBezTo>
                <a:cubicBezTo>
                  <a:pt x="266" y="354"/>
                  <a:pt x="266" y="354"/>
                  <a:pt x="266" y="354"/>
                </a:cubicBezTo>
                <a:cubicBezTo>
                  <a:pt x="267" y="354"/>
                  <a:pt x="267" y="355"/>
                  <a:pt x="267" y="355"/>
                </a:cubicBezTo>
                <a:cubicBezTo>
                  <a:pt x="268" y="355"/>
                  <a:pt x="268" y="354"/>
                  <a:pt x="269" y="354"/>
                </a:cubicBezTo>
                <a:cubicBezTo>
                  <a:pt x="269" y="354"/>
                  <a:pt x="269" y="355"/>
                  <a:pt x="269" y="355"/>
                </a:cubicBezTo>
                <a:cubicBezTo>
                  <a:pt x="269" y="355"/>
                  <a:pt x="269" y="355"/>
                  <a:pt x="270" y="355"/>
                </a:cubicBezTo>
                <a:cubicBezTo>
                  <a:pt x="270" y="355"/>
                  <a:pt x="270" y="355"/>
                  <a:pt x="270" y="355"/>
                </a:cubicBezTo>
                <a:cubicBezTo>
                  <a:pt x="270" y="355"/>
                  <a:pt x="270" y="356"/>
                  <a:pt x="270" y="356"/>
                </a:cubicBezTo>
                <a:cubicBezTo>
                  <a:pt x="271" y="356"/>
                  <a:pt x="271" y="356"/>
                  <a:pt x="272" y="356"/>
                </a:cubicBezTo>
                <a:cubicBezTo>
                  <a:pt x="272" y="356"/>
                  <a:pt x="272" y="356"/>
                  <a:pt x="272" y="355"/>
                </a:cubicBezTo>
                <a:cubicBezTo>
                  <a:pt x="273" y="355"/>
                  <a:pt x="273" y="355"/>
                  <a:pt x="273" y="355"/>
                </a:cubicBezTo>
                <a:cubicBezTo>
                  <a:pt x="273" y="355"/>
                  <a:pt x="274" y="355"/>
                  <a:pt x="274" y="355"/>
                </a:cubicBezTo>
                <a:cubicBezTo>
                  <a:pt x="274" y="356"/>
                  <a:pt x="273" y="356"/>
                  <a:pt x="273" y="357"/>
                </a:cubicBezTo>
                <a:cubicBezTo>
                  <a:pt x="274" y="357"/>
                  <a:pt x="275" y="357"/>
                  <a:pt x="275" y="357"/>
                </a:cubicBezTo>
                <a:close/>
                <a:moveTo>
                  <a:pt x="243" y="342"/>
                </a:moveTo>
                <a:cubicBezTo>
                  <a:pt x="243" y="342"/>
                  <a:pt x="243" y="342"/>
                  <a:pt x="243" y="342"/>
                </a:cubicBezTo>
                <a:cubicBezTo>
                  <a:pt x="242" y="341"/>
                  <a:pt x="242" y="341"/>
                  <a:pt x="242" y="341"/>
                </a:cubicBezTo>
                <a:cubicBezTo>
                  <a:pt x="242" y="340"/>
                  <a:pt x="242" y="340"/>
                  <a:pt x="241" y="340"/>
                </a:cubicBezTo>
                <a:cubicBezTo>
                  <a:pt x="241" y="339"/>
                  <a:pt x="241" y="339"/>
                  <a:pt x="241" y="339"/>
                </a:cubicBezTo>
                <a:cubicBezTo>
                  <a:pt x="241" y="339"/>
                  <a:pt x="241" y="338"/>
                  <a:pt x="241" y="338"/>
                </a:cubicBezTo>
                <a:cubicBezTo>
                  <a:pt x="242" y="338"/>
                  <a:pt x="242" y="338"/>
                  <a:pt x="242" y="337"/>
                </a:cubicBezTo>
                <a:cubicBezTo>
                  <a:pt x="242" y="337"/>
                  <a:pt x="242" y="337"/>
                  <a:pt x="242" y="337"/>
                </a:cubicBezTo>
                <a:cubicBezTo>
                  <a:pt x="242" y="337"/>
                  <a:pt x="241" y="337"/>
                  <a:pt x="241" y="337"/>
                </a:cubicBezTo>
                <a:cubicBezTo>
                  <a:pt x="241" y="337"/>
                  <a:pt x="240" y="337"/>
                  <a:pt x="240" y="337"/>
                </a:cubicBezTo>
                <a:cubicBezTo>
                  <a:pt x="240" y="338"/>
                  <a:pt x="240" y="338"/>
                  <a:pt x="239" y="338"/>
                </a:cubicBezTo>
                <a:cubicBezTo>
                  <a:pt x="240" y="338"/>
                  <a:pt x="240" y="337"/>
                  <a:pt x="240" y="337"/>
                </a:cubicBezTo>
                <a:cubicBezTo>
                  <a:pt x="240" y="337"/>
                  <a:pt x="241" y="337"/>
                  <a:pt x="241" y="337"/>
                </a:cubicBezTo>
                <a:cubicBezTo>
                  <a:pt x="241" y="336"/>
                  <a:pt x="241" y="336"/>
                  <a:pt x="242" y="335"/>
                </a:cubicBezTo>
                <a:cubicBezTo>
                  <a:pt x="242" y="335"/>
                  <a:pt x="242" y="335"/>
                  <a:pt x="241" y="334"/>
                </a:cubicBezTo>
                <a:cubicBezTo>
                  <a:pt x="242" y="334"/>
                  <a:pt x="242" y="334"/>
                  <a:pt x="242" y="333"/>
                </a:cubicBezTo>
                <a:cubicBezTo>
                  <a:pt x="242" y="333"/>
                  <a:pt x="242" y="332"/>
                  <a:pt x="242" y="332"/>
                </a:cubicBezTo>
                <a:cubicBezTo>
                  <a:pt x="242" y="331"/>
                  <a:pt x="243" y="331"/>
                  <a:pt x="243" y="330"/>
                </a:cubicBezTo>
                <a:cubicBezTo>
                  <a:pt x="243" y="330"/>
                  <a:pt x="243" y="330"/>
                  <a:pt x="243" y="330"/>
                </a:cubicBezTo>
                <a:cubicBezTo>
                  <a:pt x="242" y="330"/>
                  <a:pt x="242" y="331"/>
                  <a:pt x="241" y="331"/>
                </a:cubicBezTo>
                <a:cubicBezTo>
                  <a:pt x="241" y="332"/>
                  <a:pt x="241" y="332"/>
                  <a:pt x="241" y="333"/>
                </a:cubicBezTo>
                <a:cubicBezTo>
                  <a:pt x="240" y="333"/>
                  <a:pt x="240" y="334"/>
                  <a:pt x="240" y="334"/>
                </a:cubicBezTo>
                <a:cubicBezTo>
                  <a:pt x="240" y="334"/>
                  <a:pt x="240" y="334"/>
                  <a:pt x="239" y="335"/>
                </a:cubicBezTo>
                <a:cubicBezTo>
                  <a:pt x="239" y="334"/>
                  <a:pt x="239" y="334"/>
                  <a:pt x="239" y="334"/>
                </a:cubicBezTo>
                <a:cubicBezTo>
                  <a:pt x="239" y="334"/>
                  <a:pt x="238" y="334"/>
                  <a:pt x="238" y="334"/>
                </a:cubicBezTo>
                <a:cubicBezTo>
                  <a:pt x="239" y="334"/>
                  <a:pt x="239" y="333"/>
                  <a:pt x="240" y="333"/>
                </a:cubicBezTo>
                <a:cubicBezTo>
                  <a:pt x="240" y="333"/>
                  <a:pt x="240" y="332"/>
                  <a:pt x="241" y="332"/>
                </a:cubicBezTo>
                <a:cubicBezTo>
                  <a:pt x="240" y="332"/>
                  <a:pt x="240" y="331"/>
                  <a:pt x="240" y="331"/>
                </a:cubicBezTo>
                <a:cubicBezTo>
                  <a:pt x="240" y="331"/>
                  <a:pt x="240" y="331"/>
                  <a:pt x="240" y="331"/>
                </a:cubicBezTo>
                <a:cubicBezTo>
                  <a:pt x="240" y="331"/>
                  <a:pt x="240" y="331"/>
                  <a:pt x="239" y="331"/>
                </a:cubicBezTo>
                <a:cubicBezTo>
                  <a:pt x="239" y="331"/>
                  <a:pt x="239" y="331"/>
                  <a:pt x="239" y="331"/>
                </a:cubicBezTo>
                <a:cubicBezTo>
                  <a:pt x="239" y="332"/>
                  <a:pt x="238" y="332"/>
                  <a:pt x="238" y="332"/>
                </a:cubicBezTo>
                <a:cubicBezTo>
                  <a:pt x="238" y="332"/>
                  <a:pt x="238" y="331"/>
                  <a:pt x="238" y="331"/>
                </a:cubicBezTo>
                <a:cubicBezTo>
                  <a:pt x="238" y="331"/>
                  <a:pt x="237" y="331"/>
                  <a:pt x="236" y="331"/>
                </a:cubicBezTo>
                <a:cubicBezTo>
                  <a:pt x="236" y="332"/>
                  <a:pt x="236" y="333"/>
                  <a:pt x="235" y="334"/>
                </a:cubicBezTo>
                <a:cubicBezTo>
                  <a:pt x="236" y="334"/>
                  <a:pt x="236" y="334"/>
                  <a:pt x="236" y="335"/>
                </a:cubicBezTo>
                <a:cubicBezTo>
                  <a:pt x="236" y="335"/>
                  <a:pt x="236" y="335"/>
                  <a:pt x="236" y="336"/>
                </a:cubicBezTo>
                <a:cubicBezTo>
                  <a:pt x="236" y="336"/>
                  <a:pt x="236" y="336"/>
                  <a:pt x="236" y="336"/>
                </a:cubicBezTo>
                <a:cubicBezTo>
                  <a:pt x="237" y="336"/>
                  <a:pt x="237" y="336"/>
                  <a:pt x="237" y="336"/>
                </a:cubicBezTo>
                <a:cubicBezTo>
                  <a:pt x="237" y="336"/>
                  <a:pt x="238" y="336"/>
                  <a:pt x="238" y="336"/>
                </a:cubicBezTo>
                <a:cubicBezTo>
                  <a:pt x="238" y="337"/>
                  <a:pt x="238" y="337"/>
                  <a:pt x="238" y="337"/>
                </a:cubicBezTo>
                <a:cubicBezTo>
                  <a:pt x="238" y="337"/>
                  <a:pt x="238" y="337"/>
                  <a:pt x="238" y="337"/>
                </a:cubicBezTo>
                <a:cubicBezTo>
                  <a:pt x="237" y="337"/>
                  <a:pt x="237" y="337"/>
                  <a:pt x="237" y="337"/>
                </a:cubicBezTo>
                <a:cubicBezTo>
                  <a:pt x="237" y="337"/>
                  <a:pt x="237" y="338"/>
                  <a:pt x="237" y="338"/>
                </a:cubicBezTo>
                <a:cubicBezTo>
                  <a:pt x="237" y="338"/>
                  <a:pt x="238" y="338"/>
                  <a:pt x="238" y="338"/>
                </a:cubicBezTo>
                <a:cubicBezTo>
                  <a:pt x="238" y="338"/>
                  <a:pt x="238" y="339"/>
                  <a:pt x="238" y="339"/>
                </a:cubicBezTo>
                <a:cubicBezTo>
                  <a:pt x="238" y="339"/>
                  <a:pt x="238" y="339"/>
                  <a:pt x="238" y="339"/>
                </a:cubicBezTo>
                <a:cubicBezTo>
                  <a:pt x="239" y="339"/>
                  <a:pt x="239" y="339"/>
                  <a:pt x="240" y="339"/>
                </a:cubicBezTo>
                <a:cubicBezTo>
                  <a:pt x="239" y="339"/>
                  <a:pt x="239" y="339"/>
                  <a:pt x="238" y="339"/>
                </a:cubicBezTo>
                <a:cubicBezTo>
                  <a:pt x="238" y="340"/>
                  <a:pt x="238" y="340"/>
                  <a:pt x="238" y="340"/>
                </a:cubicBezTo>
                <a:cubicBezTo>
                  <a:pt x="238" y="340"/>
                  <a:pt x="239" y="340"/>
                  <a:pt x="239" y="341"/>
                </a:cubicBezTo>
                <a:cubicBezTo>
                  <a:pt x="239" y="340"/>
                  <a:pt x="240" y="340"/>
                  <a:pt x="240" y="340"/>
                </a:cubicBezTo>
                <a:cubicBezTo>
                  <a:pt x="240" y="340"/>
                  <a:pt x="240" y="341"/>
                  <a:pt x="240" y="341"/>
                </a:cubicBezTo>
                <a:cubicBezTo>
                  <a:pt x="240" y="341"/>
                  <a:pt x="240" y="341"/>
                  <a:pt x="240" y="342"/>
                </a:cubicBezTo>
                <a:cubicBezTo>
                  <a:pt x="241" y="342"/>
                  <a:pt x="242" y="343"/>
                  <a:pt x="243" y="343"/>
                </a:cubicBezTo>
                <a:cubicBezTo>
                  <a:pt x="243" y="343"/>
                  <a:pt x="244" y="343"/>
                  <a:pt x="244" y="343"/>
                </a:cubicBezTo>
                <a:cubicBezTo>
                  <a:pt x="245" y="343"/>
                  <a:pt x="245" y="342"/>
                  <a:pt x="245" y="342"/>
                </a:cubicBezTo>
                <a:cubicBezTo>
                  <a:pt x="245" y="342"/>
                  <a:pt x="244" y="342"/>
                  <a:pt x="244" y="342"/>
                </a:cubicBezTo>
                <a:cubicBezTo>
                  <a:pt x="244" y="342"/>
                  <a:pt x="244" y="342"/>
                  <a:pt x="243" y="342"/>
                </a:cubicBezTo>
                <a:close/>
                <a:moveTo>
                  <a:pt x="249" y="330"/>
                </a:moveTo>
                <a:cubicBezTo>
                  <a:pt x="250" y="330"/>
                  <a:pt x="250" y="331"/>
                  <a:pt x="250" y="331"/>
                </a:cubicBezTo>
                <a:cubicBezTo>
                  <a:pt x="250" y="331"/>
                  <a:pt x="251" y="331"/>
                  <a:pt x="251" y="331"/>
                </a:cubicBezTo>
                <a:cubicBezTo>
                  <a:pt x="251" y="332"/>
                  <a:pt x="251" y="332"/>
                  <a:pt x="252" y="332"/>
                </a:cubicBezTo>
                <a:cubicBezTo>
                  <a:pt x="252" y="332"/>
                  <a:pt x="253" y="332"/>
                  <a:pt x="253" y="333"/>
                </a:cubicBezTo>
                <a:cubicBezTo>
                  <a:pt x="253" y="332"/>
                  <a:pt x="253" y="332"/>
                  <a:pt x="253" y="331"/>
                </a:cubicBezTo>
                <a:cubicBezTo>
                  <a:pt x="252" y="331"/>
                  <a:pt x="252" y="331"/>
                  <a:pt x="251" y="330"/>
                </a:cubicBezTo>
                <a:cubicBezTo>
                  <a:pt x="251" y="330"/>
                  <a:pt x="251" y="330"/>
                  <a:pt x="250" y="330"/>
                </a:cubicBezTo>
                <a:cubicBezTo>
                  <a:pt x="250" y="330"/>
                  <a:pt x="250" y="330"/>
                  <a:pt x="250" y="330"/>
                </a:cubicBezTo>
                <a:cubicBezTo>
                  <a:pt x="250" y="330"/>
                  <a:pt x="250" y="330"/>
                  <a:pt x="249" y="330"/>
                </a:cubicBezTo>
                <a:close/>
                <a:moveTo>
                  <a:pt x="574" y="143"/>
                </a:moveTo>
                <a:cubicBezTo>
                  <a:pt x="574" y="143"/>
                  <a:pt x="574" y="143"/>
                  <a:pt x="573" y="143"/>
                </a:cubicBezTo>
                <a:cubicBezTo>
                  <a:pt x="573" y="143"/>
                  <a:pt x="573" y="143"/>
                  <a:pt x="573" y="143"/>
                </a:cubicBezTo>
                <a:cubicBezTo>
                  <a:pt x="572" y="143"/>
                  <a:pt x="572" y="143"/>
                  <a:pt x="572" y="143"/>
                </a:cubicBezTo>
                <a:cubicBezTo>
                  <a:pt x="572" y="144"/>
                  <a:pt x="571" y="144"/>
                  <a:pt x="571" y="144"/>
                </a:cubicBezTo>
                <a:cubicBezTo>
                  <a:pt x="571" y="144"/>
                  <a:pt x="572" y="144"/>
                  <a:pt x="572" y="144"/>
                </a:cubicBezTo>
                <a:cubicBezTo>
                  <a:pt x="572" y="144"/>
                  <a:pt x="572" y="145"/>
                  <a:pt x="572" y="145"/>
                </a:cubicBezTo>
                <a:cubicBezTo>
                  <a:pt x="572" y="145"/>
                  <a:pt x="572" y="145"/>
                  <a:pt x="572" y="145"/>
                </a:cubicBezTo>
                <a:cubicBezTo>
                  <a:pt x="572" y="145"/>
                  <a:pt x="572" y="145"/>
                  <a:pt x="573" y="144"/>
                </a:cubicBezTo>
                <a:cubicBezTo>
                  <a:pt x="573" y="144"/>
                  <a:pt x="573" y="144"/>
                  <a:pt x="573" y="144"/>
                </a:cubicBezTo>
                <a:cubicBezTo>
                  <a:pt x="573" y="144"/>
                  <a:pt x="574" y="144"/>
                  <a:pt x="574" y="144"/>
                </a:cubicBezTo>
                <a:cubicBezTo>
                  <a:pt x="574" y="144"/>
                  <a:pt x="574" y="144"/>
                  <a:pt x="575" y="144"/>
                </a:cubicBezTo>
                <a:cubicBezTo>
                  <a:pt x="575" y="144"/>
                  <a:pt x="575" y="143"/>
                  <a:pt x="575" y="143"/>
                </a:cubicBezTo>
                <a:cubicBezTo>
                  <a:pt x="575" y="143"/>
                  <a:pt x="575" y="143"/>
                  <a:pt x="575" y="143"/>
                </a:cubicBezTo>
                <a:cubicBezTo>
                  <a:pt x="574" y="143"/>
                  <a:pt x="574" y="143"/>
                  <a:pt x="574" y="143"/>
                </a:cubicBezTo>
                <a:close/>
                <a:moveTo>
                  <a:pt x="329" y="160"/>
                </a:moveTo>
                <a:cubicBezTo>
                  <a:pt x="330" y="160"/>
                  <a:pt x="331" y="160"/>
                  <a:pt x="331" y="159"/>
                </a:cubicBezTo>
                <a:cubicBezTo>
                  <a:pt x="331" y="160"/>
                  <a:pt x="332" y="160"/>
                  <a:pt x="332" y="160"/>
                </a:cubicBezTo>
                <a:cubicBezTo>
                  <a:pt x="331" y="160"/>
                  <a:pt x="331" y="160"/>
                  <a:pt x="330" y="160"/>
                </a:cubicBezTo>
                <a:cubicBezTo>
                  <a:pt x="331" y="161"/>
                  <a:pt x="331" y="161"/>
                  <a:pt x="332" y="162"/>
                </a:cubicBezTo>
                <a:cubicBezTo>
                  <a:pt x="332" y="162"/>
                  <a:pt x="332" y="162"/>
                  <a:pt x="333" y="162"/>
                </a:cubicBezTo>
                <a:cubicBezTo>
                  <a:pt x="333" y="162"/>
                  <a:pt x="333" y="162"/>
                  <a:pt x="333" y="163"/>
                </a:cubicBezTo>
                <a:cubicBezTo>
                  <a:pt x="333" y="163"/>
                  <a:pt x="333" y="163"/>
                  <a:pt x="333" y="164"/>
                </a:cubicBezTo>
                <a:cubicBezTo>
                  <a:pt x="333" y="164"/>
                  <a:pt x="333" y="164"/>
                  <a:pt x="333" y="165"/>
                </a:cubicBezTo>
                <a:cubicBezTo>
                  <a:pt x="333" y="165"/>
                  <a:pt x="333" y="165"/>
                  <a:pt x="333" y="166"/>
                </a:cubicBezTo>
                <a:cubicBezTo>
                  <a:pt x="333" y="166"/>
                  <a:pt x="333" y="167"/>
                  <a:pt x="333" y="167"/>
                </a:cubicBezTo>
                <a:cubicBezTo>
                  <a:pt x="333" y="167"/>
                  <a:pt x="333" y="168"/>
                  <a:pt x="333" y="168"/>
                </a:cubicBezTo>
                <a:cubicBezTo>
                  <a:pt x="334" y="168"/>
                  <a:pt x="334" y="167"/>
                  <a:pt x="334" y="167"/>
                </a:cubicBezTo>
                <a:cubicBezTo>
                  <a:pt x="334" y="167"/>
                  <a:pt x="335" y="167"/>
                  <a:pt x="335" y="167"/>
                </a:cubicBezTo>
                <a:cubicBezTo>
                  <a:pt x="335" y="167"/>
                  <a:pt x="335" y="167"/>
                  <a:pt x="336" y="167"/>
                </a:cubicBezTo>
                <a:cubicBezTo>
                  <a:pt x="336" y="166"/>
                  <a:pt x="336" y="166"/>
                  <a:pt x="337" y="166"/>
                </a:cubicBezTo>
                <a:cubicBezTo>
                  <a:pt x="337" y="166"/>
                  <a:pt x="337" y="166"/>
                  <a:pt x="338" y="166"/>
                </a:cubicBezTo>
                <a:cubicBezTo>
                  <a:pt x="338" y="165"/>
                  <a:pt x="339" y="165"/>
                  <a:pt x="339" y="165"/>
                </a:cubicBezTo>
                <a:cubicBezTo>
                  <a:pt x="340" y="165"/>
                  <a:pt x="340" y="164"/>
                  <a:pt x="341" y="164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41" y="163"/>
                  <a:pt x="342" y="162"/>
                  <a:pt x="342" y="162"/>
                </a:cubicBezTo>
                <a:cubicBezTo>
                  <a:pt x="342" y="162"/>
                  <a:pt x="342" y="162"/>
                  <a:pt x="343" y="162"/>
                </a:cubicBezTo>
                <a:cubicBezTo>
                  <a:pt x="343" y="162"/>
                  <a:pt x="343" y="163"/>
                  <a:pt x="343" y="163"/>
                </a:cubicBezTo>
                <a:cubicBezTo>
                  <a:pt x="343" y="163"/>
                  <a:pt x="342" y="164"/>
                  <a:pt x="342" y="164"/>
                </a:cubicBezTo>
                <a:cubicBezTo>
                  <a:pt x="343" y="164"/>
                  <a:pt x="343" y="164"/>
                  <a:pt x="343" y="164"/>
                </a:cubicBezTo>
                <a:cubicBezTo>
                  <a:pt x="343" y="164"/>
                  <a:pt x="344" y="164"/>
                  <a:pt x="344" y="164"/>
                </a:cubicBezTo>
                <a:cubicBezTo>
                  <a:pt x="345" y="164"/>
                  <a:pt x="345" y="163"/>
                  <a:pt x="345" y="163"/>
                </a:cubicBezTo>
                <a:cubicBezTo>
                  <a:pt x="346" y="163"/>
                  <a:pt x="347" y="163"/>
                  <a:pt x="347" y="162"/>
                </a:cubicBezTo>
                <a:cubicBezTo>
                  <a:pt x="347" y="162"/>
                  <a:pt x="348" y="162"/>
                  <a:pt x="348" y="161"/>
                </a:cubicBezTo>
                <a:cubicBezTo>
                  <a:pt x="348" y="161"/>
                  <a:pt x="349" y="160"/>
                  <a:pt x="349" y="160"/>
                </a:cubicBezTo>
                <a:cubicBezTo>
                  <a:pt x="349" y="160"/>
                  <a:pt x="349" y="160"/>
                  <a:pt x="349" y="160"/>
                </a:cubicBezTo>
                <a:cubicBezTo>
                  <a:pt x="349" y="159"/>
                  <a:pt x="350" y="159"/>
                  <a:pt x="350" y="158"/>
                </a:cubicBezTo>
                <a:cubicBezTo>
                  <a:pt x="350" y="158"/>
                  <a:pt x="350" y="158"/>
                  <a:pt x="350" y="158"/>
                </a:cubicBezTo>
                <a:cubicBezTo>
                  <a:pt x="351" y="157"/>
                  <a:pt x="351" y="157"/>
                  <a:pt x="351" y="156"/>
                </a:cubicBezTo>
                <a:cubicBezTo>
                  <a:pt x="352" y="156"/>
                  <a:pt x="352" y="156"/>
                  <a:pt x="353" y="156"/>
                </a:cubicBezTo>
                <a:cubicBezTo>
                  <a:pt x="353" y="155"/>
                  <a:pt x="353" y="155"/>
                  <a:pt x="353" y="155"/>
                </a:cubicBezTo>
                <a:cubicBezTo>
                  <a:pt x="353" y="154"/>
                  <a:pt x="353" y="154"/>
                  <a:pt x="353" y="154"/>
                </a:cubicBezTo>
                <a:cubicBezTo>
                  <a:pt x="353" y="154"/>
                  <a:pt x="354" y="154"/>
                  <a:pt x="354" y="154"/>
                </a:cubicBezTo>
                <a:cubicBezTo>
                  <a:pt x="355" y="154"/>
                  <a:pt x="355" y="154"/>
                  <a:pt x="356" y="154"/>
                </a:cubicBezTo>
                <a:cubicBezTo>
                  <a:pt x="356" y="154"/>
                  <a:pt x="356" y="153"/>
                  <a:pt x="357" y="153"/>
                </a:cubicBezTo>
                <a:cubicBezTo>
                  <a:pt x="357" y="153"/>
                  <a:pt x="358" y="152"/>
                  <a:pt x="358" y="152"/>
                </a:cubicBezTo>
                <a:cubicBezTo>
                  <a:pt x="358" y="152"/>
                  <a:pt x="358" y="151"/>
                  <a:pt x="358" y="151"/>
                </a:cubicBezTo>
                <a:cubicBezTo>
                  <a:pt x="359" y="151"/>
                  <a:pt x="359" y="151"/>
                  <a:pt x="359" y="151"/>
                </a:cubicBezTo>
                <a:cubicBezTo>
                  <a:pt x="359" y="150"/>
                  <a:pt x="360" y="150"/>
                  <a:pt x="360" y="150"/>
                </a:cubicBezTo>
                <a:cubicBezTo>
                  <a:pt x="360" y="149"/>
                  <a:pt x="360" y="149"/>
                  <a:pt x="360" y="149"/>
                </a:cubicBezTo>
                <a:cubicBezTo>
                  <a:pt x="361" y="148"/>
                  <a:pt x="361" y="148"/>
                  <a:pt x="362" y="148"/>
                </a:cubicBezTo>
                <a:cubicBezTo>
                  <a:pt x="362" y="148"/>
                  <a:pt x="363" y="148"/>
                  <a:pt x="363" y="147"/>
                </a:cubicBezTo>
                <a:cubicBezTo>
                  <a:pt x="363" y="147"/>
                  <a:pt x="363" y="148"/>
                  <a:pt x="363" y="148"/>
                </a:cubicBezTo>
                <a:cubicBezTo>
                  <a:pt x="364" y="147"/>
                  <a:pt x="364" y="147"/>
                  <a:pt x="364" y="147"/>
                </a:cubicBezTo>
                <a:cubicBezTo>
                  <a:pt x="365" y="147"/>
                  <a:pt x="365" y="147"/>
                  <a:pt x="366" y="146"/>
                </a:cubicBezTo>
                <a:cubicBezTo>
                  <a:pt x="367" y="146"/>
                  <a:pt x="367" y="146"/>
                  <a:pt x="367" y="146"/>
                </a:cubicBezTo>
                <a:cubicBezTo>
                  <a:pt x="368" y="145"/>
                  <a:pt x="368" y="145"/>
                  <a:pt x="368" y="145"/>
                </a:cubicBezTo>
                <a:cubicBezTo>
                  <a:pt x="369" y="145"/>
                  <a:pt x="370" y="144"/>
                  <a:pt x="371" y="144"/>
                </a:cubicBezTo>
                <a:cubicBezTo>
                  <a:pt x="371" y="144"/>
                  <a:pt x="372" y="143"/>
                  <a:pt x="373" y="143"/>
                </a:cubicBezTo>
                <a:cubicBezTo>
                  <a:pt x="374" y="142"/>
                  <a:pt x="375" y="142"/>
                  <a:pt x="376" y="141"/>
                </a:cubicBezTo>
                <a:cubicBezTo>
                  <a:pt x="376" y="141"/>
                  <a:pt x="377" y="141"/>
                  <a:pt x="377" y="141"/>
                </a:cubicBezTo>
                <a:cubicBezTo>
                  <a:pt x="378" y="141"/>
                  <a:pt x="379" y="140"/>
                  <a:pt x="380" y="140"/>
                </a:cubicBezTo>
                <a:cubicBezTo>
                  <a:pt x="380" y="140"/>
                  <a:pt x="380" y="140"/>
                  <a:pt x="381" y="139"/>
                </a:cubicBezTo>
                <a:cubicBezTo>
                  <a:pt x="381" y="139"/>
                  <a:pt x="382" y="139"/>
                  <a:pt x="383" y="138"/>
                </a:cubicBezTo>
                <a:cubicBezTo>
                  <a:pt x="383" y="138"/>
                  <a:pt x="383" y="138"/>
                  <a:pt x="383" y="137"/>
                </a:cubicBezTo>
                <a:cubicBezTo>
                  <a:pt x="383" y="137"/>
                  <a:pt x="383" y="137"/>
                  <a:pt x="383" y="137"/>
                </a:cubicBezTo>
                <a:cubicBezTo>
                  <a:pt x="383" y="136"/>
                  <a:pt x="383" y="136"/>
                  <a:pt x="383" y="136"/>
                </a:cubicBezTo>
                <a:cubicBezTo>
                  <a:pt x="383" y="136"/>
                  <a:pt x="382" y="136"/>
                  <a:pt x="382" y="136"/>
                </a:cubicBezTo>
                <a:cubicBezTo>
                  <a:pt x="382" y="136"/>
                  <a:pt x="382" y="135"/>
                  <a:pt x="382" y="135"/>
                </a:cubicBezTo>
                <a:cubicBezTo>
                  <a:pt x="382" y="135"/>
                  <a:pt x="382" y="135"/>
                  <a:pt x="382" y="134"/>
                </a:cubicBezTo>
                <a:cubicBezTo>
                  <a:pt x="382" y="134"/>
                  <a:pt x="381" y="134"/>
                  <a:pt x="381" y="133"/>
                </a:cubicBezTo>
                <a:cubicBezTo>
                  <a:pt x="381" y="133"/>
                  <a:pt x="381" y="133"/>
                  <a:pt x="381" y="132"/>
                </a:cubicBezTo>
                <a:cubicBezTo>
                  <a:pt x="381" y="132"/>
                  <a:pt x="381" y="131"/>
                  <a:pt x="380" y="131"/>
                </a:cubicBezTo>
                <a:cubicBezTo>
                  <a:pt x="380" y="131"/>
                  <a:pt x="379" y="130"/>
                  <a:pt x="378" y="130"/>
                </a:cubicBezTo>
                <a:cubicBezTo>
                  <a:pt x="378" y="130"/>
                  <a:pt x="377" y="130"/>
                  <a:pt x="377" y="129"/>
                </a:cubicBezTo>
                <a:cubicBezTo>
                  <a:pt x="377" y="129"/>
                  <a:pt x="377" y="129"/>
                  <a:pt x="377" y="129"/>
                </a:cubicBezTo>
                <a:cubicBezTo>
                  <a:pt x="376" y="130"/>
                  <a:pt x="376" y="130"/>
                  <a:pt x="375" y="130"/>
                </a:cubicBezTo>
                <a:cubicBezTo>
                  <a:pt x="375" y="130"/>
                  <a:pt x="374" y="130"/>
                  <a:pt x="373" y="131"/>
                </a:cubicBezTo>
                <a:cubicBezTo>
                  <a:pt x="373" y="131"/>
                  <a:pt x="373" y="131"/>
                  <a:pt x="373" y="131"/>
                </a:cubicBezTo>
                <a:cubicBezTo>
                  <a:pt x="373" y="132"/>
                  <a:pt x="373" y="132"/>
                  <a:pt x="373" y="132"/>
                </a:cubicBezTo>
                <a:cubicBezTo>
                  <a:pt x="372" y="133"/>
                  <a:pt x="372" y="133"/>
                  <a:pt x="371" y="134"/>
                </a:cubicBezTo>
                <a:cubicBezTo>
                  <a:pt x="371" y="134"/>
                  <a:pt x="371" y="133"/>
                  <a:pt x="371" y="133"/>
                </a:cubicBezTo>
                <a:cubicBezTo>
                  <a:pt x="371" y="133"/>
                  <a:pt x="372" y="132"/>
                  <a:pt x="372" y="132"/>
                </a:cubicBezTo>
                <a:cubicBezTo>
                  <a:pt x="372" y="131"/>
                  <a:pt x="372" y="131"/>
                  <a:pt x="372" y="131"/>
                </a:cubicBezTo>
                <a:cubicBezTo>
                  <a:pt x="372" y="131"/>
                  <a:pt x="371" y="131"/>
                  <a:pt x="371" y="131"/>
                </a:cubicBezTo>
                <a:cubicBezTo>
                  <a:pt x="371" y="131"/>
                  <a:pt x="370" y="131"/>
                  <a:pt x="370" y="131"/>
                </a:cubicBezTo>
                <a:cubicBezTo>
                  <a:pt x="370" y="131"/>
                  <a:pt x="369" y="132"/>
                  <a:pt x="369" y="132"/>
                </a:cubicBezTo>
                <a:cubicBezTo>
                  <a:pt x="369" y="131"/>
                  <a:pt x="369" y="131"/>
                  <a:pt x="370" y="131"/>
                </a:cubicBezTo>
                <a:cubicBezTo>
                  <a:pt x="370" y="131"/>
                  <a:pt x="369" y="131"/>
                  <a:pt x="369" y="130"/>
                </a:cubicBezTo>
                <a:cubicBezTo>
                  <a:pt x="368" y="130"/>
                  <a:pt x="367" y="130"/>
                  <a:pt x="366" y="130"/>
                </a:cubicBezTo>
                <a:cubicBezTo>
                  <a:pt x="366" y="130"/>
                  <a:pt x="365" y="130"/>
                  <a:pt x="365" y="130"/>
                </a:cubicBezTo>
                <a:cubicBezTo>
                  <a:pt x="365" y="130"/>
                  <a:pt x="364" y="130"/>
                  <a:pt x="364" y="130"/>
                </a:cubicBezTo>
                <a:cubicBezTo>
                  <a:pt x="364" y="129"/>
                  <a:pt x="364" y="129"/>
                  <a:pt x="364" y="129"/>
                </a:cubicBezTo>
                <a:cubicBezTo>
                  <a:pt x="363" y="129"/>
                  <a:pt x="362" y="129"/>
                  <a:pt x="361" y="129"/>
                </a:cubicBezTo>
                <a:cubicBezTo>
                  <a:pt x="360" y="130"/>
                  <a:pt x="359" y="130"/>
                  <a:pt x="358" y="131"/>
                </a:cubicBezTo>
                <a:cubicBezTo>
                  <a:pt x="357" y="131"/>
                  <a:pt x="356" y="131"/>
                  <a:pt x="354" y="132"/>
                </a:cubicBezTo>
                <a:cubicBezTo>
                  <a:pt x="354" y="132"/>
                  <a:pt x="354" y="132"/>
                  <a:pt x="353" y="132"/>
                </a:cubicBezTo>
                <a:cubicBezTo>
                  <a:pt x="352" y="132"/>
                  <a:pt x="351" y="133"/>
                  <a:pt x="350" y="133"/>
                </a:cubicBezTo>
                <a:cubicBezTo>
                  <a:pt x="349" y="133"/>
                  <a:pt x="349" y="133"/>
                  <a:pt x="349" y="133"/>
                </a:cubicBezTo>
                <a:cubicBezTo>
                  <a:pt x="348" y="133"/>
                  <a:pt x="348" y="134"/>
                  <a:pt x="347" y="134"/>
                </a:cubicBezTo>
                <a:cubicBezTo>
                  <a:pt x="347" y="134"/>
                  <a:pt x="347" y="135"/>
                  <a:pt x="347" y="135"/>
                </a:cubicBezTo>
                <a:cubicBezTo>
                  <a:pt x="347" y="135"/>
                  <a:pt x="347" y="135"/>
                  <a:pt x="347" y="135"/>
                </a:cubicBezTo>
                <a:cubicBezTo>
                  <a:pt x="347" y="135"/>
                  <a:pt x="347" y="136"/>
                  <a:pt x="347" y="136"/>
                </a:cubicBezTo>
                <a:cubicBezTo>
                  <a:pt x="347" y="136"/>
                  <a:pt x="347" y="136"/>
                  <a:pt x="347" y="137"/>
                </a:cubicBezTo>
                <a:cubicBezTo>
                  <a:pt x="347" y="137"/>
                  <a:pt x="347" y="138"/>
                  <a:pt x="347" y="138"/>
                </a:cubicBezTo>
                <a:cubicBezTo>
                  <a:pt x="348" y="138"/>
                  <a:pt x="348" y="139"/>
                  <a:pt x="349" y="139"/>
                </a:cubicBezTo>
                <a:cubicBezTo>
                  <a:pt x="348" y="139"/>
                  <a:pt x="348" y="139"/>
                  <a:pt x="348" y="139"/>
                </a:cubicBezTo>
                <a:cubicBezTo>
                  <a:pt x="348" y="140"/>
                  <a:pt x="347" y="140"/>
                  <a:pt x="347" y="140"/>
                </a:cubicBezTo>
                <a:cubicBezTo>
                  <a:pt x="346" y="140"/>
                  <a:pt x="346" y="141"/>
                  <a:pt x="345" y="141"/>
                </a:cubicBezTo>
                <a:cubicBezTo>
                  <a:pt x="345" y="142"/>
                  <a:pt x="345" y="142"/>
                  <a:pt x="345" y="142"/>
                </a:cubicBezTo>
                <a:cubicBezTo>
                  <a:pt x="344" y="142"/>
                  <a:pt x="344" y="143"/>
                  <a:pt x="343" y="143"/>
                </a:cubicBezTo>
                <a:cubicBezTo>
                  <a:pt x="343" y="144"/>
                  <a:pt x="342" y="144"/>
                  <a:pt x="342" y="145"/>
                </a:cubicBezTo>
                <a:cubicBezTo>
                  <a:pt x="341" y="145"/>
                  <a:pt x="341" y="146"/>
                  <a:pt x="340" y="147"/>
                </a:cubicBezTo>
                <a:cubicBezTo>
                  <a:pt x="339" y="147"/>
                  <a:pt x="339" y="147"/>
                  <a:pt x="339" y="147"/>
                </a:cubicBezTo>
                <a:cubicBezTo>
                  <a:pt x="339" y="147"/>
                  <a:pt x="339" y="148"/>
                  <a:pt x="339" y="148"/>
                </a:cubicBezTo>
                <a:cubicBezTo>
                  <a:pt x="339" y="148"/>
                  <a:pt x="340" y="148"/>
                  <a:pt x="340" y="149"/>
                </a:cubicBezTo>
                <a:cubicBezTo>
                  <a:pt x="340" y="149"/>
                  <a:pt x="340" y="149"/>
                  <a:pt x="340" y="150"/>
                </a:cubicBezTo>
                <a:cubicBezTo>
                  <a:pt x="339" y="150"/>
                  <a:pt x="338" y="150"/>
                  <a:pt x="337" y="150"/>
                </a:cubicBezTo>
                <a:cubicBezTo>
                  <a:pt x="337" y="150"/>
                  <a:pt x="336" y="150"/>
                  <a:pt x="336" y="150"/>
                </a:cubicBezTo>
                <a:cubicBezTo>
                  <a:pt x="336" y="150"/>
                  <a:pt x="336" y="151"/>
                  <a:pt x="337" y="151"/>
                </a:cubicBezTo>
                <a:cubicBezTo>
                  <a:pt x="336" y="152"/>
                  <a:pt x="336" y="152"/>
                  <a:pt x="336" y="152"/>
                </a:cubicBezTo>
                <a:cubicBezTo>
                  <a:pt x="336" y="153"/>
                  <a:pt x="335" y="153"/>
                  <a:pt x="335" y="153"/>
                </a:cubicBezTo>
                <a:cubicBezTo>
                  <a:pt x="335" y="153"/>
                  <a:pt x="335" y="153"/>
                  <a:pt x="335" y="153"/>
                </a:cubicBezTo>
                <a:cubicBezTo>
                  <a:pt x="334" y="154"/>
                  <a:pt x="334" y="154"/>
                  <a:pt x="333" y="154"/>
                </a:cubicBezTo>
                <a:cubicBezTo>
                  <a:pt x="333" y="155"/>
                  <a:pt x="333" y="155"/>
                  <a:pt x="333" y="155"/>
                </a:cubicBezTo>
                <a:cubicBezTo>
                  <a:pt x="332" y="156"/>
                  <a:pt x="332" y="156"/>
                  <a:pt x="332" y="156"/>
                </a:cubicBezTo>
                <a:cubicBezTo>
                  <a:pt x="332" y="156"/>
                  <a:pt x="331" y="156"/>
                  <a:pt x="331" y="157"/>
                </a:cubicBezTo>
                <a:cubicBezTo>
                  <a:pt x="331" y="157"/>
                  <a:pt x="331" y="157"/>
                  <a:pt x="330" y="157"/>
                </a:cubicBezTo>
                <a:cubicBezTo>
                  <a:pt x="330" y="157"/>
                  <a:pt x="330" y="157"/>
                  <a:pt x="330" y="158"/>
                </a:cubicBezTo>
                <a:cubicBezTo>
                  <a:pt x="330" y="158"/>
                  <a:pt x="329" y="158"/>
                  <a:pt x="329" y="159"/>
                </a:cubicBezTo>
                <a:cubicBezTo>
                  <a:pt x="329" y="159"/>
                  <a:pt x="328" y="159"/>
                  <a:pt x="328" y="159"/>
                </a:cubicBezTo>
                <a:cubicBezTo>
                  <a:pt x="328" y="160"/>
                  <a:pt x="327" y="160"/>
                  <a:pt x="327" y="160"/>
                </a:cubicBezTo>
                <a:cubicBezTo>
                  <a:pt x="327" y="160"/>
                  <a:pt x="327" y="160"/>
                  <a:pt x="327" y="160"/>
                </a:cubicBezTo>
                <a:cubicBezTo>
                  <a:pt x="328" y="160"/>
                  <a:pt x="329" y="160"/>
                  <a:pt x="329" y="160"/>
                </a:cubicBezTo>
                <a:close/>
                <a:moveTo>
                  <a:pt x="371" y="107"/>
                </a:moveTo>
                <a:cubicBezTo>
                  <a:pt x="370" y="107"/>
                  <a:pt x="370" y="107"/>
                  <a:pt x="370" y="107"/>
                </a:cubicBezTo>
                <a:cubicBezTo>
                  <a:pt x="370" y="107"/>
                  <a:pt x="370" y="108"/>
                  <a:pt x="370" y="108"/>
                </a:cubicBezTo>
                <a:cubicBezTo>
                  <a:pt x="370" y="108"/>
                  <a:pt x="370" y="108"/>
                  <a:pt x="370" y="108"/>
                </a:cubicBezTo>
                <a:cubicBezTo>
                  <a:pt x="370" y="108"/>
                  <a:pt x="370" y="108"/>
                  <a:pt x="370" y="108"/>
                </a:cubicBezTo>
                <a:cubicBezTo>
                  <a:pt x="370" y="109"/>
                  <a:pt x="369" y="109"/>
                  <a:pt x="369" y="109"/>
                </a:cubicBezTo>
                <a:cubicBezTo>
                  <a:pt x="369" y="109"/>
                  <a:pt x="369" y="110"/>
                  <a:pt x="369" y="110"/>
                </a:cubicBezTo>
                <a:cubicBezTo>
                  <a:pt x="369" y="110"/>
                  <a:pt x="370" y="110"/>
                  <a:pt x="370" y="110"/>
                </a:cubicBezTo>
                <a:cubicBezTo>
                  <a:pt x="370" y="109"/>
                  <a:pt x="371" y="109"/>
                  <a:pt x="371" y="109"/>
                </a:cubicBezTo>
                <a:cubicBezTo>
                  <a:pt x="371" y="109"/>
                  <a:pt x="371" y="109"/>
                  <a:pt x="372" y="108"/>
                </a:cubicBezTo>
                <a:cubicBezTo>
                  <a:pt x="372" y="108"/>
                  <a:pt x="372" y="108"/>
                  <a:pt x="372" y="108"/>
                </a:cubicBezTo>
                <a:cubicBezTo>
                  <a:pt x="373" y="108"/>
                  <a:pt x="373" y="108"/>
                  <a:pt x="374" y="108"/>
                </a:cubicBezTo>
                <a:cubicBezTo>
                  <a:pt x="374" y="108"/>
                  <a:pt x="374" y="108"/>
                  <a:pt x="375" y="109"/>
                </a:cubicBezTo>
                <a:cubicBezTo>
                  <a:pt x="375" y="109"/>
                  <a:pt x="375" y="109"/>
                  <a:pt x="375" y="109"/>
                </a:cubicBezTo>
                <a:cubicBezTo>
                  <a:pt x="375" y="109"/>
                  <a:pt x="376" y="109"/>
                  <a:pt x="376" y="109"/>
                </a:cubicBezTo>
                <a:cubicBezTo>
                  <a:pt x="376" y="109"/>
                  <a:pt x="376" y="109"/>
                  <a:pt x="377" y="109"/>
                </a:cubicBezTo>
                <a:cubicBezTo>
                  <a:pt x="377" y="109"/>
                  <a:pt x="377" y="108"/>
                  <a:pt x="376" y="108"/>
                </a:cubicBezTo>
                <a:cubicBezTo>
                  <a:pt x="377" y="108"/>
                  <a:pt x="377" y="108"/>
                  <a:pt x="377" y="108"/>
                </a:cubicBezTo>
                <a:cubicBezTo>
                  <a:pt x="377" y="108"/>
                  <a:pt x="377" y="107"/>
                  <a:pt x="377" y="107"/>
                </a:cubicBezTo>
                <a:cubicBezTo>
                  <a:pt x="377" y="107"/>
                  <a:pt x="377" y="107"/>
                  <a:pt x="378" y="107"/>
                </a:cubicBezTo>
                <a:cubicBezTo>
                  <a:pt x="378" y="106"/>
                  <a:pt x="378" y="106"/>
                  <a:pt x="379" y="106"/>
                </a:cubicBezTo>
                <a:cubicBezTo>
                  <a:pt x="379" y="106"/>
                  <a:pt x="379" y="106"/>
                  <a:pt x="380" y="106"/>
                </a:cubicBezTo>
                <a:cubicBezTo>
                  <a:pt x="380" y="106"/>
                  <a:pt x="380" y="106"/>
                  <a:pt x="380" y="106"/>
                </a:cubicBezTo>
                <a:cubicBezTo>
                  <a:pt x="379" y="107"/>
                  <a:pt x="379" y="107"/>
                  <a:pt x="379" y="107"/>
                </a:cubicBezTo>
                <a:cubicBezTo>
                  <a:pt x="379" y="107"/>
                  <a:pt x="378" y="108"/>
                  <a:pt x="378" y="108"/>
                </a:cubicBezTo>
                <a:cubicBezTo>
                  <a:pt x="378" y="108"/>
                  <a:pt x="379" y="108"/>
                  <a:pt x="379" y="109"/>
                </a:cubicBezTo>
                <a:cubicBezTo>
                  <a:pt x="379" y="109"/>
                  <a:pt x="378" y="109"/>
                  <a:pt x="378" y="109"/>
                </a:cubicBezTo>
                <a:cubicBezTo>
                  <a:pt x="378" y="109"/>
                  <a:pt x="378" y="110"/>
                  <a:pt x="378" y="110"/>
                </a:cubicBezTo>
                <a:cubicBezTo>
                  <a:pt x="378" y="110"/>
                  <a:pt x="378" y="110"/>
                  <a:pt x="379" y="110"/>
                </a:cubicBezTo>
                <a:cubicBezTo>
                  <a:pt x="379" y="110"/>
                  <a:pt x="379" y="110"/>
                  <a:pt x="379" y="110"/>
                </a:cubicBezTo>
                <a:cubicBezTo>
                  <a:pt x="379" y="110"/>
                  <a:pt x="380" y="110"/>
                  <a:pt x="380" y="110"/>
                </a:cubicBezTo>
                <a:cubicBezTo>
                  <a:pt x="380" y="110"/>
                  <a:pt x="380" y="110"/>
                  <a:pt x="380" y="110"/>
                </a:cubicBezTo>
                <a:cubicBezTo>
                  <a:pt x="380" y="110"/>
                  <a:pt x="380" y="110"/>
                  <a:pt x="381" y="110"/>
                </a:cubicBezTo>
                <a:cubicBezTo>
                  <a:pt x="381" y="110"/>
                  <a:pt x="382" y="109"/>
                  <a:pt x="382" y="109"/>
                </a:cubicBezTo>
                <a:cubicBezTo>
                  <a:pt x="382" y="108"/>
                  <a:pt x="383" y="108"/>
                  <a:pt x="383" y="108"/>
                </a:cubicBezTo>
                <a:cubicBezTo>
                  <a:pt x="383" y="108"/>
                  <a:pt x="383" y="108"/>
                  <a:pt x="384" y="108"/>
                </a:cubicBezTo>
                <a:cubicBezTo>
                  <a:pt x="384" y="107"/>
                  <a:pt x="384" y="107"/>
                  <a:pt x="384" y="107"/>
                </a:cubicBezTo>
                <a:cubicBezTo>
                  <a:pt x="384" y="107"/>
                  <a:pt x="384" y="106"/>
                  <a:pt x="384" y="106"/>
                </a:cubicBezTo>
                <a:cubicBezTo>
                  <a:pt x="384" y="106"/>
                  <a:pt x="384" y="106"/>
                  <a:pt x="385" y="106"/>
                </a:cubicBezTo>
                <a:cubicBezTo>
                  <a:pt x="385" y="106"/>
                  <a:pt x="385" y="105"/>
                  <a:pt x="385" y="105"/>
                </a:cubicBezTo>
                <a:cubicBezTo>
                  <a:pt x="385" y="105"/>
                  <a:pt x="385" y="105"/>
                  <a:pt x="385" y="104"/>
                </a:cubicBezTo>
                <a:cubicBezTo>
                  <a:pt x="385" y="104"/>
                  <a:pt x="385" y="104"/>
                  <a:pt x="385" y="104"/>
                </a:cubicBezTo>
                <a:cubicBezTo>
                  <a:pt x="386" y="104"/>
                  <a:pt x="386" y="104"/>
                  <a:pt x="386" y="104"/>
                </a:cubicBezTo>
                <a:cubicBezTo>
                  <a:pt x="386" y="104"/>
                  <a:pt x="386" y="104"/>
                  <a:pt x="386" y="105"/>
                </a:cubicBezTo>
                <a:cubicBezTo>
                  <a:pt x="386" y="105"/>
                  <a:pt x="386" y="105"/>
                  <a:pt x="386" y="105"/>
                </a:cubicBezTo>
                <a:cubicBezTo>
                  <a:pt x="386" y="105"/>
                  <a:pt x="386" y="106"/>
                  <a:pt x="386" y="106"/>
                </a:cubicBezTo>
                <a:cubicBezTo>
                  <a:pt x="386" y="106"/>
                  <a:pt x="387" y="106"/>
                  <a:pt x="387" y="106"/>
                </a:cubicBezTo>
                <a:cubicBezTo>
                  <a:pt x="387" y="106"/>
                  <a:pt x="387" y="106"/>
                  <a:pt x="387" y="106"/>
                </a:cubicBezTo>
                <a:cubicBezTo>
                  <a:pt x="388" y="106"/>
                  <a:pt x="388" y="106"/>
                  <a:pt x="388" y="105"/>
                </a:cubicBezTo>
                <a:cubicBezTo>
                  <a:pt x="388" y="105"/>
                  <a:pt x="388" y="105"/>
                  <a:pt x="388" y="105"/>
                </a:cubicBezTo>
                <a:cubicBezTo>
                  <a:pt x="388" y="104"/>
                  <a:pt x="388" y="104"/>
                  <a:pt x="388" y="104"/>
                </a:cubicBezTo>
                <a:cubicBezTo>
                  <a:pt x="388" y="104"/>
                  <a:pt x="389" y="104"/>
                  <a:pt x="389" y="104"/>
                </a:cubicBezTo>
                <a:cubicBezTo>
                  <a:pt x="389" y="103"/>
                  <a:pt x="390" y="103"/>
                  <a:pt x="390" y="102"/>
                </a:cubicBezTo>
                <a:cubicBezTo>
                  <a:pt x="390" y="102"/>
                  <a:pt x="390" y="102"/>
                  <a:pt x="390" y="102"/>
                </a:cubicBezTo>
                <a:cubicBezTo>
                  <a:pt x="390" y="101"/>
                  <a:pt x="390" y="101"/>
                  <a:pt x="390" y="101"/>
                </a:cubicBezTo>
                <a:cubicBezTo>
                  <a:pt x="390" y="101"/>
                  <a:pt x="390" y="100"/>
                  <a:pt x="390" y="100"/>
                </a:cubicBezTo>
                <a:cubicBezTo>
                  <a:pt x="390" y="100"/>
                  <a:pt x="391" y="101"/>
                  <a:pt x="391" y="101"/>
                </a:cubicBezTo>
                <a:cubicBezTo>
                  <a:pt x="391" y="100"/>
                  <a:pt x="392" y="100"/>
                  <a:pt x="393" y="99"/>
                </a:cubicBezTo>
                <a:cubicBezTo>
                  <a:pt x="393" y="99"/>
                  <a:pt x="393" y="99"/>
                  <a:pt x="393" y="98"/>
                </a:cubicBezTo>
                <a:cubicBezTo>
                  <a:pt x="393" y="98"/>
                  <a:pt x="393" y="98"/>
                  <a:pt x="393" y="98"/>
                </a:cubicBezTo>
                <a:cubicBezTo>
                  <a:pt x="393" y="97"/>
                  <a:pt x="394" y="97"/>
                  <a:pt x="394" y="97"/>
                </a:cubicBezTo>
                <a:cubicBezTo>
                  <a:pt x="394" y="97"/>
                  <a:pt x="394" y="97"/>
                  <a:pt x="395" y="97"/>
                </a:cubicBezTo>
                <a:cubicBezTo>
                  <a:pt x="395" y="97"/>
                  <a:pt x="395" y="97"/>
                  <a:pt x="396" y="97"/>
                </a:cubicBezTo>
                <a:cubicBezTo>
                  <a:pt x="396" y="97"/>
                  <a:pt x="396" y="96"/>
                  <a:pt x="396" y="96"/>
                </a:cubicBezTo>
                <a:cubicBezTo>
                  <a:pt x="397" y="96"/>
                  <a:pt x="397" y="96"/>
                  <a:pt x="397" y="96"/>
                </a:cubicBezTo>
                <a:cubicBezTo>
                  <a:pt x="397" y="97"/>
                  <a:pt x="397" y="97"/>
                  <a:pt x="397" y="97"/>
                </a:cubicBezTo>
                <a:cubicBezTo>
                  <a:pt x="396" y="98"/>
                  <a:pt x="396" y="98"/>
                  <a:pt x="396" y="99"/>
                </a:cubicBezTo>
                <a:cubicBezTo>
                  <a:pt x="396" y="99"/>
                  <a:pt x="396" y="99"/>
                  <a:pt x="396" y="100"/>
                </a:cubicBezTo>
                <a:cubicBezTo>
                  <a:pt x="395" y="100"/>
                  <a:pt x="395" y="100"/>
                  <a:pt x="395" y="100"/>
                </a:cubicBezTo>
                <a:cubicBezTo>
                  <a:pt x="395" y="100"/>
                  <a:pt x="395" y="101"/>
                  <a:pt x="395" y="101"/>
                </a:cubicBezTo>
                <a:cubicBezTo>
                  <a:pt x="395" y="101"/>
                  <a:pt x="394" y="101"/>
                  <a:pt x="394" y="101"/>
                </a:cubicBezTo>
                <a:cubicBezTo>
                  <a:pt x="394" y="102"/>
                  <a:pt x="393" y="102"/>
                  <a:pt x="393" y="103"/>
                </a:cubicBezTo>
                <a:cubicBezTo>
                  <a:pt x="393" y="103"/>
                  <a:pt x="393" y="103"/>
                  <a:pt x="393" y="104"/>
                </a:cubicBezTo>
                <a:cubicBezTo>
                  <a:pt x="393" y="104"/>
                  <a:pt x="393" y="104"/>
                  <a:pt x="394" y="104"/>
                </a:cubicBezTo>
                <a:cubicBezTo>
                  <a:pt x="394" y="104"/>
                  <a:pt x="394" y="104"/>
                  <a:pt x="394" y="105"/>
                </a:cubicBezTo>
                <a:cubicBezTo>
                  <a:pt x="394" y="105"/>
                  <a:pt x="394" y="105"/>
                  <a:pt x="395" y="105"/>
                </a:cubicBezTo>
                <a:cubicBezTo>
                  <a:pt x="395" y="105"/>
                  <a:pt x="395" y="105"/>
                  <a:pt x="396" y="105"/>
                </a:cubicBezTo>
                <a:cubicBezTo>
                  <a:pt x="396" y="104"/>
                  <a:pt x="396" y="104"/>
                  <a:pt x="396" y="104"/>
                </a:cubicBezTo>
                <a:cubicBezTo>
                  <a:pt x="397" y="104"/>
                  <a:pt x="397" y="103"/>
                  <a:pt x="397" y="103"/>
                </a:cubicBezTo>
                <a:cubicBezTo>
                  <a:pt x="397" y="103"/>
                  <a:pt x="397" y="103"/>
                  <a:pt x="398" y="103"/>
                </a:cubicBezTo>
                <a:cubicBezTo>
                  <a:pt x="397" y="102"/>
                  <a:pt x="397" y="102"/>
                  <a:pt x="397" y="102"/>
                </a:cubicBezTo>
                <a:cubicBezTo>
                  <a:pt x="397" y="102"/>
                  <a:pt x="398" y="101"/>
                  <a:pt x="398" y="101"/>
                </a:cubicBezTo>
                <a:cubicBezTo>
                  <a:pt x="398" y="101"/>
                  <a:pt x="398" y="101"/>
                  <a:pt x="398" y="100"/>
                </a:cubicBezTo>
                <a:cubicBezTo>
                  <a:pt x="399" y="100"/>
                  <a:pt x="399" y="100"/>
                  <a:pt x="399" y="100"/>
                </a:cubicBezTo>
                <a:cubicBezTo>
                  <a:pt x="399" y="100"/>
                  <a:pt x="400" y="100"/>
                  <a:pt x="400" y="100"/>
                </a:cubicBezTo>
                <a:cubicBezTo>
                  <a:pt x="400" y="100"/>
                  <a:pt x="400" y="100"/>
                  <a:pt x="400" y="100"/>
                </a:cubicBezTo>
                <a:cubicBezTo>
                  <a:pt x="401" y="100"/>
                  <a:pt x="401" y="100"/>
                  <a:pt x="402" y="100"/>
                </a:cubicBezTo>
                <a:cubicBezTo>
                  <a:pt x="402" y="100"/>
                  <a:pt x="402" y="99"/>
                  <a:pt x="402" y="99"/>
                </a:cubicBezTo>
                <a:cubicBezTo>
                  <a:pt x="403" y="99"/>
                  <a:pt x="403" y="99"/>
                  <a:pt x="404" y="99"/>
                </a:cubicBezTo>
                <a:cubicBezTo>
                  <a:pt x="404" y="98"/>
                  <a:pt x="404" y="98"/>
                  <a:pt x="405" y="98"/>
                </a:cubicBezTo>
                <a:cubicBezTo>
                  <a:pt x="405" y="97"/>
                  <a:pt x="405" y="97"/>
                  <a:pt x="405" y="97"/>
                </a:cubicBezTo>
                <a:cubicBezTo>
                  <a:pt x="405" y="96"/>
                  <a:pt x="405" y="96"/>
                  <a:pt x="406" y="95"/>
                </a:cubicBezTo>
                <a:cubicBezTo>
                  <a:pt x="406" y="95"/>
                  <a:pt x="405" y="95"/>
                  <a:pt x="405" y="94"/>
                </a:cubicBezTo>
                <a:cubicBezTo>
                  <a:pt x="405" y="94"/>
                  <a:pt x="405" y="94"/>
                  <a:pt x="406" y="94"/>
                </a:cubicBezTo>
                <a:cubicBezTo>
                  <a:pt x="406" y="94"/>
                  <a:pt x="406" y="94"/>
                  <a:pt x="407" y="95"/>
                </a:cubicBezTo>
                <a:cubicBezTo>
                  <a:pt x="407" y="95"/>
                  <a:pt x="407" y="95"/>
                  <a:pt x="408" y="95"/>
                </a:cubicBezTo>
                <a:cubicBezTo>
                  <a:pt x="408" y="94"/>
                  <a:pt x="408" y="94"/>
                  <a:pt x="408" y="94"/>
                </a:cubicBezTo>
                <a:cubicBezTo>
                  <a:pt x="408" y="94"/>
                  <a:pt x="408" y="94"/>
                  <a:pt x="408" y="94"/>
                </a:cubicBezTo>
                <a:cubicBezTo>
                  <a:pt x="407" y="93"/>
                  <a:pt x="407" y="93"/>
                  <a:pt x="406" y="93"/>
                </a:cubicBezTo>
                <a:cubicBezTo>
                  <a:pt x="406" y="93"/>
                  <a:pt x="406" y="93"/>
                  <a:pt x="406" y="92"/>
                </a:cubicBezTo>
                <a:cubicBezTo>
                  <a:pt x="407" y="92"/>
                  <a:pt x="407" y="92"/>
                  <a:pt x="407" y="91"/>
                </a:cubicBezTo>
                <a:cubicBezTo>
                  <a:pt x="408" y="91"/>
                  <a:pt x="408" y="91"/>
                  <a:pt x="409" y="91"/>
                </a:cubicBezTo>
                <a:cubicBezTo>
                  <a:pt x="409" y="91"/>
                  <a:pt x="409" y="91"/>
                  <a:pt x="410" y="90"/>
                </a:cubicBezTo>
                <a:cubicBezTo>
                  <a:pt x="410" y="90"/>
                  <a:pt x="410" y="90"/>
                  <a:pt x="410" y="90"/>
                </a:cubicBezTo>
                <a:cubicBezTo>
                  <a:pt x="411" y="90"/>
                  <a:pt x="411" y="90"/>
                  <a:pt x="411" y="90"/>
                </a:cubicBezTo>
                <a:cubicBezTo>
                  <a:pt x="412" y="90"/>
                  <a:pt x="412" y="89"/>
                  <a:pt x="412" y="89"/>
                </a:cubicBezTo>
                <a:cubicBezTo>
                  <a:pt x="412" y="89"/>
                  <a:pt x="412" y="89"/>
                  <a:pt x="412" y="89"/>
                </a:cubicBezTo>
                <a:cubicBezTo>
                  <a:pt x="411" y="88"/>
                  <a:pt x="411" y="88"/>
                  <a:pt x="411" y="87"/>
                </a:cubicBezTo>
                <a:cubicBezTo>
                  <a:pt x="411" y="87"/>
                  <a:pt x="411" y="87"/>
                  <a:pt x="411" y="87"/>
                </a:cubicBezTo>
                <a:cubicBezTo>
                  <a:pt x="411" y="87"/>
                  <a:pt x="411" y="87"/>
                  <a:pt x="411" y="87"/>
                </a:cubicBezTo>
                <a:cubicBezTo>
                  <a:pt x="411" y="86"/>
                  <a:pt x="411" y="86"/>
                  <a:pt x="410" y="86"/>
                </a:cubicBezTo>
                <a:cubicBezTo>
                  <a:pt x="410" y="86"/>
                  <a:pt x="410" y="86"/>
                  <a:pt x="410" y="86"/>
                </a:cubicBezTo>
                <a:cubicBezTo>
                  <a:pt x="410" y="86"/>
                  <a:pt x="409" y="86"/>
                  <a:pt x="409" y="86"/>
                </a:cubicBezTo>
                <a:cubicBezTo>
                  <a:pt x="409" y="86"/>
                  <a:pt x="408" y="87"/>
                  <a:pt x="408" y="87"/>
                </a:cubicBezTo>
                <a:cubicBezTo>
                  <a:pt x="408" y="87"/>
                  <a:pt x="408" y="88"/>
                  <a:pt x="408" y="88"/>
                </a:cubicBezTo>
                <a:cubicBezTo>
                  <a:pt x="408" y="88"/>
                  <a:pt x="408" y="88"/>
                  <a:pt x="408" y="88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408" y="89"/>
                  <a:pt x="408" y="89"/>
                  <a:pt x="407" y="89"/>
                </a:cubicBezTo>
                <a:cubicBezTo>
                  <a:pt x="407" y="89"/>
                  <a:pt x="407" y="89"/>
                  <a:pt x="407" y="89"/>
                </a:cubicBezTo>
                <a:cubicBezTo>
                  <a:pt x="407" y="89"/>
                  <a:pt x="406" y="89"/>
                  <a:pt x="406" y="89"/>
                </a:cubicBezTo>
                <a:cubicBezTo>
                  <a:pt x="406" y="89"/>
                  <a:pt x="406" y="89"/>
                  <a:pt x="406" y="89"/>
                </a:cubicBezTo>
                <a:cubicBezTo>
                  <a:pt x="406" y="89"/>
                  <a:pt x="406" y="89"/>
                  <a:pt x="406" y="90"/>
                </a:cubicBezTo>
                <a:cubicBezTo>
                  <a:pt x="406" y="90"/>
                  <a:pt x="405" y="89"/>
                  <a:pt x="405" y="89"/>
                </a:cubicBezTo>
                <a:cubicBezTo>
                  <a:pt x="405" y="89"/>
                  <a:pt x="405" y="89"/>
                  <a:pt x="405" y="88"/>
                </a:cubicBezTo>
                <a:cubicBezTo>
                  <a:pt x="404" y="88"/>
                  <a:pt x="404" y="88"/>
                  <a:pt x="403" y="88"/>
                </a:cubicBezTo>
                <a:cubicBezTo>
                  <a:pt x="403" y="88"/>
                  <a:pt x="403" y="88"/>
                  <a:pt x="403" y="88"/>
                </a:cubicBezTo>
                <a:cubicBezTo>
                  <a:pt x="403" y="88"/>
                  <a:pt x="403" y="88"/>
                  <a:pt x="402" y="88"/>
                </a:cubicBezTo>
                <a:cubicBezTo>
                  <a:pt x="402" y="89"/>
                  <a:pt x="401" y="89"/>
                  <a:pt x="401" y="89"/>
                </a:cubicBezTo>
                <a:cubicBezTo>
                  <a:pt x="401" y="89"/>
                  <a:pt x="400" y="89"/>
                  <a:pt x="400" y="89"/>
                </a:cubicBezTo>
                <a:cubicBezTo>
                  <a:pt x="399" y="89"/>
                  <a:pt x="399" y="89"/>
                  <a:pt x="399" y="89"/>
                </a:cubicBezTo>
                <a:cubicBezTo>
                  <a:pt x="398" y="89"/>
                  <a:pt x="397" y="90"/>
                  <a:pt x="396" y="90"/>
                </a:cubicBezTo>
                <a:cubicBezTo>
                  <a:pt x="396" y="90"/>
                  <a:pt x="395" y="90"/>
                  <a:pt x="395" y="90"/>
                </a:cubicBezTo>
                <a:cubicBezTo>
                  <a:pt x="395" y="91"/>
                  <a:pt x="395" y="91"/>
                  <a:pt x="395" y="91"/>
                </a:cubicBezTo>
                <a:cubicBezTo>
                  <a:pt x="395" y="91"/>
                  <a:pt x="395" y="92"/>
                  <a:pt x="394" y="92"/>
                </a:cubicBezTo>
                <a:cubicBezTo>
                  <a:pt x="394" y="92"/>
                  <a:pt x="394" y="92"/>
                  <a:pt x="394" y="92"/>
                </a:cubicBezTo>
                <a:cubicBezTo>
                  <a:pt x="394" y="92"/>
                  <a:pt x="393" y="92"/>
                  <a:pt x="393" y="92"/>
                </a:cubicBezTo>
                <a:cubicBezTo>
                  <a:pt x="392" y="93"/>
                  <a:pt x="392" y="93"/>
                  <a:pt x="391" y="94"/>
                </a:cubicBezTo>
                <a:cubicBezTo>
                  <a:pt x="390" y="94"/>
                  <a:pt x="390" y="95"/>
                  <a:pt x="390" y="95"/>
                </a:cubicBezTo>
                <a:cubicBezTo>
                  <a:pt x="390" y="95"/>
                  <a:pt x="389" y="95"/>
                  <a:pt x="389" y="95"/>
                </a:cubicBezTo>
                <a:cubicBezTo>
                  <a:pt x="389" y="95"/>
                  <a:pt x="388" y="96"/>
                  <a:pt x="388" y="96"/>
                </a:cubicBezTo>
                <a:cubicBezTo>
                  <a:pt x="387" y="96"/>
                  <a:pt x="387" y="96"/>
                  <a:pt x="387" y="97"/>
                </a:cubicBezTo>
                <a:cubicBezTo>
                  <a:pt x="386" y="97"/>
                  <a:pt x="386" y="97"/>
                  <a:pt x="386" y="97"/>
                </a:cubicBezTo>
                <a:cubicBezTo>
                  <a:pt x="386" y="97"/>
                  <a:pt x="386" y="98"/>
                  <a:pt x="386" y="98"/>
                </a:cubicBezTo>
                <a:cubicBezTo>
                  <a:pt x="385" y="98"/>
                  <a:pt x="384" y="98"/>
                  <a:pt x="384" y="98"/>
                </a:cubicBezTo>
                <a:cubicBezTo>
                  <a:pt x="384" y="99"/>
                  <a:pt x="383" y="99"/>
                  <a:pt x="383" y="99"/>
                </a:cubicBezTo>
                <a:cubicBezTo>
                  <a:pt x="383" y="99"/>
                  <a:pt x="383" y="99"/>
                  <a:pt x="382" y="99"/>
                </a:cubicBezTo>
                <a:cubicBezTo>
                  <a:pt x="382" y="99"/>
                  <a:pt x="382" y="99"/>
                  <a:pt x="382" y="99"/>
                </a:cubicBezTo>
                <a:cubicBezTo>
                  <a:pt x="381" y="100"/>
                  <a:pt x="381" y="100"/>
                  <a:pt x="381" y="100"/>
                </a:cubicBezTo>
                <a:cubicBezTo>
                  <a:pt x="380" y="100"/>
                  <a:pt x="380" y="101"/>
                  <a:pt x="379" y="101"/>
                </a:cubicBezTo>
                <a:cubicBezTo>
                  <a:pt x="379" y="101"/>
                  <a:pt x="378" y="102"/>
                  <a:pt x="378" y="102"/>
                </a:cubicBezTo>
                <a:cubicBezTo>
                  <a:pt x="377" y="102"/>
                  <a:pt x="377" y="102"/>
                  <a:pt x="376" y="102"/>
                </a:cubicBezTo>
                <a:cubicBezTo>
                  <a:pt x="376" y="102"/>
                  <a:pt x="376" y="103"/>
                  <a:pt x="375" y="103"/>
                </a:cubicBezTo>
                <a:cubicBezTo>
                  <a:pt x="375" y="103"/>
                  <a:pt x="374" y="103"/>
                  <a:pt x="373" y="104"/>
                </a:cubicBezTo>
                <a:cubicBezTo>
                  <a:pt x="372" y="104"/>
                  <a:pt x="372" y="105"/>
                  <a:pt x="372" y="105"/>
                </a:cubicBezTo>
                <a:cubicBezTo>
                  <a:pt x="372" y="105"/>
                  <a:pt x="371" y="105"/>
                  <a:pt x="371" y="106"/>
                </a:cubicBezTo>
                <a:cubicBezTo>
                  <a:pt x="370" y="106"/>
                  <a:pt x="370" y="106"/>
                  <a:pt x="369" y="10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69" y="107"/>
                  <a:pt x="370" y="107"/>
                  <a:pt x="370" y="107"/>
                </a:cubicBezTo>
                <a:cubicBezTo>
                  <a:pt x="370" y="107"/>
                  <a:pt x="370" y="107"/>
                  <a:pt x="371" y="107"/>
                </a:cubicBezTo>
                <a:close/>
                <a:moveTo>
                  <a:pt x="411" y="96"/>
                </a:moveTo>
                <a:cubicBezTo>
                  <a:pt x="411" y="96"/>
                  <a:pt x="411" y="96"/>
                  <a:pt x="411" y="96"/>
                </a:cubicBezTo>
                <a:cubicBezTo>
                  <a:pt x="411" y="96"/>
                  <a:pt x="411" y="96"/>
                  <a:pt x="412" y="96"/>
                </a:cubicBezTo>
                <a:cubicBezTo>
                  <a:pt x="412" y="96"/>
                  <a:pt x="412" y="96"/>
                  <a:pt x="412" y="96"/>
                </a:cubicBezTo>
                <a:cubicBezTo>
                  <a:pt x="413" y="96"/>
                  <a:pt x="413" y="97"/>
                  <a:pt x="413" y="97"/>
                </a:cubicBezTo>
                <a:cubicBezTo>
                  <a:pt x="413" y="97"/>
                  <a:pt x="414" y="97"/>
                  <a:pt x="414" y="97"/>
                </a:cubicBezTo>
                <a:cubicBezTo>
                  <a:pt x="414" y="97"/>
                  <a:pt x="415" y="97"/>
                  <a:pt x="415" y="97"/>
                </a:cubicBezTo>
                <a:cubicBezTo>
                  <a:pt x="415" y="96"/>
                  <a:pt x="416" y="96"/>
                  <a:pt x="416" y="96"/>
                </a:cubicBezTo>
                <a:cubicBezTo>
                  <a:pt x="416" y="96"/>
                  <a:pt x="416" y="96"/>
                  <a:pt x="417" y="95"/>
                </a:cubicBezTo>
                <a:cubicBezTo>
                  <a:pt x="416" y="95"/>
                  <a:pt x="416" y="95"/>
                  <a:pt x="416" y="95"/>
                </a:cubicBezTo>
                <a:cubicBezTo>
                  <a:pt x="416" y="95"/>
                  <a:pt x="416" y="95"/>
                  <a:pt x="416" y="95"/>
                </a:cubicBezTo>
                <a:cubicBezTo>
                  <a:pt x="415" y="95"/>
                  <a:pt x="415" y="95"/>
                  <a:pt x="415" y="95"/>
                </a:cubicBezTo>
                <a:cubicBezTo>
                  <a:pt x="415" y="95"/>
                  <a:pt x="414" y="95"/>
                  <a:pt x="414" y="95"/>
                </a:cubicBezTo>
                <a:cubicBezTo>
                  <a:pt x="413" y="95"/>
                  <a:pt x="413" y="95"/>
                  <a:pt x="412" y="95"/>
                </a:cubicBezTo>
                <a:cubicBezTo>
                  <a:pt x="412" y="95"/>
                  <a:pt x="412" y="95"/>
                  <a:pt x="412" y="95"/>
                </a:cubicBezTo>
                <a:cubicBezTo>
                  <a:pt x="411" y="96"/>
                  <a:pt x="411" y="96"/>
                  <a:pt x="411" y="96"/>
                </a:cubicBezTo>
                <a:close/>
                <a:moveTo>
                  <a:pt x="321" y="180"/>
                </a:moveTo>
                <a:cubicBezTo>
                  <a:pt x="321" y="180"/>
                  <a:pt x="321" y="180"/>
                  <a:pt x="321" y="180"/>
                </a:cubicBezTo>
                <a:cubicBezTo>
                  <a:pt x="321" y="179"/>
                  <a:pt x="321" y="179"/>
                  <a:pt x="322" y="179"/>
                </a:cubicBezTo>
                <a:cubicBezTo>
                  <a:pt x="321" y="179"/>
                  <a:pt x="321" y="179"/>
                  <a:pt x="320" y="179"/>
                </a:cubicBezTo>
                <a:cubicBezTo>
                  <a:pt x="320" y="180"/>
                  <a:pt x="320" y="180"/>
                  <a:pt x="320" y="180"/>
                </a:cubicBezTo>
                <a:cubicBezTo>
                  <a:pt x="320" y="180"/>
                  <a:pt x="320" y="180"/>
                  <a:pt x="321" y="180"/>
                </a:cubicBezTo>
                <a:cubicBezTo>
                  <a:pt x="321" y="180"/>
                  <a:pt x="321" y="180"/>
                  <a:pt x="321" y="180"/>
                </a:cubicBezTo>
                <a:close/>
                <a:moveTo>
                  <a:pt x="248" y="332"/>
                </a:moveTo>
                <a:cubicBezTo>
                  <a:pt x="248" y="332"/>
                  <a:pt x="248" y="332"/>
                  <a:pt x="248" y="332"/>
                </a:cubicBezTo>
                <a:cubicBezTo>
                  <a:pt x="248" y="332"/>
                  <a:pt x="248" y="333"/>
                  <a:pt x="248" y="333"/>
                </a:cubicBezTo>
                <a:cubicBezTo>
                  <a:pt x="249" y="333"/>
                  <a:pt x="250" y="333"/>
                  <a:pt x="250" y="333"/>
                </a:cubicBezTo>
                <a:cubicBezTo>
                  <a:pt x="250" y="333"/>
                  <a:pt x="251" y="334"/>
                  <a:pt x="251" y="334"/>
                </a:cubicBezTo>
                <a:cubicBezTo>
                  <a:pt x="251" y="334"/>
                  <a:pt x="251" y="334"/>
                  <a:pt x="252" y="334"/>
                </a:cubicBezTo>
                <a:cubicBezTo>
                  <a:pt x="252" y="334"/>
                  <a:pt x="252" y="333"/>
                  <a:pt x="252" y="333"/>
                </a:cubicBezTo>
                <a:cubicBezTo>
                  <a:pt x="251" y="333"/>
                  <a:pt x="251" y="333"/>
                  <a:pt x="251" y="332"/>
                </a:cubicBezTo>
                <a:cubicBezTo>
                  <a:pt x="250" y="332"/>
                  <a:pt x="249" y="332"/>
                  <a:pt x="248" y="332"/>
                </a:cubicBezTo>
                <a:close/>
                <a:moveTo>
                  <a:pt x="424" y="85"/>
                </a:moveTo>
                <a:cubicBezTo>
                  <a:pt x="424" y="85"/>
                  <a:pt x="424" y="85"/>
                  <a:pt x="424" y="85"/>
                </a:cubicBezTo>
                <a:cubicBezTo>
                  <a:pt x="424" y="86"/>
                  <a:pt x="424" y="86"/>
                  <a:pt x="424" y="86"/>
                </a:cubicBezTo>
                <a:cubicBezTo>
                  <a:pt x="424" y="86"/>
                  <a:pt x="424" y="87"/>
                  <a:pt x="424" y="87"/>
                </a:cubicBezTo>
                <a:cubicBezTo>
                  <a:pt x="424" y="87"/>
                  <a:pt x="424" y="88"/>
                  <a:pt x="425" y="88"/>
                </a:cubicBezTo>
                <a:cubicBezTo>
                  <a:pt x="425" y="88"/>
                  <a:pt x="425" y="88"/>
                  <a:pt x="425" y="88"/>
                </a:cubicBezTo>
                <a:cubicBezTo>
                  <a:pt x="426" y="88"/>
                  <a:pt x="426" y="88"/>
                  <a:pt x="427" y="88"/>
                </a:cubicBezTo>
                <a:cubicBezTo>
                  <a:pt x="427" y="88"/>
                  <a:pt x="427" y="88"/>
                  <a:pt x="428" y="88"/>
                </a:cubicBezTo>
                <a:cubicBezTo>
                  <a:pt x="428" y="89"/>
                  <a:pt x="427" y="89"/>
                  <a:pt x="427" y="89"/>
                </a:cubicBezTo>
                <a:cubicBezTo>
                  <a:pt x="427" y="89"/>
                  <a:pt x="427" y="89"/>
                  <a:pt x="428" y="89"/>
                </a:cubicBezTo>
                <a:cubicBezTo>
                  <a:pt x="428" y="89"/>
                  <a:pt x="428" y="89"/>
                  <a:pt x="429" y="89"/>
                </a:cubicBezTo>
                <a:cubicBezTo>
                  <a:pt x="429" y="89"/>
                  <a:pt x="430" y="89"/>
                  <a:pt x="430" y="89"/>
                </a:cubicBezTo>
                <a:cubicBezTo>
                  <a:pt x="430" y="89"/>
                  <a:pt x="431" y="89"/>
                  <a:pt x="431" y="88"/>
                </a:cubicBezTo>
                <a:cubicBezTo>
                  <a:pt x="431" y="88"/>
                  <a:pt x="432" y="89"/>
                  <a:pt x="432" y="89"/>
                </a:cubicBezTo>
                <a:cubicBezTo>
                  <a:pt x="433" y="89"/>
                  <a:pt x="433" y="88"/>
                  <a:pt x="434" y="88"/>
                </a:cubicBezTo>
                <a:cubicBezTo>
                  <a:pt x="434" y="88"/>
                  <a:pt x="434" y="88"/>
                  <a:pt x="435" y="88"/>
                </a:cubicBezTo>
                <a:cubicBezTo>
                  <a:pt x="435" y="87"/>
                  <a:pt x="436" y="87"/>
                  <a:pt x="436" y="87"/>
                </a:cubicBezTo>
                <a:cubicBezTo>
                  <a:pt x="436" y="87"/>
                  <a:pt x="436" y="87"/>
                  <a:pt x="436" y="87"/>
                </a:cubicBezTo>
                <a:cubicBezTo>
                  <a:pt x="436" y="86"/>
                  <a:pt x="436" y="86"/>
                  <a:pt x="436" y="86"/>
                </a:cubicBezTo>
                <a:cubicBezTo>
                  <a:pt x="437" y="86"/>
                  <a:pt x="437" y="86"/>
                  <a:pt x="437" y="86"/>
                </a:cubicBezTo>
                <a:cubicBezTo>
                  <a:pt x="437" y="86"/>
                  <a:pt x="438" y="85"/>
                  <a:pt x="438" y="85"/>
                </a:cubicBezTo>
                <a:cubicBezTo>
                  <a:pt x="438" y="85"/>
                  <a:pt x="438" y="84"/>
                  <a:pt x="439" y="84"/>
                </a:cubicBezTo>
                <a:cubicBezTo>
                  <a:pt x="439" y="84"/>
                  <a:pt x="439" y="83"/>
                  <a:pt x="438" y="83"/>
                </a:cubicBezTo>
                <a:cubicBezTo>
                  <a:pt x="438" y="83"/>
                  <a:pt x="438" y="83"/>
                  <a:pt x="438" y="83"/>
                </a:cubicBezTo>
                <a:cubicBezTo>
                  <a:pt x="438" y="84"/>
                  <a:pt x="437" y="84"/>
                  <a:pt x="437" y="84"/>
                </a:cubicBezTo>
                <a:cubicBezTo>
                  <a:pt x="437" y="84"/>
                  <a:pt x="437" y="83"/>
                  <a:pt x="437" y="83"/>
                </a:cubicBezTo>
                <a:cubicBezTo>
                  <a:pt x="437" y="83"/>
                  <a:pt x="437" y="83"/>
                  <a:pt x="438" y="82"/>
                </a:cubicBezTo>
                <a:cubicBezTo>
                  <a:pt x="438" y="82"/>
                  <a:pt x="439" y="82"/>
                  <a:pt x="439" y="82"/>
                </a:cubicBezTo>
                <a:cubicBezTo>
                  <a:pt x="440" y="81"/>
                  <a:pt x="441" y="81"/>
                  <a:pt x="442" y="81"/>
                </a:cubicBezTo>
                <a:cubicBezTo>
                  <a:pt x="442" y="81"/>
                  <a:pt x="442" y="80"/>
                  <a:pt x="443" y="80"/>
                </a:cubicBezTo>
                <a:cubicBezTo>
                  <a:pt x="443" y="80"/>
                  <a:pt x="443" y="79"/>
                  <a:pt x="444" y="79"/>
                </a:cubicBezTo>
                <a:cubicBezTo>
                  <a:pt x="443" y="79"/>
                  <a:pt x="443" y="79"/>
                  <a:pt x="443" y="79"/>
                </a:cubicBezTo>
                <a:cubicBezTo>
                  <a:pt x="443" y="79"/>
                  <a:pt x="442" y="79"/>
                  <a:pt x="442" y="79"/>
                </a:cubicBezTo>
                <a:cubicBezTo>
                  <a:pt x="441" y="79"/>
                  <a:pt x="441" y="79"/>
                  <a:pt x="441" y="79"/>
                </a:cubicBezTo>
                <a:cubicBezTo>
                  <a:pt x="441" y="79"/>
                  <a:pt x="440" y="79"/>
                  <a:pt x="440" y="79"/>
                </a:cubicBezTo>
                <a:cubicBezTo>
                  <a:pt x="439" y="79"/>
                  <a:pt x="439" y="79"/>
                  <a:pt x="438" y="79"/>
                </a:cubicBezTo>
                <a:cubicBezTo>
                  <a:pt x="438" y="79"/>
                  <a:pt x="438" y="79"/>
                  <a:pt x="438" y="79"/>
                </a:cubicBezTo>
                <a:cubicBezTo>
                  <a:pt x="437" y="79"/>
                  <a:pt x="437" y="79"/>
                  <a:pt x="436" y="79"/>
                </a:cubicBezTo>
                <a:cubicBezTo>
                  <a:pt x="436" y="80"/>
                  <a:pt x="435" y="80"/>
                  <a:pt x="435" y="80"/>
                </a:cubicBezTo>
                <a:cubicBezTo>
                  <a:pt x="435" y="80"/>
                  <a:pt x="434" y="80"/>
                  <a:pt x="434" y="80"/>
                </a:cubicBezTo>
                <a:cubicBezTo>
                  <a:pt x="434" y="80"/>
                  <a:pt x="433" y="80"/>
                  <a:pt x="433" y="80"/>
                </a:cubicBezTo>
                <a:cubicBezTo>
                  <a:pt x="433" y="80"/>
                  <a:pt x="432" y="80"/>
                  <a:pt x="432" y="80"/>
                </a:cubicBezTo>
                <a:cubicBezTo>
                  <a:pt x="432" y="80"/>
                  <a:pt x="431" y="80"/>
                  <a:pt x="431" y="80"/>
                </a:cubicBezTo>
                <a:cubicBezTo>
                  <a:pt x="430" y="81"/>
                  <a:pt x="429" y="81"/>
                  <a:pt x="428" y="81"/>
                </a:cubicBezTo>
                <a:cubicBezTo>
                  <a:pt x="428" y="81"/>
                  <a:pt x="428" y="81"/>
                  <a:pt x="427" y="81"/>
                </a:cubicBezTo>
                <a:cubicBezTo>
                  <a:pt x="427" y="82"/>
                  <a:pt x="427" y="82"/>
                  <a:pt x="427" y="82"/>
                </a:cubicBezTo>
                <a:cubicBezTo>
                  <a:pt x="426" y="82"/>
                  <a:pt x="426" y="83"/>
                  <a:pt x="425" y="83"/>
                </a:cubicBezTo>
                <a:cubicBezTo>
                  <a:pt x="425" y="83"/>
                  <a:pt x="425" y="83"/>
                  <a:pt x="425" y="84"/>
                </a:cubicBezTo>
                <a:cubicBezTo>
                  <a:pt x="425" y="84"/>
                  <a:pt x="425" y="84"/>
                  <a:pt x="424" y="85"/>
                </a:cubicBezTo>
                <a:close/>
                <a:moveTo>
                  <a:pt x="419" y="91"/>
                </a:moveTo>
                <a:cubicBezTo>
                  <a:pt x="419" y="91"/>
                  <a:pt x="419" y="91"/>
                  <a:pt x="419" y="90"/>
                </a:cubicBezTo>
                <a:cubicBezTo>
                  <a:pt x="419" y="91"/>
                  <a:pt x="418" y="91"/>
                  <a:pt x="418" y="91"/>
                </a:cubicBezTo>
                <a:cubicBezTo>
                  <a:pt x="418" y="91"/>
                  <a:pt x="418" y="91"/>
                  <a:pt x="418" y="91"/>
                </a:cubicBezTo>
                <a:cubicBezTo>
                  <a:pt x="418" y="92"/>
                  <a:pt x="418" y="92"/>
                  <a:pt x="418" y="92"/>
                </a:cubicBezTo>
                <a:cubicBezTo>
                  <a:pt x="418" y="91"/>
                  <a:pt x="419" y="91"/>
                  <a:pt x="419" y="91"/>
                </a:cubicBezTo>
                <a:close/>
                <a:moveTo>
                  <a:pt x="420" y="83"/>
                </a:moveTo>
                <a:cubicBezTo>
                  <a:pt x="421" y="84"/>
                  <a:pt x="421" y="84"/>
                  <a:pt x="421" y="84"/>
                </a:cubicBezTo>
                <a:cubicBezTo>
                  <a:pt x="422" y="84"/>
                  <a:pt x="422" y="84"/>
                  <a:pt x="422" y="84"/>
                </a:cubicBezTo>
                <a:cubicBezTo>
                  <a:pt x="423" y="84"/>
                  <a:pt x="423" y="84"/>
                  <a:pt x="424" y="83"/>
                </a:cubicBezTo>
                <a:cubicBezTo>
                  <a:pt x="424" y="83"/>
                  <a:pt x="424" y="83"/>
                  <a:pt x="425" y="82"/>
                </a:cubicBezTo>
                <a:cubicBezTo>
                  <a:pt x="424" y="82"/>
                  <a:pt x="424" y="82"/>
                  <a:pt x="424" y="82"/>
                </a:cubicBezTo>
                <a:cubicBezTo>
                  <a:pt x="424" y="81"/>
                  <a:pt x="424" y="81"/>
                  <a:pt x="424" y="81"/>
                </a:cubicBezTo>
                <a:cubicBezTo>
                  <a:pt x="424" y="81"/>
                  <a:pt x="424" y="81"/>
                  <a:pt x="424" y="81"/>
                </a:cubicBezTo>
                <a:cubicBezTo>
                  <a:pt x="424" y="80"/>
                  <a:pt x="424" y="80"/>
                  <a:pt x="424" y="79"/>
                </a:cubicBezTo>
                <a:cubicBezTo>
                  <a:pt x="424" y="80"/>
                  <a:pt x="424" y="80"/>
                  <a:pt x="423" y="80"/>
                </a:cubicBezTo>
                <a:cubicBezTo>
                  <a:pt x="423" y="80"/>
                  <a:pt x="423" y="80"/>
                  <a:pt x="423" y="80"/>
                </a:cubicBezTo>
                <a:cubicBezTo>
                  <a:pt x="422" y="80"/>
                  <a:pt x="422" y="80"/>
                  <a:pt x="422" y="80"/>
                </a:cubicBezTo>
                <a:cubicBezTo>
                  <a:pt x="421" y="80"/>
                  <a:pt x="421" y="80"/>
                  <a:pt x="421" y="81"/>
                </a:cubicBezTo>
                <a:cubicBezTo>
                  <a:pt x="421" y="81"/>
                  <a:pt x="420" y="81"/>
                  <a:pt x="420" y="81"/>
                </a:cubicBezTo>
                <a:cubicBezTo>
                  <a:pt x="420" y="81"/>
                  <a:pt x="420" y="81"/>
                  <a:pt x="420" y="82"/>
                </a:cubicBezTo>
                <a:cubicBezTo>
                  <a:pt x="420" y="82"/>
                  <a:pt x="420" y="82"/>
                  <a:pt x="420" y="83"/>
                </a:cubicBezTo>
                <a:cubicBezTo>
                  <a:pt x="420" y="83"/>
                  <a:pt x="420" y="83"/>
                  <a:pt x="420" y="83"/>
                </a:cubicBezTo>
                <a:close/>
                <a:moveTo>
                  <a:pt x="417" y="108"/>
                </a:moveTo>
                <a:cubicBezTo>
                  <a:pt x="417" y="108"/>
                  <a:pt x="417" y="108"/>
                  <a:pt x="416" y="108"/>
                </a:cubicBezTo>
                <a:cubicBezTo>
                  <a:pt x="416" y="108"/>
                  <a:pt x="415" y="108"/>
                  <a:pt x="415" y="108"/>
                </a:cubicBezTo>
                <a:cubicBezTo>
                  <a:pt x="415" y="108"/>
                  <a:pt x="414" y="109"/>
                  <a:pt x="414" y="109"/>
                </a:cubicBezTo>
                <a:cubicBezTo>
                  <a:pt x="414" y="109"/>
                  <a:pt x="414" y="108"/>
                  <a:pt x="413" y="108"/>
                </a:cubicBezTo>
                <a:cubicBezTo>
                  <a:pt x="414" y="108"/>
                  <a:pt x="414" y="108"/>
                  <a:pt x="414" y="108"/>
                </a:cubicBezTo>
                <a:cubicBezTo>
                  <a:pt x="415" y="108"/>
                  <a:pt x="415" y="108"/>
                  <a:pt x="416" y="108"/>
                </a:cubicBezTo>
                <a:cubicBezTo>
                  <a:pt x="416" y="107"/>
                  <a:pt x="416" y="107"/>
                  <a:pt x="416" y="107"/>
                </a:cubicBezTo>
                <a:cubicBezTo>
                  <a:pt x="416" y="107"/>
                  <a:pt x="416" y="106"/>
                  <a:pt x="415" y="106"/>
                </a:cubicBezTo>
                <a:cubicBezTo>
                  <a:pt x="415" y="105"/>
                  <a:pt x="415" y="105"/>
                  <a:pt x="414" y="105"/>
                </a:cubicBezTo>
                <a:cubicBezTo>
                  <a:pt x="414" y="105"/>
                  <a:pt x="414" y="105"/>
                  <a:pt x="414" y="105"/>
                </a:cubicBezTo>
                <a:cubicBezTo>
                  <a:pt x="415" y="104"/>
                  <a:pt x="415" y="104"/>
                  <a:pt x="415" y="104"/>
                </a:cubicBezTo>
                <a:cubicBezTo>
                  <a:pt x="415" y="104"/>
                  <a:pt x="415" y="104"/>
                  <a:pt x="415" y="104"/>
                </a:cubicBezTo>
                <a:cubicBezTo>
                  <a:pt x="415" y="104"/>
                  <a:pt x="414" y="103"/>
                  <a:pt x="414" y="103"/>
                </a:cubicBezTo>
                <a:cubicBezTo>
                  <a:pt x="414" y="103"/>
                  <a:pt x="414" y="103"/>
                  <a:pt x="414" y="103"/>
                </a:cubicBezTo>
                <a:cubicBezTo>
                  <a:pt x="414" y="103"/>
                  <a:pt x="414" y="103"/>
                  <a:pt x="413" y="103"/>
                </a:cubicBezTo>
                <a:cubicBezTo>
                  <a:pt x="413" y="103"/>
                  <a:pt x="413" y="103"/>
                  <a:pt x="413" y="103"/>
                </a:cubicBezTo>
                <a:cubicBezTo>
                  <a:pt x="412" y="103"/>
                  <a:pt x="412" y="103"/>
                  <a:pt x="412" y="103"/>
                </a:cubicBezTo>
                <a:cubicBezTo>
                  <a:pt x="412" y="103"/>
                  <a:pt x="411" y="103"/>
                  <a:pt x="411" y="103"/>
                </a:cubicBezTo>
                <a:cubicBezTo>
                  <a:pt x="410" y="103"/>
                  <a:pt x="410" y="104"/>
                  <a:pt x="409" y="104"/>
                </a:cubicBezTo>
                <a:cubicBezTo>
                  <a:pt x="409" y="104"/>
                  <a:pt x="409" y="104"/>
                  <a:pt x="408" y="103"/>
                </a:cubicBezTo>
                <a:cubicBezTo>
                  <a:pt x="409" y="103"/>
                  <a:pt x="409" y="103"/>
                  <a:pt x="409" y="102"/>
                </a:cubicBezTo>
                <a:cubicBezTo>
                  <a:pt x="409" y="102"/>
                  <a:pt x="410" y="102"/>
                  <a:pt x="410" y="102"/>
                </a:cubicBezTo>
                <a:cubicBezTo>
                  <a:pt x="410" y="101"/>
                  <a:pt x="409" y="101"/>
                  <a:pt x="409" y="101"/>
                </a:cubicBezTo>
                <a:cubicBezTo>
                  <a:pt x="409" y="101"/>
                  <a:pt x="408" y="101"/>
                  <a:pt x="408" y="100"/>
                </a:cubicBezTo>
                <a:cubicBezTo>
                  <a:pt x="407" y="101"/>
                  <a:pt x="406" y="101"/>
                  <a:pt x="406" y="101"/>
                </a:cubicBezTo>
                <a:cubicBezTo>
                  <a:pt x="405" y="101"/>
                  <a:pt x="405" y="101"/>
                  <a:pt x="405" y="101"/>
                </a:cubicBezTo>
                <a:cubicBezTo>
                  <a:pt x="404" y="102"/>
                  <a:pt x="403" y="102"/>
                  <a:pt x="402" y="102"/>
                </a:cubicBezTo>
                <a:cubicBezTo>
                  <a:pt x="401" y="103"/>
                  <a:pt x="401" y="103"/>
                  <a:pt x="401" y="103"/>
                </a:cubicBezTo>
                <a:cubicBezTo>
                  <a:pt x="401" y="103"/>
                  <a:pt x="402" y="103"/>
                  <a:pt x="402" y="103"/>
                </a:cubicBezTo>
                <a:cubicBezTo>
                  <a:pt x="402" y="103"/>
                  <a:pt x="402" y="104"/>
                  <a:pt x="402" y="104"/>
                </a:cubicBezTo>
                <a:cubicBezTo>
                  <a:pt x="403" y="104"/>
                  <a:pt x="403" y="104"/>
                  <a:pt x="404" y="104"/>
                </a:cubicBezTo>
                <a:cubicBezTo>
                  <a:pt x="404" y="104"/>
                  <a:pt x="404" y="104"/>
                  <a:pt x="404" y="104"/>
                </a:cubicBezTo>
                <a:cubicBezTo>
                  <a:pt x="404" y="104"/>
                  <a:pt x="404" y="104"/>
                  <a:pt x="403" y="104"/>
                </a:cubicBezTo>
                <a:cubicBezTo>
                  <a:pt x="403" y="104"/>
                  <a:pt x="402" y="104"/>
                  <a:pt x="402" y="104"/>
                </a:cubicBezTo>
                <a:cubicBezTo>
                  <a:pt x="402" y="104"/>
                  <a:pt x="401" y="104"/>
                  <a:pt x="401" y="104"/>
                </a:cubicBezTo>
                <a:cubicBezTo>
                  <a:pt x="401" y="104"/>
                  <a:pt x="401" y="104"/>
                  <a:pt x="400" y="104"/>
                </a:cubicBezTo>
                <a:cubicBezTo>
                  <a:pt x="400" y="104"/>
                  <a:pt x="400" y="104"/>
                  <a:pt x="399" y="104"/>
                </a:cubicBezTo>
                <a:cubicBezTo>
                  <a:pt x="399" y="105"/>
                  <a:pt x="398" y="105"/>
                  <a:pt x="398" y="105"/>
                </a:cubicBezTo>
                <a:cubicBezTo>
                  <a:pt x="398" y="105"/>
                  <a:pt x="398" y="105"/>
                  <a:pt x="397" y="105"/>
                </a:cubicBezTo>
                <a:cubicBezTo>
                  <a:pt x="397" y="106"/>
                  <a:pt x="397" y="106"/>
                  <a:pt x="397" y="106"/>
                </a:cubicBezTo>
                <a:cubicBezTo>
                  <a:pt x="396" y="106"/>
                  <a:pt x="396" y="107"/>
                  <a:pt x="396" y="107"/>
                </a:cubicBezTo>
                <a:cubicBezTo>
                  <a:pt x="396" y="107"/>
                  <a:pt x="395" y="107"/>
                  <a:pt x="395" y="108"/>
                </a:cubicBezTo>
                <a:cubicBezTo>
                  <a:pt x="395" y="108"/>
                  <a:pt x="395" y="108"/>
                  <a:pt x="396" y="108"/>
                </a:cubicBezTo>
                <a:cubicBezTo>
                  <a:pt x="397" y="108"/>
                  <a:pt x="398" y="108"/>
                  <a:pt x="398" y="108"/>
                </a:cubicBezTo>
                <a:cubicBezTo>
                  <a:pt x="399" y="108"/>
                  <a:pt x="399" y="108"/>
                  <a:pt x="400" y="108"/>
                </a:cubicBezTo>
                <a:cubicBezTo>
                  <a:pt x="400" y="108"/>
                  <a:pt x="400" y="108"/>
                  <a:pt x="401" y="108"/>
                </a:cubicBezTo>
                <a:cubicBezTo>
                  <a:pt x="401" y="108"/>
                  <a:pt x="401" y="108"/>
                  <a:pt x="402" y="108"/>
                </a:cubicBezTo>
                <a:cubicBezTo>
                  <a:pt x="402" y="108"/>
                  <a:pt x="402" y="108"/>
                  <a:pt x="402" y="108"/>
                </a:cubicBezTo>
                <a:cubicBezTo>
                  <a:pt x="402" y="108"/>
                  <a:pt x="402" y="108"/>
                  <a:pt x="401" y="108"/>
                </a:cubicBezTo>
                <a:cubicBezTo>
                  <a:pt x="401" y="108"/>
                  <a:pt x="400" y="108"/>
                  <a:pt x="400" y="108"/>
                </a:cubicBezTo>
                <a:cubicBezTo>
                  <a:pt x="399" y="108"/>
                  <a:pt x="398" y="109"/>
                  <a:pt x="397" y="109"/>
                </a:cubicBezTo>
                <a:cubicBezTo>
                  <a:pt x="397" y="109"/>
                  <a:pt x="396" y="109"/>
                  <a:pt x="395" y="110"/>
                </a:cubicBezTo>
                <a:cubicBezTo>
                  <a:pt x="395" y="110"/>
                  <a:pt x="395" y="110"/>
                  <a:pt x="394" y="110"/>
                </a:cubicBezTo>
                <a:cubicBezTo>
                  <a:pt x="394" y="110"/>
                  <a:pt x="394" y="110"/>
                  <a:pt x="393" y="110"/>
                </a:cubicBezTo>
                <a:cubicBezTo>
                  <a:pt x="393" y="111"/>
                  <a:pt x="392" y="111"/>
                  <a:pt x="392" y="112"/>
                </a:cubicBezTo>
                <a:cubicBezTo>
                  <a:pt x="392" y="112"/>
                  <a:pt x="391" y="113"/>
                  <a:pt x="391" y="113"/>
                </a:cubicBezTo>
                <a:cubicBezTo>
                  <a:pt x="391" y="113"/>
                  <a:pt x="391" y="113"/>
                  <a:pt x="391" y="113"/>
                </a:cubicBezTo>
                <a:cubicBezTo>
                  <a:pt x="391" y="113"/>
                  <a:pt x="392" y="113"/>
                  <a:pt x="392" y="113"/>
                </a:cubicBezTo>
                <a:cubicBezTo>
                  <a:pt x="393" y="113"/>
                  <a:pt x="394" y="113"/>
                  <a:pt x="394" y="113"/>
                </a:cubicBezTo>
                <a:cubicBezTo>
                  <a:pt x="395" y="113"/>
                  <a:pt x="395" y="112"/>
                  <a:pt x="396" y="112"/>
                </a:cubicBezTo>
                <a:cubicBezTo>
                  <a:pt x="396" y="112"/>
                  <a:pt x="396" y="112"/>
                  <a:pt x="397" y="112"/>
                </a:cubicBezTo>
                <a:cubicBezTo>
                  <a:pt x="397" y="112"/>
                  <a:pt x="397" y="112"/>
                  <a:pt x="398" y="112"/>
                </a:cubicBezTo>
                <a:cubicBezTo>
                  <a:pt x="398" y="112"/>
                  <a:pt x="398" y="112"/>
                  <a:pt x="399" y="112"/>
                </a:cubicBezTo>
                <a:cubicBezTo>
                  <a:pt x="398" y="112"/>
                  <a:pt x="398" y="113"/>
                  <a:pt x="397" y="113"/>
                </a:cubicBezTo>
                <a:cubicBezTo>
                  <a:pt x="397" y="113"/>
                  <a:pt x="396" y="113"/>
                  <a:pt x="396" y="113"/>
                </a:cubicBezTo>
                <a:cubicBezTo>
                  <a:pt x="396" y="114"/>
                  <a:pt x="395" y="114"/>
                  <a:pt x="395" y="114"/>
                </a:cubicBezTo>
                <a:cubicBezTo>
                  <a:pt x="395" y="114"/>
                  <a:pt x="394" y="114"/>
                  <a:pt x="394" y="114"/>
                </a:cubicBezTo>
                <a:cubicBezTo>
                  <a:pt x="393" y="114"/>
                  <a:pt x="393" y="114"/>
                  <a:pt x="392" y="114"/>
                </a:cubicBezTo>
                <a:cubicBezTo>
                  <a:pt x="391" y="114"/>
                  <a:pt x="391" y="115"/>
                  <a:pt x="390" y="115"/>
                </a:cubicBezTo>
                <a:cubicBezTo>
                  <a:pt x="390" y="115"/>
                  <a:pt x="389" y="115"/>
                  <a:pt x="389" y="115"/>
                </a:cubicBezTo>
                <a:cubicBezTo>
                  <a:pt x="389" y="115"/>
                  <a:pt x="388" y="115"/>
                  <a:pt x="388" y="115"/>
                </a:cubicBezTo>
                <a:cubicBezTo>
                  <a:pt x="387" y="116"/>
                  <a:pt x="387" y="116"/>
                  <a:pt x="386" y="117"/>
                </a:cubicBezTo>
                <a:cubicBezTo>
                  <a:pt x="386" y="117"/>
                  <a:pt x="386" y="117"/>
                  <a:pt x="387" y="117"/>
                </a:cubicBezTo>
                <a:cubicBezTo>
                  <a:pt x="387" y="118"/>
                  <a:pt x="387" y="118"/>
                  <a:pt x="387" y="118"/>
                </a:cubicBezTo>
                <a:cubicBezTo>
                  <a:pt x="386" y="118"/>
                  <a:pt x="386" y="118"/>
                  <a:pt x="385" y="118"/>
                </a:cubicBezTo>
                <a:cubicBezTo>
                  <a:pt x="385" y="119"/>
                  <a:pt x="385" y="119"/>
                  <a:pt x="386" y="119"/>
                </a:cubicBezTo>
                <a:cubicBezTo>
                  <a:pt x="386" y="119"/>
                  <a:pt x="387" y="119"/>
                  <a:pt x="388" y="119"/>
                </a:cubicBezTo>
                <a:cubicBezTo>
                  <a:pt x="388" y="119"/>
                  <a:pt x="389" y="119"/>
                  <a:pt x="389" y="120"/>
                </a:cubicBezTo>
                <a:cubicBezTo>
                  <a:pt x="390" y="120"/>
                  <a:pt x="390" y="120"/>
                  <a:pt x="390" y="119"/>
                </a:cubicBezTo>
                <a:cubicBezTo>
                  <a:pt x="390" y="119"/>
                  <a:pt x="390" y="119"/>
                  <a:pt x="390" y="119"/>
                </a:cubicBezTo>
                <a:cubicBezTo>
                  <a:pt x="390" y="119"/>
                  <a:pt x="390" y="119"/>
                  <a:pt x="391" y="119"/>
                </a:cubicBezTo>
                <a:cubicBezTo>
                  <a:pt x="391" y="119"/>
                  <a:pt x="391" y="119"/>
                  <a:pt x="391" y="119"/>
                </a:cubicBezTo>
                <a:cubicBezTo>
                  <a:pt x="391" y="119"/>
                  <a:pt x="392" y="119"/>
                  <a:pt x="392" y="120"/>
                </a:cubicBezTo>
                <a:cubicBezTo>
                  <a:pt x="392" y="120"/>
                  <a:pt x="392" y="120"/>
                  <a:pt x="392" y="120"/>
                </a:cubicBezTo>
                <a:cubicBezTo>
                  <a:pt x="393" y="120"/>
                  <a:pt x="393" y="120"/>
                  <a:pt x="393" y="120"/>
                </a:cubicBezTo>
                <a:cubicBezTo>
                  <a:pt x="394" y="120"/>
                  <a:pt x="394" y="120"/>
                  <a:pt x="394" y="120"/>
                </a:cubicBezTo>
                <a:cubicBezTo>
                  <a:pt x="394" y="120"/>
                  <a:pt x="394" y="119"/>
                  <a:pt x="394" y="119"/>
                </a:cubicBezTo>
                <a:cubicBezTo>
                  <a:pt x="394" y="119"/>
                  <a:pt x="394" y="119"/>
                  <a:pt x="395" y="119"/>
                </a:cubicBezTo>
                <a:cubicBezTo>
                  <a:pt x="395" y="119"/>
                  <a:pt x="395" y="119"/>
                  <a:pt x="396" y="119"/>
                </a:cubicBezTo>
                <a:cubicBezTo>
                  <a:pt x="395" y="119"/>
                  <a:pt x="395" y="119"/>
                  <a:pt x="395" y="119"/>
                </a:cubicBezTo>
                <a:cubicBezTo>
                  <a:pt x="395" y="120"/>
                  <a:pt x="395" y="120"/>
                  <a:pt x="395" y="120"/>
                </a:cubicBezTo>
                <a:cubicBezTo>
                  <a:pt x="396" y="120"/>
                  <a:pt x="396" y="120"/>
                  <a:pt x="397" y="120"/>
                </a:cubicBezTo>
                <a:cubicBezTo>
                  <a:pt x="397" y="120"/>
                  <a:pt x="397" y="120"/>
                  <a:pt x="398" y="120"/>
                </a:cubicBezTo>
                <a:cubicBezTo>
                  <a:pt x="398" y="119"/>
                  <a:pt x="398" y="119"/>
                  <a:pt x="398" y="119"/>
                </a:cubicBezTo>
                <a:cubicBezTo>
                  <a:pt x="398" y="119"/>
                  <a:pt x="399" y="118"/>
                  <a:pt x="400" y="118"/>
                </a:cubicBezTo>
                <a:cubicBezTo>
                  <a:pt x="400" y="118"/>
                  <a:pt x="400" y="117"/>
                  <a:pt x="400" y="117"/>
                </a:cubicBezTo>
                <a:cubicBezTo>
                  <a:pt x="400" y="117"/>
                  <a:pt x="400" y="117"/>
                  <a:pt x="400" y="117"/>
                </a:cubicBezTo>
                <a:cubicBezTo>
                  <a:pt x="400" y="117"/>
                  <a:pt x="401" y="117"/>
                  <a:pt x="401" y="117"/>
                </a:cubicBezTo>
                <a:cubicBezTo>
                  <a:pt x="401" y="117"/>
                  <a:pt x="401" y="117"/>
                  <a:pt x="401" y="117"/>
                </a:cubicBezTo>
                <a:cubicBezTo>
                  <a:pt x="402" y="116"/>
                  <a:pt x="402" y="116"/>
                  <a:pt x="403" y="116"/>
                </a:cubicBezTo>
                <a:cubicBezTo>
                  <a:pt x="403" y="116"/>
                  <a:pt x="403" y="116"/>
                  <a:pt x="403" y="116"/>
                </a:cubicBezTo>
                <a:cubicBezTo>
                  <a:pt x="403" y="116"/>
                  <a:pt x="403" y="117"/>
                  <a:pt x="402" y="117"/>
                </a:cubicBezTo>
                <a:cubicBezTo>
                  <a:pt x="402" y="117"/>
                  <a:pt x="402" y="118"/>
                  <a:pt x="401" y="118"/>
                </a:cubicBezTo>
                <a:cubicBezTo>
                  <a:pt x="401" y="118"/>
                  <a:pt x="401" y="118"/>
                  <a:pt x="401" y="118"/>
                </a:cubicBezTo>
                <a:cubicBezTo>
                  <a:pt x="402" y="118"/>
                  <a:pt x="402" y="118"/>
                  <a:pt x="403" y="118"/>
                </a:cubicBezTo>
                <a:cubicBezTo>
                  <a:pt x="403" y="118"/>
                  <a:pt x="404" y="118"/>
                  <a:pt x="404" y="118"/>
                </a:cubicBezTo>
                <a:cubicBezTo>
                  <a:pt x="404" y="118"/>
                  <a:pt x="404" y="118"/>
                  <a:pt x="405" y="118"/>
                </a:cubicBezTo>
                <a:cubicBezTo>
                  <a:pt x="405" y="118"/>
                  <a:pt x="405" y="118"/>
                  <a:pt x="406" y="118"/>
                </a:cubicBezTo>
                <a:cubicBezTo>
                  <a:pt x="406" y="117"/>
                  <a:pt x="406" y="117"/>
                  <a:pt x="407" y="117"/>
                </a:cubicBezTo>
                <a:cubicBezTo>
                  <a:pt x="407" y="117"/>
                  <a:pt x="407" y="117"/>
                  <a:pt x="408" y="116"/>
                </a:cubicBezTo>
                <a:cubicBezTo>
                  <a:pt x="408" y="117"/>
                  <a:pt x="408" y="117"/>
                  <a:pt x="408" y="117"/>
                </a:cubicBezTo>
                <a:cubicBezTo>
                  <a:pt x="408" y="117"/>
                  <a:pt x="409" y="117"/>
                  <a:pt x="409" y="117"/>
                </a:cubicBezTo>
                <a:cubicBezTo>
                  <a:pt x="409" y="117"/>
                  <a:pt x="410" y="117"/>
                  <a:pt x="410" y="117"/>
                </a:cubicBezTo>
                <a:cubicBezTo>
                  <a:pt x="411" y="117"/>
                  <a:pt x="411" y="116"/>
                  <a:pt x="412" y="116"/>
                </a:cubicBezTo>
                <a:cubicBezTo>
                  <a:pt x="412" y="116"/>
                  <a:pt x="412" y="116"/>
                  <a:pt x="412" y="116"/>
                </a:cubicBezTo>
                <a:cubicBezTo>
                  <a:pt x="412" y="116"/>
                  <a:pt x="413" y="116"/>
                  <a:pt x="413" y="116"/>
                </a:cubicBezTo>
                <a:cubicBezTo>
                  <a:pt x="414" y="116"/>
                  <a:pt x="414" y="115"/>
                  <a:pt x="414" y="115"/>
                </a:cubicBezTo>
                <a:cubicBezTo>
                  <a:pt x="414" y="115"/>
                  <a:pt x="414" y="115"/>
                  <a:pt x="415" y="115"/>
                </a:cubicBezTo>
                <a:cubicBezTo>
                  <a:pt x="414" y="116"/>
                  <a:pt x="414" y="116"/>
                  <a:pt x="414" y="116"/>
                </a:cubicBezTo>
                <a:cubicBezTo>
                  <a:pt x="414" y="116"/>
                  <a:pt x="414" y="116"/>
                  <a:pt x="414" y="116"/>
                </a:cubicBezTo>
                <a:cubicBezTo>
                  <a:pt x="413" y="117"/>
                  <a:pt x="412" y="117"/>
                  <a:pt x="411" y="117"/>
                </a:cubicBezTo>
                <a:cubicBezTo>
                  <a:pt x="411" y="118"/>
                  <a:pt x="410" y="118"/>
                  <a:pt x="410" y="118"/>
                </a:cubicBezTo>
                <a:cubicBezTo>
                  <a:pt x="410" y="118"/>
                  <a:pt x="410" y="118"/>
                  <a:pt x="409" y="118"/>
                </a:cubicBezTo>
                <a:cubicBezTo>
                  <a:pt x="409" y="118"/>
                  <a:pt x="408" y="118"/>
                  <a:pt x="408" y="118"/>
                </a:cubicBezTo>
                <a:cubicBezTo>
                  <a:pt x="407" y="118"/>
                  <a:pt x="407" y="118"/>
                  <a:pt x="406" y="119"/>
                </a:cubicBezTo>
                <a:cubicBezTo>
                  <a:pt x="405" y="119"/>
                  <a:pt x="405" y="119"/>
                  <a:pt x="404" y="119"/>
                </a:cubicBezTo>
                <a:cubicBezTo>
                  <a:pt x="404" y="119"/>
                  <a:pt x="403" y="120"/>
                  <a:pt x="403" y="120"/>
                </a:cubicBezTo>
                <a:cubicBezTo>
                  <a:pt x="402" y="120"/>
                  <a:pt x="402" y="120"/>
                  <a:pt x="402" y="120"/>
                </a:cubicBezTo>
                <a:cubicBezTo>
                  <a:pt x="401" y="120"/>
                  <a:pt x="401" y="120"/>
                  <a:pt x="400" y="121"/>
                </a:cubicBezTo>
                <a:cubicBezTo>
                  <a:pt x="400" y="121"/>
                  <a:pt x="400" y="121"/>
                  <a:pt x="399" y="121"/>
                </a:cubicBezTo>
                <a:cubicBezTo>
                  <a:pt x="399" y="121"/>
                  <a:pt x="398" y="121"/>
                  <a:pt x="398" y="121"/>
                </a:cubicBezTo>
                <a:cubicBezTo>
                  <a:pt x="397" y="122"/>
                  <a:pt x="396" y="122"/>
                  <a:pt x="396" y="122"/>
                </a:cubicBezTo>
                <a:cubicBezTo>
                  <a:pt x="396" y="122"/>
                  <a:pt x="396" y="123"/>
                  <a:pt x="396" y="123"/>
                </a:cubicBezTo>
                <a:cubicBezTo>
                  <a:pt x="396" y="123"/>
                  <a:pt x="396" y="124"/>
                  <a:pt x="396" y="124"/>
                </a:cubicBezTo>
                <a:cubicBezTo>
                  <a:pt x="396" y="124"/>
                  <a:pt x="396" y="124"/>
                  <a:pt x="396" y="125"/>
                </a:cubicBezTo>
                <a:cubicBezTo>
                  <a:pt x="397" y="125"/>
                  <a:pt x="397" y="125"/>
                  <a:pt x="398" y="125"/>
                </a:cubicBezTo>
                <a:cubicBezTo>
                  <a:pt x="398" y="125"/>
                  <a:pt x="398" y="125"/>
                  <a:pt x="398" y="125"/>
                </a:cubicBezTo>
                <a:cubicBezTo>
                  <a:pt x="399" y="125"/>
                  <a:pt x="400" y="125"/>
                  <a:pt x="400" y="125"/>
                </a:cubicBezTo>
                <a:cubicBezTo>
                  <a:pt x="401" y="125"/>
                  <a:pt x="401" y="125"/>
                  <a:pt x="402" y="125"/>
                </a:cubicBezTo>
                <a:cubicBezTo>
                  <a:pt x="403" y="125"/>
                  <a:pt x="403" y="125"/>
                  <a:pt x="404" y="125"/>
                </a:cubicBezTo>
                <a:cubicBezTo>
                  <a:pt x="404" y="125"/>
                  <a:pt x="405" y="124"/>
                  <a:pt x="405" y="124"/>
                </a:cubicBezTo>
                <a:cubicBezTo>
                  <a:pt x="406" y="124"/>
                  <a:pt x="406" y="124"/>
                  <a:pt x="407" y="124"/>
                </a:cubicBezTo>
                <a:cubicBezTo>
                  <a:pt x="407" y="124"/>
                  <a:pt x="407" y="124"/>
                  <a:pt x="407" y="124"/>
                </a:cubicBezTo>
                <a:cubicBezTo>
                  <a:pt x="408" y="124"/>
                  <a:pt x="408" y="124"/>
                  <a:pt x="409" y="124"/>
                </a:cubicBezTo>
                <a:cubicBezTo>
                  <a:pt x="409" y="123"/>
                  <a:pt x="409" y="123"/>
                  <a:pt x="410" y="123"/>
                </a:cubicBezTo>
                <a:cubicBezTo>
                  <a:pt x="410" y="123"/>
                  <a:pt x="410" y="123"/>
                  <a:pt x="410" y="123"/>
                </a:cubicBezTo>
                <a:cubicBezTo>
                  <a:pt x="411" y="123"/>
                  <a:pt x="411" y="123"/>
                  <a:pt x="411" y="122"/>
                </a:cubicBezTo>
                <a:cubicBezTo>
                  <a:pt x="411" y="122"/>
                  <a:pt x="411" y="122"/>
                  <a:pt x="412" y="122"/>
                </a:cubicBezTo>
                <a:cubicBezTo>
                  <a:pt x="412" y="122"/>
                  <a:pt x="412" y="122"/>
                  <a:pt x="413" y="121"/>
                </a:cubicBezTo>
                <a:cubicBezTo>
                  <a:pt x="413" y="121"/>
                  <a:pt x="413" y="121"/>
                  <a:pt x="413" y="121"/>
                </a:cubicBezTo>
                <a:cubicBezTo>
                  <a:pt x="413" y="121"/>
                  <a:pt x="413" y="121"/>
                  <a:pt x="413" y="120"/>
                </a:cubicBezTo>
                <a:cubicBezTo>
                  <a:pt x="414" y="120"/>
                  <a:pt x="414" y="120"/>
                  <a:pt x="414" y="120"/>
                </a:cubicBezTo>
                <a:cubicBezTo>
                  <a:pt x="415" y="120"/>
                  <a:pt x="415" y="120"/>
                  <a:pt x="415" y="120"/>
                </a:cubicBezTo>
                <a:cubicBezTo>
                  <a:pt x="415" y="120"/>
                  <a:pt x="415" y="119"/>
                  <a:pt x="415" y="119"/>
                </a:cubicBezTo>
                <a:cubicBezTo>
                  <a:pt x="416" y="119"/>
                  <a:pt x="416" y="119"/>
                  <a:pt x="416" y="119"/>
                </a:cubicBezTo>
                <a:cubicBezTo>
                  <a:pt x="417" y="119"/>
                  <a:pt x="417" y="119"/>
                  <a:pt x="418" y="119"/>
                </a:cubicBezTo>
                <a:cubicBezTo>
                  <a:pt x="418" y="119"/>
                  <a:pt x="418" y="119"/>
                  <a:pt x="418" y="119"/>
                </a:cubicBezTo>
                <a:cubicBezTo>
                  <a:pt x="419" y="119"/>
                  <a:pt x="419" y="119"/>
                  <a:pt x="420" y="119"/>
                </a:cubicBezTo>
                <a:cubicBezTo>
                  <a:pt x="420" y="119"/>
                  <a:pt x="420" y="118"/>
                  <a:pt x="420" y="118"/>
                </a:cubicBezTo>
                <a:cubicBezTo>
                  <a:pt x="421" y="118"/>
                  <a:pt x="421" y="118"/>
                  <a:pt x="422" y="117"/>
                </a:cubicBezTo>
                <a:cubicBezTo>
                  <a:pt x="422" y="117"/>
                  <a:pt x="422" y="117"/>
                  <a:pt x="423" y="117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6"/>
                  <a:pt x="423" y="116"/>
                  <a:pt x="423" y="116"/>
                </a:cubicBezTo>
                <a:cubicBezTo>
                  <a:pt x="424" y="116"/>
                  <a:pt x="424" y="116"/>
                  <a:pt x="424" y="116"/>
                </a:cubicBezTo>
                <a:cubicBezTo>
                  <a:pt x="424" y="116"/>
                  <a:pt x="424" y="116"/>
                  <a:pt x="425" y="116"/>
                </a:cubicBezTo>
                <a:cubicBezTo>
                  <a:pt x="424" y="117"/>
                  <a:pt x="424" y="117"/>
                  <a:pt x="424" y="117"/>
                </a:cubicBezTo>
                <a:cubicBezTo>
                  <a:pt x="424" y="117"/>
                  <a:pt x="424" y="117"/>
                  <a:pt x="424" y="117"/>
                </a:cubicBezTo>
                <a:cubicBezTo>
                  <a:pt x="425" y="117"/>
                  <a:pt x="425" y="117"/>
                  <a:pt x="426" y="117"/>
                </a:cubicBezTo>
                <a:cubicBezTo>
                  <a:pt x="426" y="117"/>
                  <a:pt x="426" y="117"/>
                  <a:pt x="427" y="117"/>
                </a:cubicBezTo>
                <a:cubicBezTo>
                  <a:pt x="427" y="117"/>
                  <a:pt x="427" y="117"/>
                  <a:pt x="427" y="116"/>
                </a:cubicBezTo>
                <a:cubicBezTo>
                  <a:pt x="427" y="116"/>
                  <a:pt x="428" y="116"/>
                  <a:pt x="428" y="116"/>
                </a:cubicBezTo>
                <a:cubicBezTo>
                  <a:pt x="428" y="116"/>
                  <a:pt x="428" y="116"/>
                  <a:pt x="428" y="116"/>
                </a:cubicBezTo>
                <a:cubicBezTo>
                  <a:pt x="428" y="116"/>
                  <a:pt x="429" y="116"/>
                  <a:pt x="429" y="116"/>
                </a:cubicBezTo>
                <a:cubicBezTo>
                  <a:pt x="428" y="116"/>
                  <a:pt x="428" y="117"/>
                  <a:pt x="428" y="117"/>
                </a:cubicBezTo>
                <a:cubicBezTo>
                  <a:pt x="428" y="117"/>
                  <a:pt x="428" y="117"/>
                  <a:pt x="429" y="117"/>
                </a:cubicBezTo>
                <a:cubicBezTo>
                  <a:pt x="429" y="117"/>
                  <a:pt x="430" y="117"/>
                  <a:pt x="430" y="117"/>
                </a:cubicBezTo>
                <a:cubicBezTo>
                  <a:pt x="431" y="117"/>
                  <a:pt x="431" y="117"/>
                  <a:pt x="432" y="117"/>
                </a:cubicBezTo>
                <a:cubicBezTo>
                  <a:pt x="432" y="116"/>
                  <a:pt x="433" y="116"/>
                  <a:pt x="434" y="116"/>
                </a:cubicBezTo>
                <a:cubicBezTo>
                  <a:pt x="434" y="115"/>
                  <a:pt x="434" y="115"/>
                  <a:pt x="434" y="115"/>
                </a:cubicBezTo>
                <a:cubicBezTo>
                  <a:pt x="435" y="115"/>
                  <a:pt x="435" y="115"/>
                  <a:pt x="435" y="115"/>
                </a:cubicBezTo>
                <a:cubicBezTo>
                  <a:pt x="436" y="115"/>
                  <a:pt x="436" y="115"/>
                  <a:pt x="436" y="115"/>
                </a:cubicBezTo>
                <a:cubicBezTo>
                  <a:pt x="436" y="115"/>
                  <a:pt x="437" y="115"/>
                  <a:pt x="437" y="115"/>
                </a:cubicBezTo>
                <a:cubicBezTo>
                  <a:pt x="437" y="115"/>
                  <a:pt x="437" y="114"/>
                  <a:pt x="437" y="114"/>
                </a:cubicBezTo>
                <a:cubicBezTo>
                  <a:pt x="437" y="114"/>
                  <a:pt x="437" y="114"/>
                  <a:pt x="437" y="114"/>
                </a:cubicBezTo>
                <a:cubicBezTo>
                  <a:pt x="437" y="114"/>
                  <a:pt x="438" y="114"/>
                  <a:pt x="438" y="114"/>
                </a:cubicBezTo>
                <a:cubicBezTo>
                  <a:pt x="438" y="114"/>
                  <a:pt x="438" y="114"/>
                  <a:pt x="438" y="113"/>
                </a:cubicBezTo>
                <a:cubicBezTo>
                  <a:pt x="438" y="113"/>
                  <a:pt x="438" y="113"/>
                  <a:pt x="438" y="113"/>
                </a:cubicBezTo>
                <a:cubicBezTo>
                  <a:pt x="438" y="113"/>
                  <a:pt x="439" y="112"/>
                  <a:pt x="439" y="112"/>
                </a:cubicBezTo>
                <a:cubicBezTo>
                  <a:pt x="439" y="112"/>
                  <a:pt x="440" y="112"/>
                  <a:pt x="440" y="112"/>
                </a:cubicBezTo>
                <a:cubicBezTo>
                  <a:pt x="440" y="111"/>
                  <a:pt x="441" y="111"/>
                  <a:pt x="441" y="110"/>
                </a:cubicBezTo>
                <a:cubicBezTo>
                  <a:pt x="441" y="110"/>
                  <a:pt x="441" y="110"/>
                  <a:pt x="441" y="110"/>
                </a:cubicBezTo>
                <a:cubicBezTo>
                  <a:pt x="441" y="110"/>
                  <a:pt x="441" y="110"/>
                  <a:pt x="441" y="110"/>
                </a:cubicBezTo>
                <a:cubicBezTo>
                  <a:pt x="441" y="109"/>
                  <a:pt x="441" y="109"/>
                  <a:pt x="442" y="109"/>
                </a:cubicBezTo>
                <a:cubicBezTo>
                  <a:pt x="442" y="109"/>
                  <a:pt x="442" y="109"/>
                  <a:pt x="443" y="109"/>
                </a:cubicBezTo>
                <a:cubicBezTo>
                  <a:pt x="443" y="108"/>
                  <a:pt x="443" y="108"/>
                  <a:pt x="444" y="108"/>
                </a:cubicBezTo>
                <a:cubicBezTo>
                  <a:pt x="444" y="107"/>
                  <a:pt x="444" y="106"/>
                  <a:pt x="445" y="106"/>
                </a:cubicBezTo>
                <a:cubicBezTo>
                  <a:pt x="445" y="105"/>
                  <a:pt x="445" y="105"/>
                  <a:pt x="445" y="104"/>
                </a:cubicBezTo>
                <a:cubicBezTo>
                  <a:pt x="445" y="104"/>
                  <a:pt x="444" y="104"/>
                  <a:pt x="444" y="104"/>
                </a:cubicBezTo>
                <a:cubicBezTo>
                  <a:pt x="444" y="104"/>
                  <a:pt x="444" y="103"/>
                  <a:pt x="443" y="103"/>
                </a:cubicBezTo>
                <a:cubicBezTo>
                  <a:pt x="443" y="103"/>
                  <a:pt x="442" y="103"/>
                  <a:pt x="442" y="103"/>
                </a:cubicBezTo>
                <a:cubicBezTo>
                  <a:pt x="441" y="103"/>
                  <a:pt x="441" y="103"/>
                  <a:pt x="441" y="103"/>
                </a:cubicBezTo>
                <a:cubicBezTo>
                  <a:pt x="440" y="104"/>
                  <a:pt x="440" y="104"/>
                  <a:pt x="439" y="104"/>
                </a:cubicBezTo>
                <a:cubicBezTo>
                  <a:pt x="439" y="105"/>
                  <a:pt x="439" y="105"/>
                  <a:pt x="439" y="105"/>
                </a:cubicBezTo>
                <a:cubicBezTo>
                  <a:pt x="439" y="105"/>
                  <a:pt x="439" y="106"/>
                  <a:pt x="439" y="106"/>
                </a:cubicBezTo>
                <a:cubicBezTo>
                  <a:pt x="439" y="106"/>
                  <a:pt x="439" y="106"/>
                  <a:pt x="439" y="106"/>
                </a:cubicBezTo>
                <a:cubicBezTo>
                  <a:pt x="439" y="106"/>
                  <a:pt x="439" y="106"/>
                  <a:pt x="439" y="107"/>
                </a:cubicBezTo>
                <a:cubicBezTo>
                  <a:pt x="439" y="107"/>
                  <a:pt x="438" y="107"/>
                  <a:pt x="438" y="107"/>
                </a:cubicBezTo>
                <a:cubicBezTo>
                  <a:pt x="438" y="107"/>
                  <a:pt x="437" y="107"/>
                  <a:pt x="437" y="108"/>
                </a:cubicBezTo>
                <a:cubicBezTo>
                  <a:pt x="437" y="108"/>
                  <a:pt x="437" y="107"/>
                  <a:pt x="437" y="107"/>
                </a:cubicBezTo>
                <a:cubicBezTo>
                  <a:pt x="437" y="107"/>
                  <a:pt x="437" y="107"/>
                  <a:pt x="437" y="106"/>
                </a:cubicBezTo>
                <a:cubicBezTo>
                  <a:pt x="437" y="106"/>
                  <a:pt x="437" y="106"/>
                  <a:pt x="437" y="105"/>
                </a:cubicBezTo>
                <a:cubicBezTo>
                  <a:pt x="437" y="105"/>
                  <a:pt x="436" y="105"/>
                  <a:pt x="436" y="105"/>
                </a:cubicBezTo>
                <a:cubicBezTo>
                  <a:pt x="435" y="105"/>
                  <a:pt x="435" y="105"/>
                  <a:pt x="435" y="105"/>
                </a:cubicBezTo>
                <a:cubicBezTo>
                  <a:pt x="435" y="106"/>
                  <a:pt x="434" y="106"/>
                  <a:pt x="434" y="106"/>
                </a:cubicBezTo>
                <a:cubicBezTo>
                  <a:pt x="434" y="107"/>
                  <a:pt x="433" y="107"/>
                  <a:pt x="432" y="107"/>
                </a:cubicBezTo>
                <a:cubicBezTo>
                  <a:pt x="432" y="108"/>
                  <a:pt x="432" y="108"/>
                  <a:pt x="432" y="108"/>
                </a:cubicBezTo>
                <a:cubicBezTo>
                  <a:pt x="432" y="108"/>
                  <a:pt x="432" y="108"/>
                  <a:pt x="431" y="108"/>
                </a:cubicBezTo>
                <a:cubicBezTo>
                  <a:pt x="431" y="108"/>
                  <a:pt x="432" y="107"/>
                  <a:pt x="432" y="107"/>
                </a:cubicBezTo>
                <a:cubicBezTo>
                  <a:pt x="432" y="107"/>
                  <a:pt x="433" y="106"/>
                  <a:pt x="433" y="106"/>
                </a:cubicBezTo>
                <a:cubicBezTo>
                  <a:pt x="434" y="105"/>
                  <a:pt x="434" y="105"/>
                  <a:pt x="435" y="105"/>
                </a:cubicBezTo>
                <a:cubicBezTo>
                  <a:pt x="435" y="104"/>
                  <a:pt x="435" y="104"/>
                  <a:pt x="435" y="104"/>
                </a:cubicBezTo>
                <a:cubicBezTo>
                  <a:pt x="435" y="104"/>
                  <a:pt x="435" y="103"/>
                  <a:pt x="435" y="103"/>
                </a:cubicBezTo>
                <a:cubicBezTo>
                  <a:pt x="434" y="103"/>
                  <a:pt x="434" y="104"/>
                  <a:pt x="433" y="104"/>
                </a:cubicBezTo>
                <a:cubicBezTo>
                  <a:pt x="433" y="104"/>
                  <a:pt x="433" y="104"/>
                  <a:pt x="432" y="104"/>
                </a:cubicBezTo>
                <a:cubicBezTo>
                  <a:pt x="432" y="104"/>
                  <a:pt x="432" y="104"/>
                  <a:pt x="432" y="104"/>
                </a:cubicBezTo>
                <a:cubicBezTo>
                  <a:pt x="432" y="104"/>
                  <a:pt x="432" y="104"/>
                  <a:pt x="432" y="104"/>
                </a:cubicBezTo>
                <a:cubicBezTo>
                  <a:pt x="432" y="104"/>
                  <a:pt x="432" y="104"/>
                  <a:pt x="432" y="103"/>
                </a:cubicBezTo>
                <a:cubicBezTo>
                  <a:pt x="433" y="103"/>
                  <a:pt x="433" y="103"/>
                  <a:pt x="434" y="102"/>
                </a:cubicBezTo>
                <a:cubicBezTo>
                  <a:pt x="434" y="102"/>
                  <a:pt x="434" y="102"/>
                  <a:pt x="434" y="102"/>
                </a:cubicBezTo>
                <a:cubicBezTo>
                  <a:pt x="435" y="102"/>
                  <a:pt x="435" y="102"/>
                  <a:pt x="435" y="101"/>
                </a:cubicBezTo>
                <a:cubicBezTo>
                  <a:pt x="435" y="101"/>
                  <a:pt x="435" y="100"/>
                  <a:pt x="434" y="100"/>
                </a:cubicBezTo>
                <a:cubicBezTo>
                  <a:pt x="434" y="100"/>
                  <a:pt x="434" y="100"/>
                  <a:pt x="434" y="100"/>
                </a:cubicBezTo>
                <a:cubicBezTo>
                  <a:pt x="434" y="99"/>
                  <a:pt x="434" y="99"/>
                  <a:pt x="434" y="99"/>
                </a:cubicBezTo>
                <a:cubicBezTo>
                  <a:pt x="434" y="98"/>
                  <a:pt x="434" y="98"/>
                  <a:pt x="434" y="98"/>
                </a:cubicBezTo>
                <a:cubicBezTo>
                  <a:pt x="434" y="98"/>
                  <a:pt x="434" y="98"/>
                  <a:pt x="434" y="97"/>
                </a:cubicBezTo>
                <a:cubicBezTo>
                  <a:pt x="434" y="97"/>
                  <a:pt x="434" y="97"/>
                  <a:pt x="434" y="97"/>
                </a:cubicBezTo>
                <a:cubicBezTo>
                  <a:pt x="435" y="97"/>
                  <a:pt x="435" y="97"/>
                  <a:pt x="435" y="96"/>
                </a:cubicBezTo>
                <a:cubicBezTo>
                  <a:pt x="435" y="96"/>
                  <a:pt x="436" y="96"/>
                  <a:pt x="436" y="96"/>
                </a:cubicBezTo>
                <a:cubicBezTo>
                  <a:pt x="435" y="96"/>
                  <a:pt x="435" y="96"/>
                  <a:pt x="435" y="95"/>
                </a:cubicBezTo>
                <a:cubicBezTo>
                  <a:pt x="435" y="95"/>
                  <a:pt x="435" y="95"/>
                  <a:pt x="435" y="95"/>
                </a:cubicBezTo>
                <a:cubicBezTo>
                  <a:pt x="435" y="95"/>
                  <a:pt x="434" y="95"/>
                  <a:pt x="433" y="95"/>
                </a:cubicBezTo>
                <a:cubicBezTo>
                  <a:pt x="433" y="95"/>
                  <a:pt x="433" y="95"/>
                  <a:pt x="433" y="95"/>
                </a:cubicBezTo>
                <a:cubicBezTo>
                  <a:pt x="432" y="96"/>
                  <a:pt x="431" y="97"/>
                  <a:pt x="430" y="97"/>
                </a:cubicBezTo>
                <a:cubicBezTo>
                  <a:pt x="430" y="97"/>
                  <a:pt x="429" y="98"/>
                  <a:pt x="429" y="98"/>
                </a:cubicBezTo>
                <a:cubicBezTo>
                  <a:pt x="429" y="98"/>
                  <a:pt x="429" y="98"/>
                  <a:pt x="429" y="99"/>
                </a:cubicBezTo>
                <a:cubicBezTo>
                  <a:pt x="429" y="99"/>
                  <a:pt x="429" y="99"/>
                  <a:pt x="429" y="99"/>
                </a:cubicBezTo>
                <a:cubicBezTo>
                  <a:pt x="429" y="99"/>
                  <a:pt x="428" y="99"/>
                  <a:pt x="428" y="99"/>
                </a:cubicBezTo>
                <a:cubicBezTo>
                  <a:pt x="428" y="99"/>
                  <a:pt x="427" y="99"/>
                  <a:pt x="427" y="99"/>
                </a:cubicBezTo>
                <a:cubicBezTo>
                  <a:pt x="427" y="99"/>
                  <a:pt x="427" y="100"/>
                  <a:pt x="426" y="100"/>
                </a:cubicBezTo>
                <a:cubicBezTo>
                  <a:pt x="426" y="100"/>
                  <a:pt x="426" y="101"/>
                  <a:pt x="425" y="101"/>
                </a:cubicBezTo>
                <a:cubicBezTo>
                  <a:pt x="426" y="101"/>
                  <a:pt x="426" y="102"/>
                  <a:pt x="426" y="102"/>
                </a:cubicBezTo>
                <a:cubicBezTo>
                  <a:pt x="426" y="102"/>
                  <a:pt x="426" y="102"/>
                  <a:pt x="426" y="103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27" y="103"/>
                  <a:pt x="428" y="103"/>
                  <a:pt x="428" y="104"/>
                </a:cubicBezTo>
                <a:cubicBezTo>
                  <a:pt x="428" y="104"/>
                  <a:pt x="428" y="104"/>
                  <a:pt x="428" y="105"/>
                </a:cubicBezTo>
                <a:cubicBezTo>
                  <a:pt x="427" y="105"/>
                  <a:pt x="427" y="105"/>
                  <a:pt x="427" y="105"/>
                </a:cubicBezTo>
                <a:cubicBezTo>
                  <a:pt x="426" y="105"/>
                  <a:pt x="425" y="106"/>
                  <a:pt x="425" y="106"/>
                </a:cubicBezTo>
                <a:cubicBezTo>
                  <a:pt x="425" y="106"/>
                  <a:pt x="424" y="106"/>
                  <a:pt x="424" y="106"/>
                </a:cubicBezTo>
                <a:cubicBezTo>
                  <a:pt x="424" y="106"/>
                  <a:pt x="424" y="106"/>
                  <a:pt x="424" y="107"/>
                </a:cubicBezTo>
                <a:cubicBezTo>
                  <a:pt x="424" y="107"/>
                  <a:pt x="424" y="107"/>
                  <a:pt x="425" y="107"/>
                </a:cubicBezTo>
                <a:cubicBezTo>
                  <a:pt x="425" y="107"/>
                  <a:pt x="425" y="107"/>
                  <a:pt x="425" y="108"/>
                </a:cubicBezTo>
                <a:cubicBezTo>
                  <a:pt x="425" y="108"/>
                  <a:pt x="426" y="108"/>
                  <a:pt x="426" y="108"/>
                </a:cubicBezTo>
                <a:cubicBezTo>
                  <a:pt x="426" y="108"/>
                  <a:pt x="426" y="109"/>
                  <a:pt x="427" y="109"/>
                </a:cubicBezTo>
                <a:cubicBezTo>
                  <a:pt x="426" y="109"/>
                  <a:pt x="426" y="110"/>
                  <a:pt x="425" y="110"/>
                </a:cubicBezTo>
                <a:cubicBezTo>
                  <a:pt x="425" y="110"/>
                  <a:pt x="425" y="110"/>
                  <a:pt x="426" y="110"/>
                </a:cubicBezTo>
                <a:cubicBezTo>
                  <a:pt x="426" y="110"/>
                  <a:pt x="426" y="110"/>
                  <a:pt x="426" y="111"/>
                </a:cubicBezTo>
                <a:cubicBezTo>
                  <a:pt x="426" y="111"/>
                  <a:pt x="425" y="111"/>
                  <a:pt x="425" y="111"/>
                </a:cubicBezTo>
                <a:cubicBezTo>
                  <a:pt x="425" y="111"/>
                  <a:pt x="424" y="111"/>
                  <a:pt x="424" y="110"/>
                </a:cubicBezTo>
                <a:cubicBezTo>
                  <a:pt x="423" y="110"/>
                  <a:pt x="423" y="111"/>
                  <a:pt x="422" y="111"/>
                </a:cubicBezTo>
                <a:cubicBezTo>
                  <a:pt x="422" y="111"/>
                  <a:pt x="421" y="111"/>
                  <a:pt x="421" y="111"/>
                </a:cubicBezTo>
                <a:cubicBezTo>
                  <a:pt x="421" y="111"/>
                  <a:pt x="420" y="111"/>
                  <a:pt x="420" y="111"/>
                </a:cubicBezTo>
                <a:cubicBezTo>
                  <a:pt x="420" y="111"/>
                  <a:pt x="419" y="111"/>
                  <a:pt x="419" y="111"/>
                </a:cubicBezTo>
                <a:cubicBezTo>
                  <a:pt x="419" y="111"/>
                  <a:pt x="419" y="111"/>
                  <a:pt x="419" y="111"/>
                </a:cubicBezTo>
                <a:cubicBezTo>
                  <a:pt x="419" y="111"/>
                  <a:pt x="418" y="111"/>
                  <a:pt x="418" y="111"/>
                </a:cubicBezTo>
                <a:cubicBezTo>
                  <a:pt x="418" y="111"/>
                  <a:pt x="417" y="112"/>
                  <a:pt x="417" y="112"/>
                </a:cubicBezTo>
                <a:cubicBezTo>
                  <a:pt x="417" y="112"/>
                  <a:pt x="416" y="112"/>
                  <a:pt x="416" y="112"/>
                </a:cubicBezTo>
                <a:cubicBezTo>
                  <a:pt x="416" y="111"/>
                  <a:pt x="416" y="111"/>
                  <a:pt x="416" y="110"/>
                </a:cubicBezTo>
                <a:cubicBezTo>
                  <a:pt x="416" y="110"/>
                  <a:pt x="416" y="110"/>
                  <a:pt x="417" y="110"/>
                </a:cubicBezTo>
                <a:cubicBezTo>
                  <a:pt x="417" y="109"/>
                  <a:pt x="417" y="109"/>
                  <a:pt x="417" y="108"/>
                </a:cubicBezTo>
                <a:close/>
                <a:moveTo>
                  <a:pt x="369" y="109"/>
                </a:moveTo>
                <a:cubicBezTo>
                  <a:pt x="369" y="109"/>
                  <a:pt x="369" y="109"/>
                  <a:pt x="369" y="108"/>
                </a:cubicBezTo>
                <a:cubicBezTo>
                  <a:pt x="369" y="108"/>
                  <a:pt x="369" y="108"/>
                  <a:pt x="369" y="108"/>
                </a:cubicBezTo>
                <a:cubicBezTo>
                  <a:pt x="368" y="108"/>
                  <a:pt x="368" y="108"/>
                  <a:pt x="368" y="108"/>
                </a:cubicBezTo>
                <a:cubicBezTo>
                  <a:pt x="367" y="108"/>
                  <a:pt x="367" y="108"/>
                  <a:pt x="367" y="109"/>
                </a:cubicBezTo>
                <a:cubicBezTo>
                  <a:pt x="367" y="109"/>
                  <a:pt x="368" y="109"/>
                  <a:pt x="368" y="109"/>
                </a:cubicBezTo>
                <a:cubicBezTo>
                  <a:pt x="368" y="109"/>
                  <a:pt x="368" y="109"/>
                  <a:pt x="369" y="109"/>
                </a:cubicBezTo>
                <a:close/>
                <a:moveTo>
                  <a:pt x="628" y="262"/>
                </a:moveTo>
                <a:cubicBezTo>
                  <a:pt x="628" y="262"/>
                  <a:pt x="628" y="261"/>
                  <a:pt x="628" y="261"/>
                </a:cubicBezTo>
                <a:cubicBezTo>
                  <a:pt x="628" y="261"/>
                  <a:pt x="628" y="261"/>
                  <a:pt x="628" y="261"/>
                </a:cubicBezTo>
                <a:cubicBezTo>
                  <a:pt x="628" y="261"/>
                  <a:pt x="628" y="261"/>
                  <a:pt x="628" y="261"/>
                </a:cubicBezTo>
                <a:cubicBezTo>
                  <a:pt x="628" y="261"/>
                  <a:pt x="627" y="262"/>
                  <a:pt x="627" y="262"/>
                </a:cubicBezTo>
                <a:cubicBezTo>
                  <a:pt x="627" y="262"/>
                  <a:pt x="628" y="262"/>
                  <a:pt x="628" y="262"/>
                </a:cubicBezTo>
                <a:cubicBezTo>
                  <a:pt x="628" y="262"/>
                  <a:pt x="628" y="262"/>
                  <a:pt x="628" y="262"/>
                </a:cubicBezTo>
                <a:close/>
                <a:moveTo>
                  <a:pt x="537" y="73"/>
                </a:moveTo>
                <a:cubicBezTo>
                  <a:pt x="537" y="73"/>
                  <a:pt x="537" y="72"/>
                  <a:pt x="537" y="72"/>
                </a:cubicBezTo>
                <a:cubicBezTo>
                  <a:pt x="537" y="72"/>
                  <a:pt x="537" y="72"/>
                  <a:pt x="536" y="72"/>
                </a:cubicBezTo>
                <a:cubicBezTo>
                  <a:pt x="536" y="72"/>
                  <a:pt x="536" y="72"/>
                  <a:pt x="536" y="72"/>
                </a:cubicBezTo>
                <a:cubicBezTo>
                  <a:pt x="536" y="73"/>
                  <a:pt x="536" y="73"/>
                  <a:pt x="536" y="73"/>
                </a:cubicBezTo>
                <a:cubicBezTo>
                  <a:pt x="536" y="73"/>
                  <a:pt x="535" y="73"/>
                  <a:pt x="535" y="74"/>
                </a:cubicBezTo>
                <a:cubicBezTo>
                  <a:pt x="535" y="74"/>
                  <a:pt x="535" y="74"/>
                  <a:pt x="535" y="74"/>
                </a:cubicBezTo>
                <a:cubicBezTo>
                  <a:pt x="535" y="74"/>
                  <a:pt x="535" y="74"/>
                  <a:pt x="535" y="74"/>
                </a:cubicBezTo>
                <a:cubicBezTo>
                  <a:pt x="536" y="74"/>
                  <a:pt x="536" y="73"/>
                  <a:pt x="537" y="73"/>
                </a:cubicBezTo>
                <a:cubicBezTo>
                  <a:pt x="537" y="73"/>
                  <a:pt x="537" y="73"/>
                  <a:pt x="537" y="73"/>
                </a:cubicBezTo>
                <a:close/>
                <a:moveTo>
                  <a:pt x="606" y="170"/>
                </a:moveTo>
                <a:cubicBezTo>
                  <a:pt x="607" y="170"/>
                  <a:pt x="607" y="170"/>
                  <a:pt x="607" y="170"/>
                </a:cubicBezTo>
                <a:cubicBezTo>
                  <a:pt x="607" y="170"/>
                  <a:pt x="607" y="169"/>
                  <a:pt x="606" y="169"/>
                </a:cubicBezTo>
                <a:cubicBezTo>
                  <a:pt x="606" y="170"/>
                  <a:pt x="606" y="170"/>
                  <a:pt x="606" y="170"/>
                </a:cubicBezTo>
                <a:cubicBezTo>
                  <a:pt x="606" y="170"/>
                  <a:pt x="606" y="170"/>
                  <a:pt x="605" y="170"/>
                </a:cubicBezTo>
                <a:cubicBezTo>
                  <a:pt x="605" y="170"/>
                  <a:pt x="605" y="171"/>
                  <a:pt x="605" y="171"/>
                </a:cubicBezTo>
                <a:cubicBezTo>
                  <a:pt x="605" y="171"/>
                  <a:pt x="606" y="171"/>
                  <a:pt x="606" y="171"/>
                </a:cubicBezTo>
                <a:cubicBezTo>
                  <a:pt x="606" y="171"/>
                  <a:pt x="606" y="170"/>
                  <a:pt x="606" y="170"/>
                </a:cubicBezTo>
                <a:close/>
                <a:moveTo>
                  <a:pt x="632" y="273"/>
                </a:moveTo>
                <a:cubicBezTo>
                  <a:pt x="633" y="273"/>
                  <a:pt x="633" y="273"/>
                  <a:pt x="633" y="273"/>
                </a:cubicBezTo>
                <a:cubicBezTo>
                  <a:pt x="633" y="272"/>
                  <a:pt x="633" y="272"/>
                  <a:pt x="633" y="272"/>
                </a:cubicBezTo>
                <a:cubicBezTo>
                  <a:pt x="633" y="272"/>
                  <a:pt x="632" y="272"/>
                  <a:pt x="632" y="272"/>
                </a:cubicBezTo>
                <a:cubicBezTo>
                  <a:pt x="632" y="272"/>
                  <a:pt x="632" y="272"/>
                  <a:pt x="632" y="272"/>
                </a:cubicBezTo>
                <a:cubicBezTo>
                  <a:pt x="632" y="272"/>
                  <a:pt x="632" y="272"/>
                  <a:pt x="632" y="272"/>
                </a:cubicBezTo>
                <a:cubicBezTo>
                  <a:pt x="632" y="272"/>
                  <a:pt x="632" y="272"/>
                  <a:pt x="631" y="272"/>
                </a:cubicBezTo>
                <a:cubicBezTo>
                  <a:pt x="631" y="272"/>
                  <a:pt x="631" y="272"/>
                  <a:pt x="631" y="272"/>
                </a:cubicBezTo>
                <a:cubicBezTo>
                  <a:pt x="632" y="273"/>
                  <a:pt x="632" y="273"/>
                  <a:pt x="632" y="273"/>
                </a:cubicBezTo>
                <a:cubicBezTo>
                  <a:pt x="632" y="273"/>
                  <a:pt x="632" y="273"/>
                  <a:pt x="632" y="273"/>
                </a:cubicBezTo>
                <a:close/>
                <a:moveTo>
                  <a:pt x="601" y="168"/>
                </a:moveTo>
                <a:cubicBezTo>
                  <a:pt x="601" y="168"/>
                  <a:pt x="601" y="168"/>
                  <a:pt x="601" y="168"/>
                </a:cubicBezTo>
                <a:cubicBezTo>
                  <a:pt x="601" y="168"/>
                  <a:pt x="601" y="167"/>
                  <a:pt x="601" y="167"/>
                </a:cubicBezTo>
                <a:cubicBezTo>
                  <a:pt x="601" y="167"/>
                  <a:pt x="601" y="167"/>
                  <a:pt x="600" y="167"/>
                </a:cubicBezTo>
                <a:cubicBezTo>
                  <a:pt x="600" y="167"/>
                  <a:pt x="600" y="167"/>
                  <a:pt x="600" y="167"/>
                </a:cubicBezTo>
                <a:cubicBezTo>
                  <a:pt x="600" y="168"/>
                  <a:pt x="600" y="168"/>
                  <a:pt x="600" y="168"/>
                </a:cubicBezTo>
                <a:cubicBezTo>
                  <a:pt x="600" y="168"/>
                  <a:pt x="601" y="168"/>
                  <a:pt x="601" y="168"/>
                </a:cubicBezTo>
                <a:close/>
                <a:moveTo>
                  <a:pt x="596" y="65"/>
                </a:moveTo>
                <a:cubicBezTo>
                  <a:pt x="596" y="65"/>
                  <a:pt x="595" y="65"/>
                  <a:pt x="595" y="65"/>
                </a:cubicBezTo>
                <a:cubicBezTo>
                  <a:pt x="595" y="65"/>
                  <a:pt x="595" y="65"/>
                  <a:pt x="595" y="65"/>
                </a:cubicBezTo>
                <a:cubicBezTo>
                  <a:pt x="595" y="65"/>
                  <a:pt x="595" y="65"/>
                  <a:pt x="596" y="65"/>
                </a:cubicBezTo>
                <a:cubicBezTo>
                  <a:pt x="596" y="65"/>
                  <a:pt x="596" y="65"/>
                  <a:pt x="597" y="65"/>
                </a:cubicBezTo>
                <a:cubicBezTo>
                  <a:pt x="597" y="65"/>
                  <a:pt x="597" y="65"/>
                  <a:pt x="597" y="65"/>
                </a:cubicBezTo>
                <a:cubicBezTo>
                  <a:pt x="597" y="65"/>
                  <a:pt x="596" y="65"/>
                  <a:pt x="596" y="65"/>
                </a:cubicBezTo>
                <a:close/>
                <a:moveTo>
                  <a:pt x="630" y="273"/>
                </a:moveTo>
                <a:cubicBezTo>
                  <a:pt x="630" y="273"/>
                  <a:pt x="629" y="273"/>
                  <a:pt x="629" y="273"/>
                </a:cubicBezTo>
                <a:cubicBezTo>
                  <a:pt x="629" y="273"/>
                  <a:pt x="629" y="273"/>
                  <a:pt x="629" y="274"/>
                </a:cubicBezTo>
                <a:cubicBezTo>
                  <a:pt x="629" y="274"/>
                  <a:pt x="629" y="274"/>
                  <a:pt x="629" y="274"/>
                </a:cubicBezTo>
                <a:cubicBezTo>
                  <a:pt x="629" y="274"/>
                  <a:pt x="629" y="274"/>
                  <a:pt x="630" y="274"/>
                </a:cubicBezTo>
                <a:cubicBezTo>
                  <a:pt x="630" y="274"/>
                  <a:pt x="630" y="274"/>
                  <a:pt x="630" y="274"/>
                </a:cubicBezTo>
                <a:cubicBezTo>
                  <a:pt x="630" y="273"/>
                  <a:pt x="631" y="273"/>
                  <a:pt x="631" y="273"/>
                </a:cubicBezTo>
                <a:cubicBezTo>
                  <a:pt x="631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lose/>
                <a:moveTo>
                  <a:pt x="585" y="162"/>
                </a:moveTo>
                <a:cubicBezTo>
                  <a:pt x="585" y="162"/>
                  <a:pt x="585" y="162"/>
                  <a:pt x="586" y="162"/>
                </a:cubicBezTo>
                <a:cubicBezTo>
                  <a:pt x="586" y="162"/>
                  <a:pt x="586" y="162"/>
                  <a:pt x="586" y="162"/>
                </a:cubicBezTo>
                <a:cubicBezTo>
                  <a:pt x="586" y="162"/>
                  <a:pt x="586" y="162"/>
                  <a:pt x="586" y="162"/>
                </a:cubicBezTo>
                <a:cubicBezTo>
                  <a:pt x="585" y="162"/>
                  <a:pt x="585" y="162"/>
                  <a:pt x="585" y="162"/>
                </a:cubicBezTo>
                <a:close/>
                <a:moveTo>
                  <a:pt x="589" y="154"/>
                </a:moveTo>
                <a:cubicBezTo>
                  <a:pt x="589" y="154"/>
                  <a:pt x="589" y="154"/>
                  <a:pt x="589" y="154"/>
                </a:cubicBezTo>
                <a:cubicBezTo>
                  <a:pt x="589" y="154"/>
                  <a:pt x="590" y="154"/>
                  <a:pt x="590" y="154"/>
                </a:cubicBezTo>
                <a:cubicBezTo>
                  <a:pt x="590" y="153"/>
                  <a:pt x="590" y="153"/>
                  <a:pt x="590" y="153"/>
                </a:cubicBezTo>
                <a:cubicBezTo>
                  <a:pt x="590" y="153"/>
                  <a:pt x="590" y="153"/>
                  <a:pt x="589" y="153"/>
                </a:cubicBezTo>
                <a:cubicBezTo>
                  <a:pt x="589" y="153"/>
                  <a:pt x="589" y="153"/>
                  <a:pt x="589" y="154"/>
                </a:cubicBezTo>
                <a:close/>
                <a:moveTo>
                  <a:pt x="576" y="76"/>
                </a:moveTo>
                <a:cubicBezTo>
                  <a:pt x="576" y="76"/>
                  <a:pt x="575" y="76"/>
                  <a:pt x="575" y="77"/>
                </a:cubicBezTo>
                <a:cubicBezTo>
                  <a:pt x="575" y="77"/>
                  <a:pt x="576" y="77"/>
                  <a:pt x="576" y="77"/>
                </a:cubicBezTo>
                <a:cubicBezTo>
                  <a:pt x="576" y="77"/>
                  <a:pt x="576" y="77"/>
                  <a:pt x="577" y="77"/>
                </a:cubicBezTo>
                <a:cubicBezTo>
                  <a:pt x="577" y="77"/>
                  <a:pt x="576" y="76"/>
                  <a:pt x="576" y="76"/>
                </a:cubicBezTo>
                <a:close/>
                <a:moveTo>
                  <a:pt x="591" y="164"/>
                </a:moveTo>
                <a:cubicBezTo>
                  <a:pt x="591" y="164"/>
                  <a:pt x="590" y="164"/>
                  <a:pt x="590" y="164"/>
                </a:cubicBezTo>
                <a:cubicBezTo>
                  <a:pt x="591" y="164"/>
                  <a:pt x="591" y="164"/>
                  <a:pt x="591" y="164"/>
                </a:cubicBezTo>
                <a:cubicBezTo>
                  <a:pt x="591" y="164"/>
                  <a:pt x="592" y="164"/>
                  <a:pt x="592" y="164"/>
                </a:cubicBezTo>
                <a:cubicBezTo>
                  <a:pt x="592" y="164"/>
                  <a:pt x="592" y="164"/>
                  <a:pt x="591" y="164"/>
                </a:cubicBezTo>
                <a:cubicBezTo>
                  <a:pt x="591" y="164"/>
                  <a:pt x="591" y="164"/>
                  <a:pt x="591" y="164"/>
                </a:cubicBezTo>
                <a:close/>
                <a:moveTo>
                  <a:pt x="587" y="153"/>
                </a:moveTo>
                <a:cubicBezTo>
                  <a:pt x="587" y="153"/>
                  <a:pt x="587" y="154"/>
                  <a:pt x="587" y="154"/>
                </a:cubicBezTo>
                <a:cubicBezTo>
                  <a:pt x="587" y="154"/>
                  <a:pt x="587" y="154"/>
                  <a:pt x="587" y="154"/>
                </a:cubicBezTo>
                <a:cubicBezTo>
                  <a:pt x="587" y="154"/>
                  <a:pt x="588" y="154"/>
                  <a:pt x="588" y="154"/>
                </a:cubicBezTo>
                <a:cubicBezTo>
                  <a:pt x="588" y="153"/>
                  <a:pt x="588" y="153"/>
                  <a:pt x="589" y="153"/>
                </a:cubicBezTo>
                <a:cubicBezTo>
                  <a:pt x="588" y="153"/>
                  <a:pt x="588" y="153"/>
                  <a:pt x="588" y="153"/>
                </a:cubicBezTo>
                <a:cubicBezTo>
                  <a:pt x="588" y="153"/>
                  <a:pt x="588" y="153"/>
                  <a:pt x="588" y="153"/>
                </a:cubicBezTo>
                <a:cubicBezTo>
                  <a:pt x="587" y="153"/>
                  <a:pt x="587" y="153"/>
                  <a:pt x="587" y="153"/>
                </a:cubicBezTo>
                <a:close/>
                <a:moveTo>
                  <a:pt x="545" y="82"/>
                </a:moveTo>
                <a:cubicBezTo>
                  <a:pt x="545" y="82"/>
                  <a:pt x="545" y="82"/>
                  <a:pt x="545" y="82"/>
                </a:cubicBezTo>
                <a:cubicBezTo>
                  <a:pt x="545" y="81"/>
                  <a:pt x="545" y="81"/>
                  <a:pt x="545" y="81"/>
                </a:cubicBezTo>
                <a:cubicBezTo>
                  <a:pt x="545" y="81"/>
                  <a:pt x="544" y="81"/>
                  <a:pt x="544" y="81"/>
                </a:cubicBezTo>
                <a:cubicBezTo>
                  <a:pt x="544" y="81"/>
                  <a:pt x="544" y="81"/>
                  <a:pt x="544" y="81"/>
                </a:cubicBezTo>
                <a:cubicBezTo>
                  <a:pt x="544" y="81"/>
                  <a:pt x="544" y="81"/>
                  <a:pt x="544" y="81"/>
                </a:cubicBezTo>
                <a:cubicBezTo>
                  <a:pt x="544" y="82"/>
                  <a:pt x="544" y="82"/>
                  <a:pt x="544" y="82"/>
                </a:cubicBezTo>
                <a:cubicBezTo>
                  <a:pt x="544" y="82"/>
                  <a:pt x="545" y="82"/>
                  <a:pt x="545" y="82"/>
                </a:cubicBezTo>
                <a:close/>
                <a:moveTo>
                  <a:pt x="478" y="82"/>
                </a:moveTo>
                <a:cubicBezTo>
                  <a:pt x="478" y="81"/>
                  <a:pt x="478" y="81"/>
                  <a:pt x="478" y="81"/>
                </a:cubicBezTo>
                <a:cubicBezTo>
                  <a:pt x="478" y="80"/>
                  <a:pt x="478" y="80"/>
                  <a:pt x="478" y="80"/>
                </a:cubicBezTo>
                <a:cubicBezTo>
                  <a:pt x="477" y="80"/>
                  <a:pt x="477" y="79"/>
                  <a:pt x="476" y="79"/>
                </a:cubicBezTo>
                <a:cubicBezTo>
                  <a:pt x="475" y="79"/>
                  <a:pt x="475" y="79"/>
                  <a:pt x="474" y="79"/>
                </a:cubicBezTo>
                <a:cubicBezTo>
                  <a:pt x="473" y="79"/>
                  <a:pt x="473" y="80"/>
                  <a:pt x="472" y="80"/>
                </a:cubicBezTo>
                <a:cubicBezTo>
                  <a:pt x="472" y="80"/>
                  <a:pt x="472" y="80"/>
                  <a:pt x="472" y="81"/>
                </a:cubicBezTo>
                <a:cubicBezTo>
                  <a:pt x="472" y="81"/>
                  <a:pt x="472" y="81"/>
                  <a:pt x="472" y="82"/>
                </a:cubicBezTo>
                <a:cubicBezTo>
                  <a:pt x="472" y="82"/>
                  <a:pt x="473" y="82"/>
                  <a:pt x="473" y="82"/>
                </a:cubicBezTo>
                <a:cubicBezTo>
                  <a:pt x="474" y="82"/>
                  <a:pt x="474" y="82"/>
                  <a:pt x="474" y="83"/>
                </a:cubicBezTo>
                <a:cubicBezTo>
                  <a:pt x="475" y="83"/>
                  <a:pt x="475" y="83"/>
                  <a:pt x="475" y="82"/>
                </a:cubicBezTo>
                <a:cubicBezTo>
                  <a:pt x="476" y="82"/>
                  <a:pt x="476" y="82"/>
                  <a:pt x="476" y="82"/>
                </a:cubicBezTo>
                <a:cubicBezTo>
                  <a:pt x="477" y="82"/>
                  <a:pt x="477" y="82"/>
                  <a:pt x="478" y="82"/>
                </a:cubicBezTo>
                <a:cubicBezTo>
                  <a:pt x="478" y="82"/>
                  <a:pt x="478" y="82"/>
                  <a:pt x="478" y="82"/>
                </a:cubicBezTo>
                <a:close/>
                <a:moveTo>
                  <a:pt x="461" y="106"/>
                </a:moveTo>
                <a:cubicBezTo>
                  <a:pt x="461" y="105"/>
                  <a:pt x="461" y="105"/>
                  <a:pt x="461" y="105"/>
                </a:cubicBezTo>
                <a:cubicBezTo>
                  <a:pt x="460" y="105"/>
                  <a:pt x="460" y="105"/>
                  <a:pt x="460" y="105"/>
                </a:cubicBezTo>
                <a:cubicBezTo>
                  <a:pt x="460" y="105"/>
                  <a:pt x="460" y="104"/>
                  <a:pt x="460" y="104"/>
                </a:cubicBezTo>
                <a:cubicBezTo>
                  <a:pt x="460" y="104"/>
                  <a:pt x="459" y="104"/>
                  <a:pt x="459" y="104"/>
                </a:cubicBezTo>
                <a:cubicBezTo>
                  <a:pt x="459" y="105"/>
                  <a:pt x="458" y="105"/>
                  <a:pt x="458" y="105"/>
                </a:cubicBezTo>
                <a:cubicBezTo>
                  <a:pt x="458" y="105"/>
                  <a:pt x="458" y="105"/>
                  <a:pt x="458" y="105"/>
                </a:cubicBezTo>
                <a:cubicBezTo>
                  <a:pt x="457" y="105"/>
                  <a:pt x="457" y="106"/>
                  <a:pt x="457" y="106"/>
                </a:cubicBezTo>
                <a:cubicBezTo>
                  <a:pt x="457" y="106"/>
                  <a:pt x="458" y="106"/>
                  <a:pt x="458" y="106"/>
                </a:cubicBezTo>
                <a:cubicBezTo>
                  <a:pt x="458" y="106"/>
                  <a:pt x="457" y="106"/>
                  <a:pt x="457" y="106"/>
                </a:cubicBezTo>
                <a:cubicBezTo>
                  <a:pt x="457" y="106"/>
                  <a:pt x="457" y="106"/>
                  <a:pt x="456" y="106"/>
                </a:cubicBezTo>
                <a:cubicBezTo>
                  <a:pt x="456" y="106"/>
                  <a:pt x="456" y="107"/>
                  <a:pt x="456" y="107"/>
                </a:cubicBezTo>
                <a:cubicBezTo>
                  <a:pt x="456" y="107"/>
                  <a:pt x="455" y="107"/>
                  <a:pt x="455" y="107"/>
                </a:cubicBezTo>
                <a:cubicBezTo>
                  <a:pt x="455" y="107"/>
                  <a:pt x="455" y="108"/>
                  <a:pt x="455" y="108"/>
                </a:cubicBezTo>
                <a:cubicBezTo>
                  <a:pt x="455" y="108"/>
                  <a:pt x="456" y="108"/>
                  <a:pt x="456" y="108"/>
                </a:cubicBezTo>
                <a:cubicBezTo>
                  <a:pt x="456" y="108"/>
                  <a:pt x="456" y="108"/>
                  <a:pt x="456" y="108"/>
                </a:cubicBezTo>
                <a:cubicBezTo>
                  <a:pt x="457" y="108"/>
                  <a:pt x="457" y="108"/>
                  <a:pt x="457" y="108"/>
                </a:cubicBezTo>
                <a:cubicBezTo>
                  <a:pt x="457" y="108"/>
                  <a:pt x="457" y="107"/>
                  <a:pt x="457" y="107"/>
                </a:cubicBezTo>
                <a:cubicBezTo>
                  <a:pt x="458" y="107"/>
                  <a:pt x="458" y="107"/>
                  <a:pt x="459" y="107"/>
                </a:cubicBezTo>
                <a:cubicBezTo>
                  <a:pt x="459" y="107"/>
                  <a:pt x="459" y="107"/>
                  <a:pt x="459" y="107"/>
                </a:cubicBezTo>
                <a:cubicBezTo>
                  <a:pt x="460" y="107"/>
                  <a:pt x="460" y="107"/>
                  <a:pt x="460" y="107"/>
                </a:cubicBezTo>
                <a:cubicBezTo>
                  <a:pt x="461" y="107"/>
                  <a:pt x="461" y="107"/>
                  <a:pt x="461" y="107"/>
                </a:cubicBezTo>
                <a:cubicBezTo>
                  <a:pt x="462" y="107"/>
                  <a:pt x="462" y="107"/>
                  <a:pt x="463" y="106"/>
                </a:cubicBezTo>
                <a:cubicBezTo>
                  <a:pt x="463" y="106"/>
                  <a:pt x="464" y="106"/>
                  <a:pt x="464" y="106"/>
                </a:cubicBezTo>
                <a:cubicBezTo>
                  <a:pt x="464" y="106"/>
                  <a:pt x="465" y="106"/>
                  <a:pt x="465" y="106"/>
                </a:cubicBezTo>
                <a:cubicBezTo>
                  <a:pt x="467" y="106"/>
                  <a:pt x="468" y="106"/>
                  <a:pt x="470" y="106"/>
                </a:cubicBezTo>
                <a:cubicBezTo>
                  <a:pt x="470" y="106"/>
                  <a:pt x="471" y="106"/>
                  <a:pt x="471" y="106"/>
                </a:cubicBezTo>
                <a:cubicBezTo>
                  <a:pt x="471" y="106"/>
                  <a:pt x="470" y="106"/>
                  <a:pt x="470" y="106"/>
                </a:cubicBezTo>
                <a:cubicBezTo>
                  <a:pt x="470" y="106"/>
                  <a:pt x="469" y="106"/>
                  <a:pt x="469" y="106"/>
                </a:cubicBezTo>
                <a:cubicBezTo>
                  <a:pt x="468" y="107"/>
                  <a:pt x="468" y="107"/>
                  <a:pt x="467" y="107"/>
                </a:cubicBezTo>
                <a:cubicBezTo>
                  <a:pt x="467" y="107"/>
                  <a:pt x="467" y="107"/>
                  <a:pt x="466" y="107"/>
                </a:cubicBezTo>
                <a:cubicBezTo>
                  <a:pt x="466" y="108"/>
                  <a:pt x="465" y="108"/>
                  <a:pt x="464" y="108"/>
                </a:cubicBezTo>
                <a:cubicBezTo>
                  <a:pt x="464" y="108"/>
                  <a:pt x="464" y="108"/>
                  <a:pt x="464" y="108"/>
                </a:cubicBezTo>
                <a:cubicBezTo>
                  <a:pt x="464" y="108"/>
                  <a:pt x="465" y="108"/>
                  <a:pt x="465" y="108"/>
                </a:cubicBezTo>
                <a:cubicBezTo>
                  <a:pt x="465" y="108"/>
                  <a:pt x="465" y="108"/>
                  <a:pt x="466" y="108"/>
                </a:cubicBezTo>
                <a:cubicBezTo>
                  <a:pt x="465" y="108"/>
                  <a:pt x="465" y="108"/>
                  <a:pt x="465" y="109"/>
                </a:cubicBezTo>
                <a:cubicBezTo>
                  <a:pt x="464" y="109"/>
                  <a:pt x="464" y="109"/>
                  <a:pt x="463" y="109"/>
                </a:cubicBezTo>
                <a:cubicBezTo>
                  <a:pt x="463" y="109"/>
                  <a:pt x="463" y="109"/>
                  <a:pt x="462" y="109"/>
                </a:cubicBezTo>
                <a:cubicBezTo>
                  <a:pt x="462" y="109"/>
                  <a:pt x="462" y="109"/>
                  <a:pt x="462" y="109"/>
                </a:cubicBezTo>
                <a:cubicBezTo>
                  <a:pt x="462" y="109"/>
                  <a:pt x="462" y="109"/>
                  <a:pt x="462" y="110"/>
                </a:cubicBezTo>
                <a:cubicBezTo>
                  <a:pt x="462" y="110"/>
                  <a:pt x="462" y="110"/>
                  <a:pt x="462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0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1" y="111"/>
                </a:cubicBezTo>
                <a:cubicBezTo>
                  <a:pt x="462" y="111"/>
                  <a:pt x="462" y="111"/>
                  <a:pt x="462" y="110"/>
                </a:cubicBezTo>
                <a:cubicBezTo>
                  <a:pt x="462" y="111"/>
                  <a:pt x="462" y="111"/>
                  <a:pt x="462" y="111"/>
                </a:cubicBezTo>
                <a:cubicBezTo>
                  <a:pt x="462" y="111"/>
                  <a:pt x="463" y="111"/>
                  <a:pt x="463" y="111"/>
                </a:cubicBezTo>
                <a:cubicBezTo>
                  <a:pt x="463" y="111"/>
                  <a:pt x="463" y="111"/>
                  <a:pt x="462" y="112"/>
                </a:cubicBezTo>
                <a:cubicBezTo>
                  <a:pt x="462" y="111"/>
                  <a:pt x="462" y="111"/>
                  <a:pt x="462" y="111"/>
                </a:cubicBezTo>
                <a:cubicBezTo>
                  <a:pt x="462" y="111"/>
                  <a:pt x="461" y="111"/>
                  <a:pt x="461" y="111"/>
                </a:cubicBezTo>
                <a:cubicBezTo>
                  <a:pt x="461" y="111"/>
                  <a:pt x="461" y="112"/>
                  <a:pt x="461" y="112"/>
                </a:cubicBezTo>
                <a:cubicBezTo>
                  <a:pt x="461" y="112"/>
                  <a:pt x="461" y="112"/>
                  <a:pt x="461" y="112"/>
                </a:cubicBezTo>
                <a:cubicBezTo>
                  <a:pt x="461" y="112"/>
                  <a:pt x="461" y="113"/>
                  <a:pt x="461" y="113"/>
                </a:cubicBezTo>
                <a:cubicBezTo>
                  <a:pt x="461" y="113"/>
                  <a:pt x="461" y="113"/>
                  <a:pt x="461" y="113"/>
                </a:cubicBezTo>
                <a:cubicBezTo>
                  <a:pt x="461" y="113"/>
                  <a:pt x="462" y="114"/>
                  <a:pt x="462" y="114"/>
                </a:cubicBezTo>
                <a:cubicBezTo>
                  <a:pt x="462" y="114"/>
                  <a:pt x="463" y="113"/>
                  <a:pt x="463" y="113"/>
                </a:cubicBezTo>
                <a:cubicBezTo>
                  <a:pt x="463" y="113"/>
                  <a:pt x="463" y="113"/>
                  <a:pt x="464" y="114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65" y="113"/>
                  <a:pt x="465" y="112"/>
                  <a:pt x="466" y="112"/>
                </a:cubicBezTo>
                <a:cubicBezTo>
                  <a:pt x="466" y="112"/>
                  <a:pt x="465" y="113"/>
                  <a:pt x="465" y="113"/>
                </a:cubicBezTo>
                <a:cubicBezTo>
                  <a:pt x="465" y="113"/>
                  <a:pt x="465" y="113"/>
                  <a:pt x="465" y="113"/>
                </a:cubicBezTo>
                <a:cubicBezTo>
                  <a:pt x="466" y="113"/>
                  <a:pt x="466" y="113"/>
                  <a:pt x="466" y="113"/>
                </a:cubicBezTo>
                <a:cubicBezTo>
                  <a:pt x="466" y="113"/>
                  <a:pt x="467" y="113"/>
                  <a:pt x="467" y="112"/>
                </a:cubicBezTo>
                <a:cubicBezTo>
                  <a:pt x="467" y="112"/>
                  <a:pt x="467" y="113"/>
                  <a:pt x="467" y="113"/>
                </a:cubicBezTo>
                <a:cubicBezTo>
                  <a:pt x="468" y="113"/>
                  <a:pt x="468" y="113"/>
                  <a:pt x="468" y="113"/>
                </a:cubicBezTo>
                <a:cubicBezTo>
                  <a:pt x="469" y="113"/>
                  <a:pt x="470" y="113"/>
                  <a:pt x="471" y="113"/>
                </a:cubicBezTo>
                <a:cubicBezTo>
                  <a:pt x="471" y="112"/>
                  <a:pt x="471" y="112"/>
                  <a:pt x="472" y="112"/>
                </a:cubicBezTo>
                <a:cubicBezTo>
                  <a:pt x="471" y="112"/>
                  <a:pt x="471" y="111"/>
                  <a:pt x="471" y="111"/>
                </a:cubicBezTo>
                <a:cubicBezTo>
                  <a:pt x="471" y="111"/>
                  <a:pt x="471" y="111"/>
                  <a:pt x="471" y="111"/>
                </a:cubicBezTo>
                <a:cubicBezTo>
                  <a:pt x="471" y="111"/>
                  <a:pt x="471" y="110"/>
                  <a:pt x="471" y="110"/>
                </a:cubicBezTo>
                <a:cubicBezTo>
                  <a:pt x="472" y="110"/>
                  <a:pt x="472" y="110"/>
                  <a:pt x="472" y="111"/>
                </a:cubicBezTo>
                <a:cubicBezTo>
                  <a:pt x="472" y="111"/>
                  <a:pt x="472" y="111"/>
                  <a:pt x="472" y="111"/>
                </a:cubicBezTo>
                <a:cubicBezTo>
                  <a:pt x="472" y="111"/>
                  <a:pt x="473" y="112"/>
                  <a:pt x="473" y="112"/>
                </a:cubicBezTo>
                <a:cubicBezTo>
                  <a:pt x="473" y="112"/>
                  <a:pt x="473" y="112"/>
                  <a:pt x="473" y="111"/>
                </a:cubicBezTo>
                <a:cubicBezTo>
                  <a:pt x="473" y="111"/>
                  <a:pt x="473" y="111"/>
                  <a:pt x="473" y="111"/>
                </a:cubicBezTo>
                <a:cubicBezTo>
                  <a:pt x="473" y="111"/>
                  <a:pt x="473" y="111"/>
                  <a:pt x="473" y="110"/>
                </a:cubicBezTo>
                <a:cubicBezTo>
                  <a:pt x="473" y="110"/>
                  <a:pt x="473" y="110"/>
                  <a:pt x="473" y="110"/>
                </a:cubicBezTo>
                <a:cubicBezTo>
                  <a:pt x="473" y="110"/>
                  <a:pt x="474" y="110"/>
                  <a:pt x="474" y="109"/>
                </a:cubicBezTo>
                <a:cubicBezTo>
                  <a:pt x="473" y="110"/>
                  <a:pt x="473" y="110"/>
                  <a:pt x="473" y="110"/>
                </a:cubicBezTo>
                <a:cubicBezTo>
                  <a:pt x="472" y="110"/>
                  <a:pt x="472" y="110"/>
                  <a:pt x="472" y="110"/>
                </a:cubicBezTo>
                <a:cubicBezTo>
                  <a:pt x="472" y="110"/>
                  <a:pt x="472" y="109"/>
                  <a:pt x="472" y="109"/>
                </a:cubicBezTo>
                <a:cubicBezTo>
                  <a:pt x="472" y="109"/>
                  <a:pt x="473" y="109"/>
                  <a:pt x="473" y="109"/>
                </a:cubicBezTo>
                <a:cubicBezTo>
                  <a:pt x="473" y="108"/>
                  <a:pt x="474" y="108"/>
                  <a:pt x="474" y="108"/>
                </a:cubicBezTo>
                <a:cubicBezTo>
                  <a:pt x="474" y="108"/>
                  <a:pt x="474" y="108"/>
                  <a:pt x="474" y="108"/>
                </a:cubicBezTo>
                <a:cubicBezTo>
                  <a:pt x="474" y="107"/>
                  <a:pt x="474" y="107"/>
                  <a:pt x="474" y="107"/>
                </a:cubicBezTo>
                <a:cubicBezTo>
                  <a:pt x="474" y="107"/>
                  <a:pt x="475" y="107"/>
                  <a:pt x="475" y="107"/>
                </a:cubicBezTo>
                <a:cubicBezTo>
                  <a:pt x="475" y="107"/>
                  <a:pt x="475" y="107"/>
                  <a:pt x="476" y="107"/>
                </a:cubicBezTo>
                <a:cubicBezTo>
                  <a:pt x="476" y="107"/>
                  <a:pt x="476" y="107"/>
                  <a:pt x="476" y="107"/>
                </a:cubicBezTo>
                <a:cubicBezTo>
                  <a:pt x="476" y="107"/>
                  <a:pt x="476" y="108"/>
                  <a:pt x="476" y="108"/>
                </a:cubicBezTo>
                <a:cubicBezTo>
                  <a:pt x="476" y="108"/>
                  <a:pt x="476" y="107"/>
                  <a:pt x="476" y="107"/>
                </a:cubicBezTo>
                <a:cubicBezTo>
                  <a:pt x="477" y="107"/>
                  <a:pt x="477" y="106"/>
                  <a:pt x="477" y="106"/>
                </a:cubicBezTo>
                <a:cubicBezTo>
                  <a:pt x="477" y="106"/>
                  <a:pt x="477" y="105"/>
                  <a:pt x="477" y="105"/>
                </a:cubicBezTo>
                <a:cubicBezTo>
                  <a:pt x="477" y="105"/>
                  <a:pt x="476" y="105"/>
                  <a:pt x="476" y="105"/>
                </a:cubicBezTo>
                <a:cubicBezTo>
                  <a:pt x="476" y="105"/>
                  <a:pt x="476" y="105"/>
                  <a:pt x="476" y="105"/>
                </a:cubicBezTo>
                <a:cubicBezTo>
                  <a:pt x="476" y="105"/>
                  <a:pt x="476" y="105"/>
                  <a:pt x="476" y="104"/>
                </a:cubicBezTo>
                <a:cubicBezTo>
                  <a:pt x="476" y="104"/>
                  <a:pt x="477" y="104"/>
                  <a:pt x="477" y="104"/>
                </a:cubicBezTo>
                <a:cubicBezTo>
                  <a:pt x="477" y="104"/>
                  <a:pt x="477" y="104"/>
                  <a:pt x="478" y="104"/>
                </a:cubicBezTo>
                <a:cubicBezTo>
                  <a:pt x="478" y="104"/>
                  <a:pt x="478" y="104"/>
                  <a:pt x="478" y="103"/>
                </a:cubicBezTo>
                <a:cubicBezTo>
                  <a:pt x="478" y="103"/>
                  <a:pt x="478" y="103"/>
                  <a:pt x="478" y="103"/>
                </a:cubicBezTo>
                <a:cubicBezTo>
                  <a:pt x="478" y="103"/>
                  <a:pt x="479" y="102"/>
                  <a:pt x="479" y="102"/>
                </a:cubicBezTo>
                <a:cubicBezTo>
                  <a:pt x="479" y="102"/>
                  <a:pt x="479" y="102"/>
                  <a:pt x="479" y="102"/>
                </a:cubicBezTo>
                <a:cubicBezTo>
                  <a:pt x="479" y="101"/>
                  <a:pt x="480" y="101"/>
                  <a:pt x="480" y="100"/>
                </a:cubicBezTo>
                <a:cubicBezTo>
                  <a:pt x="481" y="100"/>
                  <a:pt x="481" y="100"/>
                  <a:pt x="481" y="100"/>
                </a:cubicBezTo>
                <a:cubicBezTo>
                  <a:pt x="481" y="100"/>
                  <a:pt x="481" y="99"/>
                  <a:pt x="481" y="99"/>
                </a:cubicBezTo>
                <a:cubicBezTo>
                  <a:pt x="481" y="99"/>
                  <a:pt x="481" y="99"/>
                  <a:pt x="481" y="98"/>
                </a:cubicBezTo>
                <a:cubicBezTo>
                  <a:pt x="481" y="98"/>
                  <a:pt x="482" y="98"/>
                  <a:pt x="482" y="97"/>
                </a:cubicBezTo>
                <a:cubicBezTo>
                  <a:pt x="482" y="97"/>
                  <a:pt x="482" y="97"/>
                  <a:pt x="483" y="96"/>
                </a:cubicBezTo>
                <a:cubicBezTo>
                  <a:pt x="483" y="96"/>
                  <a:pt x="483" y="96"/>
                  <a:pt x="483" y="96"/>
                </a:cubicBezTo>
                <a:cubicBezTo>
                  <a:pt x="483" y="96"/>
                  <a:pt x="482" y="95"/>
                  <a:pt x="482" y="95"/>
                </a:cubicBezTo>
                <a:cubicBezTo>
                  <a:pt x="482" y="95"/>
                  <a:pt x="482" y="95"/>
                  <a:pt x="481" y="95"/>
                </a:cubicBezTo>
                <a:cubicBezTo>
                  <a:pt x="481" y="95"/>
                  <a:pt x="481" y="95"/>
                  <a:pt x="480" y="95"/>
                </a:cubicBezTo>
                <a:cubicBezTo>
                  <a:pt x="481" y="95"/>
                  <a:pt x="481" y="95"/>
                  <a:pt x="481" y="95"/>
                </a:cubicBezTo>
                <a:cubicBezTo>
                  <a:pt x="481" y="94"/>
                  <a:pt x="481" y="94"/>
                  <a:pt x="481" y="94"/>
                </a:cubicBezTo>
                <a:cubicBezTo>
                  <a:pt x="481" y="94"/>
                  <a:pt x="481" y="94"/>
                  <a:pt x="481" y="94"/>
                </a:cubicBezTo>
                <a:cubicBezTo>
                  <a:pt x="481" y="94"/>
                  <a:pt x="481" y="94"/>
                  <a:pt x="481" y="93"/>
                </a:cubicBezTo>
                <a:cubicBezTo>
                  <a:pt x="481" y="93"/>
                  <a:pt x="481" y="93"/>
                  <a:pt x="480" y="93"/>
                </a:cubicBezTo>
                <a:cubicBezTo>
                  <a:pt x="480" y="93"/>
                  <a:pt x="480" y="93"/>
                  <a:pt x="480" y="93"/>
                </a:cubicBezTo>
                <a:cubicBezTo>
                  <a:pt x="480" y="93"/>
                  <a:pt x="480" y="93"/>
                  <a:pt x="480" y="93"/>
                </a:cubicBezTo>
                <a:cubicBezTo>
                  <a:pt x="480" y="94"/>
                  <a:pt x="480" y="94"/>
                  <a:pt x="480" y="94"/>
                </a:cubicBezTo>
                <a:cubicBezTo>
                  <a:pt x="480" y="94"/>
                  <a:pt x="480" y="94"/>
                  <a:pt x="479" y="94"/>
                </a:cubicBezTo>
                <a:cubicBezTo>
                  <a:pt x="479" y="94"/>
                  <a:pt x="479" y="94"/>
                  <a:pt x="478" y="94"/>
                </a:cubicBezTo>
                <a:cubicBezTo>
                  <a:pt x="478" y="94"/>
                  <a:pt x="478" y="95"/>
                  <a:pt x="478" y="95"/>
                </a:cubicBezTo>
                <a:cubicBezTo>
                  <a:pt x="478" y="95"/>
                  <a:pt x="478" y="95"/>
                  <a:pt x="478" y="96"/>
                </a:cubicBezTo>
                <a:cubicBezTo>
                  <a:pt x="478" y="96"/>
                  <a:pt x="477" y="96"/>
                  <a:pt x="477" y="96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77" y="97"/>
                  <a:pt x="476" y="97"/>
                  <a:pt x="476" y="97"/>
                </a:cubicBezTo>
                <a:cubicBezTo>
                  <a:pt x="476" y="97"/>
                  <a:pt x="476" y="97"/>
                  <a:pt x="476" y="97"/>
                </a:cubicBezTo>
                <a:cubicBezTo>
                  <a:pt x="476" y="97"/>
                  <a:pt x="476" y="97"/>
                  <a:pt x="475" y="97"/>
                </a:cubicBezTo>
                <a:cubicBezTo>
                  <a:pt x="476" y="96"/>
                  <a:pt x="476" y="96"/>
                  <a:pt x="476" y="96"/>
                </a:cubicBezTo>
                <a:cubicBezTo>
                  <a:pt x="476" y="95"/>
                  <a:pt x="476" y="95"/>
                  <a:pt x="476" y="94"/>
                </a:cubicBezTo>
                <a:cubicBezTo>
                  <a:pt x="476" y="94"/>
                  <a:pt x="476" y="94"/>
                  <a:pt x="475" y="94"/>
                </a:cubicBezTo>
                <a:cubicBezTo>
                  <a:pt x="475" y="94"/>
                  <a:pt x="475" y="94"/>
                  <a:pt x="475" y="94"/>
                </a:cubicBezTo>
                <a:cubicBezTo>
                  <a:pt x="474" y="94"/>
                  <a:pt x="474" y="94"/>
                  <a:pt x="474" y="94"/>
                </a:cubicBezTo>
                <a:cubicBezTo>
                  <a:pt x="474" y="94"/>
                  <a:pt x="473" y="94"/>
                  <a:pt x="473" y="94"/>
                </a:cubicBezTo>
                <a:cubicBezTo>
                  <a:pt x="473" y="94"/>
                  <a:pt x="473" y="94"/>
                  <a:pt x="472" y="94"/>
                </a:cubicBezTo>
                <a:cubicBezTo>
                  <a:pt x="472" y="94"/>
                  <a:pt x="471" y="95"/>
                  <a:pt x="471" y="95"/>
                </a:cubicBezTo>
                <a:cubicBezTo>
                  <a:pt x="471" y="95"/>
                  <a:pt x="471" y="95"/>
                  <a:pt x="470" y="95"/>
                </a:cubicBezTo>
                <a:cubicBezTo>
                  <a:pt x="470" y="95"/>
                  <a:pt x="470" y="95"/>
                  <a:pt x="470" y="95"/>
                </a:cubicBezTo>
                <a:cubicBezTo>
                  <a:pt x="470" y="96"/>
                  <a:pt x="469" y="96"/>
                  <a:pt x="469" y="96"/>
                </a:cubicBezTo>
                <a:cubicBezTo>
                  <a:pt x="469" y="96"/>
                  <a:pt x="468" y="96"/>
                  <a:pt x="468" y="96"/>
                </a:cubicBezTo>
                <a:cubicBezTo>
                  <a:pt x="468" y="97"/>
                  <a:pt x="468" y="97"/>
                  <a:pt x="468" y="97"/>
                </a:cubicBezTo>
                <a:cubicBezTo>
                  <a:pt x="468" y="97"/>
                  <a:pt x="468" y="97"/>
                  <a:pt x="468" y="98"/>
                </a:cubicBezTo>
                <a:cubicBezTo>
                  <a:pt x="468" y="98"/>
                  <a:pt x="469" y="98"/>
                  <a:pt x="469" y="98"/>
                </a:cubicBezTo>
                <a:cubicBezTo>
                  <a:pt x="469" y="99"/>
                  <a:pt x="470" y="99"/>
                  <a:pt x="470" y="99"/>
                </a:cubicBezTo>
                <a:cubicBezTo>
                  <a:pt x="470" y="99"/>
                  <a:pt x="470" y="99"/>
                  <a:pt x="470" y="99"/>
                </a:cubicBezTo>
                <a:cubicBezTo>
                  <a:pt x="470" y="99"/>
                  <a:pt x="470" y="99"/>
                  <a:pt x="469" y="99"/>
                </a:cubicBezTo>
                <a:cubicBezTo>
                  <a:pt x="469" y="99"/>
                  <a:pt x="469" y="99"/>
                  <a:pt x="468" y="99"/>
                </a:cubicBezTo>
                <a:cubicBezTo>
                  <a:pt x="468" y="100"/>
                  <a:pt x="468" y="100"/>
                  <a:pt x="468" y="100"/>
                </a:cubicBezTo>
                <a:cubicBezTo>
                  <a:pt x="469" y="100"/>
                  <a:pt x="469" y="100"/>
                  <a:pt x="470" y="100"/>
                </a:cubicBezTo>
                <a:cubicBezTo>
                  <a:pt x="470" y="100"/>
                  <a:pt x="470" y="100"/>
                  <a:pt x="470" y="101"/>
                </a:cubicBezTo>
                <a:cubicBezTo>
                  <a:pt x="470" y="101"/>
                  <a:pt x="470" y="101"/>
                  <a:pt x="469" y="101"/>
                </a:cubicBezTo>
                <a:cubicBezTo>
                  <a:pt x="469" y="101"/>
                  <a:pt x="469" y="102"/>
                  <a:pt x="469" y="102"/>
                </a:cubicBezTo>
                <a:cubicBezTo>
                  <a:pt x="470" y="102"/>
                  <a:pt x="470" y="102"/>
                  <a:pt x="470" y="103"/>
                </a:cubicBezTo>
                <a:cubicBezTo>
                  <a:pt x="470" y="103"/>
                  <a:pt x="469" y="103"/>
                  <a:pt x="469" y="103"/>
                </a:cubicBezTo>
                <a:cubicBezTo>
                  <a:pt x="469" y="103"/>
                  <a:pt x="468" y="103"/>
                  <a:pt x="468" y="103"/>
                </a:cubicBezTo>
                <a:cubicBezTo>
                  <a:pt x="468" y="103"/>
                  <a:pt x="468" y="103"/>
                  <a:pt x="468" y="103"/>
                </a:cubicBezTo>
                <a:cubicBezTo>
                  <a:pt x="468" y="103"/>
                  <a:pt x="468" y="102"/>
                  <a:pt x="468" y="102"/>
                </a:cubicBezTo>
                <a:cubicBezTo>
                  <a:pt x="467" y="102"/>
                  <a:pt x="467" y="101"/>
                  <a:pt x="467" y="100"/>
                </a:cubicBezTo>
                <a:cubicBezTo>
                  <a:pt x="467" y="100"/>
                  <a:pt x="466" y="100"/>
                  <a:pt x="466" y="100"/>
                </a:cubicBezTo>
                <a:cubicBezTo>
                  <a:pt x="466" y="100"/>
                  <a:pt x="466" y="100"/>
                  <a:pt x="466" y="100"/>
                </a:cubicBezTo>
                <a:cubicBezTo>
                  <a:pt x="466" y="99"/>
                  <a:pt x="466" y="99"/>
                  <a:pt x="466" y="99"/>
                </a:cubicBezTo>
                <a:cubicBezTo>
                  <a:pt x="466" y="99"/>
                  <a:pt x="466" y="99"/>
                  <a:pt x="466" y="99"/>
                </a:cubicBezTo>
                <a:cubicBezTo>
                  <a:pt x="465" y="99"/>
                  <a:pt x="465" y="99"/>
                  <a:pt x="465" y="98"/>
                </a:cubicBezTo>
                <a:cubicBezTo>
                  <a:pt x="465" y="98"/>
                  <a:pt x="465" y="98"/>
                  <a:pt x="465" y="98"/>
                </a:cubicBezTo>
                <a:cubicBezTo>
                  <a:pt x="464" y="98"/>
                  <a:pt x="464" y="98"/>
                  <a:pt x="464" y="98"/>
                </a:cubicBezTo>
                <a:cubicBezTo>
                  <a:pt x="464" y="98"/>
                  <a:pt x="463" y="98"/>
                  <a:pt x="463" y="98"/>
                </a:cubicBezTo>
                <a:cubicBezTo>
                  <a:pt x="463" y="98"/>
                  <a:pt x="463" y="99"/>
                  <a:pt x="463" y="99"/>
                </a:cubicBezTo>
                <a:cubicBezTo>
                  <a:pt x="462" y="99"/>
                  <a:pt x="462" y="99"/>
                  <a:pt x="462" y="100"/>
                </a:cubicBezTo>
                <a:cubicBezTo>
                  <a:pt x="462" y="100"/>
                  <a:pt x="462" y="100"/>
                  <a:pt x="462" y="100"/>
                </a:cubicBezTo>
                <a:cubicBezTo>
                  <a:pt x="462" y="100"/>
                  <a:pt x="462" y="100"/>
                  <a:pt x="462" y="100"/>
                </a:cubicBezTo>
                <a:cubicBezTo>
                  <a:pt x="462" y="100"/>
                  <a:pt x="463" y="100"/>
                  <a:pt x="463" y="100"/>
                </a:cubicBezTo>
                <a:cubicBezTo>
                  <a:pt x="463" y="100"/>
                  <a:pt x="463" y="100"/>
                  <a:pt x="464" y="100"/>
                </a:cubicBezTo>
                <a:cubicBezTo>
                  <a:pt x="463" y="100"/>
                  <a:pt x="463" y="100"/>
                  <a:pt x="463" y="101"/>
                </a:cubicBezTo>
                <a:cubicBezTo>
                  <a:pt x="462" y="101"/>
                  <a:pt x="462" y="101"/>
                  <a:pt x="462" y="101"/>
                </a:cubicBezTo>
                <a:cubicBezTo>
                  <a:pt x="462" y="101"/>
                  <a:pt x="462" y="102"/>
                  <a:pt x="461" y="102"/>
                </a:cubicBezTo>
                <a:cubicBezTo>
                  <a:pt x="461" y="102"/>
                  <a:pt x="461" y="102"/>
                  <a:pt x="461" y="103"/>
                </a:cubicBezTo>
                <a:cubicBezTo>
                  <a:pt x="462" y="103"/>
                  <a:pt x="462" y="103"/>
                  <a:pt x="462" y="103"/>
                </a:cubicBezTo>
                <a:cubicBezTo>
                  <a:pt x="462" y="103"/>
                  <a:pt x="462" y="103"/>
                  <a:pt x="462" y="103"/>
                </a:cubicBezTo>
                <a:cubicBezTo>
                  <a:pt x="462" y="103"/>
                  <a:pt x="461" y="103"/>
                  <a:pt x="461" y="104"/>
                </a:cubicBezTo>
                <a:cubicBezTo>
                  <a:pt x="461" y="104"/>
                  <a:pt x="461" y="104"/>
                  <a:pt x="461" y="104"/>
                </a:cubicBezTo>
                <a:cubicBezTo>
                  <a:pt x="461" y="104"/>
                  <a:pt x="461" y="105"/>
                  <a:pt x="462" y="105"/>
                </a:cubicBezTo>
                <a:cubicBezTo>
                  <a:pt x="462" y="105"/>
                  <a:pt x="462" y="105"/>
                  <a:pt x="462" y="105"/>
                </a:cubicBezTo>
                <a:cubicBezTo>
                  <a:pt x="462" y="106"/>
                  <a:pt x="462" y="106"/>
                  <a:pt x="461" y="106"/>
                </a:cubicBezTo>
                <a:cubicBezTo>
                  <a:pt x="461" y="106"/>
                  <a:pt x="461" y="106"/>
                  <a:pt x="461" y="106"/>
                </a:cubicBezTo>
                <a:close/>
                <a:moveTo>
                  <a:pt x="475" y="75"/>
                </a:moveTo>
                <a:cubicBezTo>
                  <a:pt x="475" y="75"/>
                  <a:pt x="476" y="74"/>
                  <a:pt x="476" y="74"/>
                </a:cubicBezTo>
                <a:cubicBezTo>
                  <a:pt x="475" y="74"/>
                  <a:pt x="475" y="74"/>
                  <a:pt x="475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3" y="76"/>
                  <a:pt x="473" y="76"/>
                  <a:pt x="473" y="76"/>
                </a:cubicBezTo>
                <a:cubicBezTo>
                  <a:pt x="474" y="76"/>
                  <a:pt x="474" y="76"/>
                  <a:pt x="474" y="76"/>
                </a:cubicBezTo>
                <a:cubicBezTo>
                  <a:pt x="474" y="76"/>
                  <a:pt x="475" y="76"/>
                  <a:pt x="475" y="75"/>
                </a:cubicBezTo>
                <a:cubicBezTo>
                  <a:pt x="475" y="75"/>
                  <a:pt x="475" y="75"/>
                  <a:pt x="475" y="75"/>
                </a:cubicBezTo>
                <a:close/>
                <a:moveTo>
                  <a:pt x="469" y="74"/>
                </a:moveTo>
                <a:cubicBezTo>
                  <a:pt x="469" y="74"/>
                  <a:pt x="469" y="75"/>
                  <a:pt x="469" y="75"/>
                </a:cubicBezTo>
                <a:cubicBezTo>
                  <a:pt x="469" y="75"/>
                  <a:pt x="470" y="75"/>
                  <a:pt x="470" y="75"/>
                </a:cubicBezTo>
                <a:cubicBezTo>
                  <a:pt x="470" y="75"/>
                  <a:pt x="471" y="74"/>
                  <a:pt x="471" y="74"/>
                </a:cubicBezTo>
                <a:cubicBezTo>
                  <a:pt x="471" y="74"/>
                  <a:pt x="471" y="74"/>
                  <a:pt x="472" y="74"/>
                </a:cubicBezTo>
                <a:cubicBezTo>
                  <a:pt x="472" y="74"/>
                  <a:pt x="473" y="74"/>
                  <a:pt x="474" y="74"/>
                </a:cubicBezTo>
                <a:cubicBezTo>
                  <a:pt x="474" y="74"/>
                  <a:pt x="475" y="74"/>
                  <a:pt x="476" y="73"/>
                </a:cubicBezTo>
                <a:cubicBezTo>
                  <a:pt x="476" y="74"/>
                  <a:pt x="476" y="74"/>
                  <a:pt x="476" y="74"/>
                </a:cubicBezTo>
                <a:cubicBezTo>
                  <a:pt x="477" y="73"/>
                  <a:pt x="477" y="73"/>
                  <a:pt x="478" y="73"/>
                </a:cubicBezTo>
                <a:cubicBezTo>
                  <a:pt x="478" y="73"/>
                  <a:pt x="478" y="73"/>
                  <a:pt x="478" y="74"/>
                </a:cubicBezTo>
                <a:cubicBezTo>
                  <a:pt x="478" y="74"/>
                  <a:pt x="477" y="74"/>
                  <a:pt x="477" y="74"/>
                </a:cubicBezTo>
                <a:cubicBezTo>
                  <a:pt x="477" y="74"/>
                  <a:pt x="477" y="74"/>
                  <a:pt x="477" y="74"/>
                </a:cubicBezTo>
                <a:cubicBezTo>
                  <a:pt x="477" y="75"/>
                  <a:pt x="477" y="75"/>
                  <a:pt x="477" y="75"/>
                </a:cubicBezTo>
                <a:cubicBezTo>
                  <a:pt x="478" y="75"/>
                  <a:pt x="478" y="75"/>
                  <a:pt x="479" y="75"/>
                </a:cubicBezTo>
                <a:cubicBezTo>
                  <a:pt x="479" y="75"/>
                  <a:pt x="480" y="75"/>
                  <a:pt x="480" y="75"/>
                </a:cubicBezTo>
                <a:cubicBezTo>
                  <a:pt x="480" y="75"/>
                  <a:pt x="481" y="76"/>
                  <a:pt x="481" y="76"/>
                </a:cubicBezTo>
                <a:cubicBezTo>
                  <a:pt x="481" y="76"/>
                  <a:pt x="482" y="76"/>
                  <a:pt x="482" y="76"/>
                </a:cubicBezTo>
                <a:cubicBezTo>
                  <a:pt x="482" y="76"/>
                  <a:pt x="482" y="76"/>
                  <a:pt x="483" y="76"/>
                </a:cubicBezTo>
                <a:cubicBezTo>
                  <a:pt x="482" y="76"/>
                  <a:pt x="482" y="76"/>
                  <a:pt x="482" y="76"/>
                </a:cubicBezTo>
                <a:cubicBezTo>
                  <a:pt x="482" y="77"/>
                  <a:pt x="482" y="77"/>
                  <a:pt x="482" y="77"/>
                </a:cubicBezTo>
                <a:cubicBezTo>
                  <a:pt x="482" y="78"/>
                  <a:pt x="481" y="79"/>
                  <a:pt x="481" y="80"/>
                </a:cubicBezTo>
                <a:cubicBezTo>
                  <a:pt x="481" y="80"/>
                  <a:pt x="482" y="81"/>
                  <a:pt x="482" y="81"/>
                </a:cubicBezTo>
                <a:cubicBezTo>
                  <a:pt x="482" y="81"/>
                  <a:pt x="482" y="81"/>
                  <a:pt x="483" y="81"/>
                </a:cubicBezTo>
                <a:cubicBezTo>
                  <a:pt x="483" y="81"/>
                  <a:pt x="483" y="81"/>
                  <a:pt x="483" y="81"/>
                </a:cubicBezTo>
                <a:cubicBezTo>
                  <a:pt x="484" y="81"/>
                  <a:pt x="484" y="81"/>
                  <a:pt x="484" y="81"/>
                </a:cubicBezTo>
                <a:cubicBezTo>
                  <a:pt x="485" y="81"/>
                  <a:pt x="485" y="81"/>
                  <a:pt x="485" y="81"/>
                </a:cubicBezTo>
                <a:cubicBezTo>
                  <a:pt x="485" y="81"/>
                  <a:pt x="486" y="81"/>
                  <a:pt x="486" y="81"/>
                </a:cubicBezTo>
                <a:cubicBezTo>
                  <a:pt x="486" y="80"/>
                  <a:pt x="487" y="80"/>
                  <a:pt x="487" y="80"/>
                </a:cubicBezTo>
                <a:cubicBezTo>
                  <a:pt x="487" y="80"/>
                  <a:pt x="487" y="79"/>
                  <a:pt x="487" y="79"/>
                </a:cubicBezTo>
                <a:cubicBezTo>
                  <a:pt x="488" y="79"/>
                  <a:pt x="488" y="79"/>
                  <a:pt x="488" y="79"/>
                </a:cubicBezTo>
                <a:cubicBezTo>
                  <a:pt x="488" y="78"/>
                  <a:pt x="489" y="78"/>
                  <a:pt x="489" y="78"/>
                </a:cubicBezTo>
                <a:cubicBezTo>
                  <a:pt x="489" y="77"/>
                  <a:pt x="489" y="77"/>
                  <a:pt x="489" y="77"/>
                </a:cubicBezTo>
                <a:cubicBezTo>
                  <a:pt x="489" y="76"/>
                  <a:pt x="489" y="76"/>
                  <a:pt x="489" y="76"/>
                </a:cubicBezTo>
                <a:cubicBezTo>
                  <a:pt x="489" y="75"/>
                  <a:pt x="490" y="75"/>
                  <a:pt x="490" y="75"/>
                </a:cubicBezTo>
                <a:cubicBezTo>
                  <a:pt x="490" y="74"/>
                  <a:pt x="489" y="74"/>
                  <a:pt x="489" y="74"/>
                </a:cubicBezTo>
                <a:cubicBezTo>
                  <a:pt x="489" y="74"/>
                  <a:pt x="489" y="74"/>
                  <a:pt x="489" y="74"/>
                </a:cubicBezTo>
                <a:cubicBezTo>
                  <a:pt x="489" y="74"/>
                  <a:pt x="489" y="74"/>
                  <a:pt x="490" y="73"/>
                </a:cubicBezTo>
                <a:cubicBezTo>
                  <a:pt x="490" y="73"/>
                  <a:pt x="490" y="73"/>
                  <a:pt x="490" y="72"/>
                </a:cubicBezTo>
                <a:cubicBezTo>
                  <a:pt x="490" y="72"/>
                  <a:pt x="491" y="72"/>
                  <a:pt x="491" y="72"/>
                </a:cubicBezTo>
                <a:cubicBezTo>
                  <a:pt x="491" y="72"/>
                  <a:pt x="492" y="72"/>
                  <a:pt x="492" y="71"/>
                </a:cubicBezTo>
                <a:cubicBezTo>
                  <a:pt x="492" y="71"/>
                  <a:pt x="493" y="71"/>
                  <a:pt x="493" y="70"/>
                </a:cubicBezTo>
                <a:cubicBezTo>
                  <a:pt x="493" y="70"/>
                  <a:pt x="493" y="70"/>
                  <a:pt x="493" y="69"/>
                </a:cubicBezTo>
                <a:cubicBezTo>
                  <a:pt x="493" y="69"/>
                  <a:pt x="493" y="69"/>
                  <a:pt x="493" y="69"/>
                </a:cubicBezTo>
                <a:cubicBezTo>
                  <a:pt x="493" y="69"/>
                  <a:pt x="493" y="68"/>
                  <a:pt x="494" y="68"/>
                </a:cubicBezTo>
                <a:cubicBezTo>
                  <a:pt x="494" y="68"/>
                  <a:pt x="494" y="68"/>
                  <a:pt x="494" y="68"/>
                </a:cubicBezTo>
                <a:cubicBezTo>
                  <a:pt x="494" y="67"/>
                  <a:pt x="493" y="67"/>
                  <a:pt x="493" y="67"/>
                </a:cubicBezTo>
                <a:cubicBezTo>
                  <a:pt x="493" y="67"/>
                  <a:pt x="493" y="67"/>
                  <a:pt x="493" y="66"/>
                </a:cubicBezTo>
                <a:cubicBezTo>
                  <a:pt x="492" y="66"/>
                  <a:pt x="492" y="66"/>
                  <a:pt x="492" y="66"/>
                </a:cubicBezTo>
                <a:cubicBezTo>
                  <a:pt x="492" y="66"/>
                  <a:pt x="491" y="66"/>
                  <a:pt x="491" y="66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89" y="67"/>
                  <a:pt x="489" y="67"/>
                  <a:pt x="489" y="66"/>
                </a:cubicBezTo>
                <a:cubicBezTo>
                  <a:pt x="489" y="66"/>
                  <a:pt x="489" y="66"/>
                  <a:pt x="489" y="66"/>
                </a:cubicBezTo>
                <a:cubicBezTo>
                  <a:pt x="490" y="65"/>
                  <a:pt x="491" y="65"/>
                  <a:pt x="491" y="65"/>
                </a:cubicBezTo>
                <a:cubicBezTo>
                  <a:pt x="491" y="65"/>
                  <a:pt x="491" y="65"/>
                  <a:pt x="491" y="64"/>
                </a:cubicBezTo>
                <a:cubicBezTo>
                  <a:pt x="491" y="64"/>
                  <a:pt x="490" y="64"/>
                  <a:pt x="490" y="64"/>
                </a:cubicBezTo>
                <a:cubicBezTo>
                  <a:pt x="490" y="64"/>
                  <a:pt x="490" y="63"/>
                  <a:pt x="490" y="63"/>
                </a:cubicBezTo>
                <a:cubicBezTo>
                  <a:pt x="490" y="63"/>
                  <a:pt x="490" y="63"/>
                  <a:pt x="490" y="62"/>
                </a:cubicBezTo>
                <a:cubicBezTo>
                  <a:pt x="490" y="62"/>
                  <a:pt x="489" y="62"/>
                  <a:pt x="489" y="62"/>
                </a:cubicBezTo>
                <a:cubicBezTo>
                  <a:pt x="489" y="62"/>
                  <a:pt x="488" y="62"/>
                  <a:pt x="488" y="62"/>
                </a:cubicBezTo>
                <a:cubicBezTo>
                  <a:pt x="488" y="63"/>
                  <a:pt x="487" y="63"/>
                  <a:pt x="487" y="63"/>
                </a:cubicBezTo>
                <a:cubicBezTo>
                  <a:pt x="486" y="63"/>
                  <a:pt x="486" y="64"/>
                  <a:pt x="485" y="64"/>
                </a:cubicBezTo>
                <a:cubicBezTo>
                  <a:pt x="485" y="64"/>
                  <a:pt x="485" y="64"/>
                  <a:pt x="485" y="64"/>
                </a:cubicBezTo>
                <a:cubicBezTo>
                  <a:pt x="485" y="65"/>
                  <a:pt x="484" y="65"/>
                  <a:pt x="484" y="65"/>
                </a:cubicBezTo>
                <a:cubicBezTo>
                  <a:pt x="484" y="65"/>
                  <a:pt x="484" y="65"/>
                  <a:pt x="483" y="65"/>
                </a:cubicBezTo>
                <a:cubicBezTo>
                  <a:pt x="483" y="65"/>
                  <a:pt x="483" y="65"/>
                  <a:pt x="483" y="65"/>
                </a:cubicBezTo>
                <a:cubicBezTo>
                  <a:pt x="483" y="64"/>
                  <a:pt x="484" y="64"/>
                  <a:pt x="484" y="64"/>
                </a:cubicBezTo>
                <a:cubicBezTo>
                  <a:pt x="484" y="64"/>
                  <a:pt x="484" y="63"/>
                  <a:pt x="485" y="63"/>
                </a:cubicBezTo>
                <a:cubicBezTo>
                  <a:pt x="485" y="63"/>
                  <a:pt x="484" y="63"/>
                  <a:pt x="484" y="62"/>
                </a:cubicBezTo>
                <a:cubicBezTo>
                  <a:pt x="484" y="62"/>
                  <a:pt x="485" y="61"/>
                  <a:pt x="485" y="61"/>
                </a:cubicBezTo>
                <a:cubicBezTo>
                  <a:pt x="484" y="61"/>
                  <a:pt x="484" y="61"/>
                  <a:pt x="484" y="60"/>
                </a:cubicBezTo>
                <a:cubicBezTo>
                  <a:pt x="484" y="60"/>
                  <a:pt x="483" y="60"/>
                  <a:pt x="483" y="60"/>
                </a:cubicBezTo>
                <a:cubicBezTo>
                  <a:pt x="483" y="60"/>
                  <a:pt x="483" y="60"/>
                  <a:pt x="483" y="60"/>
                </a:cubicBezTo>
                <a:cubicBezTo>
                  <a:pt x="482" y="59"/>
                  <a:pt x="482" y="59"/>
                  <a:pt x="481" y="59"/>
                </a:cubicBezTo>
                <a:cubicBezTo>
                  <a:pt x="481" y="60"/>
                  <a:pt x="480" y="60"/>
                  <a:pt x="480" y="60"/>
                </a:cubicBezTo>
                <a:cubicBezTo>
                  <a:pt x="479" y="60"/>
                  <a:pt x="479" y="60"/>
                  <a:pt x="478" y="60"/>
                </a:cubicBezTo>
                <a:cubicBezTo>
                  <a:pt x="478" y="60"/>
                  <a:pt x="478" y="61"/>
                  <a:pt x="477" y="61"/>
                </a:cubicBezTo>
                <a:cubicBezTo>
                  <a:pt x="477" y="61"/>
                  <a:pt x="477" y="61"/>
                  <a:pt x="476" y="61"/>
                </a:cubicBezTo>
                <a:cubicBezTo>
                  <a:pt x="476" y="61"/>
                  <a:pt x="476" y="60"/>
                  <a:pt x="476" y="60"/>
                </a:cubicBezTo>
                <a:cubicBezTo>
                  <a:pt x="476" y="60"/>
                  <a:pt x="476" y="60"/>
                  <a:pt x="475" y="60"/>
                </a:cubicBezTo>
                <a:cubicBezTo>
                  <a:pt x="475" y="60"/>
                  <a:pt x="475" y="60"/>
                  <a:pt x="475" y="61"/>
                </a:cubicBezTo>
                <a:cubicBezTo>
                  <a:pt x="475" y="61"/>
                  <a:pt x="474" y="61"/>
                  <a:pt x="474" y="61"/>
                </a:cubicBezTo>
                <a:cubicBezTo>
                  <a:pt x="474" y="61"/>
                  <a:pt x="474" y="62"/>
                  <a:pt x="473" y="62"/>
                </a:cubicBezTo>
                <a:cubicBezTo>
                  <a:pt x="473" y="62"/>
                  <a:pt x="473" y="63"/>
                  <a:pt x="473" y="63"/>
                </a:cubicBezTo>
                <a:cubicBezTo>
                  <a:pt x="473" y="63"/>
                  <a:pt x="472" y="64"/>
                  <a:pt x="472" y="64"/>
                </a:cubicBezTo>
                <a:cubicBezTo>
                  <a:pt x="472" y="64"/>
                  <a:pt x="472" y="64"/>
                  <a:pt x="472" y="65"/>
                </a:cubicBezTo>
                <a:cubicBezTo>
                  <a:pt x="473" y="65"/>
                  <a:pt x="473" y="65"/>
                  <a:pt x="473" y="65"/>
                </a:cubicBezTo>
                <a:cubicBezTo>
                  <a:pt x="473" y="65"/>
                  <a:pt x="474" y="64"/>
                  <a:pt x="474" y="64"/>
                </a:cubicBezTo>
                <a:cubicBezTo>
                  <a:pt x="474" y="64"/>
                  <a:pt x="475" y="64"/>
                  <a:pt x="475" y="64"/>
                </a:cubicBezTo>
                <a:cubicBezTo>
                  <a:pt x="475" y="64"/>
                  <a:pt x="475" y="64"/>
                  <a:pt x="476" y="64"/>
                </a:cubicBezTo>
                <a:cubicBezTo>
                  <a:pt x="475" y="64"/>
                  <a:pt x="475" y="65"/>
                  <a:pt x="474" y="65"/>
                </a:cubicBezTo>
                <a:cubicBezTo>
                  <a:pt x="474" y="65"/>
                  <a:pt x="473" y="66"/>
                  <a:pt x="473" y="66"/>
                </a:cubicBezTo>
                <a:cubicBezTo>
                  <a:pt x="473" y="66"/>
                  <a:pt x="472" y="67"/>
                  <a:pt x="472" y="67"/>
                </a:cubicBezTo>
                <a:cubicBezTo>
                  <a:pt x="472" y="67"/>
                  <a:pt x="472" y="67"/>
                  <a:pt x="472" y="67"/>
                </a:cubicBezTo>
                <a:cubicBezTo>
                  <a:pt x="473" y="67"/>
                  <a:pt x="473" y="67"/>
                  <a:pt x="474" y="67"/>
                </a:cubicBezTo>
                <a:cubicBezTo>
                  <a:pt x="474" y="66"/>
                  <a:pt x="475" y="66"/>
                  <a:pt x="475" y="65"/>
                </a:cubicBezTo>
                <a:cubicBezTo>
                  <a:pt x="475" y="65"/>
                  <a:pt x="476" y="65"/>
                  <a:pt x="476" y="65"/>
                </a:cubicBezTo>
                <a:cubicBezTo>
                  <a:pt x="476" y="65"/>
                  <a:pt x="476" y="65"/>
                  <a:pt x="477" y="65"/>
                </a:cubicBezTo>
                <a:cubicBezTo>
                  <a:pt x="477" y="65"/>
                  <a:pt x="477" y="65"/>
                  <a:pt x="478" y="65"/>
                </a:cubicBezTo>
                <a:cubicBezTo>
                  <a:pt x="477" y="65"/>
                  <a:pt x="477" y="66"/>
                  <a:pt x="477" y="66"/>
                </a:cubicBezTo>
                <a:cubicBezTo>
                  <a:pt x="477" y="66"/>
                  <a:pt x="477" y="66"/>
                  <a:pt x="477" y="66"/>
                </a:cubicBezTo>
                <a:cubicBezTo>
                  <a:pt x="476" y="67"/>
                  <a:pt x="476" y="67"/>
                  <a:pt x="475" y="67"/>
                </a:cubicBezTo>
                <a:cubicBezTo>
                  <a:pt x="475" y="68"/>
                  <a:pt x="475" y="68"/>
                  <a:pt x="475" y="68"/>
                </a:cubicBezTo>
                <a:cubicBezTo>
                  <a:pt x="475" y="68"/>
                  <a:pt x="475" y="68"/>
                  <a:pt x="476" y="68"/>
                </a:cubicBezTo>
                <a:cubicBezTo>
                  <a:pt x="476" y="68"/>
                  <a:pt x="477" y="68"/>
                  <a:pt x="477" y="68"/>
                </a:cubicBezTo>
                <a:cubicBezTo>
                  <a:pt x="478" y="68"/>
                  <a:pt x="478" y="68"/>
                  <a:pt x="478" y="68"/>
                </a:cubicBezTo>
                <a:cubicBezTo>
                  <a:pt x="478" y="68"/>
                  <a:pt x="478" y="68"/>
                  <a:pt x="477" y="69"/>
                </a:cubicBezTo>
                <a:cubicBezTo>
                  <a:pt x="477" y="69"/>
                  <a:pt x="476" y="69"/>
                  <a:pt x="476" y="69"/>
                </a:cubicBezTo>
                <a:cubicBezTo>
                  <a:pt x="475" y="69"/>
                  <a:pt x="475" y="69"/>
                  <a:pt x="475" y="70"/>
                </a:cubicBezTo>
                <a:cubicBezTo>
                  <a:pt x="475" y="70"/>
                  <a:pt x="475" y="70"/>
                  <a:pt x="475" y="70"/>
                </a:cubicBezTo>
                <a:cubicBezTo>
                  <a:pt x="475" y="70"/>
                  <a:pt x="475" y="70"/>
                  <a:pt x="476" y="70"/>
                </a:cubicBezTo>
                <a:cubicBezTo>
                  <a:pt x="476" y="70"/>
                  <a:pt x="476" y="70"/>
                  <a:pt x="476" y="70"/>
                </a:cubicBezTo>
                <a:cubicBezTo>
                  <a:pt x="475" y="71"/>
                  <a:pt x="475" y="71"/>
                  <a:pt x="474" y="72"/>
                </a:cubicBezTo>
                <a:cubicBezTo>
                  <a:pt x="474" y="72"/>
                  <a:pt x="474" y="72"/>
                  <a:pt x="474" y="72"/>
                </a:cubicBezTo>
                <a:cubicBezTo>
                  <a:pt x="474" y="72"/>
                  <a:pt x="473" y="71"/>
                  <a:pt x="473" y="71"/>
                </a:cubicBezTo>
                <a:cubicBezTo>
                  <a:pt x="473" y="71"/>
                  <a:pt x="472" y="71"/>
                  <a:pt x="472" y="71"/>
                </a:cubicBezTo>
                <a:cubicBezTo>
                  <a:pt x="471" y="71"/>
                  <a:pt x="471" y="71"/>
                  <a:pt x="471" y="70"/>
                </a:cubicBezTo>
                <a:cubicBezTo>
                  <a:pt x="470" y="71"/>
                  <a:pt x="469" y="71"/>
                  <a:pt x="468" y="72"/>
                </a:cubicBezTo>
                <a:cubicBezTo>
                  <a:pt x="469" y="72"/>
                  <a:pt x="469" y="72"/>
                  <a:pt x="469" y="72"/>
                </a:cubicBezTo>
                <a:cubicBezTo>
                  <a:pt x="468" y="73"/>
                  <a:pt x="468" y="73"/>
                  <a:pt x="468" y="74"/>
                </a:cubicBezTo>
                <a:cubicBezTo>
                  <a:pt x="468" y="74"/>
                  <a:pt x="469" y="74"/>
                  <a:pt x="469" y="74"/>
                </a:cubicBezTo>
                <a:close/>
                <a:moveTo>
                  <a:pt x="467" y="95"/>
                </a:moveTo>
                <a:cubicBezTo>
                  <a:pt x="467" y="95"/>
                  <a:pt x="467" y="95"/>
                  <a:pt x="467" y="95"/>
                </a:cubicBezTo>
                <a:cubicBezTo>
                  <a:pt x="468" y="95"/>
                  <a:pt x="468" y="95"/>
                  <a:pt x="469" y="94"/>
                </a:cubicBezTo>
                <a:cubicBezTo>
                  <a:pt x="469" y="94"/>
                  <a:pt x="469" y="94"/>
                  <a:pt x="469" y="94"/>
                </a:cubicBezTo>
                <a:cubicBezTo>
                  <a:pt x="470" y="94"/>
                  <a:pt x="470" y="94"/>
                  <a:pt x="471" y="93"/>
                </a:cubicBezTo>
                <a:cubicBezTo>
                  <a:pt x="471" y="93"/>
                  <a:pt x="472" y="93"/>
                  <a:pt x="472" y="93"/>
                </a:cubicBezTo>
                <a:cubicBezTo>
                  <a:pt x="472" y="93"/>
                  <a:pt x="473" y="93"/>
                  <a:pt x="473" y="93"/>
                </a:cubicBezTo>
                <a:cubicBezTo>
                  <a:pt x="473" y="93"/>
                  <a:pt x="473" y="93"/>
                  <a:pt x="472" y="93"/>
                </a:cubicBezTo>
                <a:cubicBezTo>
                  <a:pt x="472" y="93"/>
                  <a:pt x="471" y="93"/>
                  <a:pt x="471" y="93"/>
                </a:cubicBezTo>
                <a:cubicBezTo>
                  <a:pt x="470" y="93"/>
                  <a:pt x="470" y="93"/>
                  <a:pt x="469" y="93"/>
                </a:cubicBezTo>
                <a:cubicBezTo>
                  <a:pt x="469" y="93"/>
                  <a:pt x="469" y="94"/>
                  <a:pt x="468" y="94"/>
                </a:cubicBezTo>
                <a:cubicBezTo>
                  <a:pt x="468" y="94"/>
                  <a:pt x="468" y="94"/>
                  <a:pt x="468" y="94"/>
                </a:cubicBezTo>
                <a:cubicBezTo>
                  <a:pt x="467" y="94"/>
                  <a:pt x="467" y="94"/>
                  <a:pt x="466" y="94"/>
                </a:cubicBezTo>
                <a:cubicBezTo>
                  <a:pt x="466" y="95"/>
                  <a:pt x="466" y="95"/>
                  <a:pt x="466" y="95"/>
                </a:cubicBezTo>
                <a:cubicBezTo>
                  <a:pt x="466" y="95"/>
                  <a:pt x="466" y="95"/>
                  <a:pt x="466" y="95"/>
                </a:cubicBezTo>
                <a:cubicBezTo>
                  <a:pt x="466" y="95"/>
                  <a:pt x="466" y="95"/>
                  <a:pt x="467" y="95"/>
                </a:cubicBezTo>
                <a:close/>
                <a:moveTo>
                  <a:pt x="475" y="92"/>
                </a:moveTo>
                <a:cubicBezTo>
                  <a:pt x="475" y="92"/>
                  <a:pt x="475" y="92"/>
                  <a:pt x="475" y="92"/>
                </a:cubicBezTo>
                <a:cubicBezTo>
                  <a:pt x="475" y="93"/>
                  <a:pt x="475" y="93"/>
                  <a:pt x="475" y="93"/>
                </a:cubicBezTo>
                <a:cubicBezTo>
                  <a:pt x="475" y="93"/>
                  <a:pt x="475" y="93"/>
                  <a:pt x="476" y="93"/>
                </a:cubicBezTo>
                <a:cubicBezTo>
                  <a:pt x="476" y="93"/>
                  <a:pt x="476" y="93"/>
                  <a:pt x="476" y="94"/>
                </a:cubicBezTo>
                <a:cubicBezTo>
                  <a:pt x="476" y="93"/>
                  <a:pt x="476" y="93"/>
                  <a:pt x="477" y="93"/>
                </a:cubicBezTo>
                <a:cubicBezTo>
                  <a:pt x="476" y="93"/>
                  <a:pt x="476" y="93"/>
                  <a:pt x="476" y="93"/>
                </a:cubicBezTo>
                <a:cubicBezTo>
                  <a:pt x="476" y="93"/>
                  <a:pt x="476" y="92"/>
                  <a:pt x="475" y="92"/>
                </a:cubicBezTo>
                <a:close/>
                <a:moveTo>
                  <a:pt x="518" y="60"/>
                </a:moveTo>
                <a:cubicBezTo>
                  <a:pt x="518" y="60"/>
                  <a:pt x="517" y="60"/>
                  <a:pt x="517" y="60"/>
                </a:cubicBezTo>
                <a:cubicBezTo>
                  <a:pt x="517" y="60"/>
                  <a:pt x="517" y="61"/>
                  <a:pt x="517" y="61"/>
                </a:cubicBezTo>
                <a:cubicBezTo>
                  <a:pt x="518" y="61"/>
                  <a:pt x="518" y="61"/>
                  <a:pt x="518" y="61"/>
                </a:cubicBezTo>
                <a:cubicBezTo>
                  <a:pt x="518" y="61"/>
                  <a:pt x="519" y="61"/>
                  <a:pt x="519" y="61"/>
                </a:cubicBezTo>
                <a:cubicBezTo>
                  <a:pt x="519" y="61"/>
                  <a:pt x="520" y="60"/>
                  <a:pt x="520" y="60"/>
                </a:cubicBezTo>
                <a:cubicBezTo>
                  <a:pt x="521" y="60"/>
                  <a:pt x="521" y="60"/>
                  <a:pt x="521" y="60"/>
                </a:cubicBezTo>
                <a:cubicBezTo>
                  <a:pt x="521" y="60"/>
                  <a:pt x="522" y="60"/>
                  <a:pt x="522" y="60"/>
                </a:cubicBezTo>
                <a:cubicBezTo>
                  <a:pt x="522" y="60"/>
                  <a:pt x="522" y="60"/>
                  <a:pt x="522" y="60"/>
                </a:cubicBezTo>
                <a:cubicBezTo>
                  <a:pt x="521" y="61"/>
                  <a:pt x="521" y="61"/>
                  <a:pt x="521" y="61"/>
                </a:cubicBezTo>
                <a:cubicBezTo>
                  <a:pt x="520" y="61"/>
                  <a:pt x="520" y="61"/>
                  <a:pt x="520" y="62"/>
                </a:cubicBezTo>
                <a:cubicBezTo>
                  <a:pt x="520" y="62"/>
                  <a:pt x="521" y="62"/>
                  <a:pt x="521" y="62"/>
                </a:cubicBezTo>
                <a:cubicBezTo>
                  <a:pt x="521" y="62"/>
                  <a:pt x="521" y="62"/>
                  <a:pt x="522" y="62"/>
                </a:cubicBezTo>
                <a:cubicBezTo>
                  <a:pt x="522" y="61"/>
                  <a:pt x="522" y="61"/>
                  <a:pt x="522" y="61"/>
                </a:cubicBezTo>
                <a:cubicBezTo>
                  <a:pt x="523" y="61"/>
                  <a:pt x="523" y="61"/>
                  <a:pt x="523" y="61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61"/>
                  <a:pt x="524" y="61"/>
                  <a:pt x="524" y="61"/>
                </a:cubicBezTo>
                <a:cubicBezTo>
                  <a:pt x="524" y="61"/>
                  <a:pt x="524" y="61"/>
                  <a:pt x="525" y="61"/>
                </a:cubicBezTo>
                <a:cubicBezTo>
                  <a:pt x="525" y="61"/>
                  <a:pt x="526" y="61"/>
                  <a:pt x="526" y="61"/>
                </a:cubicBezTo>
                <a:cubicBezTo>
                  <a:pt x="527" y="61"/>
                  <a:pt x="527" y="61"/>
                  <a:pt x="527" y="61"/>
                </a:cubicBezTo>
                <a:cubicBezTo>
                  <a:pt x="527" y="61"/>
                  <a:pt x="526" y="61"/>
                  <a:pt x="526" y="61"/>
                </a:cubicBezTo>
                <a:cubicBezTo>
                  <a:pt x="526" y="61"/>
                  <a:pt x="526" y="62"/>
                  <a:pt x="526" y="62"/>
                </a:cubicBezTo>
                <a:cubicBezTo>
                  <a:pt x="526" y="62"/>
                  <a:pt x="527" y="62"/>
                  <a:pt x="527" y="62"/>
                </a:cubicBezTo>
                <a:cubicBezTo>
                  <a:pt x="527" y="62"/>
                  <a:pt x="528" y="61"/>
                  <a:pt x="528" y="61"/>
                </a:cubicBezTo>
                <a:cubicBezTo>
                  <a:pt x="529" y="61"/>
                  <a:pt x="529" y="61"/>
                  <a:pt x="530" y="62"/>
                </a:cubicBezTo>
                <a:cubicBezTo>
                  <a:pt x="531" y="62"/>
                  <a:pt x="532" y="61"/>
                  <a:pt x="533" y="61"/>
                </a:cubicBezTo>
                <a:cubicBezTo>
                  <a:pt x="533" y="61"/>
                  <a:pt x="533" y="62"/>
                  <a:pt x="533" y="62"/>
                </a:cubicBezTo>
                <a:cubicBezTo>
                  <a:pt x="532" y="62"/>
                  <a:pt x="531" y="62"/>
                  <a:pt x="531" y="62"/>
                </a:cubicBezTo>
                <a:cubicBezTo>
                  <a:pt x="530" y="62"/>
                  <a:pt x="530" y="62"/>
                  <a:pt x="529" y="62"/>
                </a:cubicBezTo>
                <a:cubicBezTo>
                  <a:pt x="529" y="62"/>
                  <a:pt x="528" y="62"/>
                  <a:pt x="528" y="62"/>
                </a:cubicBezTo>
                <a:cubicBezTo>
                  <a:pt x="527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7" y="63"/>
                  <a:pt x="527" y="63"/>
                  <a:pt x="528" y="63"/>
                </a:cubicBezTo>
                <a:cubicBezTo>
                  <a:pt x="529" y="63"/>
                  <a:pt x="529" y="63"/>
                  <a:pt x="530" y="63"/>
                </a:cubicBezTo>
                <a:cubicBezTo>
                  <a:pt x="531" y="63"/>
                  <a:pt x="532" y="63"/>
                  <a:pt x="533" y="63"/>
                </a:cubicBezTo>
                <a:cubicBezTo>
                  <a:pt x="533" y="63"/>
                  <a:pt x="533" y="63"/>
                  <a:pt x="534" y="63"/>
                </a:cubicBezTo>
                <a:cubicBezTo>
                  <a:pt x="533" y="63"/>
                  <a:pt x="532" y="63"/>
                  <a:pt x="531" y="64"/>
                </a:cubicBezTo>
                <a:cubicBezTo>
                  <a:pt x="531" y="63"/>
                  <a:pt x="530" y="63"/>
                  <a:pt x="530" y="63"/>
                </a:cubicBezTo>
                <a:cubicBezTo>
                  <a:pt x="529" y="64"/>
                  <a:pt x="529" y="64"/>
                  <a:pt x="528" y="64"/>
                </a:cubicBezTo>
                <a:cubicBezTo>
                  <a:pt x="527" y="64"/>
                  <a:pt x="527" y="64"/>
                  <a:pt x="526" y="64"/>
                </a:cubicBezTo>
                <a:cubicBezTo>
                  <a:pt x="526" y="64"/>
                  <a:pt x="526" y="64"/>
                  <a:pt x="525" y="64"/>
                </a:cubicBezTo>
                <a:cubicBezTo>
                  <a:pt x="525" y="64"/>
                  <a:pt x="524" y="64"/>
                  <a:pt x="524" y="64"/>
                </a:cubicBezTo>
                <a:cubicBezTo>
                  <a:pt x="523" y="63"/>
                  <a:pt x="523" y="63"/>
                  <a:pt x="522" y="63"/>
                </a:cubicBezTo>
                <a:cubicBezTo>
                  <a:pt x="522" y="63"/>
                  <a:pt x="522" y="63"/>
                  <a:pt x="522" y="64"/>
                </a:cubicBezTo>
                <a:cubicBezTo>
                  <a:pt x="521" y="64"/>
                  <a:pt x="521" y="64"/>
                  <a:pt x="521" y="64"/>
                </a:cubicBezTo>
                <a:cubicBezTo>
                  <a:pt x="520" y="64"/>
                  <a:pt x="520" y="65"/>
                  <a:pt x="519" y="65"/>
                </a:cubicBezTo>
                <a:cubicBezTo>
                  <a:pt x="519" y="65"/>
                  <a:pt x="518" y="65"/>
                  <a:pt x="518" y="65"/>
                </a:cubicBezTo>
                <a:cubicBezTo>
                  <a:pt x="518" y="66"/>
                  <a:pt x="518" y="66"/>
                  <a:pt x="518" y="67"/>
                </a:cubicBezTo>
                <a:cubicBezTo>
                  <a:pt x="519" y="67"/>
                  <a:pt x="519" y="67"/>
                  <a:pt x="520" y="67"/>
                </a:cubicBezTo>
                <a:cubicBezTo>
                  <a:pt x="520" y="67"/>
                  <a:pt x="520" y="68"/>
                  <a:pt x="520" y="68"/>
                </a:cubicBezTo>
                <a:cubicBezTo>
                  <a:pt x="520" y="68"/>
                  <a:pt x="520" y="68"/>
                  <a:pt x="519" y="68"/>
                </a:cubicBezTo>
                <a:cubicBezTo>
                  <a:pt x="519" y="68"/>
                  <a:pt x="519" y="68"/>
                  <a:pt x="519" y="67"/>
                </a:cubicBezTo>
                <a:cubicBezTo>
                  <a:pt x="518" y="67"/>
                  <a:pt x="518" y="67"/>
                  <a:pt x="518" y="67"/>
                </a:cubicBezTo>
                <a:cubicBezTo>
                  <a:pt x="518" y="68"/>
                  <a:pt x="518" y="69"/>
                  <a:pt x="517" y="69"/>
                </a:cubicBezTo>
                <a:cubicBezTo>
                  <a:pt x="518" y="69"/>
                  <a:pt x="518" y="70"/>
                  <a:pt x="518" y="70"/>
                </a:cubicBezTo>
                <a:cubicBezTo>
                  <a:pt x="518" y="70"/>
                  <a:pt x="518" y="70"/>
                  <a:pt x="519" y="70"/>
                </a:cubicBezTo>
                <a:cubicBezTo>
                  <a:pt x="519" y="70"/>
                  <a:pt x="519" y="70"/>
                  <a:pt x="519" y="70"/>
                </a:cubicBezTo>
                <a:cubicBezTo>
                  <a:pt x="519" y="70"/>
                  <a:pt x="520" y="70"/>
                  <a:pt x="520" y="70"/>
                </a:cubicBezTo>
                <a:cubicBezTo>
                  <a:pt x="520" y="70"/>
                  <a:pt x="520" y="70"/>
                  <a:pt x="521" y="70"/>
                </a:cubicBezTo>
                <a:cubicBezTo>
                  <a:pt x="521" y="70"/>
                  <a:pt x="521" y="70"/>
                  <a:pt x="522" y="70"/>
                </a:cubicBezTo>
                <a:cubicBezTo>
                  <a:pt x="521" y="70"/>
                  <a:pt x="521" y="70"/>
                  <a:pt x="521" y="70"/>
                </a:cubicBezTo>
                <a:cubicBezTo>
                  <a:pt x="521" y="71"/>
                  <a:pt x="520" y="71"/>
                  <a:pt x="520" y="71"/>
                </a:cubicBezTo>
                <a:cubicBezTo>
                  <a:pt x="520" y="71"/>
                  <a:pt x="519" y="71"/>
                  <a:pt x="519" y="70"/>
                </a:cubicBezTo>
                <a:cubicBezTo>
                  <a:pt x="518" y="71"/>
                  <a:pt x="518" y="71"/>
                  <a:pt x="517" y="71"/>
                </a:cubicBezTo>
                <a:cubicBezTo>
                  <a:pt x="517" y="71"/>
                  <a:pt x="518" y="72"/>
                  <a:pt x="518" y="72"/>
                </a:cubicBezTo>
                <a:cubicBezTo>
                  <a:pt x="518" y="72"/>
                  <a:pt x="518" y="72"/>
                  <a:pt x="518" y="73"/>
                </a:cubicBezTo>
                <a:cubicBezTo>
                  <a:pt x="518" y="72"/>
                  <a:pt x="519" y="72"/>
                  <a:pt x="519" y="72"/>
                </a:cubicBezTo>
                <a:cubicBezTo>
                  <a:pt x="519" y="72"/>
                  <a:pt x="519" y="73"/>
                  <a:pt x="518" y="73"/>
                </a:cubicBezTo>
                <a:cubicBezTo>
                  <a:pt x="519" y="73"/>
                  <a:pt x="519" y="74"/>
                  <a:pt x="519" y="74"/>
                </a:cubicBezTo>
                <a:cubicBezTo>
                  <a:pt x="519" y="74"/>
                  <a:pt x="519" y="74"/>
                  <a:pt x="520" y="74"/>
                </a:cubicBezTo>
                <a:cubicBezTo>
                  <a:pt x="520" y="74"/>
                  <a:pt x="520" y="74"/>
                  <a:pt x="521" y="74"/>
                </a:cubicBezTo>
                <a:cubicBezTo>
                  <a:pt x="521" y="74"/>
                  <a:pt x="521" y="74"/>
                  <a:pt x="521" y="75"/>
                </a:cubicBezTo>
                <a:cubicBezTo>
                  <a:pt x="521" y="75"/>
                  <a:pt x="522" y="75"/>
                  <a:pt x="522" y="75"/>
                </a:cubicBezTo>
                <a:cubicBezTo>
                  <a:pt x="523" y="75"/>
                  <a:pt x="524" y="75"/>
                  <a:pt x="525" y="75"/>
                </a:cubicBezTo>
                <a:cubicBezTo>
                  <a:pt x="525" y="75"/>
                  <a:pt x="526" y="75"/>
                  <a:pt x="526" y="75"/>
                </a:cubicBezTo>
                <a:cubicBezTo>
                  <a:pt x="526" y="75"/>
                  <a:pt x="526" y="74"/>
                  <a:pt x="526" y="74"/>
                </a:cubicBezTo>
                <a:cubicBezTo>
                  <a:pt x="526" y="74"/>
                  <a:pt x="526" y="74"/>
                  <a:pt x="526" y="73"/>
                </a:cubicBezTo>
                <a:cubicBezTo>
                  <a:pt x="527" y="73"/>
                  <a:pt x="527" y="73"/>
                  <a:pt x="528" y="73"/>
                </a:cubicBezTo>
                <a:cubicBezTo>
                  <a:pt x="528" y="73"/>
                  <a:pt x="528" y="74"/>
                  <a:pt x="528" y="74"/>
                </a:cubicBezTo>
                <a:cubicBezTo>
                  <a:pt x="528" y="74"/>
                  <a:pt x="528" y="74"/>
                  <a:pt x="528" y="74"/>
                </a:cubicBezTo>
                <a:cubicBezTo>
                  <a:pt x="528" y="75"/>
                  <a:pt x="528" y="75"/>
                  <a:pt x="528" y="75"/>
                </a:cubicBezTo>
                <a:cubicBezTo>
                  <a:pt x="529" y="75"/>
                  <a:pt x="529" y="75"/>
                  <a:pt x="529" y="75"/>
                </a:cubicBezTo>
                <a:cubicBezTo>
                  <a:pt x="529" y="74"/>
                  <a:pt x="529" y="74"/>
                  <a:pt x="530" y="73"/>
                </a:cubicBezTo>
                <a:cubicBezTo>
                  <a:pt x="529" y="72"/>
                  <a:pt x="529" y="72"/>
                  <a:pt x="529" y="72"/>
                </a:cubicBezTo>
                <a:cubicBezTo>
                  <a:pt x="529" y="71"/>
                  <a:pt x="529" y="71"/>
                  <a:pt x="529" y="70"/>
                </a:cubicBezTo>
                <a:cubicBezTo>
                  <a:pt x="530" y="70"/>
                  <a:pt x="530" y="70"/>
                  <a:pt x="531" y="69"/>
                </a:cubicBezTo>
                <a:cubicBezTo>
                  <a:pt x="531" y="69"/>
                  <a:pt x="531" y="69"/>
                  <a:pt x="531" y="68"/>
                </a:cubicBezTo>
                <a:cubicBezTo>
                  <a:pt x="531" y="69"/>
                  <a:pt x="531" y="69"/>
                  <a:pt x="531" y="69"/>
                </a:cubicBezTo>
                <a:cubicBezTo>
                  <a:pt x="531" y="70"/>
                  <a:pt x="530" y="70"/>
                  <a:pt x="530" y="71"/>
                </a:cubicBezTo>
                <a:cubicBezTo>
                  <a:pt x="530" y="71"/>
                  <a:pt x="530" y="72"/>
                  <a:pt x="530" y="72"/>
                </a:cubicBezTo>
                <a:cubicBezTo>
                  <a:pt x="530" y="72"/>
                  <a:pt x="530" y="72"/>
                  <a:pt x="530" y="73"/>
                </a:cubicBezTo>
                <a:cubicBezTo>
                  <a:pt x="530" y="73"/>
                  <a:pt x="530" y="74"/>
                  <a:pt x="530" y="74"/>
                </a:cubicBezTo>
                <a:cubicBezTo>
                  <a:pt x="531" y="74"/>
                  <a:pt x="531" y="74"/>
                  <a:pt x="531" y="75"/>
                </a:cubicBezTo>
                <a:cubicBezTo>
                  <a:pt x="531" y="75"/>
                  <a:pt x="531" y="75"/>
                  <a:pt x="531" y="75"/>
                </a:cubicBezTo>
                <a:cubicBezTo>
                  <a:pt x="531" y="75"/>
                  <a:pt x="531" y="75"/>
                  <a:pt x="531" y="75"/>
                </a:cubicBezTo>
                <a:cubicBezTo>
                  <a:pt x="532" y="75"/>
                  <a:pt x="532" y="75"/>
                  <a:pt x="532" y="75"/>
                </a:cubicBezTo>
                <a:cubicBezTo>
                  <a:pt x="532" y="74"/>
                  <a:pt x="532" y="74"/>
                  <a:pt x="533" y="74"/>
                </a:cubicBezTo>
                <a:cubicBezTo>
                  <a:pt x="533" y="73"/>
                  <a:pt x="534" y="73"/>
                  <a:pt x="534" y="72"/>
                </a:cubicBezTo>
                <a:cubicBezTo>
                  <a:pt x="534" y="72"/>
                  <a:pt x="534" y="71"/>
                  <a:pt x="535" y="70"/>
                </a:cubicBezTo>
                <a:cubicBezTo>
                  <a:pt x="535" y="70"/>
                  <a:pt x="535" y="70"/>
                  <a:pt x="535" y="70"/>
                </a:cubicBezTo>
                <a:cubicBezTo>
                  <a:pt x="535" y="70"/>
                  <a:pt x="536" y="70"/>
                  <a:pt x="536" y="70"/>
                </a:cubicBezTo>
                <a:cubicBezTo>
                  <a:pt x="536" y="71"/>
                  <a:pt x="535" y="71"/>
                  <a:pt x="535" y="71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6" y="72"/>
                  <a:pt x="536" y="72"/>
                  <a:pt x="536" y="72"/>
                </a:cubicBezTo>
                <a:cubicBezTo>
                  <a:pt x="537" y="71"/>
                  <a:pt x="537" y="71"/>
                  <a:pt x="538" y="71"/>
                </a:cubicBezTo>
                <a:cubicBezTo>
                  <a:pt x="538" y="71"/>
                  <a:pt x="538" y="70"/>
                  <a:pt x="538" y="70"/>
                </a:cubicBezTo>
                <a:cubicBezTo>
                  <a:pt x="538" y="70"/>
                  <a:pt x="538" y="70"/>
                  <a:pt x="538" y="69"/>
                </a:cubicBezTo>
                <a:cubicBezTo>
                  <a:pt x="538" y="69"/>
                  <a:pt x="537" y="69"/>
                  <a:pt x="537" y="70"/>
                </a:cubicBezTo>
                <a:cubicBezTo>
                  <a:pt x="537" y="69"/>
                  <a:pt x="537" y="69"/>
                  <a:pt x="537" y="69"/>
                </a:cubicBezTo>
                <a:cubicBezTo>
                  <a:pt x="537" y="69"/>
                  <a:pt x="538" y="69"/>
                  <a:pt x="538" y="69"/>
                </a:cubicBezTo>
                <a:cubicBezTo>
                  <a:pt x="538" y="68"/>
                  <a:pt x="538" y="68"/>
                  <a:pt x="538" y="68"/>
                </a:cubicBezTo>
                <a:cubicBezTo>
                  <a:pt x="538" y="68"/>
                  <a:pt x="538" y="68"/>
                  <a:pt x="537" y="67"/>
                </a:cubicBezTo>
                <a:cubicBezTo>
                  <a:pt x="537" y="67"/>
                  <a:pt x="537" y="67"/>
                  <a:pt x="537" y="67"/>
                </a:cubicBezTo>
                <a:cubicBezTo>
                  <a:pt x="538" y="66"/>
                  <a:pt x="538" y="66"/>
                  <a:pt x="539" y="66"/>
                </a:cubicBezTo>
                <a:cubicBezTo>
                  <a:pt x="539" y="65"/>
                  <a:pt x="539" y="65"/>
                  <a:pt x="539" y="64"/>
                </a:cubicBezTo>
                <a:cubicBezTo>
                  <a:pt x="539" y="64"/>
                  <a:pt x="540" y="64"/>
                  <a:pt x="540" y="64"/>
                </a:cubicBezTo>
                <a:cubicBezTo>
                  <a:pt x="540" y="64"/>
                  <a:pt x="540" y="63"/>
                  <a:pt x="541" y="63"/>
                </a:cubicBezTo>
                <a:cubicBezTo>
                  <a:pt x="541" y="63"/>
                  <a:pt x="541" y="64"/>
                  <a:pt x="541" y="64"/>
                </a:cubicBezTo>
                <a:cubicBezTo>
                  <a:pt x="541" y="64"/>
                  <a:pt x="541" y="64"/>
                  <a:pt x="541" y="64"/>
                </a:cubicBezTo>
                <a:cubicBezTo>
                  <a:pt x="541" y="64"/>
                  <a:pt x="540" y="64"/>
                  <a:pt x="540" y="65"/>
                </a:cubicBezTo>
                <a:cubicBezTo>
                  <a:pt x="540" y="65"/>
                  <a:pt x="540" y="65"/>
                  <a:pt x="540" y="66"/>
                </a:cubicBezTo>
                <a:cubicBezTo>
                  <a:pt x="539" y="66"/>
                  <a:pt x="539" y="67"/>
                  <a:pt x="539" y="67"/>
                </a:cubicBezTo>
                <a:cubicBezTo>
                  <a:pt x="539" y="67"/>
                  <a:pt x="539" y="68"/>
                  <a:pt x="539" y="68"/>
                </a:cubicBezTo>
                <a:cubicBezTo>
                  <a:pt x="539" y="68"/>
                  <a:pt x="539" y="68"/>
                  <a:pt x="539" y="69"/>
                </a:cubicBezTo>
                <a:cubicBezTo>
                  <a:pt x="540" y="69"/>
                  <a:pt x="540" y="69"/>
                  <a:pt x="540" y="69"/>
                </a:cubicBezTo>
                <a:cubicBezTo>
                  <a:pt x="540" y="69"/>
                  <a:pt x="540" y="69"/>
                  <a:pt x="540" y="69"/>
                </a:cubicBezTo>
                <a:cubicBezTo>
                  <a:pt x="541" y="68"/>
                  <a:pt x="541" y="68"/>
                  <a:pt x="541" y="67"/>
                </a:cubicBezTo>
                <a:cubicBezTo>
                  <a:pt x="542" y="67"/>
                  <a:pt x="543" y="66"/>
                  <a:pt x="543" y="66"/>
                </a:cubicBezTo>
                <a:cubicBezTo>
                  <a:pt x="543" y="65"/>
                  <a:pt x="544" y="65"/>
                  <a:pt x="544" y="65"/>
                </a:cubicBezTo>
                <a:cubicBezTo>
                  <a:pt x="544" y="65"/>
                  <a:pt x="544" y="64"/>
                  <a:pt x="544" y="64"/>
                </a:cubicBezTo>
                <a:cubicBezTo>
                  <a:pt x="544" y="64"/>
                  <a:pt x="544" y="63"/>
                  <a:pt x="544" y="63"/>
                </a:cubicBezTo>
                <a:cubicBezTo>
                  <a:pt x="544" y="63"/>
                  <a:pt x="545" y="63"/>
                  <a:pt x="545" y="63"/>
                </a:cubicBezTo>
                <a:cubicBezTo>
                  <a:pt x="545" y="63"/>
                  <a:pt x="545" y="63"/>
                  <a:pt x="545" y="63"/>
                </a:cubicBezTo>
                <a:cubicBezTo>
                  <a:pt x="545" y="63"/>
                  <a:pt x="545" y="63"/>
                  <a:pt x="545" y="63"/>
                </a:cubicBezTo>
                <a:cubicBezTo>
                  <a:pt x="545" y="64"/>
                  <a:pt x="545" y="64"/>
                  <a:pt x="545" y="64"/>
                </a:cubicBezTo>
                <a:cubicBezTo>
                  <a:pt x="545" y="64"/>
                  <a:pt x="546" y="64"/>
                  <a:pt x="546" y="64"/>
                </a:cubicBezTo>
                <a:cubicBezTo>
                  <a:pt x="546" y="63"/>
                  <a:pt x="547" y="63"/>
                  <a:pt x="547" y="63"/>
                </a:cubicBezTo>
                <a:cubicBezTo>
                  <a:pt x="547" y="63"/>
                  <a:pt x="548" y="62"/>
                  <a:pt x="548" y="62"/>
                </a:cubicBezTo>
                <a:cubicBezTo>
                  <a:pt x="549" y="62"/>
                  <a:pt x="549" y="62"/>
                  <a:pt x="550" y="62"/>
                </a:cubicBezTo>
                <a:cubicBezTo>
                  <a:pt x="551" y="62"/>
                  <a:pt x="551" y="62"/>
                  <a:pt x="552" y="61"/>
                </a:cubicBezTo>
                <a:cubicBezTo>
                  <a:pt x="552" y="61"/>
                  <a:pt x="553" y="61"/>
                  <a:pt x="553" y="61"/>
                </a:cubicBezTo>
                <a:cubicBezTo>
                  <a:pt x="553" y="61"/>
                  <a:pt x="553" y="61"/>
                  <a:pt x="554" y="60"/>
                </a:cubicBezTo>
                <a:cubicBezTo>
                  <a:pt x="554" y="60"/>
                  <a:pt x="554" y="60"/>
                  <a:pt x="555" y="60"/>
                </a:cubicBezTo>
                <a:cubicBezTo>
                  <a:pt x="555" y="60"/>
                  <a:pt x="555" y="59"/>
                  <a:pt x="555" y="59"/>
                </a:cubicBezTo>
                <a:cubicBezTo>
                  <a:pt x="555" y="59"/>
                  <a:pt x="555" y="59"/>
                  <a:pt x="555" y="59"/>
                </a:cubicBezTo>
                <a:cubicBezTo>
                  <a:pt x="555" y="59"/>
                  <a:pt x="555" y="58"/>
                  <a:pt x="555" y="58"/>
                </a:cubicBezTo>
                <a:cubicBezTo>
                  <a:pt x="555" y="58"/>
                  <a:pt x="555" y="58"/>
                  <a:pt x="554" y="58"/>
                </a:cubicBezTo>
                <a:cubicBezTo>
                  <a:pt x="554" y="58"/>
                  <a:pt x="554" y="57"/>
                  <a:pt x="555" y="57"/>
                </a:cubicBezTo>
                <a:cubicBezTo>
                  <a:pt x="554" y="56"/>
                  <a:pt x="554" y="56"/>
                  <a:pt x="554" y="55"/>
                </a:cubicBezTo>
                <a:cubicBezTo>
                  <a:pt x="554" y="55"/>
                  <a:pt x="554" y="55"/>
                  <a:pt x="554" y="55"/>
                </a:cubicBezTo>
                <a:cubicBezTo>
                  <a:pt x="554" y="56"/>
                  <a:pt x="553" y="56"/>
                  <a:pt x="553" y="56"/>
                </a:cubicBezTo>
                <a:cubicBezTo>
                  <a:pt x="553" y="57"/>
                  <a:pt x="552" y="57"/>
                  <a:pt x="552" y="58"/>
                </a:cubicBezTo>
                <a:cubicBezTo>
                  <a:pt x="552" y="58"/>
                  <a:pt x="551" y="58"/>
                  <a:pt x="551" y="58"/>
                </a:cubicBezTo>
                <a:cubicBezTo>
                  <a:pt x="551" y="58"/>
                  <a:pt x="551" y="58"/>
                  <a:pt x="551" y="57"/>
                </a:cubicBezTo>
                <a:cubicBezTo>
                  <a:pt x="551" y="57"/>
                  <a:pt x="552" y="57"/>
                  <a:pt x="552" y="57"/>
                </a:cubicBezTo>
                <a:cubicBezTo>
                  <a:pt x="552" y="56"/>
                  <a:pt x="553" y="56"/>
                  <a:pt x="553" y="56"/>
                </a:cubicBezTo>
                <a:cubicBezTo>
                  <a:pt x="553" y="56"/>
                  <a:pt x="553" y="55"/>
                  <a:pt x="553" y="55"/>
                </a:cubicBezTo>
                <a:cubicBezTo>
                  <a:pt x="553" y="55"/>
                  <a:pt x="552" y="55"/>
                  <a:pt x="552" y="55"/>
                </a:cubicBezTo>
                <a:cubicBezTo>
                  <a:pt x="551" y="55"/>
                  <a:pt x="551" y="54"/>
                  <a:pt x="551" y="54"/>
                </a:cubicBezTo>
                <a:cubicBezTo>
                  <a:pt x="551" y="54"/>
                  <a:pt x="551" y="54"/>
                  <a:pt x="551" y="54"/>
                </a:cubicBezTo>
                <a:cubicBezTo>
                  <a:pt x="550" y="54"/>
                  <a:pt x="550" y="55"/>
                  <a:pt x="550" y="55"/>
                </a:cubicBezTo>
                <a:cubicBezTo>
                  <a:pt x="550" y="55"/>
                  <a:pt x="550" y="55"/>
                  <a:pt x="550" y="55"/>
                </a:cubicBezTo>
                <a:cubicBezTo>
                  <a:pt x="550" y="55"/>
                  <a:pt x="549" y="55"/>
                  <a:pt x="549" y="55"/>
                </a:cubicBezTo>
                <a:cubicBezTo>
                  <a:pt x="549" y="55"/>
                  <a:pt x="548" y="55"/>
                  <a:pt x="548" y="55"/>
                </a:cubicBezTo>
                <a:cubicBezTo>
                  <a:pt x="548" y="55"/>
                  <a:pt x="547" y="56"/>
                  <a:pt x="547" y="56"/>
                </a:cubicBezTo>
                <a:cubicBezTo>
                  <a:pt x="547" y="56"/>
                  <a:pt x="546" y="56"/>
                  <a:pt x="546" y="56"/>
                </a:cubicBezTo>
                <a:cubicBezTo>
                  <a:pt x="546" y="56"/>
                  <a:pt x="546" y="56"/>
                  <a:pt x="546" y="56"/>
                </a:cubicBezTo>
                <a:cubicBezTo>
                  <a:pt x="547" y="55"/>
                  <a:pt x="548" y="55"/>
                  <a:pt x="549" y="54"/>
                </a:cubicBezTo>
                <a:cubicBezTo>
                  <a:pt x="550" y="54"/>
                  <a:pt x="550" y="54"/>
                  <a:pt x="550" y="54"/>
                </a:cubicBezTo>
                <a:cubicBezTo>
                  <a:pt x="551" y="53"/>
                  <a:pt x="551" y="53"/>
                  <a:pt x="552" y="52"/>
                </a:cubicBezTo>
                <a:cubicBezTo>
                  <a:pt x="552" y="52"/>
                  <a:pt x="552" y="52"/>
                  <a:pt x="553" y="52"/>
                </a:cubicBezTo>
                <a:cubicBezTo>
                  <a:pt x="553" y="51"/>
                  <a:pt x="553" y="51"/>
                  <a:pt x="554" y="50"/>
                </a:cubicBezTo>
                <a:cubicBezTo>
                  <a:pt x="554" y="50"/>
                  <a:pt x="554" y="49"/>
                  <a:pt x="554" y="49"/>
                </a:cubicBezTo>
                <a:cubicBezTo>
                  <a:pt x="554" y="49"/>
                  <a:pt x="554" y="49"/>
                  <a:pt x="554" y="49"/>
                </a:cubicBezTo>
                <a:cubicBezTo>
                  <a:pt x="553" y="49"/>
                  <a:pt x="553" y="49"/>
                  <a:pt x="553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8"/>
                  <a:pt x="552" y="48"/>
                  <a:pt x="553" y="48"/>
                </a:cubicBezTo>
                <a:cubicBezTo>
                  <a:pt x="553" y="48"/>
                  <a:pt x="553" y="48"/>
                  <a:pt x="553" y="48"/>
                </a:cubicBezTo>
                <a:cubicBezTo>
                  <a:pt x="554" y="48"/>
                  <a:pt x="554" y="48"/>
                  <a:pt x="554" y="48"/>
                </a:cubicBezTo>
                <a:cubicBezTo>
                  <a:pt x="554" y="47"/>
                  <a:pt x="554" y="47"/>
                  <a:pt x="554" y="47"/>
                </a:cubicBezTo>
                <a:cubicBezTo>
                  <a:pt x="554" y="46"/>
                  <a:pt x="554" y="46"/>
                  <a:pt x="555" y="46"/>
                </a:cubicBezTo>
                <a:cubicBezTo>
                  <a:pt x="555" y="46"/>
                  <a:pt x="555" y="45"/>
                  <a:pt x="555" y="45"/>
                </a:cubicBezTo>
                <a:cubicBezTo>
                  <a:pt x="554" y="45"/>
                  <a:pt x="554" y="45"/>
                  <a:pt x="554" y="45"/>
                </a:cubicBezTo>
                <a:cubicBezTo>
                  <a:pt x="554" y="45"/>
                  <a:pt x="554" y="44"/>
                  <a:pt x="554" y="44"/>
                </a:cubicBezTo>
                <a:cubicBezTo>
                  <a:pt x="554" y="44"/>
                  <a:pt x="553" y="44"/>
                  <a:pt x="553" y="44"/>
                </a:cubicBezTo>
                <a:cubicBezTo>
                  <a:pt x="553" y="44"/>
                  <a:pt x="552" y="45"/>
                  <a:pt x="552" y="45"/>
                </a:cubicBezTo>
                <a:cubicBezTo>
                  <a:pt x="552" y="45"/>
                  <a:pt x="551" y="46"/>
                  <a:pt x="551" y="47"/>
                </a:cubicBezTo>
                <a:cubicBezTo>
                  <a:pt x="551" y="47"/>
                  <a:pt x="551" y="47"/>
                  <a:pt x="551" y="47"/>
                </a:cubicBezTo>
                <a:cubicBezTo>
                  <a:pt x="551" y="48"/>
                  <a:pt x="551" y="48"/>
                  <a:pt x="552" y="48"/>
                </a:cubicBezTo>
                <a:cubicBezTo>
                  <a:pt x="551" y="48"/>
                  <a:pt x="551" y="48"/>
                  <a:pt x="551" y="49"/>
                </a:cubicBezTo>
                <a:cubicBezTo>
                  <a:pt x="551" y="49"/>
                  <a:pt x="550" y="49"/>
                  <a:pt x="550" y="49"/>
                </a:cubicBezTo>
                <a:cubicBezTo>
                  <a:pt x="550" y="49"/>
                  <a:pt x="550" y="49"/>
                  <a:pt x="550" y="49"/>
                </a:cubicBezTo>
                <a:cubicBezTo>
                  <a:pt x="550" y="49"/>
                  <a:pt x="550" y="49"/>
                  <a:pt x="550" y="48"/>
                </a:cubicBezTo>
                <a:cubicBezTo>
                  <a:pt x="550" y="48"/>
                  <a:pt x="550" y="48"/>
                  <a:pt x="549" y="48"/>
                </a:cubicBezTo>
                <a:cubicBezTo>
                  <a:pt x="549" y="48"/>
                  <a:pt x="549" y="48"/>
                  <a:pt x="549" y="48"/>
                </a:cubicBezTo>
                <a:cubicBezTo>
                  <a:pt x="550" y="47"/>
                  <a:pt x="550" y="47"/>
                  <a:pt x="550" y="46"/>
                </a:cubicBezTo>
                <a:cubicBezTo>
                  <a:pt x="550" y="46"/>
                  <a:pt x="550" y="46"/>
                  <a:pt x="550" y="46"/>
                </a:cubicBezTo>
                <a:cubicBezTo>
                  <a:pt x="550" y="45"/>
                  <a:pt x="550" y="45"/>
                  <a:pt x="550" y="45"/>
                </a:cubicBezTo>
                <a:cubicBezTo>
                  <a:pt x="550" y="45"/>
                  <a:pt x="550" y="45"/>
                  <a:pt x="550" y="45"/>
                </a:cubicBezTo>
                <a:cubicBezTo>
                  <a:pt x="551" y="45"/>
                  <a:pt x="551" y="45"/>
                  <a:pt x="551" y="45"/>
                </a:cubicBezTo>
                <a:cubicBezTo>
                  <a:pt x="551" y="45"/>
                  <a:pt x="551" y="44"/>
                  <a:pt x="550" y="44"/>
                </a:cubicBezTo>
                <a:cubicBezTo>
                  <a:pt x="550" y="44"/>
                  <a:pt x="550" y="44"/>
                  <a:pt x="550" y="43"/>
                </a:cubicBezTo>
                <a:cubicBezTo>
                  <a:pt x="549" y="43"/>
                  <a:pt x="549" y="44"/>
                  <a:pt x="548" y="44"/>
                </a:cubicBezTo>
                <a:cubicBezTo>
                  <a:pt x="548" y="44"/>
                  <a:pt x="548" y="44"/>
                  <a:pt x="547" y="44"/>
                </a:cubicBezTo>
                <a:cubicBezTo>
                  <a:pt x="547" y="44"/>
                  <a:pt x="547" y="45"/>
                  <a:pt x="547" y="45"/>
                </a:cubicBezTo>
                <a:cubicBezTo>
                  <a:pt x="547" y="45"/>
                  <a:pt x="546" y="45"/>
                  <a:pt x="546" y="44"/>
                </a:cubicBezTo>
                <a:cubicBezTo>
                  <a:pt x="546" y="44"/>
                  <a:pt x="546" y="44"/>
                  <a:pt x="546" y="44"/>
                </a:cubicBezTo>
                <a:cubicBezTo>
                  <a:pt x="546" y="44"/>
                  <a:pt x="546" y="44"/>
                  <a:pt x="546" y="43"/>
                </a:cubicBezTo>
                <a:cubicBezTo>
                  <a:pt x="546" y="43"/>
                  <a:pt x="545" y="43"/>
                  <a:pt x="545" y="42"/>
                </a:cubicBezTo>
                <a:cubicBezTo>
                  <a:pt x="545" y="42"/>
                  <a:pt x="545" y="41"/>
                  <a:pt x="545" y="41"/>
                </a:cubicBezTo>
                <a:cubicBezTo>
                  <a:pt x="545" y="40"/>
                  <a:pt x="545" y="40"/>
                  <a:pt x="545" y="40"/>
                </a:cubicBezTo>
                <a:cubicBezTo>
                  <a:pt x="545" y="39"/>
                  <a:pt x="545" y="39"/>
                  <a:pt x="545" y="39"/>
                </a:cubicBezTo>
                <a:cubicBezTo>
                  <a:pt x="545" y="38"/>
                  <a:pt x="545" y="38"/>
                  <a:pt x="545" y="38"/>
                </a:cubicBezTo>
                <a:cubicBezTo>
                  <a:pt x="545" y="37"/>
                  <a:pt x="545" y="37"/>
                  <a:pt x="545" y="37"/>
                </a:cubicBezTo>
                <a:cubicBezTo>
                  <a:pt x="545" y="36"/>
                  <a:pt x="545" y="36"/>
                  <a:pt x="545" y="35"/>
                </a:cubicBezTo>
                <a:cubicBezTo>
                  <a:pt x="545" y="35"/>
                  <a:pt x="545" y="35"/>
                  <a:pt x="545" y="34"/>
                </a:cubicBezTo>
                <a:cubicBezTo>
                  <a:pt x="545" y="34"/>
                  <a:pt x="545" y="34"/>
                  <a:pt x="544" y="34"/>
                </a:cubicBezTo>
                <a:cubicBezTo>
                  <a:pt x="544" y="34"/>
                  <a:pt x="544" y="33"/>
                  <a:pt x="544" y="33"/>
                </a:cubicBezTo>
                <a:cubicBezTo>
                  <a:pt x="543" y="33"/>
                  <a:pt x="542" y="33"/>
                  <a:pt x="542" y="33"/>
                </a:cubicBezTo>
                <a:cubicBezTo>
                  <a:pt x="542" y="32"/>
                  <a:pt x="541" y="32"/>
                  <a:pt x="541" y="32"/>
                </a:cubicBezTo>
                <a:cubicBezTo>
                  <a:pt x="541" y="32"/>
                  <a:pt x="540" y="32"/>
                  <a:pt x="539" y="32"/>
                </a:cubicBezTo>
                <a:cubicBezTo>
                  <a:pt x="539" y="32"/>
                  <a:pt x="539" y="32"/>
                  <a:pt x="539" y="32"/>
                </a:cubicBezTo>
                <a:cubicBezTo>
                  <a:pt x="539" y="32"/>
                  <a:pt x="539" y="33"/>
                  <a:pt x="539" y="33"/>
                </a:cubicBezTo>
                <a:cubicBezTo>
                  <a:pt x="539" y="33"/>
                  <a:pt x="539" y="33"/>
                  <a:pt x="539" y="33"/>
                </a:cubicBezTo>
                <a:cubicBezTo>
                  <a:pt x="538" y="33"/>
                  <a:pt x="537" y="33"/>
                  <a:pt x="537" y="32"/>
                </a:cubicBezTo>
                <a:cubicBezTo>
                  <a:pt x="536" y="33"/>
                  <a:pt x="536" y="33"/>
                  <a:pt x="535" y="33"/>
                </a:cubicBezTo>
                <a:cubicBezTo>
                  <a:pt x="535" y="33"/>
                  <a:pt x="535" y="33"/>
                  <a:pt x="536" y="34"/>
                </a:cubicBezTo>
                <a:cubicBezTo>
                  <a:pt x="535" y="34"/>
                  <a:pt x="535" y="34"/>
                  <a:pt x="535" y="35"/>
                </a:cubicBezTo>
                <a:cubicBezTo>
                  <a:pt x="535" y="35"/>
                  <a:pt x="535" y="35"/>
                  <a:pt x="536" y="35"/>
                </a:cubicBezTo>
                <a:cubicBezTo>
                  <a:pt x="536" y="35"/>
                  <a:pt x="537" y="35"/>
                  <a:pt x="537" y="35"/>
                </a:cubicBezTo>
                <a:cubicBezTo>
                  <a:pt x="537" y="35"/>
                  <a:pt x="538" y="35"/>
                  <a:pt x="538" y="34"/>
                </a:cubicBezTo>
                <a:cubicBezTo>
                  <a:pt x="539" y="34"/>
                  <a:pt x="539" y="34"/>
                  <a:pt x="540" y="35"/>
                </a:cubicBezTo>
                <a:cubicBezTo>
                  <a:pt x="540" y="35"/>
                  <a:pt x="540" y="35"/>
                  <a:pt x="540" y="35"/>
                </a:cubicBezTo>
                <a:cubicBezTo>
                  <a:pt x="541" y="35"/>
                  <a:pt x="541" y="35"/>
                  <a:pt x="541" y="35"/>
                </a:cubicBezTo>
                <a:cubicBezTo>
                  <a:pt x="541" y="35"/>
                  <a:pt x="541" y="35"/>
                  <a:pt x="541" y="35"/>
                </a:cubicBezTo>
                <a:cubicBezTo>
                  <a:pt x="541" y="36"/>
                  <a:pt x="540" y="36"/>
                  <a:pt x="540" y="37"/>
                </a:cubicBezTo>
                <a:cubicBezTo>
                  <a:pt x="539" y="37"/>
                  <a:pt x="539" y="37"/>
                  <a:pt x="539" y="37"/>
                </a:cubicBezTo>
                <a:cubicBezTo>
                  <a:pt x="538" y="37"/>
                  <a:pt x="538" y="37"/>
                  <a:pt x="537" y="37"/>
                </a:cubicBezTo>
                <a:cubicBezTo>
                  <a:pt x="537" y="37"/>
                  <a:pt x="537" y="37"/>
                  <a:pt x="536" y="37"/>
                </a:cubicBezTo>
                <a:cubicBezTo>
                  <a:pt x="536" y="37"/>
                  <a:pt x="535" y="37"/>
                  <a:pt x="535" y="37"/>
                </a:cubicBezTo>
                <a:cubicBezTo>
                  <a:pt x="535" y="37"/>
                  <a:pt x="536" y="37"/>
                  <a:pt x="536" y="38"/>
                </a:cubicBezTo>
                <a:cubicBezTo>
                  <a:pt x="536" y="38"/>
                  <a:pt x="536" y="37"/>
                  <a:pt x="537" y="37"/>
                </a:cubicBezTo>
                <a:cubicBezTo>
                  <a:pt x="536" y="38"/>
                  <a:pt x="536" y="38"/>
                  <a:pt x="536" y="38"/>
                </a:cubicBezTo>
                <a:cubicBezTo>
                  <a:pt x="535" y="38"/>
                  <a:pt x="535" y="38"/>
                  <a:pt x="535" y="39"/>
                </a:cubicBezTo>
                <a:cubicBezTo>
                  <a:pt x="534" y="38"/>
                  <a:pt x="534" y="38"/>
                  <a:pt x="533" y="38"/>
                </a:cubicBezTo>
                <a:cubicBezTo>
                  <a:pt x="532" y="38"/>
                  <a:pt x="532" y="39"/>
                  <a:pt x="531" y="39"/>
                </a:cubicBezTo>
                <a:cubicBezTo>
                  <a:pt x="531" y="39"/>
                  <a:pt x="531" y="40"/>
                  <a:pt x="531" y="40"/>
                </a:cubicBezTo>
                <a:cubicBezTo>
                  <a:pt x="531" y="40"/>
                  <a:pt x="530" y="40"/>
                  <a:pt x="530" y="40"/>
                </a:cubicBezTo>
                <a:cubicBezTo>
                  <a:pt x="530" y="41"/>
                  <a:pt x="530" y="41"/>
                  <a:pt x="530" y="41"/>
                </a:cubicBezTo>
                <a:cubicBezTo>
                  <a:pt x="531" y="41"/>
                  <a:pt x="531" y="41"/>
                  <a:pt x="531" y="41"/>
                </a:cubicBezTo>
                <a:cubicBezTo>
                  <a:pt x="532" y="41"/>
                  <a:pt x="532" y="41"/>
                  <a:pt x="532" y="42"/>
                </a:cubicBezTo>
                <a:cubicBezTo>
                  <a:pt x="532" y="42"/>
                  <a:pt x="533" y="42"/>
                  <a:pt x="533" y="42"/>
                </a:cubicBezTo>
                <a:cubicBezTo>
                  <a:pt x="533" y="42"/>
                  <a:pt x="533" y="42"/>
                  <a:pt x="533" y="42"/>
                </a:cubicBezTo>
                <a:cubicBezTo>
                  <a:pt x="533" y="42"/>
                  <a:pt x="533" y="42"/>
                  <a:pt x="533" y="42"/>
                </a:cubicBezTo>
                <a:cubicBezTo>
                  <a:pt x="532" y="43"/>
                  <a:pt x="532" y="43"/>
                  <a:pt x="532" y="43"/>
                </a:cubicBezTo>
                <a:cubicBezTo>
                  <a:pt x="533" y="43"/>
                  <a:pt x="533" y="43"/>
                  <a:pt x="533" y="43"/>
                </a:cubicBezTo>
                <a:cubicBezTo>
                  <a:pt x="533" y="43"/>
                  <a:pt x="533" y="44"/>
                  <a:pt x="533" y="44"/>
                </a:cubicBezTo>
                <a:cubicBezTo>
                  <a:pt x="533" y="44"/>
                  <a:pt x="533" y="44"/>
                  <a:pt x="532" y="44"/>
                </a:cubicBezTo>
                <a:cubicBezTo>
                  <a:pt x="532" y="44"/>
                  <a:pt x="532" y="44"/>
                  <a:pt x="531" y="44"/>
                </a:cubicBezTo>
                <a:cubicBezTo>
                  <a:pt x="531" y="44"/>
                  <a:pt x="531" y="44"/>
                  <a:pt x="530" y="44"/>
                </a:cubicBezTo>
                <a:cubicBezTo>
                  <a:pt x="530" y="44"/>
                  <a:pt x="529" y="44"/>
                  <a:pt x="529" y="44"/>
                </a:cubicBezTo>
                <a:cubicBezTo>
                  <a:pt x="529" y="44"/>
                  <a:pt x="528" y="44"/>
                  <a:pt x="528" y="44"/>
                </a:cubicBezTo>
                <a:cubicBezTo>
                  <a:pt x="528" y="44"/>
                  <a:pt x="527" y="44"/>
                  <a:pt x="527" y="44"/>
                </a:cubicBezTo>
                <a:cubicBezTo>
                  <a:pt x="527" y="44"/>
                  <a:pt x="527" y="45"/>
                  <a:pt x="527" y="45"/>
                </a:cubicBezTo>
                <a:cubicBezTo>
                  <a:pt x="527" y="45"/>
                  <a:pt x="527" y="45"/>
                  <a:pt x="528" y="45"/>
                </a:cubicBezTo>
                <a:cubicBezTo>
                  <a:pt x="528" y="46"/>
                  <a:pt x="527" y="46"/>
                  <a:pt x="527" y="46"/>
                </a:cubicBezTo>
                <a:cubicBezTo>
                  <a:pt x="527" y="46"/>
                  <a:pt x="527" y="46"/>
                  <a:pt x="527" y="46"/>
                </a:cubicBezTo>
                <a:cubicBezTo>
                  <a:pt x="527" y="46"/>
                  <a:pt x="527" y="46"/>
                  <a:pt x="527" y="45"/>
                </a:cubicBezTo>
                <a:cubicBezTo>
                  <a:pt x="526" y="45"/>
                  <a:pt x="526" y="45"/>
                  <a:pt x="526" y="45"/>
                </a:cubicBezTo>
                <a:cubicBezTo>
                  <a:pt x="525" y="45"/>
                  <a:pt x="525" y="45"/>
                  <a:pt x="524" y="45"/>
                </a:cubicBezTo>
                <a:cubicBezTo>
                  <a:pt x="524" y="45"/>
                  <a:pt x="524" y="45"/>
                  <a:pt x="524" y="45"/>
                </a:cubicBezTo>
                <a:cubicBezTo>
                  <a:pt x="523" y="45"/>
                  <a:pt x="523" y="45"/>
                  <a:pt x="523" y="45"/>
                </a:cubicBezTo>
                <a:cubicBezTo>
                  <a:pt x="523" y="45"/>
                  <a:pt x="522" y="45"/>
                  <a:pt x="522" y="45"/>
                </a:cubicBezTo>
                <a:cubicBezTo>
                  <a:pt x="522" y="45"/>
                  <a:pt x="522" y="45"/>
                  <a:pt x="522" y="46"/>
                </a:cubicBezTo>
                <a:cubicBezTo>
                  <a:pt x="522" y="46"/>
                  <a:pt x="522" y="46"/>
                  <a:pt x="523" y="46"/>
                </a:cubicBezTo>
                <a:cubicBezTo>
                  <a:pt x="523" y="47"/>
                  <a:pt x="523" y="47"/>
                  <a:pt x="523" y="47"/>
                </a:cubicBezTo>
                <a:cubicBezTo>
                  <a:pt x="523" y="47"/>
                  <a:pt x="523" y="48"/>
                  <a:pt x="523" y="48"/>
                </a:cubicBezTo>
                <a:cubicBezTo>
                  <a:pt x="524" y="48"/>
                  <a:pt x="524" y="48"/>
                  <a:pt x="524" y="48"/>
                </a:cubicBezTo>
                <a:cubicBezTo>
                  <a:pt x="525" y="48"/>
                  <a:pt x="525" y="48"/>
                  <a:pt x="526" y="48"/>
                </a:cubicBezTo>
                <a:cubicBezTo>
                  <a:pt x="526" y="48"/>
                  <a:pt x="526" y="48"/>
                  <a:pt x="526" y="48"/>
                </a:cubicBezTo>
                <a:cubicBezTo>
                  <a:pt x="526" y="48"/>
                  <a:pt x="526" y="48"/>
                  <a:pt x="526" y="49"/>
                </a:cubicBezTo>
                <a:cubicBezTo>
                  <a:pt x="526" y="49"/>
                  <a:pt x="525" y="49"/>
                  <a:pt x="525" y="49"/>
                </a:cubicBezTo>
                <a:cubicBezTo>
                  <a:pt x="525" y="49"/>
                  <a:pt x="526" y="49"/>
                  <a:pt x="526" y="49"/>
                </a:cubicBezTo>
                <a:cubicBezTo>
                  <a:pt x="526" y="49"/>
                  <a:pt x="527" y="49"/>
                  <a:pt x="527" y="49"/>
                </a:cubicBezTo>
                <a:cubicBezTo>
                  <a:pt x="527" y="50"/>
                  <a:pt x="528" y="50"/>
                  <a:pt x="528" y="50"/>
                </a:cubicBezTo>
                <a:cubicBezTo>
                  <a:pt x="529" y="50"/>
                  <a:pt x="529" y="49"/>
                  <a:pt x="530" y="49"/>
                </a:cubicBezTo>
                <a:cubicBezTo>
                  <a:pt x="530" y="49"/>
                  <a:pt x="530" y="49"/>
                  <a:pt x="530" y="49"/>
                </a:cubicBezTo>
                <a:cubicBezTo>
                  <a:pt x="530" y="49"/>
                  <a:pt x="531" y="49"/>
                  <a:pt x="531" y="49"/>
                </a:cubicBezTo>
                <a:cubicBezTo>
                  <a:pt x="531" y="49"/>
                  <a:pt x="531" y="49"/>
                  <a:pt x="531" y="49"/>
                </a:cubicBezTo>
                <a:cubicBezTo>
                  <a:pt x="531" y="49"/>
                  <a:pt x="530" y="50"/>
                  <a:pt x="530" y="50"/>
                </a:cubicBezTo>
                <a:cubicBezTo>
                  <a:pt x="530" y="50"/>
                  <a:pt x="530" y="51"/>
                  <a:pt x="530" y="51"/>
                </a:cubicBezTo>
                <a:cubicBezTo>
                  <a:pt x="530" y="51"/>
                  <a:pt x="529" y="51"/>
                  <a:pt x="529" y="51"/>
                </a:cubicBezTo>
                <a:cubicBezTo>
                  <a:pt x="529" y="51"/>
                  <a:pt x="528" y="51"/>
                  <a:pt x="527" y="51"/>
                </a:cubicBezTo>
                <a:cubicBezTo>
                  <a:pt x="526" y="51"/>
                  <a:pt x="525" y="51"/>
                  <a:pt x="524" y="51"/>
                </a:cubicBezTo>
                <a:cubicBezTo>
                  <a:pt x="524" y="51"/>
                  <a:pt x="523" y="50"/>
                  <a:pt x="523" y="50"/>
                </a:cubicBezTo>
                <a:cubicBezTo>
                  <a:pt x="522" y="50"/>
                  <a:pt x="522" y="50"/>
                  <a:pt x="522" y="50"/>
                </a:cubicBezTo>
                <a:cubicBezTo>
                  <a:pt x="522" y="50"/>
                  <a:pt x="521" y="50"/>
                  <a:pt x="521" y="50"/>
                </a:cubicBezTo>
                <a:cubicBezTo>
                  <a:pt x="521" y="50"/>
                  <a:pt x="521" y="50"/>
                  <a:pt x="521" y="50"/>
                </a:cubicBezTo>
                <a:cubicBezTo>
                  <a:pt x="521" y="50"/>
                  <a:pt x="521" y="51"/>
                  <a:pt x="520" y="51"/>
                </a:cubicBezTo>
                <a:cubicBezTo>
                  <a:pt x="521" y="51"/>
                  <a:pt x="521" y="51"/>
                  <a:pt x="521" y="51"/>
                </a:cubicBezTo>
                <a:cubicBezTo>
                  <a:pt x="521" y="51"/>
                  <a:pt x="520" y="51"/>
                  <a:pt x="520" y="52"/>
                </a:cubicBezTo>
                <a:cubicBezTo>
                  <a:pt x="520" y="52"/>
                  <a:pt x="521" y="52"/>
                  <a:pt x="521" y="53"/>
                </a:cubicBezTo>
                <a:cubicBezTo>
                  <a:pt x="521" y="53"/>
                  <a:pt x="520" y="53"/>
                  <a:pt x="520" y="53"/>
                </a:cubicBezTo>
                <a:cubicBezTo>
                  <a:pt x="520" y="53"/>
                  <a:pt x="520" y="53"/>
                  <a:pt x="519" y="53"/>
                </a:cubicBezTo>
                <a:cubicBezTo>
                  <a:pt x="519" y="53"/>
                  <a:pt x="520" y="54"/>
                  <a:pt x="520" y="54"/>
                </a:cubicBezTo>
                <a:cubicBezTo>
                  <a:pt x="519" y="54"/>
                  <a:pt x="519" y="54"/>
                  <a:pt x="519" y="54"/>
                </a:cubicBezTo>
                <a:cubicBezTo>
                  <a:pt x="519" y="55"/>
                  <a:pt x="519" y="55"/>
                  <a:pt x="519" y="56"/>
                </a:cubicBezTo>
                <a:cubicBezTo>
                  <a:pt x="520" y="56"/>
                  <a:pt x="520" y="56"/>
                  <a:pt x="520" y="56"/>
                </a:cubicBezTo>
                <a:cubicBezTo>
                  <a:pt x="521" y="56"/>
                  <a:pt x="521" y="56"/>
                  <a:pt x="522" y="56"/>
                </a:cubicBezTo>
                <a:cubicBezTo>
                  <a:pt x="522" y="56"/>
                  <a:pt x="523" y="56"/>
                  <a:pt x="523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3" y="56"/>
                  <a:pt x="523" y="56"/>
                  <a:pt x="522" y="56"/>
                </a:cubicBezTo>
                <a:cubicBezTo>
                  <a:pt x="522" y="57"/>
                  <a:pt x="521" y="57"/>
                  <a:pt x="520" y="57"/>
                </a:cubicBezTo>
                <a:cubicBezTo>
                  <a:pt x="520" y="57"/>
                  <a:pt x="520" y="57"/>
                  <a:pt x="520" y="57"/>
                </a:cubicBezTo>
                <a:cubicBezTo>
                  <a:pt x="519" y="57"/>
                  <a:pt x="519" y="57"/>
                  <a:pt x="519" y="57"/>
                </a:cubicBezTo>
                <a:cubicBezTo>
                  <a:pt x="518" y="58"/>
                  <a:pt x="518" y="58"/>
                  <a:pt x="517" y="59"/>
                </a:cubicBezTo>
                <a:cubicBezTo>
                  <a:pt x="517" y="59"/>
                  <a:pt x="517" y="59"/>
                  <a:pt x="517" y="59"/>
                </a:cubicBezTo>
                <a:cubicBezTo>
                  <a:pt x="517" y="59"/>
                  <a:pt x="518" y="59"/>
                  <a:pt x="518" y="60"/>
                </a:cubicBezTo>
                <a:cubicBezTo>
                  <a:pt x="518" y="60"/>
                  <a:pt x="518" y="60"/>
                  <a:pt x="518" y="60"/>
                </a:cubicBezTo>
                <a:close/>
                <a:moveTo>
                  <a:pt x="529" y="43"/>
                </a:moveTo>
                <a:cubicBezTo>
                  <a:pt x="529" y="43"/>
                  <a:pt x="529" y="43"/>
                  <a:pt x="530" y="43"/>
                </a:cubicBezTo>
                <a:cubicBezTo>
                  <a:pt x="530" y="43"/>
                  <a:pt x="530" y="43"/>
                  <a:pt x="530" y="43"/>
                </a:cubicBezTo>
                <a:cubicBezTo>
                  <a:pt x="530" y="43"/>
                  <a:pt x="530" y="42"/>
                  <a:pt x="530" y="42"/>
                </a:cubicBezTo>
                <a:cubicBezTo>
                  <a:pt x="530" y="42"/>
                  <a:pt x="529" y="42"/>
                  <a:pt x="529" y="42"/>
                </a:cubicBezTo>
                <a:cubicBezTo>
                  <a:pt x="529" y="42"/>
                  <a:pt x="529" y="42"/>
                  <a:pt x="528" y="42"/>
                </a:cubicBezTo>
                <a:cubicBezTo>
                  <a:pt x="528" y="42"/>
                  <a:pt x="528" y="43"/>
                  <a:pt x="528" y="43"/>
                </a:cubicBezTo>
                <a:cubicBezTo>
                  <a:pt x="528" y="43"/>
                  <a:pt x="527" y="43"/>
                  <a:pt x="527" y="43"/>
                </a:cubicBezTo>
                <a:cubicBezTo>
                  <a:pt x="527" y="43"/>
                  <a:pt x="528" y="43"/>
                  <a:pt x="528" y="43"/>
                </a:cubicBezTo>
                <a:cubicBezTo>
                  <a:pt x="528" y="43"/>
                  <a:pt x="529" y="43"/>
                  <a:pt x="529" y="43"/>
                </a:cubicBezTo>
                <a:close/>
                <a:moveTo>
                  <a:pt x="506" y="53"/>
                </a:moveTo>
                <a:cubicBezTo>
                  <a:pt x="506" y="52"/>
                  <a:pt x="506" y="52"/>
                  <a:pt x="507" y="52"/>
                </a:cubicBezTo>
                <a:cubicBezTo>
                  <a:pt x="507" y="52"/>
                  <a:pt x="507" y="53"/>
                  <a:pt x="507" y="53"/>
                </a:cubicBezTo>
                <a:cubicBezTo>
                  <a:pt x="507" y="53"/>
                  <a:pt x="506" y="53"/>
                  <a:pt x="506" y="54"/>
                </a:cubicBezTo>
                <a:cubicBezTo>
                  <a:pt x="506" y="54"/>
                  <a:pt x="506" y="54"/>
                  <a:pt x="506" y="54"/>
                </a:cubicBezTo>
                <a:cubicBezTo>
                  <a:pt x="506" y="54"/>
                  <a:pt x="507" y="54"/>
                  <a:pt x="507" y="54"/>
                </a:cubicBezTo>
                <a:cubicBezTo>
                  <a:pt x="507" y="55"/>
                  <a:pt x="507" y="55"/>
                  <a:pt x="507" y="55"/>
                </a:cubicBezTo>
                <a:cubicBezTo>
                  <a:pt x="508" y="55"/>
                  <a:pt x="508" y="54"/>
                  <a:pt x="508" y="54"/>
                </a:cubicBezTo>
                <a:cubicBezTo>
                  <a:pt x="509" y="53"/>
                  <a:pt x="509" y="53"/>
                  <a:pt x="509" y="53"/>
                </a:cubicBezTo>
                <a:cubicBezTo>
                  <a:pt x="509" y="53"/>
                  <a:pt x="509" y="52"/>
                  <a:pt x="509" y="52"/>
                </a:cubicBezTo>
                <a:cubicBezTo>
                  <a:pt x="509" y="52"/>
                  <a:pt x="510" y="51"/>
                  <a:pt x="510" y="51"/>
                </a:cubicBezTo>
                <a:cubicBezTo>
                  <a:pt x="510" y="51"/>
                  <a:pt x="511" y="50"/>
                  <a:pt x="511" y="50"/>
                </a:cubicBezTo>
                <a:cubicBezTo>
                  <a:pt x="511" y="50"/>
                  <a:pt x="511" y="50"/>
                  <a:pt x="510" y="50"/>
                </a:cubicBezTo>
                <a:cubicBezTo>
                  <a:pt x="510" y="50"/>
                  <a:pt x="509" y="50"/>
                  <a:pt x="509" y="50"/>
                </a:cubicBezTo>
                <a:cubicBezTo>
                  <a:pt x="509" y="50"/>
                  <a:pt x="508" y="50"/>
                  <a:pt x="508" y="50"/>
                </a:cubicBezTo>
                <a:cubicBezTo>
                  <a:pt x="508" y="50"/>
                  <a:pt x="508" y="49"/>
                  <a:pt x="508" y="49"/>
                </a:cubicBezTo>
                <a:cubicBezTo>
                  <a:pt x="508" y="49"/>
                  <a:pt x="508" y="49"/>
                  <a:pt x="508" y="49"/>
                </a:cubicBezTo>
                <a:cubicBezTo>
                  <a:pt x="507" y="50"/>
                  <a:pt x="507" y="50"/>
                  <a:pt x="507" y="50"/>
                </a:cubicBezTo>
                <a:cubicBezTo>
                  <a:pt x="506" y="50"/>
                  <a:pt x="505" y="51"/>
                  <a:pt x="505" y="51"/>
                </a:cubicBezTo>
                <a:cubicBezTo>
                  <a:pt x="505" y="51"/>
                  <a:pt x="505" y="51"/>
                  <a:pt x="505" y="52"/>
                </a:cubicBezTo>
                <a:cubicBezTo>
                  <a:pt x="505" y="52"/>
                  <a:pt x="504" y="52"/>
                  <a:pt x="504" y="52"/>
                </a:cubicBezTo>
                <a:cubicBezTo>
                  <a:pt x="504" y="52"/>
                  <a:pt x="504" y="52"/>
                  <a:pt x="504" y="53"/>
                </a:cubicBezTo>
                <a:cubicBezTo>
                  <a:pt x="505" y="53"/>
                  <a:pt x="505" y="53"/>
                  <a:pt x="506" y="53"/>
                </a:cubicBezTo>
                <a:close/>
                <a:moveTo>
                  <a:pt x="496" y="78"/>
                </a:moveTo>
                <a:cubicBezTo>
                  <a:pt x="496" y="78"/>
                  <a:pt x="497" y="78"/>
                  <a:pt x="497" y="78"/>
                </a:cubicBezTo>
                <a:cubicBezTo>
                  <a:pt x="497" y="79"/>
                  <a:pt x="496" y="79"/>
                  <a:pt x="496" y="79"/>
                </a:cubicBezTo>
                <a:cubicBezTo>
                  <a:pt x="496" y="79"/>
                  <a:pt x="496" y="80"/>
                  <a:pt x="497" y="80"/>
                </a:cubicBezTo>
                <a:cubicBezTo>
                  <a:pt x="497" y="80"/>
                  <a:pt x="497" y="80"/>
                  <a:pt x="498" y="79"/>
                </a:cubicBezTo>
                <a:cubicBezTo>
                  <a:pt x="498" y="79"/>
                  <a:pt x="498" y="79"/>
                  <a:pt x="498" y="79"/>
                </a:cubicBezTo>
                <a:cubicBezTo>
                  <a:pt x="498" y="79"/>
                  <a:pt x="498" y="79"/>
                  <a:pt x="499" y="79"/>
                </a:cubicBezTo>
                <a:cubicBezTo>
                  <a:pt x="499" y="79"/>
                  <a:pt x="499" y="79"/>
                  <a:pt x="499" y="79"/>
                </a:cubicBezTo>
                <a:cubicBezTo>
                  <a:pt x="499" y="79"/>
                  <a:pt x="500" y="79"/>
                  <a:pt x="500" y="79"/>
                </a:cubicBezTo>
                <a:cubicBezTo>
                  <a:pt x="501" y="79"/>
                  <a:pt x="501" y="79"/>
                  <a:pt x="502" y="79"/>
                </a:cubicBezTo>
                <a:cubicBezTo>
                  <a:pt x="502" y="79"/>
                  <a:pt x="502" y="79"/>
                  <a:pt x="503" y="79"/>
                </a:cubicBezTo>
                <a:cubicBezTo>
                  <a:pt x="503" y="78"/>
                  <a:pt x="504" y="78"/>
                  <a:pt x="504" y="78"/>
                </a:cubicBezTo>
                <a:cubicBezTo>
                  <a:pt x="504" y="78"/>
                  <a:pt x="504" y="78"/>
                  <a:pt x="505" y="78"/>
                </a:cubicBezTo>
                <a:cubicBezTo>
                  <a:pt x="505" y="78"/>
                  <a:pt x="505" y="78"/>
                  <a:pt x="505" y="78"/>
                </a:cubicBezTo>
                <a:cubicBezTo>
                  <a:pt x="505" y="78"/>
                  <a:pt x="505" y="78"/>
                  <a:pt x="506" y="78"/>
                </a:cubicBezTo>
                <a:cubicBezTo>
                  <a:pt x="506" y="78"/>
                  <a:pt x="506" y="78"/>
                  <a:pt x="506" y="78"/>
                </a:cubicBezTo>
                <a:cubicBezTo>
                  <a:pt x="507" y="77"/>
                  <a:pt x="507" y="77"/>
                  <a:pt x="508" y="77"/>
                </a:cubicBezTo>
                <a:cubicBezTo>
                  <a:pt x="508" y="76"/>
                  <a:pt x="508" y="76"/>
                  <a:pt x="508" y="76"/>
                </a:cubicBezTo>
                <a:cubicBezTo>
                  <a:pt x="508" y="76"/>
                  <a:pt x="508" y="75"/>
                  <a:pt x="507" y="75"/>
                </a:cubicBezTo>
                <a:cubicBezTo>
                  <a:pt x="507" y="75"/>
                  <a:pt x="507" y="75"/>
                  <a:pt x="507" y="75"/>
                </a:cubicBezTo>
                <a:cubicBezTo>
                  <a:pt x="507" y="75"/>
                  <a:pt x="506" y="75"/>
                  <a:pt x="506" y="75"/>
                </a:cubicBezTo>
                <a:cubicBezTo>
                  <a:pt x="506" y="75"/>
                  <a:pt x="507" y="75"/>
                  <a:pt x="507" y="74"/>
                </a:cubicBezTo>
                <a:cubicBezTo>
                  <a:pt x="507" y="74"/>
                  <a:pt x="508" y="74"/>
                  <a:pt x="508" y="74"/>
                </a:cubicBezTo>
                <a:cubicBezTo>
                  <a:pt x="508" y="74"/>
                  <a:pt x="508" y="74"/>
                  <a:pt x="509" y="74"/>
                </a:cubicBezTo>
                <a:cubicBezTo>
                  <a:pt x="509" y="73"/>
                  <a:pt x="509" y="73"/>
                  <a:pt x="510" y="73"/>
                </a:cubicBezTo>
                <a:cubicBezTo>
                  <a:pt x="509" y="72"/>
                  <a:pt x="509" y="72"/>
                  <a:pt x="509" y="72"/>
                </a:cubicBezTo>
                <a:cubicBezTo>
                  <a:pt x="509" y="71"/>
                  <a:pt x="508" y="71"/>
                  <a:pt x="508" y="71"/>
                </a:cubicBezTo>
                <a:cubicBezTo>
                  <a:pt x="508" y="71"/>
                  <a:pt x="508" y="71"/>
                  <a:pt x="508" y="71"/>
                </a:cubicBezTo>
                <a:cubicBezTo>
                  <a:pt x="508" y="71"/>
                  <a:pt x="507" y="71"/>
                  <a:pt x="507" y="71"/>
                </a:cubicBezTo>
                <a:cubicBezTo>
                  <a:pt x="507" y="71"/>
                  <a:pt x="506" y="70"/>
                  <a:pt x="506" y="70"/>
                </a:cubicBezTo>
                <a:cubicBezTo>
                  <a:pt x="506" y="70"/>
                  <a:pt x="506" y="70"/>
                  <a:pt x="506" y="70"/>
                </a:cubicBezTo>
                <a:cubicBezTo>
                  <a:pt x="506" y="70"/>
                  <a:pt x="505" y="70"/>
                  <a:pt x="505" y="70"/>
                </a:cubicBezTo>
                <a:cubicBezTo>
                  <a:pt x="505" y="70"/>
                  <a:pt x="505" y="69"/>
                  <a:pt x="505" y="69"/>
                </a:cubicBezTo>
                <a:cubicBezTo>
                  <a:pt x="505" y="69"/>
                  <a:pt x="504" y="69"/>
                  <a:pt x="504" y="69"/>
                </a:cubicBezTo>
                <a:cubicBezTo>
                  <a:pt x="504" y="69"/>
                  <a:pt x="504" y="69"/>
                  <a:pt x="504" y="69"/>
                </a:cubicBezTo>
                <a:cubicBezTo>
                  <a:pt x="504" y="68"/>
                  <a:pt x="504" y="68"/>
                  <a:pt x="504" y="68"/>
                </a:cubicBezTo>
                <a:cubicBezTo>
                  <a:pt x="503" y="68"/>
                  <a:pt x="503" y="68"/>
                  <a:pt x="503" y="67"/>
                </a:cubicBezTo>
                <a:cubicBezTo>
                  <a:pt x="502" y="67"/>
                  <a:pt x="502" y="67"/>
                  <a:pt x="501" y="67"/>
                </a:cubicBezTo>
                <a:cubicBezTo>
                  <a:pt x="501" y="67"/>
                  <a:pt x="500" y="67"/>
                  <a:pt x="500" y="67"/>
                </a:cubicBezTo>
                <a:cubicBezTo>
                  <a:pt x="500" y="67"/>
                  <a:pt x="499" y="67"/>
                  <a:pt x="499" y="68"/>
                </a:cubicBezTo>
                <a:cubicBezTo>
                  <a:pt x="499" y="68"/>
                  <a:pt x="498" y="68"/>
                  <a:pt x="498" y="69"/>
                </a:cubicBezTo>
                <a:cubicBezTo>
                  <a:pt x="498" y="69"/>
                  <a:pt x="498" y="69"/>
                  <a:pt x="498" y="70"/>
                </a:cubicBezTo>
                <a:cubicBezTo>
                  <a:pt x="498" y="70"/>
                  <a:pt x="498" y="70"/>
                  <a:pt x="497" y="70"/>
                </a:cubicBezTo>
                <a:cubicBezTo>
                  <a:pt x="497" y="70"/>
                  <a:pt x="497" y="70"/>
                  <a:pt x="497" y="70"/>
                </a:cubicBezTo>
                <a:cubicBezTo>
                  <a:pt x="496" y="71"/>
                  <a:pt x="496" y="71"/>
                  <a:pt x="496" y="71"/>
                </a:cubicBezTo>
                <a:cubicBezTo>
                  <a:pt x="496" y="72"/>
                  <a:pt x="496" y="72"/>
                  <a:pt x="496" y="73"/>
                </a:cubicBezTo>
                <a:cubicBezTo>
                  <a:pt x="496" y="73"/>
                  <a:pt x="496" y="73"/>
                  <a:pt x="496" y="73"/>
                </a:cubicBezTo>
                <a:cubicBezTo>
                  <a:pt x="496" y="74"/>
                  <a:pt x="496" y="74"/>
                  <a:pt x="497" y="74"/>
                </a:cubicBezTo>
                <a:cubicBezTo>
                  <a:pt x="496" y="74"/>
                  <a:pt x="496" y="74"/>
                  <a:pt x="495" y="74"/>
                </a:cubicBezTo>
                <a:cubicBezTo>
                  <a:pt x="496" y="74"/>
                  <a:pt x="496" y="74"/>
                  <a:pt x="496" y="75"/>
                </a:cubicBezTo>
                <a:cubicBezTo>
                  <a:pt x="496" y="75"/>
                  <a:pt x="497" y="75"/>
                  <a:pt x="497" y="75"/>
                </a:cubicBezTo>
                <a:cubicBezTo>
                  <a:pt x="498" y="75"/>
                  <a:pt x="498" y="75"/>
                  <a:pt x="499" y="75"/>
                </a:cubicBezTo>
                <a:cubicBezTo>
                  <a:pt x="499" y="76"/>
                  <a:pt x="499" y="76"/>
                  <a:pt x="499" y="76"/>
                </a:cubicBezTo>
                <a:cubicBezTo>
                  <a:pt x="498" y="76"/>
                  <a:pt x="498" y="76"/>
                  <a:pt x="498" y="76"/>
                </a:cubicBezTo>
                <a:cubicBezTo>
                  <a:pt x="498" y="76"/>
                  <a:pt x="497" y="76"/>
                  <a:pt x="497" y="76"/>
                </a:cubicBezTo>
                <a:cubicBezTo>
                  <a:pt x="496" y="76"/>
                  <a:pt x="496" y="76"/>
                  <a:pt x="495" y="76"/>
                </a:cubicBezTo>
                <a:cubicBezTo>
                  <a:pt x="495" y="76"/>
                  <a:pt x="495" y="76"/>
                  <a:pt x="495" y="77"/>
                </a:cubicBezTo>
                <a:cubicBezTo>
                  <a:pt x="495" y="77"/>
                  <a:pt x="495" y="77"/>
                  <a:pt x="495" y="77"/>
                </a:cubicBezTo>
                <a:cubicBezTo>
                  <a:pt x="495" y="77"/>
                  <a:pt x="495" y="77"/>
                  <a:pt x="496" y="77"/>
                </a:cubicBezTo>
                <a:cubicBezTo>
                  <a:pt x="496" y="78"/>
                  <a:pt x="496" y="78"/>
                  <a:pt x="496" y="78"/>
                </a:cubicBezTo>
                <a:close/>
                <a:moveTo>
                  <a:pt x="517" y="86"/>
                </a:moveTo>
                <a:cubicBezTo>
                  <a:pt x="517" y="86"/>
                  <a:pt x="517" y="86"/>
                  <a:pt x="517" y="86"/>
                </a:cubicBezTo>
                <a:cubicBezTo>
                  <a:pt x="518" y="87"/>
                  <a:pt x="518" y="87"/>
                  <a:pt x="518" y="87"/>
                </a:cubicBezTo>
                <a:cubicBezTo>
                  <a:pt x="519" y="87"/>
                  <a:pt x="519" y="87"/>
                  <a:pt x="520" y="86"/>
                </a:cubicBezTo>
                <a:cubicBezTo>
                  <a:pt x="520" y="86"/>
                  <a:pt x="520" y="86"/>
                  <a:pt x="521" y="86"/>
                </a:cubicBezTo>
                <a:cubicBezTo>
                  <a:pt x="521" y="85"/>
                  <a:pt x="522" y="85"/>
                  <a:pt x="522" y="84"/>
                </a:cubicBezTo>
                <a:cubicBezTo>
                  <a:pt x="522" y="84"/>
                  <a:pt x="522" y="84"/>
                  <a:pt x="522" y="84"/>
                </a:cubicBezTo>
                <a:cubicBezTo>
                  <a:pt x="522" y="84"/>
                  <a:pt x="521" y="84"/>
                  <a:pt x="521" y="84"/>
                </a:cubicBezTo>
                <a:cubicBezTo>
                  <a:pt x="521" y="84"/>
                  <a:pt x="521" y="84"/>
                  <a:pt x="521" y="83"/>
                </a:cubicBezTo>
                <a:cubicBezTo>
                  <a:pt x="521" y="83"/>
                  <a:pt x="521" y="83"/>
                  <a:pt x="521" y="83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19" y="83"/>
                  <a:pt x="519" y="83"/>
                  <a:pt x="519" y="83"/>
                </a:cubicBezTo>
                <a:cubicBezTo>
                  <a:pt x="519" y="83"/>
                  <a:pt x="518" y="83"/>
                  <a:pt x="518" y="83"/>
                </a:cubicBezTo>
                <a:cubicBezTo>
                  <a:pt x="518" y="83"/>
                  <a:pt x="517" y="83"/>
                  <a:pt x="517" y="84"/>
                </a:cubicBezTo>
                <a:cubicBezTo>
                  <a:pt x="517" y="84"/>
                  <a:pt x="517" y="84"/>
                  <a:pt x="517" y="84"/>
                </a:cubicBezTo>
                <a:cubicBezTo>
                  <a:pt x="517" y="85"/>
                  <a:pt x="517" y="85"/>
                  <a:pt x="517" y="85"/>
                </a:cubicBezTo>
                <a:cubicBezTo>
                  <a:pt x="517" y="85"/>
                  <a:pt x="517" y="86"/>
                  <a:pt x="517" y="86"/>
                </a:cubicBezTo>
                <a:close/>
                <a:moveTo>
                  <a:pt x="549" y="65"/>
                </a:moveTo>
                <a:cubicBezTo>
                  <a:pt x="549" y="64"/>
                  <a:pt x="550" y="64"/>
                  <a:pt x="550" y="64"/>
                </a:cubicBezTo>
                <a:cubicBezTo>
                  <a:pt x="550" y="64"/>
                  <a:pt x="551" y="64"/>
                  <a:pt x="551" y="64"/>
                </a:cubicBezTo>
                <a:cubicBezTo>
                  <a:pt x="552" y="63"/>
                  <a:pt x="552" y="63"/>
                  <a:pt x="552" y="63"/>
                </a:cubicBezTo>
                <a:cubicBezTo>
                  <a:pt x="551" y="63"/>
                  <a:pt x="551" y="63"/>
                  <a:pt x="550" y="63"/>
                </a:cubicBezTo>
                <a:cubicBezTo>
                  <a:pt x="550" y="63"/>
                  <a:pt x="550" y="63"/>
                  <a:pt x="549" y="63"/>
                </a:cubicBezTo>
                <a:cubicBezTo>
                  <a:pt x="549" y="63"/>
                  <a:pt x="549" y="63"/>
                  <a:pt x="548" y="63"/>
                </a:cubicBezTo>
                <a:cubicBezTo>
                  <a:pt x="548" y="63"/>
                  <a:pt x="548" y="63"/>
                  <a:pt x="547" y="63"/>
                </a:cubicBezTo>
                <a:cubicBezTo>
                  <a:pt x="547" y="64"/>
                  <a:pt x="547" y="64"/>
                  <a:pt x="546" y="65"/>
                </a:cubicBezTo>
                <a:cubicBezTo>
                  <a:pt x="546" y="65"/>
                  <a:pt x="546" y="65"/>
                  <a:pt x="546" y="65"/>
                </a:cubicBezTo>
                <a:cubicBezTo>
                  <a:pt x="547" y="65"/>
                  <a:pt x="547" y="65"/>
                  <a:pt x="547" y="65"/>
                </a:cubicBezTo>
                <a:cubicBezTo>
                  <a:pt x="548" y="65"/>
                  <a:pt x="548" y="65"/>
                  <a:pt x="549" y="65"/>
                </a:cubicBezTo>
                <a:close/>
                <a:moveTo>
                  <a:pt x="585" y="211"/>
                </a:moveTo>
                <a:cubicBezTo>
                  <a:pt x="584" y="211"/>
                  <a:pt x="584" y="211"/>
                  <a:pt x="584" y="211"/>
                </a:cubicBezTo>
                <a:cubicBezTo>
                  <a:pt x="584" y="211"/>
                  <a:pt x="584" y="211"/>
                  <a:pt x="584" y="211"/>
                </a:cubicBezTo>
                <a:cubicBezTo>
                  <a:pt x="585" y="211"/>
                  <a:pt x="585" y="212"/>
                  <a:pt x="585" y="212"/>
                </a:cubicBezTo>
                <a:cubicBezTo>
                  <a:pt x="585" y="212"/>
                  <a:pt x="585" y="212"/>
                  <a:pt x="586" y="212"/>
                </a:cubicBezTo>
                <a:cubicBezTo>
                  <a:pt x="586" y="212"/>
                  <a:pt x="586" y="212"/>
                  <a:pt x="586" y="212"/>
                </a:cubicBezTo>
                <a:cubicBezTo>
                  <a:pt x="586" y="212"/>
                  <a:pt x="586" y="212"/>
                  <a:pt x="586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8" y="212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0"/>
                  <a:pt x="587" y="210"/>
                  <a:pt x="587" y="210"/>
                </a:cubicBezTo>
                <a:cubicBezTo>
                  <a:pt x="586" y="210"/>
                  <a:pt x="586" y="210"/>
                  <a:pt x="585" y="210"/>
                </a:cubicBezTo>
                <a:cubicBezTo>
                  <a:pt x="585" y="211"/>
                  <a:pt x="585" y="211"/>
                  <a:pt x="585" y="211"/>
                </a:cubicBezTo>
                <a:close/>
                <a:moveTo>
                  <a:pt x="571" y="219"/>
                </a:moveTo>
                <a:cubicBezTo>
                  <a:pt x="571" y="219"/>
                  <a:pt x="571" y="219"/>
                  <a:pt x="570" y="219"/>
                </a:cubicBezTo>
                <a:cubicBezTo>
                  <a:pt x="570" y="219"/>
                  <a:pt x="569" y="220"/>
                  <a:pt x="569" y="220"/>
                </a:cubicBezTo>
                <a:cubicBezTo>
                  <a:pt x="569" y="220"/>
                  <a:pt x="569" y="220"/>
                  <a:pt x="569" y="220"/>
                </a:cubicBezTo>
                <a:cubicBezTo>
                  <a:pt x="569" y="220"/>
                  <a:pt x="569" y="220"/>
                  <a:pt x="569" y="221"/>
                </a:cubicBezTo>
                <a:cubicBezTo>
                  <a:pt x="569" y="221"/>
                  <a:pt x="569" y="221"/>
                  <a:pt x="568" y="221"/>
                </a:cubicBezTo>
                <a:cubicBezTo>
                  <a:pt x="569" y="221"/>
                  <a:pt x="569" y="222"/>
                  <a:pt x="569" y="222"/>
                </a:cubicBezTo>
                <a:cubicBezTo>
                  <a:pt x="569" y="222"/>
                  <a:pt x="569" y="222"/>
                  <a:pt x="569" y="222"/>
                </a:cubicBezTo>
                <a:cubicBezTo>
                  <a:pt x="569" y="221"/>
                  <a:pt x="570" y="221"/>
                  <a:pt x="570" y="221"/>
                </a:cubicBezTo>
                <a:cubicBezTo>
                  <a:pt x="570" y="221"/>
                  <a:pt x="571" y="221"/>
                  <a:pt x="571" y="221"/>
                </a:cubicBezTo>
                <a:cubicBezTo>
                  <a:pt x="571" y="221"/>
                  <a:pt x="571" y="220"/>
                  <a:pt x="571" y="220"/>
                </a:cubicBezTo>
                <a:cubicBezTo>
                  <a:pt x="571" y="220"/>
                  <a:pt x="572" y="220"/>
                  <a:pt x="572" y="220"/>
                </a:cubicBezTo>
                <a:cubicBezTo>
                  <a:pt x="572" y="220"/>
                  <a:pt x="572" y="219"/>
                  <a:pt x="572" y="219"/>
                </a:cubicBezTo>
                <a:cubicBezTo>
                  <a:pt x="572" y="219"/>
                  <a:pt x="572" y="219"/>
                  <a:pt x="572" y="219"/>
                </a:cubicBezTo>
                <a:cubicBezTo>
                  <a:pt x="572" y="219"/>
                  <a:pt x="572" y="219"/>
                  <a:pt x="572" y="219"/>
                </a:cubicBezTo>
                <a:cubicBezTo>
                  <a:pt x="571" y="219"/>
                  <a:pt x="571" y="219"/>
                  <a:pt x="571" y="219"/>
                </a:cubicBezTo>
                <a:close/>
                <a:moveTo>
                  <a:pt x="541" y="209"/>
                </a:moveTo>
                <a:cubicBezTo>
                  <a:pt x="541" y="209"/>
                  <a:pt x="541" y="209"/>
                  <a:pt x="541" y="209"/>
                </a:cubicBezTo>
                <a:cubicBezTo>
                  <a:pt x="541" y="209"/>
                  <a:pt x="540" y="209"/>
                  <a:pt x="540" y="209"/>
                </a:cubicBezTo>
                <a:cubicBezTo>
                  <a:pt x="541" y="209"/>
                  <a:pt x="541" y="209"/>
                  <a:pt x="541" y="209"/>
                </a:cubicBezTo>
                <a:cubicBezTo>
                  <a:pt x="542" y="209"/>
                  <a:pt x="542" y="209"/>
                  <a:pt x="542" y="209"/>
                </a:cubicBezTo>
                <a:cubicBezTo>
                  <a:pt x="542" y="209"/>
                  <a:pt x="543" y="209"/>
                  <a:pt x="543" y="209"/>
                </a:cubicBezTo>
                <a:cubicBezTo>
                  <a:pt x="543" y="209"/>
                  <a:pt x="544" y="209"/>
                  <a:pt x="544" y="209"/>
                </a:cubicBezTo>
                <a:cubicBezTo>
                  <a:pt x="544" y="209"/>
                  <a:pt x="544" y="209"/>
                  <a:pt x="544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2" y="209"/>
                  <a:pt x="542" y="209"/>
                  <a:pt x="541" y="209"/>
                </a:cubicBezTo>
                <a:close/>
                <a:moveTo>
                  <a:pt x="586" y="210"/>
                </a:moveTo>
                <a:cubicBezTo>
                  <a:pt x="587" y="210"/>
                  <a:pt x="587" y="210"/>
                  <a:pt x="587" y="210"/>
                </a:cubicBezTo>
                <a:cubicBezTo>
                  <a:pt x="588" y="210"/>
                  <a:pt x="588" y="210"/>
                  <a:pt x="588" y="210"/>
                </a:cubicBezTo>
                <a:cubicBezTo>
                  <a:pt x="588" y="210"/>
                  <a:pt x="588" y="210"/>
                  <a:pt x="587" y="209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86" y="209"/>
                  <a:pt x="586" y="208"/>
                  <a:pt x="586" y="208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10"/>
                  <a:pt x="586" y="210"/>
                </a:cubicBezTo>
                <a:close/>
                <a:moveTo>
                  <a:pt x="560" y="207"/>
                </a:moveTo>
                <a:cubicBezTo>
                  <a:pt x="560" y="207"/>
                  <a:pt x="561" y="207"/>
                  <a:pt x="561" y="207"/>
                </a:cubicBezTo>
                <a:cubicBezTo>
                  <a:pt x="561" y="207"/>
                  <a:pt x="561" y="207"/>
                  <a:pt x="561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6"/>
                  <a:pt x="562" y="206"/>
                </a:cubicBezTo>
                <a:cubicBezTo>
                  <a:pt x="562" y="206"/>
                  <a:pt x="562" y="206"/>
                  <a:pt x="561" y="206"/>
                </a:cubicBezTo>
                <a:cubicBezTo>
                  <a:pt x="561" y="206"/>
                  <a:pt x="561" y="206"/>
                  <a:pt x="561" y="206"/>
                </a:cubicBezTo>
                <a:cubicBezTo>
                  <a:pt x="561" y="206"/>
                  <a:pt x="560" y="206"/>
                  <a:pt x="560" y="206"/>
                </a:cubicBezTo>
                <a:cubicBezTo>
                  <a:pt x="560" y="206"/>
                  <a:pt x="560" y="206"/>
                  <a:pt x="559" y="206"/>
                </a:cubicBezTo>
                <a:cubicBezTo>
                  <a:pt x="559" y="206"/>
                  <a:pt x="559" y="206"/>
                  <a:pt x="558" y="206"/>
                </a:cubicBezTo>
                <a:cubicBezTo>
                  <a:pt x="558" y="206"/>
                  <a:pt x="558" y="206"/>
                  <a:pt x="558" y="206"/>
                </a:cubicBezTo>
                <a:cubicBezTo>
                  <a:pt x="558" y="206"/>
                  <a:pt x="558" y="206"/>
                  <a:pt x="558" y="206"/>
                </a:cubicBezTo>
                <a:cubicBezTo>
                  <a:pt x="559" y="206"/>
                  <a:pt x="559" y="206"/>
                  <a:pt x="560" y="206"/>
                </a:cubicBezTo>
                <a:cubicBezTo>
                  <a:pt x="560" y="206"/>
                  <a:pt x="560" y="206"/>
                  <a:pt x="560" y="206"/>
                </a:cubicBezTo>
                <a:cubicBezTo>
                  <a:pt x="560" y="206"/>
                  <a:pt x="560" y="206"/>
                  <a:pt x="560" y="207"/>
                </a:cubicBezTo>
                <a:cubicBezTo>
                  <a:pt x="560" y="207"/>
                  <a:pt x="560" y="207"/>
                  <a:pt x="560" y="207"/>
                </a:cubicBezTo>
                <a:close/>
                <a:moveTo>
                  <a:pt x="268" y="348"/>
                </a:moveTo>
                <a:cubicBezTo>
                  <a:pt x="268" y="348"/>
                  <a:pt x="268" y="347"/>
                  <a:pt x="268" y="347"/>
                </a:cubicBezTo>
                <a:cubicBezTo>
                  <a:pt x="267" y="347"/>
                  <a:pt x="267" y="348"/>
                  <a:pt x="266" y="348"/>
                </a:cubicBezTo>
                <a:cubicBezTo>
                  <a:pt x="267" y="348"/>
                  <a:pt x="267" y="348"/>
                  <a:pt x="268" y="348"/>
                </a:cubicBezTo>
                <a:close/>
                <a:moveTo>
                  <a:pt x="268" y="346"/>
                </a:moveTo>
                <a:cubicBezTo>
                  <a:pt x="268" y="346"/>
                  <a:pt x="268" y="346"/>
                  <a:pt x="267" y="346"/>
                </a:cubicBezTo>
                <a:cubicBezTo>
                  <a:pt x="267" y="346"/>
                  <a:pt x="267" y="346"/>
                  <a:pt x="267" y="346"/>
                </a:cubicBezTo>
                <a:cubicBezTo>
                  <a:pt x="267" y="346"/>
                  <a:pt x="267" y="346"/>
                  <a:pt x="267" y="347"/>
                </a:cubicBezTo>
                <a:cubicBezTo>
                  <a:pt x="267" y="347"/>
                  <a:pt x="267" y="347"/>
                  <a:pt x="267" y="347"/>
                </a:cubicBezTo>
                <a:cubicBezTo>
                  <a:pt x="267" y="347"/>
                  <a:pt x="267" y="347"/>
                  <a:pt x="268" y="347"/>
                </a:cubicBezTo>
                <a:cubicBezTo>
                  <a:pt x="268" y="346"/>
                  <a:pt x="268" y="346"/>
                  <a:pt x="268" y="346"/>
                </a:cubicBezTo>
                <a:close/>
                <a:moveTo>
                  <a:pt x="425" y="171"/>
                </a:moveTo>
                <a:cubicBezTo>
                  <a:pt x="425" y="171"/>
                  <a:pt x="425" y="171"/>
                  <a:pt x="425" y="171"/>
                </a:cubicBezTo>
                <a:cubicBezTo>
                  <a:pt x="425" y="171"/>
                  <a:pt x="425" y="171"/>
                  <a:pt x="425" y="171"/>
                </a:cubicBezTo>
                <a:cubicBezTo>
                  <a:pt x="425" y="171"/>
                  <a:pt x="425" y="171"/>
                  <a:pt x="425" y="170"/>
                </a:cubicBezTo>
                <a:cubicBezTo>
                  <a:pt x="425" y="170"/>
                  <a:pt x="425" y="170"/>
                  <a:pt x="425" y="170"/>
                </a:cubicBezTo>
                <a:cubicBezTo>
                  <a:pt x="425" y="170"/>
                  <a:pt x="425" y="170"/>
                  <a:pt x="425" y="171"/>
                </a:cubicBezTo>
                <a:close/>
                <a:moveTo>
                  <a:pt x="258" y="335"/>
                </a:moveTo>
                <a:cubicBezTo>
                  <a:pt x="258" y="335"/>
                  <a:pt x="258" y="335"/>
                  <a:pt x="258" y="335"/>
                </a:cubicBezTo>
                <a:cubicBezTo>
                  <a:pt x="258" y="336"/>
                  <a:pt x="258" y="336"/>
                  <a:pt x="258" y="336"/>
                </a:cubicBezTo>
                <a:cubicBezTo>
                  <a:pt x="258" y="336"/>
                  <a:pt x="258" y="336"/>
                  <a:pt x="259" y="336"/>
                </a:cubicBezTo>
                <a:cubicBezTo>
                  <a:pt x="259" y="336"/>
                  <a:pt x="259" y="336"/>
                  <a:pt x="259" y="336"/>
                </a:cubicBezTo>
                <a:cubicBezTo>
                  <a:pt x="259" y="335"/>
                  <a:pt x="259" y="335"/>
                  <a:pt x="259" y="335"/>
                </a:cubicBezTo>
                <a:cubicBezTo>
                  <a:pt x="259" y="335"/>
                  <a:pt x="259" y="335"/>
                  <a:pt x="258" y="335"/>
                </a:cubicBezTo>
                <a:close/>
                <a:moveTo>
                  <a:pt x="590" y="206"/>
                </a:moveTo>
                <a:cubicBezTo>
                  <a:pt x="590" y="205"/>
                  <a:pt x="590" y="205"/>
                  <a:pt x="590" y="205"/>
                </a:cubicBezTo>
                <a:cubicBezTo>
                  <a:pt x="590" y="205"/>
                  <a:pt x="590" y="205"/>
                  <a:pt x="590" y="205"/>
                </a:cubicBezTo>
                <a:cubicBezTo>
                  <a:pt x="591" y="205"/>
                  <a:pt x="591" y="204"/>
                  <a:pt x="591" y="204"/>
                </a:cubicBezTo>
                <a:cubicBezTo>
                  <a:pt x="591" y="204"/>
                  <a:pt x="591" y="204"/>
                  <a:pt x="591" y="204"/>
                </a:cubicBezTo>
                <a:cubicBezTo>
                  <a:pt x="590" y="204"/>
                  <a:pt x="590" y="204"/>
                  <a:pt x="590" y="204"/>
                </a:cubicBezTo>
                <a:cubicBezTo>
                  <a:pt x="590" y="204"/>
                  <a:pt x="590" y="204"/>
                  <a:pt x="589" y="204"/>
                </a:cubicBezTo>
                <a:cubicBezTo>
                  <a:pt x="589" y="204"/>
                  <a:pt x="589" y="205"/>
                  <a:pt x="588" y="205"/>
                </a:cubicBezTo>
                <a:cubicBezTo>
                  <a:pt x="588" y="205"/>
                  <a:pt x="588" y="205"/>
                  <a:pt x="588" y="205"/>
                </a:cubicBezTo>
                <a:cubicBezTo>
                  <a:pt x="588" y="205"/>
                  <a:pt x="588" y="205"/>
                  <a:pt x="588" y="205"/>
                </a:cubicBezTo>
                <a:cubicBezTo>
                  <a:pt x="588" y="205"/>
                  <a:pt x="589" y="205"/>
                  <a:pt x="589" y="205"/>
                </a:cubicBezTo>
                <a:cubicBezTo>
                  <a:pt x="589" y="205"/>
                  <a:pt x="590" y="205"/>
                  <a:pt x="590" y="206"/>
                </a:cubicBezTo>
                <a:close/>
                <a:moveTo>
                  <a:pt x="265" y="346"/>
                </a:moveTo>
                <a:cubicBezTo>
                  <a:pt x="266" y="346"/>
                  <a:pt x="266" y="346"/>
                  <a:pt x="266" y="346"/>
                </a:cubicBezTo>
                <a:cubicBezTo>
                  <a:pt x="266" y="346"/>
                  <a:pt x="266" y="346"/>
                  <a:pt x="266" y="346"/>
                </a:cubicBezTo>
                <a:cubicBezTo>
                  <a:pt x="266" y="346"/>
                  <a:pt x="265" y="346"/>
                  <a:pt x="265" y="346"/>
                </a:cubicBezTo>
                <a:close/>
                <a:moveTo>
                  <a:pt x="588" y="191"/>
                </a:moveTo>
                <a:cubicBezTo>
                  <a:pt x="588" y="191"/>
                  <a:pt x="588" y="191"/>
                  <a:pt x="589" y="191"/>
                </a:cubicBezTo>
                <a:cubicBezTo>
                  <a:pt x="589" y="190"/>
                  <a:pt x="589" y="190"/>
                  <a:pt x="589" y="190"/>
                </a:cubicBezTo>
                <a:cubicBezTo>
                  <a:pt x="589" y="190"/>
                  <a:pt x="589" y="190"/>
                  <a:pt x="590" y="190"/>
                </a:cubicBezTo>
                <a:cubicBezTo>
                  <a:pt x="590" y="189"/>
                  <a:pt x="589" y="189"/>
                  <a:pt x="589" y="189"/>
                </a:cubicBezTo>
                <a:cubicBezTo>
                  <a:pt x="589" y="189"/>
                  <a:pt x="589" y="190"/>
                  <a:pt x="589" y="190"/>
                </a:cubicBezTo>
                <a:cubicBezTo>
                  <a:pt x="588" y="190"/>
                  <a:pt x="588" y="190"/>
                  <a:pt x="588" y="191"/>
                </a:cubicBezTo>
                <a:close/>
                <a:moveTo>
                  <a:pt x="532" y="169"/>
                </a:moveTo>
                <a:cubicBezTo>
                  <a:pt x="532" y="169"/>
                  <a:pt x="532" y="169"/>
                  <a:pt x="532" y="170"/>
                </a:cubicBezTo>
                <a:cubicBezTo>
                  <a:pt x="532" y="170"/>
                  <a:pt x="532" y="170"/>
                  <a:pt x="532" y="170"/>
                </a:cubicBezTo>
                <a:cubicBezTo>
                  <a:pt x="533" y="170"/>
                  <a:pt x="533" y="170"/>
                  <a:pt x="533" y="170"/>
                </a:cubicBezTo>
                <a:cubicBezTo>
                  <a:pt x="533" y="170"/>
                  <a:pt x="533" y="170"/>
                  <a:pt x="533" y="170"/>
                </a:cubicBezTo>
                <a:cubicBezTo>
                  <a:pt x="533" y="169"/>
                  <a:pt x="533" y="169"/>
                  <a:pt x="534" y="169"/>
                </a:cubicBezTo>
                <a:cubicBezTo>
                  <a:pt x="534" y="169"/>
                  <a:pt x="534" y="169"/>
                  <a:pt x="534" y="169"/>
                </a:cubicBezTo>
                <a:cubicBezTo>
                  <a:pt x="533" y="169"/>
                  <a:pt x="533" y="169"/>
                  <a:pt x="533" y="169"/>
                </a:cubicBezTo>
                <a:cubicBezTo>
                  <a:pt x="532" y="169"/>
                  <a:pt x="532" y="169"/>
                  <a:pt x="532" y="169"/>
                </a:cubicBezTo>
                <a:close/>
                <a:moveTo>
                  <a:pt x="531" y="158"/>
                </a:moveTo>
                <a:cubicBezTo>
                  <a:pt x="530" y="158"/>
                  <a:pt x="530" y="158"/>
                  <a:pt x="530" y="157"/>
                </a:cubicBezTo>
                <a:cubicBezTo>
                  <a:pt x="529" y="157"/>
                  <a:pt x="529" y="157"/>
                  <a:pt x="529" y="158"/>
                </a:cubicBezTo>
                <a:cubicBezTo>
                  <a:pt x="529" y="158"/>
                  <a:pt x="529" y="158"/>
                  <a:pt x="529" y="158"/>
                </a:cubicBezTo>
                <a:cubicBezTo>
                  <a:pt x="529" y="158"/>
                  <a:pt x="528" y="158"/>
                  <a:pt x="528" y="159"/>
                </a:cubicBezTo>
                <a:cubicBezTo>
                  <a:pt x="528" y="158"/>
                  <a:pt x="528" y="158"/>
                  <a:pt x="529" y="158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30" y="159"/>
                  <a:pt x="530" y="160"/>
                </a:cubicBezTo>
                <a:cubicBezTo>
                  <a:pt x="530" y="159"/>
                  <a:pt x="530" y="159"/>
                  <a:pt x="530" y="159"/>
                </a:cubicBezTo>
                <a:cubicBezTo>
                  <a:pt x="530" y="159"/>
                  <a:pt x="530" y="159"/>
                  <a:pt x="530" y="159"/>
                </a:cubicBezTo>
                <a:cubicBezTo>
                  <a:pt x="530" y="159"/>
                  <a:pt x="531" y="159"/>
                  <a:pt x="531" y="159"/>
                </a:cubicBezTo>
                <a:cubicBezTo>
                  <a:pt x="531" y="159"/>
                  <a:pt x="532" y="159"/>
                  <a:pt x="532" y="158"/>
                </a:cubicBezTo>
                <a:cubicBezTo>
                  <a:pt x="532" y="158"/>
                  <a:pt x="532" y="158"/>
                  <a:pt x="532" y="158"/>
                </a:cubicBezTo>
                <a:cubicBezTo>
                  <a:pt x="532" y="158"/>
                  <a:pt x="533" y="158"/>
                  <a:pt x="533" y="158"/>
                </a:cubicBezTo>
                <a:cubicBezTo>
                  <a:pt x="533" y="158"/>
                  <a:pt x="532" y="158"/>
                  <a:pt x="532" y="158"/>
                </a:cubicBezTo>
                <a:cubicBezTo>
                  <a:pt x="532" y="158"/>
                  <a:pt x="531" y="158"/>
                  <a:pt x="531" y="158"/>
                </a:cubicBezTo>
                <a:close/>
                <a:moveTo>
                  <a:pt x="551" y="169"/>
                </a:moveTo>
                <a:cubicBezTo>
                  <a:pt x="551" y="169"/>
                  <a:pt x="551" y="169"/>
                  <a:pt x="551" y="170"/>
                </a:cubicBezTo>
                <a:cubicBezTo>
                  <a:pt x="551" y="170"/>
                  <a:pt x="551" y="170"/>
                  <a:pt x="551" y="170"/>
                </a:cubicBezTo>
                <a:cubicBezTo>
                  <a:pt x="551" y="170"/>
                  <a:pt x="552" y="171"/>
                  <a:pt x="552" y="171"/>
                </a:cubicBezTo>
                <a:cubicBezTo>
                  <a:pt x="552" y="171"/>
                  <a:pt x="552" y="171"/>
                  <a:pt x="552" y="171"/>
                </a:cubicBezTo>
                <a:cubicBezTo>
                  <a:pt x="552" y="171"/>
                  <a:pt x="553" y="171"/>
                  <a:pt x="553" y="171"/>
                </a:cubicBezTo>
                <a:cubicBezTo>
                  <a:pt x="553" y="171"/>
                  <a:pt x="553" y="171"/>
                  <a:pt x="554" y="171"/>
                </a:cubicBezTo>
                <a:cubicBezTo>
                  <a:pt x="554" y="171"/>
                  <a:pt x="554" y="171"/>
                  <a:pt x="55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6" y="171"/>
                  <a:pt x="556" y="171"/>
                  <a:pt x="556" y="171"/>
                </a:cubicBezTo>
                <a:cubicBezTo>
                  <a:pt x="557" y="170"/>
                  <a:pt x="557" y="170"/>
                  <a:pt x="557" y="170"/>
                </a:cubicBezTo>
                <a:cubicBezTo>
                  <a:pt x="557" y="170"/>
                  <a:pt x="556" y="170"/>
                  <a:pt x="556" y="170"/>
                </a:cubicBezTo>
                <a:cubicBezTo>
                  <a:pt x="556" y="169"/>
                  <a:pt x="556" y="169"/>
                  <a:pt x="556" y="169"/>
                </a:cubicBezTo>
                <a:cubicBezTo>
                  <a:pt x="556" y="169"/>
                  <a:pt x="555" y="169"/>
                  <a:pt x="555" y="169"/>
                </a:cubicBezTo>
                <a:cubicBezTo>
                  <a:pt x="555" y="169"/>
                  <a:pt x="555" y="169"/>
                  <a:pt x="554" y="169"/>
                </a:cubicBezTo>
                <a:cubicBezTo>
                  <a:pt x="554" y="169"/>
                  <a:pt x="554" y="169"/>
                  <a:pt x="554" y="169"/>
                </a:cubicBezTo>
                <a:cubicBezTo>
                  <a:pt x="553" y="169"/>
                  <a:pt x="553" y="169"/>
                  <a:pt x="553" y="169"/>
                </a:cubicBezTo>
                <a:cubicBezTo>
                  <a:pt x="553" y="169"/>
                  <a:pt x="553" y="169"/>
                  <a:pt x="553" y="169"/>
                </a:cubicBezTo>
                <a:cubicBezTo>
                  <a:pt x="553" y="169"/>
                  <a:pt x="553" y="168"/>
                  <a:pt x="553" y="168"/>
                </a:cubicBezTo>
                <a:cubicBezTo>
                  <a:pt x="553" y="168"/>
                  <a:pt x="553" y="168"/>
                  <a:pt x="553" y="168"/>
                </a:cubicBezTo>
                <a:cubicBezTo>
                  <a:pt x="552" y="169"/>
                  <a:pt x="552" y="169"/>
                  <a:pt x="552" y="169"/>
                </a:cubicBezTo>
                <a:cubicBezTo>
                  <a:pt x="552" y="169"/>
                  <a:pt x="552" y="169"/>
                  <a:pt x="552" y="169"/>
                </a:cubicBezTo>
                <a:cubicBezTo>
                  <a:pt x="551" y="169"/>
                  <a:pt x="551" y="169"/>
                  <a:pt x="551" y="169"/>
                </a:cubicBezTo>
                <a:close/>
                <a:moveTo>
                  <a:pt x="529" y="202"/>
                </a:moveTo>
                <a:cubicBezTo>
                  <a:pt x="528" y="202"/>
                  <a:pt x="528" y="201"/>
                  <a:pt x="528" y="201"/>
                </a:cubicBezTo>
                <a:cubicBezTo>
                  <a:pt x="528" y="201"/>
                  <a:pt x="527" y="202"/>
                  <a:pt x="527" y="202"/>
                </a:cubicBezTo>
                <a:cubicBezTo>
                  <a:pt x="527" y="202"/>
                  <a:pt x="527" y="202"/>
                  <a:pt x="527" y="202"/>
                </a:cubicBezTo>
                <a:cubicBezTo>
                  <a:pt x="527" y="202"/>
                  <a:pt x="528" y="202"/>
                  <a:pt x="528" y="202"/>
                </a:cubicBezTo>
                <a:cubicBezTo>
                  <a:pt x="528" y="202"/>
                  <a:pt x="528" y="202"/>
                  <a:pt x="529" y="202"/>
                </a:cubicBezTo>
                <a:close/>
                <a:moveTo>
                  <a:pt x="553" y="166"/>
                </a:moveTo>
                <a:cubicBezTo>
                  <a:pt x="553" y="166"/>
                  <a:pt x="553" y="166"/>
                  <a:pt x="553" y="165"/>
                </a:cubicBezTo>
                <a:cubicBezTo>
                  <a:pt x="553" y="165"/>
                  <a:pt x="553" y="165"/>
                  <a:pt x="553" y="165"/>
                </a:cubicBezTo>
                <a:cubicBezTo>
                  <a:pt x="553" y="165"/>
                  <a:pt x="552" y="165"/>
                  <a:pt x="552" y="164"/>
                </a:cubicBezTo>
                <a:cubicBezTo>
                  <a:pt x="552" y="165"/>
                  <a:pt x="552" y="165"/>
                  <a:pt x="552" y="165"/>
                </a:cubicBezTo>
                <a:cubicBezTo>
                  <a:pt x="552" y="166"/>
                  <a:pt x="552" y="166"/>
                  <a:pt x="552" y="166"/>
                </a:cubicBezTo>
                <a:cubicBezTo>
                  <a:pt x="553" y="166"/>
                  <a:pt x="553" y="166"/>
                  <a:pt x="553" y="166"/>
                </a:cubicBezTo>
                <a:close/>
                <a:moveTo>
                  <a:pt x="534" y="167"/>
                </a:moveTo>
                <a:cubicBezTo>
                  <a:pt x="534" y="167"/>
                  <a:pt x="534" y="167"/>
                  <a:pt x="534" y="167"/>
                </a:cubicBezTo>
                <a:cubicBezTo>
                  <a:pt x="534" y="167"/>
                  <a:pt x="534" y="167"/>
                  <a:pt x="533" y="166"/>
                </a:cubicBezTo>
                <a:cubicBezTo>
                  <a:pt x="533" y="166"/>
                  <a:pt x="533" y="166"/>
                  <a:pt x="533" y="166"/>
                </a:cubicBezTo>
                <a:cubicBezTo>
                  <a:pt x="533" y="167"/>
                  <a:pt x="533" y="167"/>
                  <a:pt x="533" y="167"/>
                </a:cubicBezTo>
                <a:cubicBezTo>
                  <a:pt x="533" y="167"/>
                  <a:pt x="533" y="167"/>
                  <a:pt x="533" y="168"/>
                </a:cubicBezTo>
                <a:cubicBezTo>
                  <a:pt x="533" y="168"/>
                  <a:pt x="533" y="168"/>
                  <a:pt x="533" y="168"/>
                </a:cubicBezTo>
                <a:cubicBezTo>
                  <a:pt x="533" y="168"/>
                  <a:pt x="534" y="168"/>
                  <a:pt x="534" y="168"/>
                </a:cubicBezTo>
                <a:cubicBezTo>
                  <a:pt x="534" y="167"/>
                  <a:pt x="534" y="167"/>
                  <a:pt x="534" y="167"/>
                </a:cubicBezTo>
                <a:close/>
                <a:moveTo>
                  <a:pt x="541" y="155"/>
                </a:moveTo>
                <a:cubicBezTo>
                  <a:pt x="541" y="155"/>
                  <a:pt x="541" y="155"/>
                  <a:pt x="541" y="155"/>
                </a:cubicBezTo>
                <a:cubicBezTo>
                  <a:pt x="541" y="155"/>
                  <a:pt x="541" y="155"/>
                  <a:pt x="541" y="155"/>
                </a:cubicBezTo>
                <a:cubicBezTo>
                  <a:pt x="541" y="155"/>
                  <a:pt x="541" y="155"/>
                  <a:pt x="541" y="154"/>
                </a:cubicBezTo>
                <a:cubicBezTo>
                  <a:pt x="541" y="155"/>
                  <a:pt x="541" y="155"/>
                  <a:pt x="541" y="155"/>
                </a:cubicBezTo>
                <a:close/>
                <a:moveTo>
                  <a:pt x="540" y="171"/>
                </a:moveTo>
                <a:cubicBezTo>
                  <a:pt x="540" y="172"/>
                  <a:pt x="540" y="172"/>
                  <a:pt x="539" y="172"/>
                </a:cubicBezTo>
                <a:cubicBezTo>
                  <a:pt x="539" y="173"/>
                  <a:pt x="538" y="173"/>
                  <a:pt x="538" y="174"/>
                </a:cubicBezTo>
                <a:cubicBezTo>
                  <a:pt x="538" y="174"/>
                  <a:pt x="538" y="174"/>
                  <a:pt x="538" y="174"/>
                </a:cubicBezTo>
                <a:cubicBezTo>
                  <a:pt x="538" y="175"/>
                  <a:pt x="538" y="175"/>
                  <a:pt x="538" y="175"/>
                </a:cubicBezTo>
                <a:cubicBezTo>
                  <a:pt x="538" y="175"/>
                  <a:pt x="538" y="175"/>
                  <a:pt x="539" y="175"/>
                </a:cubicBezTo>
                <a:cubicBezTo>
                  <a:pt x="539" y="176"/>
                  <a:pt x="538" y="176"/>
                  <a:pt x="538" y="176"/>
                </a:cubicBezTo>
                <a:cubicBezTo>
                  <a:pt x="538" y="176"/>
                  <a:pt x="539" y="176"/>
                  <a:pt x="539" y="177"/>
                </a:cubicBezTo>
                <a:cubicBezTo>
                  <a:pt x="539" y="176"/>
                  <a:pt x="539" y="176"/>
                  <a:pt x="539" y="176"/>
                </a:cubicBezTo>
                <a:cubicBezTo>
                  <a:pt x="540" y="176"/>
                  <a:pt x="540" y="176"/>
                  <a:pt x="540" y="176"/>
                </a:cubicBezTo>
                <a:cubicBezTo>
                  <a:pt x="541" y="176"/>
                  <a:pt x="541" y="176"/>
                  <a:pt x="542" y="176"/>
                </a:cubicBezTo>
                <a:cubicBezTo>
                  <a:pt x="542" y="176"/>
                  <a:pt x="542" y="176"/>
                  <a:pt x="543" y="176"/>
                </a:cubicBezTo>
                <a:cubicBezTo>
                  <a:pt x="543" y="176"/>
                  <a:pt x="543" y="176"/>
                  <a:pt x="544" y="175"/>
                </a:cubicBezTo>
                <a:cubicBezTo>
                  <a:pt x="544" y="175"/>
                  <a:pt x="544" y="175"/>
                  <a:pt x="545" y="175"/>
                </a:cubicBezTo>
                <a:cubicBezTo>
                  <a:pt x="545" y="175"/>
                  <a:pt x="545" y="175"/>
                  <a:pt x="545" y="175"/>
                </a:cubicBezTo>
                <a:cubicBezTo>
                  <a:pt x="545" y="175"/>
                  <a:pt x="546" y="174"/>
                  <a:pt x="546" y="174"/>
                </a:cubicBezTo>
                <a:cubicBezTo>
                  <a:pt x="546" y="174"/>
                  <a:pt x="547" y="174"/>
                  <a:pt x="547" y="174"/>
                </a:cubicBezTo>
                <a:cubicBezTo>
                  <a:pt x="547" y="173"/>
                  <a:pt x="547" y="173"/>
                  <a:pt x="547" y="173"/>
                </a:cubicBezTo>
                <a:cubicBezTo>
                  <a:pt x="548" y="172"/>
                  <a:pt x="548" y="172"/>
                  <a:pt x="549" y="171"/>
                </a:cubicBezTo>
                <a:cubicBezTo>
                  <a:pt x="549" y="171"/>
                  <a:pt x="548" y="171"/>
                  <a:pt x="548" y="171"/>
                </a:cubicBezTo>
                <a:cubicBezTo>
                  <a:pt x="549" y="170"/>
                  <a:pt x="549" y="170"/>
                  <a:pt x="549" y="170"/>
                </a:cubicBezTo>
                <a:cubicBezTo>
                  <a:pt x="549" y="170"/>
                  <a:pt x="549" y="169"/>
                  <a:pt x="550" y="169"/>
                </a:cubicBezTo>
                <a:cubicBezTo>
                  <a:pt x="550" y="169"/>
                  <a:pt x="550" y="169"/>
                  <a:pt x="550" y="168"/>
                </a:cubicBezTo>
                <a:cubicBezTo>
                  <a:pt x="549" y="168"/>
                  <a:pt x="549" y="168"/>
                  <a:pt x="549" y="168"/>
                </a:cubicBezTo>
                <a:cubicBezTo>
                  <a:pt x="549" y="168"/>
                  <a:pt x="548" y="168"/>
                  <a:pt x="548" y="167"/>
                </a:cubicBezTo>
                <a:cubicBezTo>
                  <a:pt x="548" y="167"/>
                  <a:pt x="548" y="168"/>
                  <a:pt x="548" y="168"/>
                </a:cubicBezTo>
                <a:cubicBezTo>
                  <a:pt x="547" y="167"/>
                  <a:pt x="547" y="167"/>
                  <a:pt x="547" y="167"/>
                </a:cubicBezTo>
                <a:cubicBezTo>
                  <a:pt x="546" y="167"/>
                  <a:pt x="546" y="167"/>
                  <a:pt x="546" y="167"/>
                </a:cubicBezTo>
                <a:cubicBezTo>
                  <a:pt x="545" y="167"/>
                  <a:pt x="545" y="168"/>
                  <a:pt x="545" y="168"/>
                </a:cubicBezTo>
                <a:cubicBezTo>
                  <a:pt x="544" y="168"/>
                  <a:pt x="544" y="168"/>
                  <a:pt x="544" y="168"/>
                </a:cubicBezTo>
                <a:cubicBezTo>
                  <a:pt x="544" y="168"/>
                  <a:pt x="544" y="168"/>
                  <a:pt x="543" y="168"/>
                </a:cubicBezTo>
                <a:cubicBezTo>
                  <a:pt x="543" y="168"/>
                  <a:pt x="543" y="168"/>
                  <a:pt x="543" y="168"/>
                </a:cubicBezTo>
                <a:cubicBezTo>
                  <a:pt x="543" y="169"/>
                  <a:pt x="542" y="169"/>
                  <a:pt x="542" y="169"/>
                </a:cubicBezTo>
                <a:cubicBezTo>
                  <a:pt x="541" y="170"/>
                  <a:pt x="541" y="170"/>
                  <a:pt x="541" y="171"/>
                </a:cubicBezTo>
                <a:cubicBezTo>
                  <a:pt x="540" y="171"/>
                  <a:pt x="540" y="171"/>
                  <a:pt x="540" y="171"/>
                </a:cubicBezTo>
                <a:close/>
                <a:moveTo>
                  <a:pt x="544" y="161"/>
                </a:moveTo>
                <a:cubicBezTo>
                  <a:pt x="545" y="161"/>
                  <a:pt x="545" y="161"/>
                  <a:pt x="545" y="161"/>
                </a:cubicBezTo>
                <a:cubicBezTo>
                  <a:pt x="545" y="161"/>
                  <a:pt x="545" y="161"/>
                  <a:pt x="545" y="160"/>
                </a:cubicBezTo>
                <a:cubicBezTo>
                  <a:pt x="545" y="160"/>
                  <a:pt x="545" y="160"/>
                  <a:pt x="545" y="160"/>
                </a:cubicBezTo>
                <a:cubicBezTo>
                  <a:pt x="545" y="160"/>
                  <a:pt x="544" y="160"/>
                  <a:pt x="544" y="160"/>
                </a:cubicBezTo>
                <a:cubicBezTo>
                  <a:pt x="544" y="160"/>
                  <a:pt x="543" y="160"/>
                  <a:pt x="543" y="160"/>
                </a:cubicBezTo>
                <a:cubicBezTo>
                  <a:pt x="543" y="160"/>
                  <a:pt x="543" y="161"/>
                  <a:pt x="543" y="161"/>
                </a:cubicBezTo>
                <a:cubicBezTo>
                  <a:pt x="543" y="161"/>
                  <a:pt x="542" y="161"/>
                  <a:pt x="542" y="161"/>
                </a:cubicBezTo>
                <a:cubicBezTo>
                  <a:pt x="543" y="162"/>
                  <a:pt x="543" y="162"/>
                  <a:pt x="543" y="162"/>
                </a:cubicBezTo>
                <a:cubicBezTo>
                  <a:pt x="543" y="162"/>
                  <a:pt x="544" y="162"/>
                  <a:pt x="544" y="162"/>
                </a:cubicBezTo>
                <a:cubicBezTo>
                  <a:pt x="544" y="162"/>
                  <a:pt x="544" y="162"/>
                  <a:pt x="544" y="161"/>
                </a:cubicBezTo>
                <a:close/>
                <a:moveTo>
                  <a:pt x="537" y="161"/>
                </a:moveTo>
                <a:cubicBezTo>
                  <a:pt x="536" y="161"/>
                  <a:pt x="536" y="161"/>
                  <a:pt x="536" y="161"/>
                </a:cubicBezTo>
                <a:cubicBezTo>
                  <a:pt x="536" y="162"/>
                  <a:pt x="535" y="162"/>
                  <a:pt x="535" y="162"/>
                </a:cubicBezTo>
                <a:cubicBezTo>
                  <a:pt x="535" y="162"/>
                  <a:pt x="535" y="162"/>
                  <a:pt x="534" y="163"/>
                </a:cubicBezTo>
                <a:cubicBezTo>
                  <a:pt x="534" y="163"/>
                  <a:pt x="533" y="163"/>
                  <a:pt x="533" y="163"/>
                </a:cubicBezTo>
                <a:cubicBezTo>
                  <a:pt x="533" y="163"/>
                  <a:pt x="532" y="163"/>
                  <a:pt x="532" y="163"/>
                </a:cubicBezTo>
                <a:cubicBezTo>
                  <a:pt x="532" y="164"/>
                  <a:pt x="532" y="164"/>
                  <a:pt x="532" y="164"/>
                </a:cubicBezTo>
                <a:cubicBezTo>
                  <a:pt x="531" y="164"/>
                  <a:pt x="531" y="164"/>
                  <a:pt x="531" y="165"/>
                </a:cubicBezTo>
                <a:cubicBezTo>
                  <a:pt x="531" y="165"/>
                  <a:pt x="531" y="165"/>
                  <a:pt x="532" y="165"/>
                </a:cubicBezTo>
                <a:cubicBezTo>
                  <a:pt x="532" y="165"/>
                  <a:pt x="532" y="165"/>
                  <a:pt x="532" y="165"/>
                </a:cubicBezTo>
                <a:cubicBezTo>
                  <a:pt x="532" y="165"/>
                  <a:pt x="533" y="165"/>
                  <a:pt x="533" y="165"/>
                </a:cubicBezTo>
                <a:cubicBezTo>
                  <a:pt x="533" y="165"/>
                  <a:pt x="533" y="165"/>
                  <a:pt x="534" y="165"/>
                </a:cubicBezTo>
                <a:cubicBezTo>
                  <a:pt x="534" y="164"/>
                  <a:pt x="535" y="164"/>
                  <a:pt x="536" y="163"/>
                </a:cubicBezTo>
                <a:cubicBezTo>
                  <a:pt x="536" y="163"/>
                  <a:pt x="536" y="163"/>
                  <a:pt x="536" y="163"/>
                </a:cubicBezTo>
                <a:cubicBezTo>
                  <a:pt x="536" y="163"/>
                  <a:pt x="536" y="163"/>
                  <a:pt x="537" y="163"/>
                </a:cubicBezTo>
                <a:cubicBezTo>
                  <a:pt x="537" y="162"/>
                  <a:pt x="537" y="162"/>
                  <a:pt x="537" y="162"/>
                </a:cubicBezTo>
                <a:cubicBezTo>
                  <a:pt x="538" y="161"/>
                  <a:pt x="538" y="161"/>
                  <a:pt x="538" y="161"/>
                </a:cubicBezTo>
                <a:cubicBezTo>
                  <a:pt x="538" y="161"/>
                  <a:pt x="538" y="161"/>
                  <a:pt x="538" y="160"/>
                </a:cubicBezTo>
                <a:cubicBezTo>
                  <a:pt x="538" y="160"/>
                  <a:pt x="538" y="160"/>
                  <a:pt x="537" y="160"/>
                </a:cubicBezTo>
                <a:cubicBezTo>
                  <a:pt x="537" y="160"/>
                  <a:pt x="537" y="160"/>
                  <a:pt x="537" y="161"/>
                </a:cubicBezTo>
                <a:cubicBezTo>
                  <a:pt x="537" y="161"/>
                  <a:pt x="537" y="161"/>
                  <a:pt x="537" y="161"/>
                </a:cubicBezTo>
                <a:close/>
                <a:moveTo>
                  <a:pt x="539" y="157"/>
                </a:moveTo>
                <a:cubicBezTo>
                  <a:pt x="539" y="158"/>
                  <a:pt x="539" y="158"/>
                  <a:pt x="539" y="158"/>
                </a:cubicBezTo>
                <a:cubicBezTo>
                  <a:pt x="539" y="158"/>
                  <a:pt x="538" y="158"/>
                  <a:pt x="538" y="158"/>
                </a:cubicBezTo>
                <a:cubicBezTo>
                  <a:pt x="538" y="158"/>
                  <a:pt x="538" y="159"/>
                  <a:pt x="538" y="159"/>
                </a:cubicBezTo>
                <a:cubicBezTo>
                  <a:pt x="537" y="159"/>
                  <a:pt x="537" y="159"/>
                  <a:pt x="537" y="159"/>
                </a:cubicBezTo>
                <a:cubicBezTo>
                  <a:pt x="537" y="159"/>
                  <a:pt x="537" y="159"/>
                  <a:pt x="538" y="159"/>
                </a:cubicBezTo>
                <a:cubicBezTo>
                  <a:pt x="538" y="159"/>
                  <a:pt x="538" y="159"/>
                  <a:pt x="538" y="159"/>
                </a:cubicBezTo>
                <a:cubicBezTo>
                  <a:pt x="539" y="159"/>
                  <a:pt x="539" y="159"/>
                  <a:pt x="539" y="158"/>
                </a:cubicBezTo>
                <a:cubicBezTo>
                  <a:pt x="540" y="158"/>
                  <a:pt x="540" y="158"/>
                  <a:pt x="540" y="158"/>
                </a:cubicBezTo>
                <a:cubicBezTo>
                  <a:pt x="540" y="158"/>
                  <a:pt x="540" y="158"/>
                  <a:pt x="540" y="158"/>
                </a:cubicBezTo>
                <a:cubicBezTo>
                  <a:pt x="540" y="157"/>
                  <a:pt x="540" y="157"/>
                  <a:pt x="540" y="157"/>
                </a:cubicBezTo>
                <a:cubicBezTo>
                  <a:pt x="540" y="157"/>
                  <a:pt x="539" y="157"/>
                  <a:pt x="539" y="157"/>
                </a:cubicBezTo>
                <a:close/>
                <a:moveTo>
                  <a:pt x="633" y="6"/>
                </a:moveTo>
                <a:cubicBezTo>
                  <a:pt x="633" y="6"/>
                  <a:pt x="633" y="5"/>
                  <a:pt x="633" y="5"/>
                </a:cubicBezTo>
                <a:cubicBezTo>
                  <a:pt x="632" y="5"/>
                  <a:pt x="632" y="5"/>
                  <a:pt x="632" y="5"/>
                </a:cubicBezTo>
                <a:cubicBezTo>
                  <a:pt x="632" y="6"/>
                  <a:pt x="632" y="6"/>
                  <a:pt x="631" y="6"/>
                </a:cubicBezTo>
                <a:cubicBezTo>
                  <a:pt x="632" y="6"/>
                  <a:pt x="632" y="6"/>
                  <a:pt x="632" y="6"/>
                </a:cubicBezTo>
                <a:cubicBezTo>
                  <a:pt x="633" y="6"/>
                  <a:pt x="633" y="6"/>
                  <a:pt x="633" y="6"/>
                </a:cubicBezTo>
                <a:close/>
                <a:moveTo>
                  <a:pt x="625" y="268"/>
                </a:moveTo>
                <a:cubicBezTo>
                  <a:pt x="625" y="268"/>
                  <a:pt x="625" y="268"/>
                  <a:pt x="625" y="268"/>
                </a:cubicBezTo>
                <a:cubicBezTo>
                  <a:pt x="625" y="268"/>
                  <a:pt x="625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5" y="268"/>
                  <a:pt x="625" y="268"/>
                  <a:pt x="625" y="268"/>
                </a:cubicBezTo>
                <a:close/>
                <a:moveTo>
                  <a:pt x="621" y="289"/>
                </a:moveTo>
                <a:cubicBezTo>
                  <a:pt x="621" y="289"/>
                  <a:pt x="621" y="289"/>
                  <a:pt x="621" y="289"/>
                </a:cubicBezTo>
                <a:cubicBezTo>
                  <a:pt x="621" y="289"/>
                  <a:pt x="621" y="289"/>
                  <a:pt x="621" y="289"/>
                </a:cubicBezTo>
                <a:cubicBezTo>
                  <a:pt x="621" y="289"/>
                  <a:pt x="621" y="288"/>
                  <a:pt x="621" y="288"/>
                </a:cubicBezTo>
                <a:cubicBezTo>
                  <a:pt x="621" y="288"/>
                  <a:pt x="621" y="288"/>
                  <a:pt x="621" y="288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1" y="288"/>
                  <a:pt x="621" y="288"/>
                  <a:pt x="621" y="288"/>
                </a:cubicBezTo>
                <a:cubicBezTo>
                  <a:pt x="621" y="287"/>
                  <a:pt x="621" y="287"/>
                  <a:pt x="621" y="287"/>
                </a:cubicBezTo>
                <a:cubicBezTo>
                  <a:pt x="621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0" y="289"/>
                  <a:pt x="620" y="289"/>
                  <a:pt x="620" y="289"/>
                </a:cubicBezTo>
                <a:cubicBezTo>
                  <a:pt x="620" y="289"/>
                  <a:pt x="620" y="289"/>
                  <a:pt x="621" y="289"/>
                </a:cubicBezTo>
                <a:close/>
                <a:moveTo>
                  <a:pt x="590" y="192"/>
                </a:moveTo>
                <a:cubicBezTo>
                  <a:pt x="590" y="192"/>
                  <a:pt x="590" y="192"/>
                  <a:pt x="590" y="193"/>
                </a:cubicBezTo>
                <a:cubicBezTo>
                  <a:pt x="590" y="193"/>
                  <a:pt x="590" y="193"/>
                  <a:pt x="591" y="192"/>
                </a:cubicBezTo>
                <a:cubicBezTo>
                  <a:pt x="591" y="192"/>
                  <a:pt x="591" y="192"/>
                  <a:pt x="591" y="192"/>
                </a:cubicBezTo>
                <a:cubicBezTo>
                  <a:pt x="590" y="192"/>
                  <a:pt x="590" y="192"/>
                  <a:pt x="590" y="192"/>
                </a:cubicBezTo>
                <a:cubicBezTo>
                  <a:pt x="590" y="192"/>
                  <a:pt x="590" y="192"/>
                  <a:pt x="590" y="192"/>
                </a:cubicBezTo>
                <a:close/>
                <a:moveTo>
                  <a:pt x="622" y="289"/>
                </a:moveTo>
                <a:cubicBezTo>
                  <a:pt x="622" y="289"/>
                  <a:pt x="622" y="290"/>
                  <a:pt x="622" y="290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lose/>
                <a:moveTo>
                  <a:pt x="267" y="194"/>
                </a:move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lose/>
                <a:moveTo>
                  <a:pt x="592" y="199"/>
                </a:moveTo>
                <a:cubicBezTo>
                  <a:pt x="593" y="199"/>
                  <a:pt x="593" y="199"/>
                  <a:pt x="593" y="198"/>
                </a:cubicBezTo>
                <a:cubicBezTo>
                  <a:pt x="593" y="198"/>
                  <a:pt x="593" y="198"/>
                  <a:pt x="593" y="198"/>
                </a:cubicBezTo>
                <a:cubicBezTo>
                  <a:pt x="593" y="198"/>
                  <a:pt x="593" y="197"/>
                  <a:pt x="593" y="197"/>
                </a:cubicBezTo>
                <a:cubicBezTo>
                  <a:pt x="593" y="197"/>
                  <a:pt x="593" y="197"/>
                  <a:pt x="592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2" y="197"/>
                  <a:pt x="592" y="197"/>
                  <a:pt x="592" y="197"/>
                </a:cubicBezTo>
                <a:cubicBezTo>
                  <a:pt x="592" y="198"/>
                  <a:pt x="592" y="198"/>
                  <a:pt x="592" y="198"/>
                </a:cubicBezTo>
                <a:cubicBezTo>
                  <a:pt x="592" y="198"/>
                  <a:pt x="592" y="199"/>
                  <a:pt x="592" y="199"/>
                </a:cubicBezTo>
                <a:close/>
                <a:moveTo>
                  <a:pt x="552" y="29"/>
                </a:moveTo>
                <a:cubicBezTo>
                  <a:pt x="552" y="30"/>
                  <a:pt x="552" y="30"/>
                  <a:pt x="552" y="30"/>
                </a:cubicBezTo>
                <a:cubicBezTo>
                  <a:pt x="552" y="30"/>
                  <a:pt x="552" y="31"/>
                  <a:pt x="552" y="31"/>
                </a:cubicBezTo>
                <a:cubicBezTo>
                  <a:pt x="552" y="31"/>
                  <a:pt x="553" y="30"/>
                  <a:pt x="553" y="30"/>
                </a:cubicBezTo>
                <a:cubicBezTo>
                  <a:pt x="554" y="30"/>
                  <a:pt x="554" y="30"/>
                  <a:pt x="554" y="30"/>
                </a:cubicBezTo>
                <a:cubicBezTo>
                  <a:pt x="554" y="29"/>
                  <a:pt x="554" y="29"/>
                  <a:pt x="554" y="29"/>
                </a:cubicBezTo>
                <a:cubicBezTo>
                  <a:pt x="554" y="29"/>
                  <a:pt x="554" y="29"/>
                  <a:pt x="555" y="29"/>
                </a:cubicBezTo>
                <a:cubicBezTo>
                  <a:pt x="555" y="29"/>
                  <a:pt x="555" y="28"/>
                  <a:pt x="555" y="28"/>
                </a:cubicBezTo>
                <a:cubicBezTo>
                  <a:pt x="556" y="28"/>
                  <a:pt x="556" y="28"/>
                  <a:pt x="556" y="28"/>
                </a:cubicBezTo>
                <a:cubicBezTo>
                  <a:pt x="556" y="28"/>
                  <a:pt x="556" y="28"/>
                  <a:pt x="557" y="29"/>
                </a:cubicBezTo>
                <a:cubicBezTo>
                  <a:pt x="557" y="29"/>
                  <a:pt x="557" y="28"/>
                  <a:pt x="557" y="28"/>
                </a:cubicBezTo>
                <a:cubicBezTo>
                  <a:pt x="557" y="28"/>
                  <a:pt x="557" y="28"/>
                  <a:pt x="557" y="28"/>
                </a:cubicBezTo>
                <a:cubicBezTo>
                  <a:pt x="557" y="27"/>
                  <a:pt x="558" y="27"/>
                  <a:pt x="558" y="27"/>
                </a:cubicBezTo>
                <a:cubicBezTo>
                  <a:pt x="558" y="28"/>
                  <a:pt x="558" y="28"/>
                  <a:pt x="558" y="28"/>
                </a:cubicBezTo>
                <a:cubicBezTo>
                  <a:pt x="558" y="28"/>
                  <a:pt x="558" y="29"/>
                  <a:pt x="558" y="29"/>
                </a:cubicBezTo>
                <a:cubicBezTo>
                  <a:pt x="559" y="29"/>
                  <a:pt x="559" y="28"/>
                  <a:pt x="560" y="28"/>
                </a:cubicBezTo>
                <a:cubicBezTo>
                  <a:pt x="559" y="29"/>
                  <a:pt x="559" y="29"/>
                  <a:pt x="559" y="29"/>
                </a:cubicBezTo>
                <a:cubicBezTo>
                  <a:pt x="558" y="29"/>
                  <a:pt x="558" y="29"/>
                  <a:pt x="557" y="29"/>
                </a:cubicBezTo>
                <a:cubicBezTo>
                  <a:pt x="556" y="30"/>
                  <a:pt x="556" y="30"/>
                  <a:pt x="555" y="30"/>
                </a:cubicBezTo>
                <a:cubicBezTo>
                  <a:pt x="555" y="31"/>
                  <a:pt x="554" y="31"/>
                  <a:pt x="554" y="31"/>
                </a:cubicBezTo>
                <a:cubicBezTo>
                  <a:pt x="554" y="31"/>
                  <a:pt x="554" y="32"/>
                  <a:pt x="554" y="32"/>
                </a:cubicBezTo>
                <a:cubicBezTo>
                  <a:pt x="554" y="32"/>
                  <a:pt x="554" y="32"/>
                  <a:pt x="554" y="32"/>
                </a:cubicBezTo>
                <a:cubicBezTo>
                  <a:pt x="555" y="32"/>
                  <a:pt x="555" y="32"/>
                  <a:pt x="556" y="32"/>
                </a:cubicBezTo>
                <a:cubicBezTo>
                  <a:pt x="556" y="32"/>
                  <a:pt x="556" y="32"/>
                  <a:pt x="556" y="31"/>
                </a:cubicBezTo>
                <a:cubicBezTo>
                  <a:pt x="557" y="31"/>
                  <a:pt x="557" y="31"/>
                  <a:pt x="557" y="31"/>
                </a:cubicBezTo>
                <a:cubicBezTo>
                  <a:pt x="558" y="31"/>
                  <a:pt x="558" y="31"/>
                  <a:pt x="559" y="30"/>
                </a:cubicBezTo>
                <a:cubicBezTo>
                  <a:pt x="560" y="30"/>
                  <a:pt x="560" y="30"/>
                  <a:pt x="561" y="30"/>
                </a:cubicBezTo>
                <a:cubicBezTo>
                  <a:pt x="562" y="30"/>
                  <a:pt x="563" y="29"/>
                  <a:pt x="564" y="29"/>
                </a:cubicBezTo>
                <a:cubicBezTo>
                  <a:pt x="564" y="29"/>
                  <a:pt x="564" y="29"/>
                  <a:pt x="564" y="29"/>
                </a:cubicBezTo>
                <a:cubicBezTo>
                  <a:pt x="564" y="30"/>
                  <a:pt x="564" y="30"/>
                  <a:pt x="564" y="30"/>
                </a:cubicBezTo>
                <a:cubicBezTo>
                  <a:pt x="564" y="30"/>
                  <a:pt x="564" y="30"/>
                  <a:pt x="563" y="30"/>
                </a:cubicBezTo>
                <a:cubicBezTo>
                  <a:pt x="563" y="30"/>
                  <a:pt x="563" y="30"/>
                  <a:pt x="563" y="30"/>
                </a:cubicBezTo>
                <a:cubicBezTo>
                  <a:pt x="562" y="30"/>
                  <a:pt x="562" y="30"/>
                  <a:pt x="561" y="30"/>
                </a:cubicBezTo>
                <a:cubicBezTo>
                  <a:pt x="561" y="31"/>
                  <a:pt x="561" y="31"/>
                  <a:pt x="561" y="31"/>
                </a:cubicBezTo>
                <a:cubicBezTo>
                  <a:pt x="560" y="31"/>
                  <a:pt x="559" y="31"/>
                  <a:pt x="558" y="31"/>
                </a:cubicBezTo>
                <a:cubicBezTo>
                  <a:pt x="558" y="32"/>
                  <a:pt x="557" y="32"/>
                  <a:pt x="557" y="32"/>
                </a:cubicBezTo>
                <a:cubicBezTo>
                  <a:pt x="556" y="33"/>
                  <a:pt x="556" y="33"/>
                  <a:pt x="555" y="33"/>
                </a:cubicBezTo>
                <a:cubicBezTo>
                  <a:pt x="555" y="33"/>
                  <a:pt x="555" y="33"/>
                  <a:pt x="555" y="33"/>
                </a:cubicBezTo>
                <a:cubicBezTo>
                  <a:pt x="555" y="33"/>
                  <a:pt x="556" y="33"/>
                  <a:pt x="556" y="34"/>
                </a:cubicBezTo>
                <a:cubicBezTo>
                  <a:pt x="556" y="34"/>
                  <a:pt x="557" y="33"/>
                  <a:pt x="557" y="33"/>
                </a:cubicBezTo>
                <a:cubicBezTo>
                  <a:pt x="557" y="34"/>
                  <a:pt x="558" y="34"/>
                  <a:pt x="558" y="34"/>
                </a:cubicBezTo>
                <a:cubicBezTo>
                  <a:pt x="558" y="34"/>
                  <a:pt x="558" y="34"/>
                  <a:pt x="557" y="34"/>
                </a:cubicBezTo>
                <a:cubicBezTo>
                  <a:pt x="557" y="34"/>
                  <a:pt x="556" y="34"/>
                  <a:pt x="556" y="34"/>
                </a:cubicBezTo>
                <a:cubicBezTo>
                  <a:pt x="555" y="34"/>
                  <a:pt x="555" y="34"/>
                  <a:pt x="555" y="34"/>
                </a:cubicBezTo>
                <a:cubicBezTo>
                  <a:pt x="554" y="34"/>
                  <a:pt x="554" y="34"/>
                  <a:pt x="554" y="34"/>
                </a:cubicBezTo>
                <a:cubicBezTo>
                  <a:pt x="554" y="34"/>
                  <a:pt x="553" y="34"/>
                  <a:pt x="553" y="35"/>
                </a:cubicBezTo>
                <a:cubicBezTo>
                  <a:pt x="553" y="35"/>
                  <a:pt x="553" y="35"/>
                  <a:pt x="553" y="36"/>
                </a:cubicBezTo>
                <a:cubicBezTo>
                  <a:pt x="553" y="36"/>
                  <a:pt x="553" y="36"/>
                  <a:pt x="553" y="36"/>
                </a:cubicBezTo>
                <a:cubicBezTo>
                  <a:pt x="553" y="36"/>
                  <a:pt x="553" y="36"/>
                  <a:pt x="553" y="36"/>
                </a:cubicBezTo>
                <a:cubicBezTo>
                  <a:pt x="554" y="37"/>
                  <a:pt x="554" y="37"/>
                  <a:pt x="555" y="37"/>
                </a:cubicBezTo>
                <a:cubicBezTo>
                  <a:pt x="555" y="36"/>
                  <a:pt x="556" y="36"/>
                  <a:pt x="556" y="36"/>
                </a:cubicBezTo>
                <a:cubicBezTo>
                  <a:pt x="557" y="36"/>
                  <a:pt x="557" y="36"/>
                  <a:pt x="558" y="36"/>
                </a:cubicBezTo>
                <a:cubicBezTo>
                  <a:pt x="559" y="36"/>
                  <a:pt x="559" y="36"/>
                  <a:pt x="560" y="36"/>
                </a:cubicBezTo>
                <a:cubicBezTo>
                  <a:pt x="560" y="36"/>
                  <a:pt x="560" y="36"/>
                  <a:pt x="560" y="36"/>
                </a:cubicBezTo>
                <a:cubicBezTo>
                  <a:pt x="560" y="36"/>
                  <a:pt x="561" y="36"/>
                  <a:pt x="561" y="36"/>
                </a:cubicBezTo>
                <a:cubicBezTo>
                  <a:pt x="561" y="36"/>
                  <a:pt x="562" y="36"/>
                  <a:pt x="563" y="36"/>
                </a:cubicBezTo>
                <a:cubicBezTo>
                  <a:pt x="563" y="36"/>
                  <a:pt x="563" y="36"/>
                  <a:pt x="564" y="36"/>
                </a:cubicBezTo>
                <a:cubicBezTo>
                  <a:pt x="564" y="36"/>
                  <a:pt x="564" y="36"/>
                  <a:pt x="564" y="36"/>
                </a:cubicBezTo>
                <a:cubicBezTo>
                  <a:pt x="565" y="36"/>
                  <a:pt x="565" y="36"/>
                  <a:pt x="566" y="36"/>
                </a:cubicBezTo>
                <a:cubicBezTo>
                  <a:pt x="566" y="36"/>
                  <a:pt x="566" y="36"/>
                  <a:pt x="567" y="36"/>
                </a:cubicBezTo>
                <a:cubicBezTo>
                  <a:pt x="567" y="35"/>
                  <a:pt x="568" y="35"/>
                  <a:pt x="569" y="35"/>
                </a:cubicBezTo>
                <a:cubicBezTo>
                  <a:pt x="569" y="34"/>
                  <a:pt x="570" y="34"/>
                  <a:pt x="571" y="34"/>
                </a:cubicBezTo>
                <a:cubicBezTo>
                  <a:pt x="572" y="34"/>
                  <a:pt x="572" y="34"/>
                  <a:pt x="573" y="34"/>
                </a:cubicBezTo>
                <a:cubicBezTo>
                  <a:pt x="573" y="34"/>
                  <a:pt x="573" y="33"/>
                  <a:pt x="573" y="33"/>
                </a:cubicBezTo>
                <a:cubicBezTo>
                  <a:pt x="574" y="33"/>
                  <a:pt x="574" y="33"/>
                  <a:pt x="574" y="33"/>
                </a:cubicBezTo>
                <a:cubicBezTo>
                  <a:pt x="574" y="33"/>
                  <a:pt x="574" y="33"/>
                  <a:pt x="575" y="33"/>
                </a:cubicBezTo>
                <a:cubicBezTo>
                  <a:pt x="575" y="33"/>
                  <a:pt x="575" y="33"/>
                  <a:pt x="575" y="33"/>
                </a:cubicBezTo>
                <a:cubicBezTo>
                  <a:pt x="575" y="33"/>
                  <a:pt x="575" y="33"/>
                  <a:pt x="575" y="34"/>
                </a:cubicBezTo>
                <a:cubicBezTo>
                  <a:pt x="574" y="34"/>
                  <a:pt x="573" y="34"/>
                  <a:pt x="572" y="34"/>
                </a:cubicBezTo>
                <a:cubicBezTo>
                  <a:pt x="572" y="35"/>
                  <a:pt x="571" y="35"/>
                  <a:pt x="570" y="35"/>
                </a:cubicBezTo>
                <a:cubicBezTo>
                  <a:pt x="570" y="35"/>
                  <a:pt x="569" y="35"/>
                  <a:pt x="569" y="35"/>
                </a:cubicBezTo>
                <a:cubicBezTo>
                  <a:pt x="569" y="36"/>
                  <a:pt x="568" y="36"/>
                  <a:pt x="568" y="36"/>
                </a:cubicBezTo>
                <a:cubicBezTo>
                  <a:pt x="568" y="36"/>
                  <a:pt x="568" y="36"/>
                  <a:pt x="568" y="36"/>
                </a:cubicBezTo>
                <a:cubicBezTo>
                  <a:pt x="567" y="36"/>
                  <a:pt x="567" y="36"/>
                  <a:pt x="566" y="36"/>
                </a:cubicBezTo>
                <a:cubicBezTo>
                  <a:pt x="566" y="36"/>
                  <a:pt x="565" y="37"/>
                  <a:pt x="565" y="37"/>
                </a:cubicBezTo>
                <a:cubicBezTo>
                  <a:pt x="564" y="37"/>
                  <a:pt x="564" y="37"/>
                  <a:pt x="564" y="37"/>
                </a:cubicBezTo>
                <a:cubicBezTo>
                  <a:pt x="563" y="37"/>
                  <a:pt x="563" y="37"/>
                  <a:pt x="563" y="37"/>
                </a:cubicBezTo>
                <a:cubicBezTo>
                  <a:pt x="563" y="37"/>
                  <a:pt x="562" y="37"/>
                  <a:pt x="562" y="37"/>
                </a:cubicBezTo>
                <a:cubicBezTo>
                  <a:pt x="561" y="37"/>
                  <a:pt x="561" y="37"/>
                  <a:pt x="560" y="37"/>
                </a:cubicBezTo>
                <a:cubicBezTo>
                  <a:pt x="559" y="37"/>
                  <a:pt x="557" y="37"/>
                  <a:pt x="556" y="37"/>
                </a:cubicBezTo>
                <a:cubicBezTo>
                  <a:pt x="556" y="37"/>
                  <a:pt x="556" y="37"/>
                  <a:pt x="555" y="37"/>
                </a:cubicBezTo>
                <a:cubicBezTo>
                  <a:pt x="555" y="37"/>
                  <a:pt x="555" y="37"/>
                  <a:pt x="554" y="38"/>
                </a:cubicBezTo>
                <a:cubicBezTo>
                  <a:pt x="554" y="38"/>
                  <a:pt x="553" y="38"/>
                  <a:pt x="553" y="38"/>
                </a:cubicBezTo>
                <a:cubicBezTo>
                  <a:pt x="553" y="38"/>
                  <a:pt x="553" y="38"/>
                  <a:pt x="553" y="38"/>
                </a:cubicBezTo>
                <a:cubicBezTo>
                  <a:pt x="553" y="38"/>
                  <a:pt x="553" y="39"/>
                  <a:pt x="553" y="39"/>
                </a:cubicBezTo>
                <a:cubicBezTo>
                  <a:pt x="553" y="39"/>
                  <a:pt x="553" y="39"/>
                  <a:pt x="554" y="39"/>
                </a:cubicBezTo>
                <a:cubicBezTo>
                  <a:pt x="554" y="40"/>
                  <a:pt x="554" y="40"/>
                  <a:pt x="554" y="40"/>
                </a:cubicBezTo>
                <a:cubicBezTo>
                  <a:pt x="554" y="41"/>
                  <a:pt x="554" y="41"/>
                  <a:pt x="554" y="41"/>
                </a:cubicBezTo>
                <a:cubicBezTo>
                  <a:pt x="555" y="41"/>
                  <a:pt x="555" y="41"/>
                  <a:pt x="555" y="41"/>
                </a:cubicBezTo>
                <a:cubicBezTo>
                  <a:pt x="556" y="41"/>
                  <a:pt x="556" y="41"/>
                  <a:pt x="556" y="41"/>
                </a:cubicBezTo>
                <a:cubicBezTo>
                  <a:pt x="557" y="42"/>
                  <a:pt x="557" y="42"/>
                  <a:pt x="558" y="42"/>
                </a:cubicBezTo>
                <a:cubicBezTo>
                  <a:pt x="558" y="42"/>
                  <a:pt x="559" y="42"/>
                  <a:pt x="559" y="42"/>
                </a:cubicBezTo>
                <a:cubicBezTo>
                  <a:pt x="559" y="42"/>
                  <a:pt x="559" y="42"/>
                  <a:pt x="559" y="42"/>
                </a:cubicBezTo>
                <a:cubicBezTo>
                  <a:pt x="560" y="42"/>
                  <a:pt x="560" y="41"/>
                  <a:pt x="561" y="41"/>
                </a:cubicBezTo>
                <a:cubicBezTo>
                  <a:pt x="561" y="40"/>
                  <a:pt x="562" y="40"/>
                  <a:pt x="563" y="40"/>
                </a:cubicBezTo>
                <a:cubicBezTo>
                  <a:pt x="564" y="39"/>
                  <a:pt x="564" y="39"/>
                  <a:pt x="565" y="39"/>
                </a:cubicBezTo>
                <a:cubicBezTo>
                  <a:pt x="565" y="38"/>
                  <a:pt x="566" y="38"/>
                  <a:pt x="566" y="38"/>
                </a:cubicBezTo>
                <a:cubicBezTo>
                  <a:pt x="566" y="37"/>
                  <a:pt x="566" y="37"/>
                  <a:pt x="566" y="37"/>
                </a:cubicBezTo>
                <a:cubicBezTo>
                  <a:pt x="567" y="37"/>
                  <a:pt x="567" y="37"/>
                  <a:pt x="567" y="37"/>
                </a:cubicBezTo>
                <a:cubicBezTo>
                  <a:pt x="568" y="37"/>
                  <a:pt x="569" y="37"/>
                  <a:pt x="570" y="37"/>
                </a:cubicBezTo>
                <a:cubicBezTo>
                  <a:pt x="571" y="37"/>
                  <a:pt x="571" y="36"/>
                  <a:pt x="572" y="36"/>
                </a:cubicBezTo>
                <a:cubicBezTo>
                  <a:pt x="573" y="36"/>
                  <a:pt x="573" y="36"/>
                  <a:pt x="574" y="36"/>
                </a:cubicBezTo>
                <a:cubicBezTo>
                  <a:pt x="574" y="36"/>
                  <a:pt x="575" y="36"/>
                  <a:pt x="576" y="36"/>
                </a:cubicBezTo>
                <a:cubicBezTo>
                  <a:pt x="576" y="36"/>
                  <a:pt x="577" y="36"/>
                  <a:pt x="578" y="36"/>
                </a:cubicBezTo>
                <a:cubicBezTo>
                  <a:pt x="579" y="36"/>
                  <a:pt x="580" y="36"/>
                  <a:pt x="581" y="36"/>
                </a:cubicBezTo>
                <a:cubicBezTo>
                  <a:pt x="581" y="36"/>
                  <a:pt x="581" y="36"/>
                  <a:pt x="582" y="36"/>
                </a:cubicBezTo>
                <a:cubicBezTo>
                  <a:pt x="581" y="36"/>
                  <a:pt x="581" y="36"/>
                  <a:pt x="581" y="36"/>
                </a:cubicBezTo>
                <a:cubicBezTo>
                  <a:pt x="581" y="36"/>
                  <a:pt x="580" y="36"/>
                  <a:pt x="579" y="36"/>
                </a:cubicBezTo>
                <a:cubicBezTo>
                  <a:pt x="579" y="36"/>
                  <a:pt x="579" y="36"/>
                  <a:pt x="578" y="36"/>
                </a:cubicBezTo>
                <a:cubicBezTo>
                  <a:pt x="577" y="37"/>
                  <a:pt x="577" y="37"/>
                  <a:pt x="576" y="37"/>
                </a:cubicBezTo>
                <a:cubicBezTo>
                  <a:pt x="575" y="37"/>
                  <a:pt x="574" y="37"/>
                  <a:pt x="574" y="36"/>
                </a:cubicBezTo>
                <a:cubicBezTo>
                  <a:pt x="573" y="36"/>
                  <a:pt x="573" y="37"/>
                  <a:pt x="572" y="37"/>
                </a:cubicBezTo>
                <a:cubicBezTo>
                  <a:pt x="572" y="37"/>
                  <a:pt x="572" y="37"/>
                  <a:pt x="572" y="37"/>
                </a:cubicBezTo>
                <a:cubicBezTo>
                  <a:pt x="571" y="37"/>
                  <a:pt x="570" y="37"/>
                  <a:pt x="569" y="37"/>
                </a:cubicBezTo>
                <a:cubicBezTo>
                  <a:pt x="569" y="37"/>
                  <a:pt x="568" y="37"/>
                  <a:pt x="568" y="37"/>
                </a:cubicBezTo>
                <a:cubicBezTo>
                  <a:pt x="568" y="38"/>
                  <a:pt x="567" y="38"/>
                  <a:pt x="567" y="38"/>
                </a:cubicBezTo>
                <a:cubicBezTo>
                  <a:pt x="567" y="38"/>
                  <a:pt x="566" y="38"/>
                  <a:pt x="566" y="39"/>
                </a:cubicBezTo>
                <a:cubicBezTo>
                  <a:pt x="565" y="39"/>
                  <a:pt x="565" y="39"/>
                  <a:pt x="565" y="40"/>
                </a:cubicBezTo>
                <a:cubicBezTo>
                  <a:pt x="564" y="40"/>
                  <a:pt x="564" y="40"/>
                  <a:pt x="563" y="41"/>
                </a:cubicBezTo>
                <a:cubicBezTo>
                  <a:pt x="563" y="41"/>
                  <a:pt x="563" y="41"/>
                  <a:pt x="562" y="42"/>
                </a:cubicBezTo>
                <a:cubicBezTo>
                  <a:pt x="562" y="42"/>
                  <a:pt x="562" y="42"/>
                  <a:pt x="561" y="42"/>
                </a:cubicBezTo>
                <a:cubicBezTo>
                  <a:pt x="561" y="43"/>
                  <a:pt x="561" y="43"/>
                  <a:pt x="561" y="43"/>
                </a:cubicBezTo>
                <a:cubicBezTo>
                  <a:pt x="562" y="43"/>
                  <a:pt x="562" y="43"/>
                  <a:pt x="563" y="43"/>
                </a:cubicBezTo>
                <a:cubicBezTo>
                  <a:pt x="563" y="43"/>
                  <a:pt x="564" y="43"/>
                  <a:pt x="564" y="43"/>
                </a:cubicBezTo>
                <a:cubicBezTo>
                  <a:pt x="564" y="43"/>
                  <a:pt x="564" y="43"/>
                  <a:pt x="564" y="44"/>
                </a:cubicBezTo>
                <a:cubicBezTo>
                  <a:pt x="565" y="44"/>
                  <a:pt x="565" y="44"/>
                  <a:pt x="566" y="44"/>
                </a:cubicBezTo>
                <a:cubicBezTo>
                  <a:pt x="566" y="44"/>
                  <a:pt x="567" y="44"/>
                  <a:pt x="568" y="44"/>
                </a:cubicBezTo>
                <a:cubicBezTo>
                  <a:pt x="569" y="44"/>
                  <a:pt x="570" y="44"/>
                  <a:pt x="571" y="44"/>
                </a:cubicBezTo>
                <a:cubicBezTo>
                  <a:pt x="571" y="44"/>
                  <a:pt x="572" y="43"/>
                  <a:pt x="573" y="43"/>
                </a:cubicBezTo>
                <a:cubicBezTo>
                  <a:pt x="573" y="43"/>
                  <a:pt x="574" y="42"/>
                  <a:pt x="574" y="42"/>
                </a:cubicBezTo>
                <a:cubicBezTo>
                  <a:pt x="574" y="42"/>
                  <a:pt x="574" y="41"/>
                  <a:pt x="574" y="41"/>
                </a:cubicBezTo>
                <a:cubicBezTo>
                  <a:pt x="575" y="41"/>
                  <a:pt x="575" y="40"/>
                  <a:pt x="576" y="40"/>
                </a:cubicBezTo>
                <a:cubicBezTo>
                  <a:pt x="576" y="40"/>
                  <a:pt x="577" y="40"/>
                  <a:pt x="577" y="40"/>
                </a:cubicBezTo>
                <a:cubicBezTo>
                  <a:pt x="577" y="40"/>
                  <a:pt x="576" y="41"/>
                  <a:pt x="576" y="41"/>
                </a:cubicBezTo>
                <a:cubicBezTo>
                  <a:pt x="576" y="41"/>
                  <a:pt x="576" y="41"/>
                  <a:pt x="576" y="41"/>
                </a:cubicBezTo>
                <a:cubicBezTo>
                  <a:pt x="576" y="41"/>
                  <a:pt x="577" y="41"/>
                  <a:pt x="577" y="41"/>
                </a:cubicBezTo>
                <a:cubicBezTo>
                  <a:pt x="578" y="41"/>
                  <a:pt x="578" y="41"/>
                  <a:pt x="579" y="41"/>
                </a:cubicBezTo>
                <a:cubicBezTo>
                  <a:pt x="579" y="41"/>
                  <a:pt x="579" y="41"/>
                  <a:pt x="580" y="41"/>
                </a:cubicBezTo>
                <a:cubicBezTo>
                  <a:pt x="580" y="40"/>
                  <a:pt x="581" y="40"/>
                  <a:pt x="581" y="40"/>
                </a:cubicBezTo>
                <a:cubicBezTo>
                  <a:pt x="582" y="40"/>
                  <a:pt x="582" y="40"/>
                  <a:pt x="582" y="40"/>
                </a:cubicBezTo>
                <a:cubicBezTo>
                  <a:pt x="582" y="40"/>
                  <a:pt x="582" y="40"/>
                  <a:pt x="581" y="41"/>
                </a:cubicBezTo>
                <a:cubicBezTo>
                  <a:pt x="581" y="41"/>
                  <a:pt x="580" y="41"/>
                  <a:pt x="579" y="41"/>
                </a:cubicBezTo>
                <a:cubicBezTo>
                  <a:pt x="579" y="41"/>
                  <a:pt x="578" y="41"/>
                  <a:pt x="578" y="42"/>
                </a:cubicBezTo>
                <a:cubicBezTo>
                  <a:pt x="578" y="42"/>
                  <a:pt x="577" y="42"/>
                  <a:pt x="577" y="42"/>
                </a:cubicBezTo>
                <a:cubicBezTo>
                  <a:pt x="576" y="42"/>
                  <a:pt x="576" y="43"/>
                  <a:pt x="575" y="43"/>
                </a:cubicBezTo>
                <a:cubicBezTo>
                  <a:pt x="575" y="43"/>
                  <a:pt x="575" y="43"/>
                  <a:pt x="575" y="44"/>
                </a:cubicBezTo>
                <a:cubicBezTo>
                  <a:pt x="576" y="44"/>
                  <a:pt x="576" y="44"/>
                  <a:pt x="576" y="44"/>
                </a:cubicBezTo>
                <a:cubicBezTo>
                  <a:pt x="577" y="43"/>
                  <a:pt x="577" y="43"/>
                  <a:pt x="578" y="43"/>
                </a:cubicBezTo>
                <a:cubicBezTo>
                  <a:pt x="579" y="43"/>
                  <a:pt x="579" y="44"/>
                  <a:pt x="580" y="44"/>
                </a:cubicBezTo>
                <a:cubicBezTo>
                  <a:pt x="581" y="44"/>
                  <a:pt x="582" y="43"/>
                  <a:pt x="583" y="43"/>
                </a:cubicBezTo>
                <a:cubicBezTo>
                  <a:pt x="584" y="43"/>
                  <a:pt x="584" y="43"/>
                  <a:pt x="585" y="43"/>
                </a:cubicBezTo>
                <a:cubicBezTo>
                  <a:pt x="585" y="43"/>
                  <a:pt x="585" y="43"/>
                  <a:pt x="586" y="43"/>
                </a:cubicBezTo>
                <a:cubicBezTo>
                  <a:pt x="587" y="42"/>
                  <a:pt x="589" y="42"/>
                  <a:pt x="590" y="41"/>
                </a:cubicBezTo>
                <a:cubicBezTo>
                  <a:pt x="591" y="41"/>
                  <a:pt x="591" y="41"/>
                  <a:pt x="591" y="41"/>
                </a:cubicBezTo>
                <a:cubicBezTo>
                  <a:pt x="592" y="40"/>
                  <a:pt x="593" y="40"/>
                  <a:pt x="593" y="39"/>
                </a:cubicBezTo>
                <a:cubicBezTo>
                  <a:pt x="593" y="39"/>
                  <a:pt x="593" y="39"/>
                  <a:pt x="593" y="39"/>
                </a:cubicBezTo>
                <a:cubicBezTo>
                  <a:pt x="593" y="39"/>
                  <a:pt x="593" y="39"/>
                  <a:pt x="592" y="39"/>
                </a:cubicBezTo>
                <a:cubicBezTo>
                  <a:pt x="593" y="39"/>
                  <a:pt x="593" y="38"/>
                  <a:pt x="594" y="38"/>
                </a:cubicBezTo>
                <a:cubicBezTo>
                  <a:pt x="594" y="37"/>
                  <a:pt x="595" y="37"/>
                  <a:pt x="595" y="37"/>
                </a:cubicBezTo>
                <a:cubicBezTo>
                  <a:pt x="595" y="37"/>
                  <a:pt x="595" y="37"/>
                  <a:pt x="596" y="36"/>
                </a:cubicBezTo>
                <a:cubicBezTo>
                  <a:pt x="596" y="36"/>
                  <a:pt x="596" y="36"/>
                  <a:pt x="596" y="36"/>
                </a:cubicBezTo>
                <a:cubicBezTo>
                  <a:pt x="596" y="37"/>
                  <a:pt x="596" y="37"/>
                  <a:pt x="597" y="37"/>
                </a:cubicBezTo>
                <a:cubicBezTo>
                  <a:pt x="597" y="37"/>
                  <a:pt x="597" y="37"/>
                  <a:pt x="597" y="37"/>
                </a:cubicBezTo>
                <a:cubicBezTo>
                  <a:pt x="597" y="37"/>
                  <a:pt x="597" y="36"/>
                  <a:pt x="597" y="36"/>
                </a:cubicBezTo>
                <a:cubicBezTo>
                  <a:pt x="598" y="36"/>
                  <a:pt x="599" y="35"/>
                  <a:pt x="600" y="34"/>
                </a:cubicBezTo>
                <a:cubicBezTo>
                  <a:pt x="601" y="34"/>
                  <a:pt x="602" y="34"/>
                  <a:pt x="603" y="34"/>
                </a:cubicBezTo>
                <a:cubicBezTo>
                  <a:pt x="604" y="33"/>
                  <a:pt x="605" y="33"/>
                  <a:pt x="606" y="32"/>
                </a:cubicBezTo>
                <a:cubicBezTo>
                  <a:pt x="606" y="32"/>
                  <a:pt x="606" y="33"/>
                  <a:pt x="606" y="33"/>
                </a:cubicBezTo>
                <a:cubicBezTo>
                  <a:pt x="605" y="33"/>
                  <a:pt x="604" y="34"/>
                  <a:pt x="603" y="34"/>
                </a:cubicBezTo>
                <a:cubicBezTo>
                  <a:pt x="603" y="34"/>
                  <a:pt x="602" y="34"/>
                  <a:pt x="601" y="34"/>
                </a:cubicBezTo>
                <a:cubicBezTo>
                  <a:pt x="600" y="35"/>
                  <a:pt x="599" y="36"/>
                  <a:pt x="598" y="36"/>
                </a:cubicBezTo>
                <a:cubicBezTo>
                  <a:pt x="598" y="36"/>
                  <a:pt x="598" y="37"/>
                  <a:pt x="598" y="37"/>
                </a:cubicBezTo>
                <a:cubicBezTo>
                  <a:pt x="597" y="37"/>
                  <a:pt x="597" y="38"/>
                  <a:pt x="597" y="38"/>
                </a:cubicBezTo>
                <a:cubicBezTo>
                  <a:pt x="596" y="38"/>
                  <a:pt x="596" y="38"/>
                  <a:pt x="595" y="38"/>
                </a:cubicBezTo>
                <a:cubicBezTo>
                  <a:pt x="595" y="39"/>
                  <a:pt x="595" y="39"/>
                  <a:pt x="595" y="39"/>
                </a:cubicBezTo>
                <a:cubicBezTo>
                  <a:pt x="595" y="40"/>
                  <a:pt x="594" y="40"/>
                  <a:pt x="594" y="40"/>
                </a:cubicBezTo>
                <a:cubicBezTo>
                  <a:pt x="594" y="40"/>
                  <a:pt x="594" y="40"/>
                  <a:pt x="594" y="40"/>
                </a:cubicBezTo>
                <a:cubicBezTo>
                  <a:pt x="595" y="40"/>
                  <a:pt x="596" y="40"/>
                  <a:pt x="597" y="39"/>
                </a:cubicBezTo>
                <a:cubicBezTo>
                  <a:pt x="598" y="40"/>
                  <a:pt x="598" y="40"/>
                  <a:pt x="598" y="40"/>
                </a:cubicBezTo>
                <a:cubicBezTo>
                  <a:pt x="599" y="40"/>
                  <a:pt x="599" y="40"/>
                  <a:pt x="600" y="39"/>
                </a:cubicBezTo>
                <a:cubicBezTo>
                  <a:pt x="600" y="40"/>
                  <a:pt x="601" y="40"/>
                  <a:pt x="601" y="40"/>
                </a:cubicBezTo>
                <a:cubicBezTo>
                  <a:pt x="601" y="40"/>
                  <a:pt x="601" y="40"/>
                  <a:pt x="601" y="40"/>
                </a:cubicBezTo>
                <a:cubicBezTo>
                  <a:pt x="601" y="40"/>
                  <a:pt x="602" y="40"/>
                  <a:pt x="602" y="40"/>
                </a:cubicBezTo>
                <a:cubicBezTo>
                  <a:pt x="602" y="40"/>
                  <a:pt x="603" y="40"/>
                  <a:pt x="603" y="40"/>
                </a:cubicBezTo>
                <a:cubicBezTo>
                  <a:pt x="603" y="40"/>
                  <a:pt x="603" y="40"/>
                  <a:pt x="604" y="40"/>
                </a:cubicBezTo>
                <a:cubicBezTo>
                  <a:pt x="603" y="41"/>
                  <a:pt x="603" y="41"/>
                  <a:pt x="602" y="41"/>
                </a:cubicBezTo>
                <a:cubicBezTo>
                  <a:pt x="602" y="41"/>
                  <a:pt x="602" y="41"/>
                  <a:pt x="601" y="41"/>
                </a:cubicBezTo>
                <a:cubicBezTo>
                  <a:pt x="601" y="41"/>
                  <a:pt x="600" y="41"/>
                  <a:pt x="600" y="41"/>
                </a:cubicBezTo>
                <a:cubicBezTo>
                  <a:pt x="599" y="41"/>
                  <a:pt x="598" y="41"/>
                  <a:pt x="597" y="41"/>
                </a:cubicBezTo>
                <a:cubicBezTo>
                  <a:pt x="596" y="41"/>
                  <a:pt x="596" y="41"/>
                  <a:pt x="595" y="41"/>
                </a:cubicBezTo>
                <a:cubicBezTo>
                  <a:pt x="593" y="42"/>
                  <a:pt x="592" y="42"/>
                  <a:pt x="590" y="42"/>
                </a:cubicBezTo>
                <a:cubicBezTo>
                  <a:pt x="590" y="43"/>
                  <a:pt x="589" y="43"/>
                  <a:pt x="589" y="43"/>
                </a:cubicBezTo>
                <a:cubicBezTo>
                  <a:pt x="588" y="43"/>
                  <a:pt x="588" y="43"/>
                  <a:pt x="588" y="43"/>
                </a:cubicBezTo>
                <a:cubicBezTo>
                  <a:pt x="588" y="43"/>
                  <a:pt x="588" y="43"/>
                  <a:pt x="588" y="44"/>
                </a:cubicBezTo>
                <a:cubicBezTo>
                  <a:pt x="588" y="44"/>
                  <a:pt x="588" y="44"/>
                  <a:pt x="588" y="44"/>
                </a:cubicBezTo>
                <a:cubicBezTo>
                  <a:pt x="589" y="44"/>
                  <a:pt x="590" y="44"/>
                  <a:pt x="590" y="44"/>
                </a:cubicBezTo>
                <a:cubicBezTo>
                  <a:pt x="591" y="44"/>
                  <a:pt x="591" y="44"/>
                  <a:pt x="592" y="43"/>
                </a:cubicBezTo>
                <a:cubicBezTo>
                  <a:pt x="592" y="44"/>
                  <a:pt x="593" y="44"/>
                  <a:pt x="593" y="44"/>
                </a:cubicBezTo>
                <a:cubicBezTo>
                  <a:pt x="593" y="44"/>
                  <a:pt x="593" y="44"/>
                  <a:pt x="593" y="44"/>
                </a:cubicBezTo>
                <a:cubicBezTo>
                  <a:pt x="593" y="44"/>
                  <a:pt x="592" y="44"/>
                  <a:pt x="592" y="45"/>
                </a:cubicBezTo>
                <a:cubicBezTo>
                  <a:pt x="591" y="44"/>
                  <a:pt x="591" y="44"/>
                  <a:pt x="591" y="44"/>
                </a:cubicBezTo>
                <a:cubicBezTo>
                  <a:pt x="590" y="44"/>
                  <a:pt x="589" y="44"/>
                  <a:pt x="588" y="45"/>
                </a:cubicBezTo>
                <a:cubicBezTo>
                  <a:pt x="588" y="44"/>
                  <a:pt x="587" y="44"/>
                  <a:pt x="587" y="44"/>
                </a:cubicBezTo>
                <a:cubicBezTo>
                  <a:pt x="587" y="44"/>
                  <a:pt x="586" y="44"/>
                  <a:pt x="586" y="44"/>
                </a:cubicBezTo>
                <a:cubicBezTo>
                  <a:pt x="585" y="45"/>
                  <a:pt x="585" y="45"/>
                  <a:pt x="584" y="45"/>
                </a:cubicBezTo>
                <a:cubicBezTo>
                  <a:pt x="583" y="45"/>
                  <a:pt x="582" y="45"/>
                  <a:pt x="582" y="46"/>
                </a:cubicBezTo>
                <a:cubicBezTo>
                  <a:pt x="581" y="46"/>
                  <a:pt x="580" y="45"/>
                  <a:pt x="580" y="45"/>
                </a:cubicBezTo>
                <a:cubicBezTo>
                  <a:pt x="579" y="46"/>
                  <a:pt x="578" y="46"/>
                  <a:pt x="578" y="46"/>
                </a:cubicBezTo>
                <a:cubicBezTo>
                  <a:pt x="577" y="46"/>
                  <a:pt x="577" y="46"/>
                  <a:pt x="576" y="46"/>
                </a:cubicBezTo>
                <a:cubicBezTo>
                  <a:pt x="576" y="46"/>
                  <a:pt x="575" y="46"/>
                  <a:pt x="575" y="46"/>
                </a:cubicBezTo>
                <a:cubicBezTo>
                  <a:pt x="574" y="46"/>
                  <a:pt x="574" y="46"/>
                  <a:pt x="573" y="46"/>
                </a:cubicBezTo>
                <a:cubicBezTo>
                  <a:pt x="573" y="46"/>
                  <a:pt x="573" y="47"/>
                  <a:pt x="573" y="47"/>
                </a:cubicBezTo>
                <a:cubicBezTo>
                  <a:pt x="573" y="47"/>
                  <a:pt x="573" y="47"/>
                  <a:pt x="573" y="48"/>
                </a:cubicBezTo>
                <a:cubicBezTo>
                  <a:pt x="573" y="48"/>
                  <a:pt x="574" y="49"/>
                  <a:pt x="574" y="50"/>
                </a:cubicBezTo>
                <a:cubicBezTo>
                  <a:pt x="574" y="50"/>
                  <a:pt x="574" y="50"/>
                  <a:pt x="574" y="51"/>
                </a:cubicBezTo>
                <a:cubicBezTo>
                  <a:pt x="574" y="51"/>
                  <a:pt x="573" y="51"/>
                  <a:pt x="573" y="52"/>
                </a:cubicBezTo>
                <a:cubicBezTo>
                  <a:pt x="573" y="52"/>
                  <a:pt x="573" y="52"/>
                  <a:pt x="573" y="52"/>
                </a:cubicBezTo>
                <a:cubicBezTo>
                  <a:pt x="573" y="52"/>
                  <a:pt x="574" y="52"/>
                  <a:pt x="574" y="52"/>
                </a:cubicBezTo>
                <a:cubicBezTo>
                  <a:pt x="574" y="52"/>
                  <a:pt x="575" y="52"/>
                  <a:pt x="575" y="53"/>
                </a:cubicBezTo>
                <a:cubicBezTo>
                  <a:pt x="576" y="53"/>
                  <a:pt x="576" y="53"/>
                  <a:pt x="577" y="53"/>
                </a:cubicBezTo>
                <a:cubicBezTo>
                  <a:pt x="577" y="53"/>
                  <a:pt x="577" y="53"/>
                  <a:pt x="578" y="53"/>
                </a:cubicBezTo>
                <a:cubicBezTo>
                  <a:pt x="577" y="53"/>
                  <a:pt x="577" y="53"/>
                  <a:pt x="576" y="53"/>
                </a:cubicBezTo>
                <a:cubicBezTo>
                  <a:pt x="576" y="53"/>
                  <a:pt x="576" y="53"/>
                  <a:pt x="575" y="53"/>
                </a:cubicBezTo>
                <a:cubicBezTo>
                  <a:pt x="575" y="53"/>
                  <a:pt x="575" y="54"/>
                  <a:pt x="575" y="54"/>
                </a:cubicBezTo>
                <a:cubicBezTo>
                  <a:pt x="575" y="54"/>
                  <a:pt x="575" y="53"/>
                  <a:pt x="575" y="53"/>
                </a:cubicBezTo>
                <a:cubicBezTo>
                  <a:pt x="574" y="53"/>
                  <a:pt x="574" y="53"/>
                  <a:pt x="574" y="53"/>
                </a:cubicBezTo>
                <a:cubicBezTo>
                  <a:pt x="573" y="53"/>
                  <a:pt x="573" y="53"/>
                  <a:pt x="573" y="53"/>
                </a:cubicBezTo>
                <a:cubicBezTo>
                  <a:pt x="573" y="53"/>
                  <a:pt x="573" y="53"/>
                  <a:pt x="573" y="53"/>
                </a:cubicBezTo>
                <a:cubicBezTo>
                  <a:pt x="572" y="53"/>
                  <a:pt x="572" y="53"/>
                  <a:pt x="572" y="53"/>
                </a:cubicBezTo>
                <a:cubicBezTo>
                  <a:pt x="572" y="52"/>
                  <a:pt x="571" y="52"/>
                  <a:pt x="571" y="52"/>
                </a:cubicBezTo>
                <a:cubicBezTo>
                  <a:pt x="571" y="51"/>
                  <a:pt x="571" y="51"/>
                  <a:pt x="571" y="50"/>
                </a:cubicBezTo>
                <a:cubicBezTo>
                  <a:pt x="571" y="50"/>
                  <a:pt x="571" y="49"/>
                  <a:pt x="570" y="49"/>
                </a:cubicBezTo>
                <a:cubicBezTo>
                  <a:pt x="570" y="48"/>
                  <a:pt x="569" y="48"/>
                  <a:pt x="569" y="48"/>
                </a:cubicBezTo>
                <a:cubicBezTo>
                  <a:pt x="569" y="48"/>
                  <a:pt x="569" y="47"/>
                  <a:pt x="568" y="47"/>
                </a:cubicBezTo>
                <a:cubicBezTo>
                  <a:pt x="568" y="47"/>
                  <a:pt x="567" y="47"/>
                  <a:pt x="566" y="47"/>
                </a:cubicBezTo>
                <a:cubicBezTo>
                  <a:pt x="565" y="47"/>
                  <a:pt x="565" y="47"/>
                  <a:pt x="565" y="47"/>
                </a:cubicBezTo>
                <a:cubicBezTo>
                  <a:pt x="564" y="47"/>
                  <a:pt x="564" y="47"/>
                  <a:pt x="563" y="46"/>
                </a:cubicBezTo>
                <a:cubicBezTo>
                  <a:pt x="563" y="46"/>
                  <a:pt x="563" y="46"/>
                  <a:pt x="562" y="46"/>
                </a:cubicBezTo>
                <a:cubicBezTo>
                  <a:pt x="562" y="46"/>
                  <a:pt x="562" y="46"/>
                  <a:pt x="561" y="46"/>
                </a:cubicBezTo>
                <a:cubicBezTo>
                  <a:pt x="561" y="46"/>
                  <a:pt x="560" y="46"/>
                  <a:pt x="560" y="46"/>
                </a:cubicBezTo>
                <a:cubicBezTo>
                  <a:pt x="558" y="47"/>
                  <a:pt x="557" y="48"/>
                  <a:pt x="556" y="49"/>
                </a:cubicBezTo>
                <a:cubicBezTo>
                  <a:pt x="556" y="50"/>
                  <a:pt x="556" y="50"/>
                  <a:pt x="556" y="50"/>
                </a:cubicBezTo>
                <a:cubicBezTo>
                  <a:pt x="556" y="51"/>
                  <a:pt x="556" y="51"/>
                  <a:pt x="556" y="51"/>
                </a:cubicBezTo>
                <a:cubicBezTo>
                  <a:pt x="556" y="51"/>
                  <a:pt x="557" y="51"/>
                  <a:pt x="557" y="51"/>
                </a:cubicBezTo>
                <a:cubicBezTo>
                  <a:pt x="557" y="51"/>
                  <a:pt x="558" y="51"/>
                  <a:pt x="558" y="51"/>
                </a:cubicBezTo>
                <a:cubicBezTo>
                  <a:pt x="559" y="52"/>
                  <a:pt x="559" y="52"/>
                  <a:pt x="559" y="52"/>
                </a:cubicBezTo>
                <a:cubicBezTo>
                  <a:pt x="559" y="52"/>
                  <a:pt x="559" y="52"/>
                  <a:pt x="559" y="53"/>
                </a:cubicBezTo>
                <a:cubicBezTo>
                  <a:pt x="559" y="53"/>
                  <a:pt x="559" y="53"/>
                  <a:pt x="559" y="53"/>
                </a:cubicBezTo>
                <a:cubicBezTo>
                  <a:pt x="559" y="53"/>
                  <a:pt x="558" y="52"/>
                  <a:pt x="558" y="52"/>
                </a:cubicBezTo>
                <a:cubicBezTo>
                  <a:pt x="558" y="52"/>
                  <a:pt x="557" y="52"/>
                  <a:pt x="557" y="52"/>
                </a:cubicBezTo>
                <a:cubicBezTo>
                  <a:pt x="557" y="52"/>
                  <a:pt x="556" y="52"/>
                  <a:pt x="556" y="52"/>
                </a:cubicBezTo>
                <a:cubicBezTo>
                  <a:pt x="556" y="52"/>
                  <a:pt x="556" y="52"/>
                  <a:pt x="556" y="52"/>
                </a:cubicBezTo>
                <a:cubicBezTo>
                  <a:pt x="555" y="52"/>
                  <a:pt x="555" y="52"/>
                  <a:pt x="555" y="52"/>
                </a:cubicBezTo>
                <a:cubicBezTo>
                  <a:pt x="555" y="53"/>
                  <a:pt x="555" y="53"/>
                  <a:pt x="555" y="53"/>
                </a:cubicBezTo>
                <a:cubicBezTo>
                  <a:pt x="555" y="53"/>
                  <a:pt x="555" y="53"/>
                  <a:pt x="555" y="54"/>
                </a:cubicBezTo>
                <a:cubicBezTo>
                  <a:pt x="556" y="54"/>
                  <a:pt x="556" y="54"/>
                  <a:pt x="556" y="54"/>
                </a:cubicBezTo>
                <a:cubicBezTo>
                  <a:pt x="556" y="54"/>
                  <a:pt x="557" y="55"/>
                  <a:pt x="557" y="55"/>
                </a:cubicBezTo>
                <a:cubicBezTo>
                  <a:pt x="557" y="55"/>
                  <a:pt x="557" y="56"/>
                  <a:pt x="558" y="57"/>
                </a:cubicBezTo>
                <a:cubicBezTo>
                  <a:pt x="558" y="57"/>
                  <a:pt x="557" y="58"/>
                  <a:pt x="557" y="58"/>
                </a:cubicBezTo>
                <a:cubicBezTo>
                  <a:pt x="557" y="58"/>
                  <a:pt x="557" y="59"/>
                  <a:pt x="557" y="59"/>
                </a:cubicBezTo>
                <a:cubicBezTo>
                  <a:pt x="557" y="59"/>
                  <a:pt x="557" y="60"/>
                  <a:pt x="557" y="60"/>
                </a:cubicBezTo>
                <a:cubicBezTo>
                  <a:pt x="557" y="60"/>
                  <a:pt x="557" y="61"/>
                  <a:pt x="557" y="61"/>
                </a:cubicBezTo>
                <a:cubicBezTo>
                  <a:pt x="557" y="61"/>
                  <a:pt x="557" y="61"/>
                  <a:pt x="557" y="61"/>
                </a:cubicBezTo>
                <a:cubicBezTo>
                  <a:pt x="558" y="61"/>
                  <a:pt x="558" y="61"/>
                  <a:pt x="558" y="61"/>
                </a:cubicBezTo>
                <a:cubicBezTo>
                  <a:pt x="558" y="61"/>
                  <a:pt x="558" y="62"/>
                  <a:pt x="558" y="62"/>
                </a:cubicBezTo>
                <a:cubicBezTo>
                  <a:pt x="558" y="62"/>
                  <a:pt x="557" y="63"/>
                  <a:pt x="557" y="63"/>
                </a:cubicBezTo>
                <a:cubicBezTo>
                  <a:pt x="557" y="63"/>
                  <a:pt x="557" y="63"/>
                  <a:pt x="557" y="62"/>
                </a:cubicBezTo>
                <a:cubicBezTo>
                  <a:pt x="556" y="62"/>
                  <a:pt x="556" y="62"/>
                  <a:pt x="556" y="62"/>
                </a:cubicBezTo>
                <a:cubicBezTo>
                  <a:pt x="556" y="62"/>
                  <a:pt x="555" y="62"/>
                  <a:pt x="555" y="62"/>
                </a:cubicBezTo>
                <a:cubicBezTo>
                  <a:pt x="555" y="62"/>
                  <a:pt x="554" y="62"/>
                  <a:pt x="554" y="62"/>
                </a:cubicBezTo>
                <a:cubicBezTo>
                  <a:pt x="554" y="63"/>
                  <a:pt x="554" y="63"/>
                  <a:pt x="555" y="63"/>
                </a:cubicBezTo>
                <a:cubicBezTo>
                  <a:pt x="555" y="64"/>
                  <a:pt x="556" y="64"/>
                  <a:pt x="556" y="65"/>
                </a:cubicBezTo>
                <a:cubicBezTo>
                  <a:pt x="557" y="65"/>
                  <a:pt x="558" y="64"/>
                  <a:pt x="558" y="64"/>
                </a:cubicBezTo>
                <a:cubicBezTo>
                  <a:pt x="558" y="64"/>
                  <a:pt x="559" y="64"/>
                  <a:pt x="559" y="64"/>
                </a:cubicBezTo>
                <a:cubicBezTo>
                  <a:pt x="559" y="64"/>
                  <a:pt x="560" y="65"/>
                  <a:pt x="560" y="65"/>
                </a:cubicBezTo>
                <a:cubicBezTo>
                  <a:pt x="561" y="65"/>
                  <a:pt x="561" y="65"/>
                  <a:pt x="562" y="64"/>
                </a:cubicBezTo>
                <a:cubicBezTo>
                  <a:pt x="563" y="64"/>
                  <a:pt x="563" y="65"/>
                  <a:pt x="564" y="65"/>
                </a:cubicBezTo>
                <a:cubicBezTo>
                  <a:pt x="564" y="64"/>
                  <a:pt x="565" y="64"/>
                  <a:pt x="565" y="64"/>
                </a:cubicBezTo>
                <a:cubicBezTo>
                  <a:pt x="565" y="64"/>
                  <a:pt x="566" y="63"/>
                  <a:pt x="566" y="63"/>
                </a:cubicBezTo>
                <a:cubicBezTo>
                  <a:pt x="566" y="63"/>
                  <a:pt x="566" y="63"/>
                  <a:pt x="566" y="63"/>
                </a:cubicBezTo>
                <a:cubicBezTo>
                  <a:pt x="566" y="62"/>
                  <a:pt x="567" y="62"/>
                  <a:pt x="567" y="62"/>
                </a:cubicBezTo>
                <a:cubicBezTo>
                  <a:pt x="567" y="62"/>
                  <a:pt x="567" y="63"/>
                  <a:pt x="567" y="63"/>
                </a:cubicBezTo>
                <a:cubicBezTo>
                  <a:pt x="567" y="63"/>
                  <a:pt x="567" y="63"/>
                  <a:pt x="567" y="64"/>
                </a:cubicBezTo>
                <a:cubicBezTo>
                  <a:pt x="567" y="64"/>
                  <a:pt x="567" y="64"/>
                  <a:pt x="567" y="64"/>
                </a:cubicBezTo>
                <a:cubicBezTo>
                  <a:pt x="566" y="65"/>
                  <a:pt x="566" y="65"/>
                  <a:pt x="566" y="65"/>
                </a:cubicBezTo>
                <a:cubicBezTo>
                  <a:pt x="566" y="65"/>
                  <a:pt x="565" y="65"/>
                  <a:pt x="565" y="65"/>
                </a:cubicBezTo>
                <a:cubicBezTo>
                  <a:pt x="564" y="65"/>
                  <a:pt x="563" y="65"/>
                  <a:pt x="562" y="65"/>
                </a:cubicBezTo>
                <a:cubicBezTo>
                  <a:pt x="562" y="65"/>
                  <a:pt x="562" y="65"/>
                  <a:pt x="561" y="66"/>
                </a:cubicBezTo>
                <a:cubicBezTo>
                  <a:pt x="561" y="66"/>
                  <a:pt x="561" y="66"/>
                  <a:pt x="562" y="66"/>
                </a:cubicBezTo>
                <a:cubicBezTo>
                  <a:pt x="562" y="66"/>
                  <a:pt x="562" y="66"/>
                  <a:pt x="562" y="66"/>
                </a:cubicBezTo>
                <a:cubicBezTo>
                  <a:pt x="563" y="66"/>
                  <a:pt x="563" y="66"/>
                  <a:pt x="564" y="66"/>
                </a:cubicBezTo>
                <a:cubicBezTo>
                  <a:pt x="564" y="66"/>
                  <a:pt x="564" y="66"/>
                  <a:pt x="564" y="66"/>
                </a:cubicBezTo>
                <a:cubicBezTo>
                  <a:pt x="564" y="66"/>
                  <a:pt x="563" y="67"/>
                  <a:pt x="563" y="67"/>
                </a:cubicBezTo>
                <a:cubicBezTo>
                  <a:pt x="563" y="67"/>
                  <a:pt x="563" y="67"/>
                  <a:pt x="563" y="68"/>
                </a:cubicBezTo>
                <a:cubicBezTo>
                  <a:pt x="562" y="67"/>
                  <a:pt x="562" y="67"/>
                  <a:pt x="561" y="67"/>
                </a:cubicBezTo>
                <a:cubicBezTo>
                  <a:pt x="561" y="67"/>
                  <a:pt x="561" y="67"/>
                  <a:pt x="560" y="67"/>
                </a:cubicBezTo>
                <a:cubicBezTo>
                  <a:pt x="560" y="67"/>
                  <a:pt x="560" y="66"/>
                  <a:pt x="560" y="66"/>
                </a:cubicBezTo>
                <a:cubicBezTo>
                  <a:pt x="559" y="66"/>
                  <a:pt x="559" y="66"/>
                  <a:pt x="559" y="66"/>
                </a:cubicBezTo>
                <a:cubicBezTo>
                  <a:pt x="558" y="66"/>
                  <a:pt x="557" y="65"/>
                  <a:pt x="556" y="65"/>
                </a:cubicBezTo>
                <a:cubicBezTo>
                  <a:pt x="556" y="65"/>
                  <a:pt x="556" y="65"/>
                  <a:pt x="555" y="65"/>
                </a:cubicBezTo>
                <a:cubicBezTo>
                  <a:pt x="555" y="65"/>
                  <a:pt x="554" y="65"/>
                  <a:pt x="554" y="65"/>
                </a:cubicBezTo>
                <a:cubicBezTo>
                  <a:pt x="554" y="65"/>
                  <a:pt x="553" y="64"/>
                  <a:pt x="553" y="64"/>
                </a:cubicBezTo>
                <a:cubicBezTo>
                  <a:pt x="553" y="64"/>
                  <a:pt x="553" y="65"/>
                  <a:pt x="552" y="65"/>
                </a:cubicBezTo>
                <a:cubicBezTo>
                  <a:pt x="552" y="65"/>
                  <a:pt x="552" y="65"/>
                  <a:pt x="551" y="65"/>
                </a:cubicBezTo>
                <a:cubicBezTo>
                  <a:pt x="551" y="65"/>
                  <a:pt x="551" y="65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49" y="66"/>
                  <a:pt x="548" y="66"/>
                  <a:pt x="548" y="66"/>
                </a:cubicBezTo>
                <a:cubicBezTo>
                  <a:pt x="547" y="66"/>
                  <a:pt x="546" y="67"/>
                  <a:pt x="545" y="67"/>
                </a:cubicBezTo>
                <a:cubicBezTo>
                  <a:pt x="545" y="67"/>
                  <a:pt x="545" y="67"/>
                  <a:pt x="544" y="67"/>
                </a:cubicBezTo>
                <a:cubicBezTo>
                  <a:pt x="544" y="67"/>
                  <a:pt x="543" y="68"/>
                  <a:pt x="543" y="68"/>
                </a:cubicBezTo>
                <a:cubicBezTo>
                  <a:pt x="543" y="69"/>
                  <a:pt x="543" y="69"/>
                  <a:pt x="542" y="69"/>
                </a:cubicBezTo>
                <a:cubicBezTo>
                  <a:pt x="542" y="70"/>
                  <a:pt x="542" y="70"/>
                  <a:pt x="542" y="70"/>
                </a:cubicBezTo>
                <a:cubicBezTo>
                  <a:pt x="542" y="70"/>
                  <a:pt x="542" y="71"/>
                  <a:pt x="541" y="71"/>
                </a:cubicBezTo>
                <a:cubicBezTo>
                  <a:pt x="541" y="71"/>
                  <a:pt x="541" y="71"/>
                  <a:pt x="540" y="71"/>
                </a:cubicBezTo>
                <a:cubicBezTo>
                  <a:pt x="540" y="72"/>
                  <a:pt x="539" y="72"/>
                  <a:pt x="539" y="72"/>
                </a:cubicBezTo>
                <a:cubicBezTo>
                  <a:pt x="539" y="72"/>
                  <a:pt x="539" y="72"/>
                  <a:pt x="539" y="73"/>
                </a:cubicBezTo>
                <a:cubicBezTo>
                  <a:pt x="539" y="73"/>
                  <a:pt x="538" y="73"/>
                  <a:pt x="538" y="74"/>
                </a:cubicBezTo>
                <a:cubicBezTo>
                  <a:pt x="538" y="74"/>
                  <a:pt x="538" y="74"/>
                  <a:pt x="538" y="74"/>
                </a:cubicBezTo>
                <a:cubicBezTo>
                  <a:pt x="538" y="74"/>
                  <a:pt x="538" y="74"/>
                  <a:pt x="538" y="74"/>
                </a:cubicBezTo>
                <a:cubicBezTo>
                  <a:pt x="538" y="74"/>
                  <a:pt x="539" y="74"/>
                  <a:pt x="539" y="75"/>
                </a:cubicBezTo>
                <a:cubicBezTo>
                  <a:pt x="538" y="75"/>
                  <a:pt x="538" y="75"/>
                  <a:pt x="538" y="75"/>
                </a:cubicBezTo>
                <a:cubicBezTo>
                  <a:pt x="537" y="75"/>
                  <a:pt x="537" y="75"/>
                  <a:pt x="537" y="75"/>
                </a:cubicBezTo>
                <a:cubicBezTo>
                  <a:pt x="538" y="76"/>
                  <a:pt x="538" y="76"/>
                  <a:pt x="539" y="76"/>
                </a:cubicBezTo>
                <a:cubicBezTo>
                  <a:pt x="539" y="76"/>
                  <a:pt x="540" y="76"/>
                  <a:pt x="540" y="76"/>
                </a:cubicBezTo>
                <a:cubicBezTo>
                  <a:pt x="541" y="75"/>
                  <a:pt x="541" y="75"/>
                  <a:pt x="541" y="75"/>
                </a:cubicBezTo>
                <a:cubicBezTo>
                  <a:pt x="541" y="75"/>
                  <a:pt x="541" y="75"/>
                  <a:pt x="541" y="75"/>
                </a:cubicBezTo>
                <a:cubicBezTo>
                  <a:pt x="542" y="74"/>
                  <a:pt x="542" y="74"/>
                  <a:pt x="543" y="74"/>
                </a:cubicBezTo>
                <a:cubicBezTo>
                  <a:pt x="543" y="74"/>
                  <a:pt x="544" y="74"/>
                  <a:pt x="544" y="73"/>
                </a:cubicBezTo>
                <a:cubicBezTo>
                  <a:pt x="544" y="73"/>
                  <a:pt x="544" y="74"/>
                  <a:pt x="544" y="74"/>
                </a:cubicBezTo>
                <a:cubicBezTo>
                  <a:pt x="544" y="74"/>
                  <a:pt x="544" y="74"/>
                  <a:pt x="543" y="74"/>
                </a:cubicBezTo>
                <a:cubicBezTo>
                  <a:pt x="543" y="75"/>
                  <a:pt x="543" y="75"/>
                  <a:pt x="543" y="75"/>
                </a:cubicBezTo>
                <a:cubicBezTo>
                  <a:pt x="543" y="76"/>
                  <a:pt x="543" y="76"/>
                  <a:pt x="543" y="76"/>
                </a:cubicBezTo>
                <a:cubicBezTo>
                  <a:pt x="543" y="76"/>
                  <a:pt x="544" y="76"/>
                  <a:pt x="544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6" y="75"/>
                  <a:pt x="546" y="75"/>
                  <a:pt x="547" y="74"/>
                </a:cubicBezTo>
                <a:cubicBezTo>
                  <a:pt x="547" y="74"/>
                  <a:pt x="548" y="74"/>
                  <a:pt x="548" y="73"/>
                </a:cubicBezTo>
                <a:cubicBezTo>
                  <a:pt x="549" y="73"/>
                  <a:pt x="549" y="72"/>
                  <a:pt x="549" y="71"/>
                </a:cubicBezTo>
                <a:cubicBezTo>
                  <a:pt x="550" y="71"/>
                  <a:pt x="550" y="70"/>
                  <a:pt x="551" y="70"/>
                </a:cubicBezTo>
                <a:cubicBezTo>
                  <a:pt x="551" y="70"/>
                  <a:pt x="551" y="70"/>
                  <a:pt x="552" y="70"/>
                </a:cubicBezTo>
                <a:cubicBezTo>
                  <a:pt x="552" y="70"/>
                  <a:pt x="552" y="70"/>
                  <a:pt x="552" y="70"/>
                </a:cubicBezTo>
                <a:cubicBezTo>
                  <a:pt x="551" y="70"/>
                  <a:pt x="551" y="70"/>
                  <a:pt x="551" y="71"/>
                </a:cubicBezTo>
                <a:cubicBezTo>
                  <a:pt x="550" y="71"/>
                  <a:pt x="550" y="72"/>
                  <a:pt x="549" y="72"/>
                </a:cubicBezTo>
                <a:cubicBezTo>
                  <a:pt x="550" y="72"/>
                  <a:pt x="550" y="73"/>
                  <a:pt x="550" y="73"/>
                </a:cubicBezTo>
                <a:cubicBezTo>
                  <a:pt x="550" y="73"/>
                  <a:pt x="549" y="73"/>
                  <a:pt x="549" y="73"/>
                </a:cubicBezTo>
                <a:cubicBezTo>
                  <a:pt x="549" y="73"/>
                  <a:pt x="549" y="74"/>
                  <a:pt x="548" y="74"/>
                </a:cubicBezTo>
                <a:cubicBezTo>
                  <a:pt x="548" y="74"/>
                  <a:pt x="548" y="74"/>
                  <a:pt x="549" y="74"/>
                </a:cubicBezTo>
                <a:cubicBezTo>
                  <a:pt x="549" y="74"/>
                  <a:pt x="549" y="74"/>
                  <a:pt x="549" y="74"/>
                </a:cubicBezTo>
                <a:cubicBezTo>
                  <a:pt x="549" y="74"/>
                  <a:pt x="549" y="74"/>
                  <a:pt x="549" y="74"/>
                </a:cubicBezTo>
                <a:cubicBezTo>
                  <a:pt x="549" y="74"/>
                  <a:pt x="549" y="75"/>
                  <a:pt x="548" y="75"/>
                </a:cubicBezTo>
                <a:cubicBezTo>
                  <a:pt x="548" y="75"/>
                  <a:pt x="548" y="75"/>
                  <a:pt x="547" y="75"/>
                </a:cubicBezTo>
                <a:cubicBezTo>
                  <a:pt x="547" y="76"/>
                  <a:pt x="548" y="76"/>
                  <a:pt x="548" y="76"/>
                </a:cubicBezTo>
                <a:cubicBezTo>
                  <a:pt x="548" y="76"/>
                  <a:pt x="549" y="76"/>
                  <a:pt x="549" y="76"/>
                </a:cubicBezTo>
                <a:cubicBezTo>
                  <a:pt x="549" y="76"/>
                  <a:pt x="548" y="76"/>
                  <a:pt x="548" y="76"/>
                </a:cubicBezTo>
                <a:cubicBezTo>
                  <a:pt x="548" y="76"/>
                  <a:pt x="547" y="76"/>
                  <a:pt x="547" y="76"/>
                </a:cubicBezTo>
                <a:cubicBezTo>
                  <a:pt x="546" y="76"/>
                  <a:pt x="546" y="76"/>
                  <a:pt x="546" y="76"/>
                </a:cubicBezTo>
                <a:cubicBezTo>
                  <a:pt x="545" y="76"/>
                  <a:pt x="545" y="77"/>
                  <a:pt x="545" y="77"/>
                </a:cubicBezTo>
                <a:cubicBezTo>
                  <a:pt x="545" y="77"/>
                  <a:pt x="544" y="77"/>
                  <a:pt x="544" y="77"/>
                </a:cubicBezTo>
                <a:cubicBezTo>
                  <a:pt x="544" y="77"/>
                  <a:pt x="544" y="77"/>
                  <a:pt x="544" y="77"/>
                </a:cubicBezTo>
                <a:cubicBezTo>
                  <a:pt x="544" y="78"/>
                  <a:pt x="544" y="78"/>
                  <a:pt x="544" y="78"/>
                </a:cubicBezTo>
                <a:cubicBezTo>
                  <a:pt x="545" y="78"/>
                  <a:pt x="545" y="78"/>
                  <a:pt x="545" y="78"/>
                </a:cubicBezTo>
                <a:cubicBezTo>
                  <a:pt x="545" y="78"/>
                  <a:pt x="545" y="77"/>
                  <a:pt x="546" y="77"/>
                </a:cubicBezTo>
                <a:cubicBezTo>
                  <a:pt x="546" y="77"/>
                  <a:pt x="546" y="77"/>
                  <a:pt x="546" y="77"/>
                </a:cubicBezTo>
                <a:cubicBezTo>
                  <a:pt x="547" y="77"/>
                  <a:pt x="547" y="77"/>
                  <a:pt x="547" y="77"/>
                </a:cubicBezTo>
                <a:cubicBezTo>
                  <a:pt x="547" y="77"/>
                  <a:pt x="547" y="78"/>
                  <a:pt x="547" y="78"/>
                </a:cubicBezTo>
                <a:cubicBezTo>
                  <a:pt x="547" y="78"/>
                  <a:pt x="547" y="78"/>
                  <a:pt x="546" y="78"/>
                </a:cubicBezTo>
                <a:cubicBezTo>
                  <a:pt x="546" y="78"/>
                  <a:pt x="546" y="78"/>
                  <a:pt x="546" y="78"/>
                </a:cubicBezTo>
                <a:cubicBezTo>
                  <a:pt x="545" y="78"/>
                  <a:pt x="545" y="78"/>
                  <a:pt x="545" y="78"/>
                </a:cubicBezTo>
                <a:cubicBezTo>
                  <a:pt x="545" y="78"/>
                  <a:pt x="545" y="78"/>
                  <a:pt x="545" y="79"/>
                </a:cubicBezTo>
                <a:cubicBezTo>
                  <a:pt x="545" y="79"/>
                  <a:pt x="546" y="78"/>
                  <a:pt x="546" y="78"/>
                </a:cubicBezTo>
                <a:cubicBezTo>
                  <a:pt x="546" y="79"/>
                  <a:pt x="546" y="79"/>
                  <a:pt x="546" y="79"/>
                </a:cubicBezTo>
                <a:cubicBezTo>
                  <a:pt x="546" y="79"/>
                  <a:pt x="545" y="79"/>
                  <a:pt x="545" y="79"/>
                </a:cubicBezTo>
                <a:cubicBezTo>
                  <a:pt x="545" y="79"/>
                  <a:pt x="545" y="79"/>
                  <a:pt x="544" y="79"/>
                </a:cubicBezTo>
                <a:cubicBezTo>
                  <a:pt x="544" y="80"/>
                  <a:pt x="544" y="80"/>
                  <a:pt x="544" y="80"/>
                </a:cubicBezTo>
                <a:cubicBezTo>
                  <a:pt x="545" y="80"/>
                  <a:pt x="545" y="80"/>
                  <a:pt x="545" y="80"/>
                </a:cubicBezTo>
                <a:cubicBezTo>
                  <a:pt x="546" y="80"/>
                  <a:pt x="546" y="80"/>
                  <a:pt x="546" y="80"/>
                </a:cubicBezTo>
                <a:cubicBezTo>
                  <a:pt x="546" y="80"/>
                  <a:pt x="546" y="80"/>
                  <a:pt x="547" y="80"/>
                </a:cubicBezTo>
                <a:cubicBezTo>
                  <a:pt x="547" y="79"/>
                  <a:pt x="547" y="79"/>
                  <a:pt x="548" y="79"/>
                </a:cubicBezTo>
                <a:cubicBezTo>
                  <a:pt x="548" y="79"/>
                  <a:pt x="548" y="79"/>
                  <a:pt x="548" y="80"/>
                </a:cubicBezTo>
                <a:cubicBezTo>
                  <a:pt x="547" y="80"/>
                  <a:pt x="547" y="80"/>
                  <a:pt x="547" y="80"/>
                </a:cubicBezTo>
                <a:cubicBezTo>
                  <a:pt x="547" y="80"/>
                  <a:pt x="546" y="81"/>
                  <a:pt x="546" y="81"/>
                </a:cubicBezTo>
                <a:cubicBezTo>
                  <a:pt x="546" y="81"/>
                  <a:pt x="546" y="81"/>
                  <a:pt x="546" y="81"/>
                </a:cubicBezTo>
                <a:cubicBezTo>
                  <a:pt x="547" y="81"/>
                  <a:pt x="547" y="82"/>
                  <a:pt x="548" y="82"/>
                </a:cubicBezTo>
                <a:cubicBezTo>
                  <a:pt x="548" y="82"/>
                  <a:pt x="549" y="81"/>
                  <a:pt x="549" y="81"/>
                </a:cubicBezTo>
                <a:cubicBezTo>
                  <a:pt x="549" y="81"/>
                  <a:pt x="549" y="81"/>
                  <a:pt x="549" y="81"/>
                </a:cubicBezTo>
                <a:cubicBezTo>
                  <a:pt x="549" y="81"/>
                  <a:pt x="550" y="81"/>
                  <a:pt x="550" y="81"/>
                </a:cubicBezTo>
                <a:cubicBezTo>
                  <a:pt x="550" y="81"/>
                  <a:pt x="550" y="81"/>
                  <a:pt x="551" y="81"/>
                </a:cubicBezTo>
                <a:cubicBezTo>
                  <a:pt x="551" y="81"/>
                  <a:pt x="552" y="81"/>
                  <a:pt x="553" y="80"/>
                </a:cubicBezTo>
                <a:cubicBezTo>
                  <a:pt x="553" y="80"/>
                  <a:pt x="554" y="79"/>
                  <a:pt x="554" y="79"/>
                </a:cubicBezTo>
                <a:cubicBezTo>
                  <a:pt x="554" y="79"/>
                  <a:pt x="554" y="79"/>
                  <a:pt x="554" y="79"/>
                </a:cubicBezTo>
                <a:cubicBezTo>
                  <a:pt x="554" y="79"/>
                  <a:pt x="555" y="78"/>
                  <a:pt x="555" y="78"/>
                </a:cubicBezTo>
                <a:cubicBezTo>
                  <a:pt x="556" y="78"/>
                  <a:pt x="556" y="77"/>
                  <a:pt x="557" y="76"/>
                </a:cubicBezTo>
                <a:cubicBezTo>
                  <a:pt x="557" y="76"/>
                  <a:pt x="557" y="76"/>
                  <a:pt x="557" y="76"/>
                </a:cubicBezTo>
                <a:cubicBezTo>
                  <a:pt x="557" y="76"/>
                  <a:pt x="557" y="75"/>
                  <a:pt x="558" y="75"/>
                </a:cubicBezTo>
                <a:cubicBezTo>
                  <a:pt x="558" y="75"/>
                  <a:pt x="558" y="75"/>
                  <a:pt x="558" y="75"/>
                </a:cubicBezTo>
                <a:cubicBezTo>
                  <a:pt x="558" y="75"/>
                  <a:pt x="558" y="76"/>
                  <a:pt x="558" y="76"/>
                </a:cubicBezTo>
                <a:cubicBezTo>
                  <a:pt x="558" y="76"/>
                  <a:pt x="558" y="76"/>
                  <a:pt x="558" y="76"/>
                </a:cubicBezTo>
                <a:cubicBezTo>
                  <a:pt x="557" y="77"/>
                  <a:pt x="557" y="78"/>
                  <a:pt x="556" y="78"/>
                </a:cubicBezTo>
                <a:cubicBezTo>
                  <a:pt x="555" y="79"/>
                  <a:pt x="555" y="79"/>
                  <a:pt x="554" y="79"/>
                </a:cubicBezTo>
                <a:cubicBezTo>
                  <a:pt x="554" y="80"/>
                  <a:pt x="553" y="80"/>
                  <a:pt x="553" y="81"/>
                </a:cubicBezTo>
                <a:cubicBezTo>
                  <a:pt x="552" y="81"/>
                  <a:pt x="552" y="81"/>
                  <a:pt x="551" y="81"/>
                </a:cubicBezTo>
                <a:cubicBezTo>
                  <a:pt x="551" y="82"/>
                  <a:pt x="551" y="82"/>
                  <a:pt x="550" y="82"/>
                </a:cubicBezTo>
                <a:cubicBezTo>
                  <a:pt x="551" y="82"/>
                  <a:pt x="551" y="82"/>
                  <a:pt x="551" y="82"/>
                </a:cubicBezTo>
                <a:cubicBezTo>
                  <a:pt x="551" y="83"/>
                  <a:pt x="551" y="83"/>
                  <a:pt x="551" y="83"/>
                </a:cubicBezTo>
                <a:cubicBezTo>
                  <a:pt x="550" y="83"/>
                  <a:pt x="550" y="82"/>
                  <a:pt x="549" y="82"/>
                </a:cubicBezTo>
                <a:cubicBezTo>
                  <a:pt x="548" y="82"/>
                  <a:pt x="547" y="83"/>
                  <a:pt x="547" y="83"/>
                </a:cubicBezTo>
                <a:cubicBezTo>
                  <a:pt x="547" y="83"/>
                  <a:pt x="547" y="83"/>
                  <a:pt x="547" y="83"/>
                </a:cubicBezTo>
                <a:cubicBezTo>
                  <a:pt x="546" y="83"/>
                  <a:pt x="546" y="83"/>
                  <a:pt x="546" y="83"/>
                </a:cubicBezTo>
                <a:cubicBezTo>
                  <a:pt x="546" y="83"/>
                  <a:pt x="545" y="83"/>
                  <a:pt x="545" y="83"/>
                </a:cubicBezTo>
                <a:cubicBezTo>
                  <a:pt x="544" y="82"/>
                  <a:pt x="543" y="82"/>
                  <a:pt x="543" y="82"/>
                </a:cubicBezTo>
                <a:cubicBezTo>
                  <a:pt x="542" y="82"/>
                  <a:pt x="542" y="83"/>
                  <a:pt x="542" y="83"/>
                </a:cubicBezTo>
                <a:cubicBezTo>
                  <a:pt x="542" y="83"/>
                  <a:pt x="541" y="82"/>
                  <a:pt x="541" y="82"/>
                </a:cubicBezTo>
                <a:cubicBezTo>
                  <a:pt x="541" y="82"/>
                  <a:pt x="541" y="82"/>
                  <a:pt x="542" y="81"/>
                </a:cubicBezTo>
                <a:cubicBezTo>
                  <a:pt x="541" y="81"/>
                  <a:pt x="541" y="80"/>
                  <a:pt x="541" y="79"/>
                </a:cubicBezTo>
                <a:cubicBezTo>
                  <a:pt x="541" y="79"/>
                  <a:pt x="540" y="78"/>
                  <a:pt x="540" y="78"/>
                </a:cubicBezTo>
                <a:cubicBezTo>
                  <a:pt x="540" y="78"/>
                  <a:pt x="539" y="78"/>
                  <a:pt x="539" y="77"/>
                </a:cubicBezTo>
                <a:cubicBezTo>
                  <a:pt x="538" y="77"/>
                  <a:pt x="538" y="77"/>
                  <a:pt x="538" y="78"/>
                </a:cubicBezTo>
                <a:cubicBezTo>
                  <a:pt x="537" y="78"/>
                  <a:pt x="537" y="78"/>
                  <a:pt x="537" y="78"/>
                </a:cubicBezTo>
                <a:cubicBezTo>
                  <a:pt x="536" y="78"/>
                  <a:pt x="536" y="78"/>
                  <a:pt x="536" y="78"/>
                </a:cubicBezTo>
                <a:cubicBezTo>
                  <a:pt x="535" y="78"/>
                  <a:pt x="535" y="78"/>
                  <a:pt x="534" y="78"/>
                </a:cubicBezTo>
                <a:cubicBezTo>
                  <a:pt x="534" y="78"/>
                  <a:pt x="534" y="78"/>
                  <a:pt x="533" y="78"/>
                </a:cubicBezTo>
                <a:cubicBezTo>
                  <a:pt x="533" y="79"/>
                  <a:pt x="533" y="79"/>
                  <a:pt x="532" y="79"/>
                </a:cubicBezTo>
                <a:cubicBezTo>
                  <a:pt x="533" y="79"/>
                  <a:pt x="533" y="79"/>
                  <a:pt x="533" y="79"/>
                </a:cubicBezTo>
                <a:cubicBezTo>
                  <a:pt x="533" y="80"/>
                  <a:pt x="533" y="80"/>
                  <a:pt x="533" y="80"/>
                </a:cubicBezTo>
                <a:cubicBezTo>
                  <a:pt x="533" y="80"/>
                  <a:pt x="533" y="80"/>
                  <a:pt x="533" y="80"/>
                </a:cubicBezTo>
                <a:cubicBezTo>
                  <a:pt x="533" y="81"/>
                  <a:pt x="533" y="81"/>
                  <a:pt x="533" y="81"/>
                </a:cubicBezTo>
                <a:cubicBezTo>
                  <a:pt x="533" y="82"/>
                  <a:pt x="533" y="82"/>
                  <a:pt x="533" y="82"/>
                </a:cubicBezTo>
                <a:cubicBezTo>
                  <a:pt x="534" y="82"/>
                  <a:pt x="534" y="82"/>
                  <a:pt x="534" y="82"/>
                </a:cubicBezTo>
                <a:cubicBezTo>
                  <a:pt x="534" y="82"/>
                  <a:pt x="534" y="82"/>
                  <a:pt x="534" y="82"/>
                </a:cubicBezTo>
                <a:cubicBezTo>
                  <a:pt x="534" y="82"/>
                  <a:pt x="533" y="83"/>
                  <a:pt x="533" y="83"/>
                </a:cubicBezTo>
                <a:cubicBezTo>
                  <a:pt x="533" y="83"/>
                  <a:pt x="533" y="83"/>
                  <a:pt x="533" y="83"/>
                </a:cubicBezTo>
                <a:cubicBezTo>
                  <a:pt x="533" y="84"/>
                  <a:pt x="533" y="84"/>
                  <a:pt x="534" y="84"/>
                </a:cubicBezTo>
                <a:cubicBezTo>
                  <a:pt x="534" y="84"/>
                  <a:pt x="534" y="84"/>
                  <a:pt x="535" y="84"/>
                </a:cubicBezTo>
                <a:cubicBezTo>
                  <a:pt x="535" y="84"/>
                  <a:pt x="535" y="83"/>
                  <a:pt x="535" y="83"/>
                </a:cubicBezTo>
                <a:cubicBezTo>
                  <a:pt x="535" y="83"/>
                  <a:pt x="536" y="83"/>
                  <a:pt x="536" y="83"/>
                </a:cubicBezTo>
                <a:cubicBezTo>
                  <a:pt x="536" y="83"/>
                  <a:pt x="536" y="84"/>
                  <a:pt x="536" y="84"/>
                </a:cubicBezTo>
                <a:cubicBezTo>
                  <a:pt x="536" y="84"/>
                  <a:pt x="535" y="84"/>
                  <a:pt x="535" y="84"/>
                </a:cubicBezTo>
                <a:cubicBezTo>
                  <a:pt x="535" y="84"/>
                  <a:pt x="535" y="84"/>
                  <a:pt x="535" y="84"/>
                </a:cubicBezTo>
                <a:cubicBezTo>
                  <a:pt x="535" y="84"/>
                  <a:pt x="535" y="84"/>
                  <a:pt x="536" y="84"/>
                </a:cubicBezTo>
                <a:cubicBezTo>
                  <a:pt x="536" y="84"/>
                  <a:pt x="536" y="84"/>
                  <a:pt x="536" y="84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6" y="85"/>
                  <a:pt x="536" y="85"/>
                  <a:pt x="536" y="85"/>
                </a:cubicBezTo>
                <a:cubicBezTo>
                  <a:pt x="537" y="85"/>
                  <a:pt x="537" y="85"/>
                  <a:pt x="537" y="85"/>
                </a:cubicBezTo>
                <a:cubicBezTo>
                  <a:pt x="537" y="85"/>
                  <a:pt x="537" y="85"/>
                  <a:pt x="538" y="85"/>
                </a:cubicBezTo>
                <a:cubicBezTo>
                  <a:pt x="537" y="85"/>
                  <a:pt x="537" y="86"/>
                  <a:pt x="537" y="86"/>
                </a:cubicBezTo>
                <a:cubicBezTo>
                  <a:pt x="537" y="86"/>
                  <a:pt x="536" y="86"/>
                  <a:pt x="536" y="86"/>
                </a:cubicBezTo>
                <a:cubicBezTo>
                  <a:pt x="536" y="86"/>
                  <a:pt x="536" y="86"/>
                  <a:pt x="536" y="86"/>
                </a:cubicBezTo>
                <a:cubicBezTo>
                  <a:pt x="535" y="86"/>
                  <a:pt x="535" y="86"/>
                  <a:pt x="534" y="86"/>
                </a:cubicBezTo>
                <a:cubicBezTo>
                  <a:pt x="534" y="86"/>
                  <a:pt x="534" y="86"/>
                  <a:pt x="534" y="86"/>
                </a:cubicBezTo>
                <a:cubicBezTo>
                  <a:pt x="534" y="86"/>
                  <a:pt x="534" y="86"/>
                  <a:pt x="534" y="86"/>
                </a:cubicBezTo>
                <a:cubicBezTo>
                  <a:pt x="533" y="87"/>
                  <a:pt x="533" y="87"/>
                  <a:pt x="533" y="87"/>
                </a:cubicBezTo>
                <a:cubicBezTo>
                  <a:pt x="533" y="86"/>
                  <a:pt x="532" y="86"/>
                  <a:pt x="532" y="86"/>
                </a:cubicBezTo>
                <a:cubicBezTo>
                  <a:pt x="532" y="86"/>
                  <a:pt x="532" y="86"/>
                  <a:pt x="531" y="86"/>
                </a:cubicBezTo>
                <a:cubicBezTo>
                  <a:pt x="531" y="86"/>
                  <a:pt x="531" y="86"/>
                  <a:pt x="530" y="87"/>
                </a:cubicBezTo>
                <a:cubicBezTo>
                  <a:pt x="530" y="87"/>
                  <a:pt x="529" y="87"/>
                  <a:pt x="529" y="87"/>
                </a:cubicBezTo>
                <a:cubicBezTo>
                  <a:pt x="528" y="87"/>
                  <a:pt x="527" y="87"/>
                  <a:pt x="527" y="87"/>
                </a:cubicBezTo>
                <a:cubicBezTo>
                  <a:pt x="527" y="87"/>
                  <a:pt x="526" y="87"/>
                  <a:pt x="526" y="87"/>
                </a:cubicBezTo>
                <a:cubicBezTo>
                  <a:pt x="526" y="87"/>
                  <a:pt x="526" y="87"/>
                  <a:pt x="525" y="87"/>
                </a:cubicBezTo>
                <a:cubicBezTo>
                  <a:pt x="525" y="88"/>
                  <a:pt x="525" y="88"/>
                  <a:pt x="525" y="88"/>
                </a:cubicBezTo>
                <a:cubicBezTo>
                  <a:pt x="525" y="88"/>
                  <a:pt x="525" y="88"/>
                  <a:pt x="525" y="88"/>
                </a:cubicBezTo>
                <a:cubicBezTo>
                  <a:pt x="524" y="88"/>
                  <a:pt x="524" y="89"/>
                  <a:pt x="524" y="89"/>
                </a:cubicBezTo>
                <a:cubicBezTo>
                  <a:pt x="524" y="89"/>
                  <a:pt x="523" y="89"/>
                  <a:pt x="523" y="89"/>
                </a:cubicBezTo>
                <a:cubicBezTo>
                  <a:pt x="523" y="89"/>
                  <a:pt x="522" y="90"/>
                  <a:pt x="522" y="90"/>
                </a:cubicBezTo>
                <a:cubicBezTo>
                  <a:pt x="521" y="90"/>
                  <a:pt x="521" y="90"/>
                  <a:pt x="521" y="90"/>
                </a:cubicBezTo>
                <a:cubicBezTo>
                  <a:pt x="521" y="90"/>
                  <a:pt x="521" y="90"/>
                  <a:pt x="520" y="90"/>
                </a:cubicBezTo>
                <a:cubicBezTo>
                  <a:pt x="520" y="91"/>
                  <a:pt x="520" y="91"/>
                  <a:pt x="519" y="91"/>
                </a:cubicBezTo>
                <a:cubicBezTo>
                  <a:pt x="519" y="91"/>
                  <a:pt x="519" y="92"/>
                  <a:pt x="519" y="92"/>
                </a:cubicBezTo>
                <a:cubicBezTo>
                  <a:pt x="519" y="92"/>
                  <a:pt x="519" y="92"/>
                  <a:pt x="519" y="92"/>
                </a:cubicBezTo>
                <a:cubicBezTo>
                  <a:pt x="519" y="92"/>
                  <a:pt x="519" y="92"/>
                  <a:pt x="519" y="93"/>
                </a:cubicBezTo>
                <a:cubicBezTo>
                  <a:pt x="519" y="93"/>
                  <a:pt x="518" y="93"/>
                  <a:pt x="518" y="93"/>
                </a:cubicBezTo>
                <a:cubicBezTo>
                  <a:pt x="518" y="94"/>
                  <a:pt x="518" y="94"/>
                  <a:pt x="518" y="94"/>
                </a:cubicBezTo>
                <a:cubicBezTo>
                  <a:pt x="518" y="94"/>
                  <a:pt x="518" y="94"/>
                  <a:pt x="518" y="94"/>
                </a:cubicBezTo>
                <a:cubicBezTo>
                  <a:pt x="518" y="95"/>
                  <a:pt x="518" y="95"/>
                  <a:pt x="518" y="95"/>
                </a:cubicBezTo>
                <a:cubicBezTo>
                  <a:pt x="519" y="95"/>
                  <a:pt x="519" y="95"/>
                  <a:pt x="519" y="96"/>
                </a:cubicBezTo>
                <a:cubicBezTo>
                  <a:pt x="519" y="95"/>
                  <a:pt x="520" y="95"/>
                  <a:pt x="520" y="95"/>
                </a:cubicBezTo>
                <a:cubicBezTo>
                  <a:pt x="520" y="95"/>
                  <a:pt x="521" y="95"/>
                  <a:pt x="521" y="94"/>
                </a:cubicBezTo>
                <a:cubicBezTo>
                  <a:pt x="521" y="94"/>
                  <a:pt x="521" y="94"/>
                  <a:pt x="521" y="94"/>
                </a:cubicBezTo>
                <a:cubicBezTo>
                  <a:pt x="521" y="94"/>
                  <a:pt x="521" y="94"/>
                  <a:pt x="521" y="94"/>
                </a:cubicBezTo>
                <a:cubicBezTo>
                  <a:pt x="521" y="95"/>
                  <a:pt x="521" y="95"/>
                  <a:pt x="521" y="95"/>
                </a:cubicBezTo>
                <a:cubicBezTo>
                  <a:pt x="521" y="95"/>
                  <a:pt x="521" y="95"/>
                  <a:pt x="521" y="95"/>
                </a:cubicBezTo>
                <a:cubicBezTo>
                  <a:pt x="521" y="95"/>
                  <a:pt x="522" y="95"/>
                  <a:pt x="522" y="95"/>
                </a:cubicBezTo>
                <a:cubicBezTo>
                  <a:pt x="522" y="94"/>
                  <a:pt x="522" y="94"/>
                  <a:pt x="522" y="94"/>
                </a:cubicBezTo>
                <a:cubicBezTo>
                  <a:pt x="522" y="93"/>
                  <a:pt x="522" y="93"/>
                  <a:pt x="522" y="92"/>
                </a:cubicBezTo>
                <a:cubicBezTo>
                  <a:pt x="522" y="92"/>
                  <a:pt x="522" y="92"/>
                  <a:pt x="523" y="92"/>
                </a:cubicBezTo>
                <a:cubicBezTo>
                  <a:pt x="523" y="91"/>
                  <a:pt x="523" y="91"/>
                  <a:pt x="523" y="91"/>
                </a:cubicBezTo>
                <a:cubicBezTo>
                  <a:pt x="523" y="92"/>
                  <a:pt x="523" y="92"/>
                  <a:pt x="522" y="93"/>
                </a:cubicBezTo>
                <a:cubicBezTo>
                  <a:pt x="522" y="93"/>
                  <a:pt x="522" y="93"/>
                  <a:pt x="523" y="93"/>
                </a:cubicBezTo>
                <a:cubicBezTo>
                  <a:pt x="522" y="94"/>
                  <a:pt x="522" y="94"/>
                  <a:pt x="522" y="94"/>
                </a:cubicBezTo>
                <a:cubicBezTo>
                  <a:pt x="522" y="94"/>
                  <a:pt x="522" y="94"/>
                  <a:pt x="522" y="95"/>
                </a:cubicBezTo>
                <a:cubicBezTo>
                  <a:pt x="522" y="95"/>
                  <a:pt x="522" y="95"/>
                  <a:pt x="522" y="95"/>
                </a:cubicBezTo>
                <a:cubicBezTo>
                  <a:pt x="522" y="95"/>
                  <a:pt x="522" y="96"/>
                  <a:pt x="522" y="96"/>
                </a:cubicBezTo>
                <a:cubicBezTo>
                  <a:pt x="523" y="96"/>
                  <a:pt x="523" y="96"/>
                  <a:pt x="523" y="96"/>
                </a:cubicBezTo>
                <a:cubicBezTo>
                  <a:pt x="523" y="96"/>
                  <a:pt x="524" y="96"/>
                  <a:pt x="524" y="96"/>
                </a:cubicBezTo>
                <a:cubicBezTo>
                  <a:pt x="524" y="96"/>
                  <a:pt x="525" y="96"/>
                  <a:pt x="525" y="96"/>
                </a:cubicBezTo>
                <a:cubicBezTo>
                  <a:pt x="525" y="95"/>
                  <a:pt x="525" y="95"/>
                  <a:pt x="525" y="95"/>
                </a:cubicBezTo>
                <a:cubicBezTo>
                  <a:pt x="525" y="95"/>
                  <a:pt x="525" y="95"/>
                  <a:pt x="525" y="95"/>
                </a:cubicBezTo>
                <a:cubicBezTo>
                  <a:pt x="525" y="94"/>
                  <a:pt x="525" y="94"/>
                  <a:pt x="525" y="94"/>
                </a:cubicBezTo>
                <a:cubicBezTo>
                  <a:pt x="525" y="94"/>
                  <a:pt x="525" y="94"/>
                  <a:pt x="525" y="93"/>
                </a:cubicBezTo>
                <a:cubicBezTo>
                  <a:pt x="526" y="93"/>
                  <a:pt x="526" y="93"/>
                  <a:pt x="526" y="93"/>
                </a:cubicBezTo>
                <a:cubicBezTo>
                  <a:pt x="526" y="93"/>
                  <a:pt x="526" y="93"/>
                  <a:pt x="526" y="93"/>
                </a:cubicBezTo>
                <a:cubicBezTo>
                  <a:pt x="526" y="93"/>
                  <a:pt x="526" y="94"/>
                  <a:pt x="526" y="94"/>
                </a:cubicBezTo>
                <a:cubicBezTo>
                  <a:pt x="526" y="94"/>
                  <a:pt x="526" y="94"/>
                  <a:pt x="526" y="95"/>
                </a:cubicBezTo>
                <a:cubicBezTo>
                  <a:pt x="526" y="95"/>
                  <a:pt x="526" y="95"/>
                  <a:pt x="526" y="95"/>
                </a:cubicBezTo>
                <a:cubicBezTo>
                  <a:pt x="526" y="95"/>
                  <a:pt x="526" y="95"/>
                  <a:pt x="526" y="95"/>
                </a:cubicBezTo>
                <a:cubicBezTo>
                  <a:pt x="526" y="96"/>
                  <a:pt x="527" y="96"/>
                  <a:pt x="527" y="96"/>
                </a:cubicBezTo>
                <a:cubicBezTo>
                  <a:pt x="527" y="96"/>
                  <a:pt x="528" y="96"/>
                  <a:pt x="528" y="96"/>
                </a:cubicBezTo>
                <a:cubicBezTo>
                  <a:pt x="528" y="96"/>
                  <a:pt x="528" y="96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9" y="94"/>
                  <a:pt x="529" y="94"/>
                </a:cubicBezTo>
                <a:cubicBezTo>
                  <a:pt x="529" y="94"/>
                  <a:pt x="529" y="94"/>
                  <a:pt x="529" y="94"/>
                </a:cubicBezTo>
                <a:cubicBezTo>
                  <a:pt x="529" y="94"/>
                  <a:pt x="529" y="94"/>
                  <a:pt x="529" y="93"/>
                </a:cubicBezTo>
                <a:cubicBezTo>
                  <a:pt x="529" y="93"/>
                  <a:pt x="529" y="93"/>
                  <a:pt x="529" y="93"/>
                </a:cubicBezTo>
                <a:cubicBezTo>
                  <a:pt x="529" y="93"/>
                  <a:pt x="528" y="93"/>
                  <a:pt x="528" y="93"/>
                </a:cubicBezTo>
                <a:cubicBezTo>
                  <a:pt x="529" y="93"/>
                  <a:pt x="529" y="93"/>
                  <a:pt x="529" y="93"/>
                </a:cubicBezTo>
                <a:cubicBezTo>
                  <a:pt x="529" y="93"/>
                  <a:pt x="530" y="93"/>
                  <a:pt x="530" y="94"/>
                </a:cubicBezTo>
                <a:cubicBezTo>
                  <a:pt x="530" y="94"/>
                  <a:pt x="530" y="94"/>
                  <a:pt x="530" y="94"/>
                </a:cubicBezTo>
                <a:cubicBezTo>
                  <a:pt x="530" y="94"/>
                  <a:pt x="530" y="95"/>
                  <a:pt x="530" y="95"/>
                </a:cubicBezTo>
                <a:cubicBezTo>
                  <a:pt x="530" y="95"/>
                  <a:pt x="529" y="95"/>
                  <a:pt x="529" y="95"/>
                </a:cubicBezTo>
                <a:cubicBezTo>
                  <a:pt x="529" y="95"/>
                  <a:pt x="529" y="95"/>
                  <a:pt x="529" y="96"/>
                </a:cubicBezTo>
                <a:cubicBezTo>
                  <a:pt x="529" y="96"/>
                  <a:pt x="529" y="96"/>
                  <a:pt x="529" y="96"/>
                </a:cubicBezTo>
                <a:cubicBezTo>
                  <a:pt x="529" y="96"/>
                  <a:pt x="529" y="96"/>
                  <a:pt x="530" y="96"/>
                </a:cubicBezTo>
                <a:cubicBezTo>
                  <a:pt x="530" y="96"/>
                  <a:pt x="530" y="96"/>
                  <a:pt x="530" y="96"/>
                </a:cubicBezTo>
                <a:cubicBezTo>
                  <a:pt x="530" y="96"/>
                  <a:pt x="530" y="96"/>
                  <a:pt x="530" y="96"/>
                </a:cubicBezTo>
                <a:cubicBezTo>
                  <a:pt x="531" y="96"/>
                  <a:pt x="531" y="96"/>
                  <a:pt x="531" y="96"/>
                </a:cubicBezTo>
                <a:cubicBezTo>
                  <a:pt x="532" y="96"/>
                  <a:pt x="532" y="96"/>
                  <a:pt x="533" y="96"/>
                </a:cubicBezTo>
                <a:cubicBezTo>
                  <a:pt x="533" y="96"/>
                  <a:pt x="533" y="96"/>
                  <a:pt x="534" y="96"/>
                </a:cubicBezTo>
                <a:cubicBezTo>
                  <a:pt x="534" y="96"/>
                  <a:pt x="534" y="97"/>
                  <a:pt x="534" y="97"/>
                </a:cubicBezTo>
                <a:cubicBezTo>
                  <a:pt x="535" y="97"/>
                  <a:pt x="535" y="97"/>
                  <a:pt x="536" y="96"/>
                </a:cubicBezTo>
                <a:cubicBezTo>
                  <a:pt x="536" y="96"/>
                  <a:pt x="537" y="96"/>
                  <a:pt x="537" y="96"/>
                </a:cubicBezTo>
                <a:cubicBezTo>
                  <a:pt x="537" y="96"/>
                  <a:pt x="537" y="96"/>
                  <a:pt x="537" y="96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7" y="96"/>
                  <a:pt x="537" y="95"/>
                  <a:pt x="537" y="95"/>
                </a:cubicBezTo>
                <a:cubicBezTo>
                  <a:pt x="537" y="95"/>
                  <a:pt x="536" y="94"/>
                  <a:pt x="536" y="94"/>
                </a:cubicBezTo>
                <a:cubicBezTo>
                  <a:pt x="536" y="94"/>
                  <a:pt x="536" y="93"/>
                  <a:pt x="536" y="93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7" y="93"/>
                  <a:pt x="538" y="93"/>
                  <a:pt x="538" y="94"/>
                </a:cubicBezTo>
                <a:cubicBezTo>
                  <a:pt x="538" y="94"/>
                  <a:pt x="538" y="94"/>
                  <a:pt x="538" y="94"/>
                </a:cubicBezTo>
                <a:cubicBezTo>
                  <a:pt x="538" y="94"/>
                  <a:pt x="538" y="95"/>
                  <a:pt x="538" y="95"/>
                </a:cubicBezTo>
                <a:cubicBezTo>
                  <a:pt x="538" y="95"/>
                  <a:pt x="539" y="94"/>
                  <a:pt x="539" y="94"/>
                </a:cubicBezTo>
                <a:cubicBezTo>
                  <a:pt x="539" y="94"/>
                  <a:pt x="539" y="94"/>
                  <a:pt x="539" y="94"/>
                </a:cubicBezTo>
                <a:cubicBezTo>
                  <a:pt x="539" y="94"/>
                  <a:pt x="540" y="94"/>
                  <a:pt x="540" y="94"/>
                </a:cubicBezTo>
                <a:cubicBezTo>
                  <a:pt x="540" y="94"/>
                  <a:pt x="540" y="94"/>
                  <a:pt x="540" y="94"/>
                </a:cubicBezTo>
                <a:cubicBezTo>
                  <a:pt x="540" y="93"/>
                  <a:pt x="540" y="93"/>
                  <a:pt x="540" y="93"/>
                </a:cubicBezTo>
                <a:cubicBezTo>
                  <a:pt x="540" y="93"/>
                  <a:pt x="541" y="93"/>
                  <a:pt x="541" y="92"/>
                </a:cubicBezTo>
                <a:cubicBezTo>
                  <a:pt x="541" y="92"/>
                  <a:pt x="541" y="92"/>
                  <a:pt x="541" y="92"/>
                </a:cubicBezTo>
                <a:cubicBezTo>
                  <a:pt x="541" y="92"/>
                  <a:pt x="541" y="91"/>
                  <a:pt x="541" y="91"/>
                </a:cubicBezTo>
                <a:cubicBezTo>
                  <a:pt x="541" y="91"/>
                  <a:pt x="541" y="91"/>
                  <a:pt x="542" y="91"/>
                </a:cubicBezTo>
                <a:cubicBezTo>
                  <a:pt x="542" y="92"/>
                  <a:pt x="542" y="92"/>
                  <a:pt x="542" y="92"/>
                </a:cubicBezTo>
                <a:cubicBezTo>
                  <a:pt x="542" y="92"/>
                  <a:pt x="542" y="92"/>
                  <a:pt x="542" y="92"/>
                </a:cubicBezTo>
                <a:cubicBezTo>
                  <a:pt x="542" y="93"/>
                  <a:pt x="542" y="93"/>
                  <a:pt x="541" y="93"/>
                </a:cubicBezTo>
                <a:cubicBezTo>
                  <a:pt x="541" y="93"/>
                  <a:pt x="541" y="93"/>
                  <a:pt x="541" y="94"/>
                </a:cubicBezTo>
                <a:cubicBezTo>
                  <a:pt x="542" y="94"/>
                  <a:pt x="542" y="94"/>
                  <a:pt x="542" y="94"/>
                </a:cubicBezTo>
                <a:cubicBezTo>
                  <a:pt x="542" y="94"/>
                  <a:pt x="542" y="94"/>
                  <a:pt x="542" y="94"/>
                </a:cubicBezTo>
                <a:cubicBezTo>
                  <a:pt x="542" y="94"/>
                  <a:pt x="543" y="95"/>
                  <a:pt x="543" y="95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94"/>
                  <a:pt x="545" y="93"/>
                  <a:pt x="545" y="93"/>
                </a:cubicBezTo>
                <a:cubicBezTo>
                  <a:pt x="545" y="93"/>
                  <a:pt x="545" y="93"/>
                  <a:pt x="544" y="92"/>
                </a:cubicBezTo>
                <a:cubicBezTo>
                  <a:pt x="544" y="92"/>
                  <a:pt x="544" y="92"/>
                  <a:pt x="544" y="91"/>
                </a:cubicBezTo>
                <a:cubicBezTo>
                  <a:pt x="545" y="91"/>
                  <a:pt x="545" y="91"/>
                  <a:pt x="545" y="91"/>
                </a:cubicBezTo>
                <a:cubicBezTo>
                  <a:pt x="546" y="91"/>
                  <a:pt x="546" y="90"/>
                  <a:pt x="546" y="90"/>
                </a:cubicBezTo>
                <a:cubicBezTo>
                  <a:pt x="546" y="91"/>
                  <a:pt x="546" y="91"/>
                  <a:pt x="545" y="91"/>
                </a:cubicBezTo>
                <a:cubicBezTo>
                  <a:pt x="545" y="91"/>
                  <a:pt x="545" y="92"/>
                  <a:pt x="545" y="92"/>
                </a:cubicBezTo>
                <a:cubicBezTo>
                  <a:pt x="545" y="92"/>
                  <a:pt x="546" y="92"/>
                  <a:pt x="546" y="92"/>
                </a:cubicBezTo>
                <a:cubicBezTo>
                  <a:pt x="546" y="93"/>
                  <a:pt x="545" y="93"/>
                  <a:pt x="545" y="94"/>
                </a:cubicBezTo>
                <a:cubicBezTo>
                  <a:pt x="545" y="94"/>
                  <a:pt x="545" y="94"/>
                  <a:pt x="546" y="94"/>
                </a:cubicBezTo>
                <a:cubicBezTo>
                  <a:pt x="546" y="94"/>
                  <a:pt x="546" y="95"/>
                  <a:pt x="546" y="95"/>
                </a:cubicBezTo>
                <a:cubicBezTo>
                  <a:pt x="547" y="95"/>
                  <a:pt x="547" y="94"/>
                  <a:pt x="547" y="94"/>
                </a:cubicBezTo>
                <a:cubicBezTo>
                  <a:pt x="548" y="94"/>
                  <a:pt x="548" y="94"/>
                  <a:pt x="548" y="94"/>
                </a:cubicBezTo>
                <a:cubicBezTo>
                  <a:pt x="549" y="94"/>
                  <a:pt x="549" y="94"/>
                  <a:pt x="549" y="94"/>
                </a:cubicBezTo>
                <a:cubicBezTo>
                  <a:pt x="549" y="94"/>
                  <a:pt x="549" y="93"/>
                  <a:pt x="549" y="93"/>
                </a:cubicBezTo>
                <a:cubicBezTo>
                  <a:pt x="549" y="93"/>
                  <a:pt x="549" y="93"/>
                  <a:pt x="550" y="93"/>
                </a:cubicBezTo>
                <a:cubicBezTo>
                  <a:pt x="549" y="92"/>
                  <a:pt x="549" y="92"/>
                  <a:pt x="549" y="92"/>
                </a:cubicBezTo>
                <a:cubicBezTo>
                  <a:pt x="549" y="92"/>
                  <a:pt x="549" y="92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ubicBezTo>
                  <a:pt x="549" y="90"/>
                  <a:pt x="549" y="89"/>
                  <a:pt x="549" y="89"/>
                </a:cubicBezTo>
                <a:cubicBezTo>
                  <a:pt x="549" y="89"/>
                  <a:pt x="549" y="89"/>
                  <a:pt x="549" y="90"/>
                </a:cubicBezTo>
                <a:cubicBezTo>
                  <a:pt x="549" y="90"/>
                  <a:pt x="549" y="90"/>
                  <a:pt x="549" y="90"/>
                </a:cubicBezTo>
                <a:cubicBezTo>
                  <a:pt x="549" y="91"/>
                  <a:pt x="549" y="91"/>
                  <a:pt x="549" y="91"/>
                </a:cubicBezTo>
                <a:cubicBezTo>
                  <a:pt x="549" y="91"/>
                  <a:pt x="550" y="92"/>
                  <a:pt x="550" y="92"/>
                </a:cubicBezTo>
                <a:cubicBezTo>
                  <a:pt x="550" y="92"/>
                  <a:pt x="551" y="92"/>
                  <a:pt x="551" y="92"/>
                </a:cubicBezTo>
                <a:cubicBezTo>
                  <a:pt x="551" y="92"/>
                  <a:pt x="551" y="92"/>
                  <a:pt x="552" y="92"/>
                </a:cubicBezTo>
                <a:cubicBezTo>
                  <a:pt x="551" y="92"/>
                  <a:pt x="551" y="92"/>
                  <a:pt x="551" y="92"/>
                </a:cubicBezTo>
                <a:cubicBezTo>
                  <a:pt x="551" y="93"/>
                  <a:pt x="550" y="93"/>
                  <a:pt x="550" y="93"/>
                </a:cubicBezTo>
                <a:cubicBezTo>
                  <a:pt x="550" y="93"/>
                  <a:pt x="550" y="93"/>
                  <a:pt x="551" y="94"/>
                </a:cubicBezTo>
                <a:cubicBezTo>
                  <a:pt x="551" y="94"/>
                  <a:pt x="552" y="94"/>
                  <a:pt x="552" y="94"/>
                </a:cubicBezTo>
                <a:cubicBezTo>
                  <a:pt x="553" y="93"/>
                  <a:pt x="553" y="93"/>
                  <a:pt x="553" y="93"/>
                </a:cubicBezTo>
                <a:cubicBezTo>
                  <a:pt x="554" y="93"/>
                  <a:pt x="554" y="94"/>
                  <a:pt x="554" y="94"/>
                </a:cubicBezTo>
                <a:cubicBezTo>
                  <a:pt x="555" y="94"/>
                  <a:pt x="555" y="94"/>
                  <a:pt x="555" y="94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95"/>
                  <a:pt x="553" y="96"/>
                  <a:pt x="553" y="96"/>
                </a:cubicBezTo>
                <a:cubicBezTo>
                  <a:pt x="553" y="96"/>
                  <a:pt x="553" y="96"/>
                  <a:pt x="554" y="96"/>
                </a:cubicBezTo>
                <a:cubicBezTo>
                  <a:pt x="554" y="96"/>
                  <a:pt x="554" y="96"/>
                  <a:pt x="554" y="96"/>
                </a:cubicBezTo>
                <a:cubicBezTo>
                  <a:pt x="554" y="96"/>
                  <a:pt x="555" y="96"/>
                  <a:pt x="555" y="96"/>
                </a:cubicBezTo>
                <a:cubicBezTo>
                  <a:pt x="556" y="96"/>
                  <a:pt x="556" y="96"/>
                  <a:pt x="556" y="96"/>
                </a:cubicBezTo>
                <a:cubicBezTo>
                  <a:pt x="556" y="96"/>
                  <a:pt x="557" y="96"/>
                  <a:pt x="557" y="96"/>
                </a:cubicBezTo>
                <a:cubicBezTo>
                  <a:pt x="557" y="95"/>
                  <a:pt x="558" y="95"/>
                  <a:pt x="559" y="95"/>
                </a:cubicBezTo>
                <a:cubicBezTo>
                  <a:pt x="559" y="95"/>
                  <a:pt x="559" y="95"/>
                  <a:pt x="560" y="94"/>
                </a:cubicBezTo>
                <a:cubicBezTo>
                  <a:pt x="560" y="94"/>
                  <a:pt x="560" y="95"/>
                  <a:pt x="560" y="95"/>
                </a:cubicBezTo>
                <a:cubicBezTo>
                  <a:pt x="561" y="94"/>
                  <a:pt x="561" y="94"/>
                  <a:pt x="562" y="93"/>
                </a:cubicBezTo>
                <a:cubicBezTo>
                  <a:pt x="562" y="93"/>
                  <a:pt x="562" y="93"/>
                  <a:pt x="563" y="93"/>
                </a:cubicBezTo>
                <a:cubicBezTo>
                  <a:pt x="563" y="93"/>
                  <a:pt x="563" y="92"/>
                  <a:pt x="563" y="92"/>
                </a:cubicBezTo>
                <a:cubicBezTo>
                  <a:pt x="564" y="92"/>
                  <a:pt x="564" y="92"/>
                  <a:pt x="564" y="91"/>
                </a:cubicBezTo>
                <a:cubicBezTo>
                  <a:pt x="564" y="91"/>
                  <a:pt x="564" y="91"/>
                  <a:pt x="564" y="91"/>
                </a:cubicBezTo>
                <a:cubicBezTo>
                  <a:pt x="564" y="92"/>
                  <a:pt x="564" y="92"/>
                  <a:pt x="564" y="92"/>
                </a:cubicBezTo>
                <a:cubicBezTo>
                  <a:pt x="564" y="93"/>
                  <a:pt x="564" y="93"/>
                  <a:pt x="564" y="93"/>
                </a:cubicBezTo>
                <a:cubicBezTo>
                  <a:pt x="564" y="93"/>
                  <a:pt x="564" y="93"/>
                  <a:pt x="565" y="93"/>
                </a:cubicBezTo>
                <a:cubicBezTo>
                  <a:pt x="565" y="93"/>
                  <a:pt x="565" y="93"/>
                  <a:pt x="566" y="93"/>
                </a:cubicBezTo>
                <a:cubicBezTo>
                  <a:pt x="566" y="92"/>
                  <a:pt x="566" y="92"/>
                  <a:pt x="566" y="92"/>
                </a:cubicBezTo>
                <a:cubicBezTo>
                  <a:pt x="567" y="92"/>
                  <a:pt x="567" y="91"/>
                  <a:pt x="567" y="91"/>
                </a:cubicBezTo>
                <a:cubicBezTo>
                  <a:pt x="568" y="91"/>
                  <a:pt x="568" y="91"/>
                  <a:pt x="568" y="91"/>
                </a:cubicBezTo>
                <a:cubicBezTo>
                  <a:pt x="569" y="90"/>
                  <a:pt x="569" y="90"/>
                  <a:pt x="569" y="89"/>
                </a:cubicBezTo>
                <a:cubicBezTo>
                  <a:pt x="569" y="89"/>
                  <a:pt x="570" y="88"/>
                  <a:pt x="570" y="88"/>
                </a:cubicBezTo>
                <a:cubicBezTo>
                  <a:pt x="569" y="88"/>
                  <a:pt x="569" y="88"/>
                  <a:pt x="569" y="88"/>
                </a:cubicBezTo>
                <a:cubicBezTo>
                  <a:pt x="569" y="87"/>
                  <a:pt x="569" y="87"/>
                  <a:pt x="569" y="87"/>
                </a:cubicBezTo>
                <a:cubicBezTo>
                  <a:pt x="569" y="87"/>
                  <a:pt x="569" y="87"/>
                  <a:pt x="569" y="87"/>
                </a:cubicBezTo>
                <a:cubicBezTo>
                  <a:pt x="568" y="87"/>
                  <a:pt x="568" y="87"/>
                  <a:pt x="568" y="87"/>
                </a:cubicBezTo>
                <a:cubicBezTo>
                  <a:pt x="568" y="87"/>
                  <a:pt x="568" y="87"/>
                  <a:pt x="567" y="87"/>
                </a:cubicBezTo>
                <a:cubicBezTo>
                  <a:pt x="567" y="87"/>
                  <a:pt x="566" y="88"/>
                  <a:pt x="566" y="88"/>
                </a:cubicBezTo>
                <a:cubicBezTo>
                  <a:pt x="566" y="88"/>
                  <a:pt x="566" y="88"/>
                  <a:pt x="566" y="88"/>
                </a:cubicBezTo>
                <a:cubicBezTo>
                  <a:pt x="565" y="89"/>
                  <a:pt x="565" y="89"/>
                  <a:pt x="564" y="89"/>
                </a:cubicBezTo>
                <a:cubicBezTo>
                  <a:pt x="565" y="88"/>
                  <a:pt x="565" y="88"/>
                  <a:pt x="565" y="88"/>
                </a:cubicBezTo>
                <a:cubicBezTo>
                  <a:pt x="565" y="88"/>
                  <a:pt x="565" y="88"/>
                  <a:pt x="565" y="87"/>
                </a:cubicBezTo>
                <a:cubicBezTo>
                  <a:pt x="565" y="87"/>
                  <a:pt x="565" y="88"/>
                  <a:pt x="564" y="88"/>
                </a:cubicBezTo>
                <a:cubicBezTo>
                  <a:pt x="564" y="88"/>
                  <a:pt x="564" y="88"/>
                  <a:pt x="564" y="87"/>
                </a:cubicBezTo>
                <a:cubicBezTo>
                  <a:pt x="564" y="87"/>
                  <a:pt x="564" y="87"/>
                  <a:pt x="564" y="87"/>
                </a:cubicBezTo>
                <a:cubicBezTo>
                  <a:pt x="564" y="87"/>
                  <a:pt x="565" y="87"/>
                  <a:pt x="565" y="87"/>
                </a:cubicBezTo>
                <a:cubicBezTo>
                  <a:pt x="565" y="86"/>
                  <a:pt x="565" y="86"/>
                  <a:pt x="565" y="85"/>
                </a:cubicBezTo>
                <a:cubicBezTo>
                  <a:pt x="565" y="85"/>
                  <a:pt x="566" y="85"/>
                  <a:pt x="566" y="85"/>
                </a:cubicBezTo>
                <a:cubicBezTo>
                  <a:pt x="566" y="85"/>
                  <a:pt x="566" y="84"/>
                  <a:pt x="565" y="84"/>
                </a:cubicBezTo>
                <a:cubicBezTo>
                  <a:pt x="565" y="84"/>
                  <a:pt x="564" y="84"/>
                  <a:pt x="564" y="84"/>
                </a:cubicBezTo>
                <a:cubicBezTo>
                  <a:pt x="563" y="84"/>
                  <a:pt x="562" y="85"/>
                  <a:pt x="562" y="85"/>
                </a:cubicBezTo>
                <a:cubicBezTo>
                  <a:pt x="561" y="85"/>
                  <a:pt x="561" y="85"/>
                  <a:pt x="560" y="86"/>
                </a:cubicBezTo>
                <a:cubicBezTo>
                  <a:pt x="561" y="85"/>
                  <a:pt x="561" y="85"/>
                  <a:pt x="561" y="85"/>
                </a:cubicBezTo>
                <a:cubicBezTo>
                  <a:pt x="560" y="85"/>
                  <a:pt x="560" y="84"/>
                  <a:pt x="560" y="84"/>
                </a:cubicBezTo>
                <a:cubicBezTo>
                  <a:pt x="559" y="84"/>
                  <a:pt x="559" y="84"/>
                  <a:pt x="558" y="84"/>
                </a:cubicBezTo>
                <a:cubicBezTo>
                  <a:pt x="558" y="84"/>
                  <a:pt x="558" y="84"/>
                  <a:pt x="558" y="84"/>
                </a:cubicBezTo>
                <a:cubicBezTo>
                  <a:pt x="557" y="84"/>
                  <a:pt x="557" y="84"/>
                  <a:pt x="557" y="85"/>
                </a:cubicBezTo>
                <a:cubicBezTo>
                  <a:pt x="557" y="85"/>
                  <a:pt x="557" y="85"/>
                  <a:pt x="556" y="85"/>
                </a:cubicBezTo>
                <a:cubicBezTo>
                  <a:pt x="556" y="85"/>
                  <a:pt x="556" y="85"/>
                  <a:pt x="555" y="86"/>
                </a:cubicBezTo>
                <a:cubicBezTo>
                  <a:pt x="555" y="86"/>
                  <a:pt x="555" y="86"/>
                  <a:pt x="554" y="86"/>
                </a:cubicBezTo>
                <a:cubicBezTo>
                  <a:pt x="555" y="86"/>
                  <a:pt x="555" y="85"/>
                  <a:pt x="555" y="85"/>
                </a:cubicBezTo>
                <a:cubicBezTo>
                  <a:pt x="554" y="85"/>
                  <a:pt x="554" y="85"/>
                  <a:pt x="554" y="84"/>
                </a:cubicBezTo>
                <a:cubicBezTo>
                  <a:pt x="554" y="84"/>
                  <a:pt x="554" y="84"/>
                  <a:pt x="555" y="84"/>
                </a:cubicBezTo>
                <a:cubicBezTo>
                  <a:pt x="555" y="84"/>
                  <a:pt x="555" y="84"/>
                  <a:pt x="555" y="84"/>
                </a:cubicBezTo>
                <a:cubicBezTo>
                  <a:pt x="556" y="84"/>
                  <a:pt x="556" y="84"/>
                  <a:pt x="557" y="84"/>
                </a:cubicBezTo>
                <a:cubicBezTo>
                  <a:pt x="557" y="84"/>
                  <a:pt x="557" y="84"/>
                  <a:pt x="557" y="84"/>
                </a:cubicBezTo>
                <a:cubicBezTo>
                  <a:pt x="557" y="84"/>
                  <a:pt x="557" y="83"/>
                  <a:pt x="557" y="83"/>
                </a:cubicBezTo>
                <a:cubicBezTo>
                  <a:pt x="557" y="83"/>
                  <a:pt x="557" y="83"/>
                  <a:pt x="556" y="83"/>
                </a:cubicBezTo>
                <a:cubicBezTo>
                  <a:pt x="556" y="83"/>
                  <a:pt x="557" y="82"/>
                  <a:pt x="557" y="82"/>
                </a:cubicBezTo>
                <a:cubicBezTo>
                  <a:pt x="557" y="82"/>
                  <a:pt x="557" y="81"/>
                  <a:pt x="557" y="81"/>
                </a:cubicBezTo>
                <a:cubicBezTo>
                  <a:pt x="557" y="81"/>
                  <a:pt x="557" y="81"/>
                  <a:pt x="557" y="80"/>
                </a:cubicBezTo>
                <a:cubicBezTo>
                  <a:pt x="557" y="80"/>
                  <a:pt x="557" y="80"/>
                  <a:pt x="558" y="79"/>
                </a:cubicBezTo>
                <a:cubicBezTo>
                  <a:pt x="558" y="80"/>
                  <a:pt x="558" y="80"/>
                  <a:pt x="558" y="80"/>
                </a:cubicBezTo>
                <a:cubicBezTo>
                  <a:pt x="558" y="80"/>
                  <a:pt x="558" y="80"/>
                  <a:pt x="558" y="80"/>
                </a:cubicBezTo>
                <a:cubicBezTo>
                  <a:pt x="558" y="80"/>
                  <a:pt x="558" y="81"/>
                  <a:pt x="558" y="81"/>
                </a:cubicBezTo>
                <a:cubicBezTo>
                  <a:pt x="558" y="81"/>
                  <a:pt x="558" y="81"/>
                  <a:pt x="558" y="81"/>
                </a:cubicBezTo>
                <a:cubicBezTo>
                  <a:pt x="558" y="82"/>
                  <a:pt x="558" y="82"/>
                  <a:pt x="558" y="83"/>
                </a:cubicBezTo>
                <a:cubicBezTo>
                  <a:pt x="559" y="83"/>
                  <a:pt x="560" y="84"/>
                  <a:pt x="561" y="84"/>
                </a:cubicBezTo>
                <a:cubicBezTo>
                  <a:pt x="562" y="84"/>
                  <a:pt x="562" y="84"/>
                  <a:pt x="563" y="84"/>
                </a:cubicBezTo>
                <a:cubicBezTo>
                  <a:pt x="563" y="84"/>
                  <a:pt x="563" y="84"/>
                  <a:pt x="563" y="84"/>
                </a:cubicBezTo>
                <a:cubicBezTo>
                  <a:pt x="564" y="84"/>
                  <a:pt x="564" y="84"/>
                  <a:pt x="565" y="83"/>
                </a:cubicBezTo>
                <a:cubicBezTo>
                  <a:pt x="566" y="84"/>
                  <a:pt x="567" y="84"/>
                  <a:pt x="568" y="84"/>
                </a:cubicBezTo>
                <a:cubicBezTo>
                  <a:pt x="568" y="84"/>
                  <a:pt x="568" y="84"/>
                  <a:pt x="568" y="83"/>
                </a:cubicBezTo>
                <a:cubicBezTo>
                  <a:pt x="568" y="83"/>
                  <a:pt x="569" y="83"/>
                  <a:pt x="569" y="82"/>
                </a:cubicBezTo>
                <a:cubicBezTo>
                  <a:pt x="569" y="82"/>
                  <a:pt x="569" y="82"/>
                  <a:pt x="569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1" y="82"/>
                  <a:pt x="571" y="82"/>
                  <a:pt x="572" y="82"/>
                </a:cubicBezTo>
                <a:cubicBezTo>
                  <a:pt x="572" y="82"/>
                  <a:pt x="572" y="81"/>
                  <a:pt x="572" y="81"/>
                </a:cubicBezTo>
                <a:cubicBezTo>
                  <a:pt x="572" y="81"/>
                  <a:pt x="572" y="81"/>
                  <a:pt x="572" y="81"/>
                </a:cubicBezTo>
                <a:cubicBezTo>
                  <a:pt x="572" y="81"/>
                  <a:pt x="572" y="81"/>
                  <a:pt x="573" y="81"/>
                </a:cubicBezTo>
                <a:cubicBezTo>
                  <a:pt x="573" y="81"/>
                  <a:pt x="573" y="81"/>
                  <a:pt x="574" y="80"/>
                </a:cubicBezTo>
                <a:cubicBezTo>
                  <a:pt x="574" y="80"/>
                  <a:pt x="574" y="80"/>
                  <a:pt x="574" y="80"/>
                </a:cubicBezTo>
                <a:cubicBezTo>
                  <a:pt x="574" y="79"/>
                  <a:pt x="575" y="79"/>
                  <a:pt x="575" y="79"/>
                </a:cubicBezTo>
                <a:cubicBezTo>
                  <a:pt x="575" y="78"/>
                  <a:pt x="575" y="78"/>
                  <a:pt x="575" y="78"/>
                </a:cubicBezTo>
                <a:cubicBezTo>
                  <a:pt x="575" y="78"/>
                  <a:pt x="575" y="78"/>
                  <a:pt x="575" y="78"/>
                </a:cubicBezTo>
                <a:cubicBezTo>
                  <a:pt x="574" y="78"/>
                  <a:pt x="574" y="78"/>
                  <a:pt x="574" y="78"/>
                </a:cubicBezTo>
                <a:cubicBezTo>
                  <a:pt x="574" y="78"/>
                  <a:pt x="574" y="78"/>
                  <a:pt x="575" y="77"/>
                </a:cubicBezTo>
                <a:cubicBezTo>
                  <a:pt x="575" y="77"/>
                  <a:pt x="575" y="76"/>
                  <a:pt x="575" y="76"/>
                </a:cubicBezTo>
                <a:cubicBezTo>
                  <a:pt x="575" y="76"/>
                  <a:pt x="576" y="75"/>
                  <a:pt x="576" y="75"/>
                </a:cubicBezTo>
                <a:cubicBezTo>
                  <a:pt x="577" y="75"/>
                  <a:pt x="578" y="75"/>
                  <a:pt x="579" y="75"/>
                </a:cubicBezTo>
                <a:cubicBezTo>
                  <a:pt x="579" y="75"/>
                  <a:pt x="579" y="75"/>
                  <a:pt x="580" y="76"/>
                </a:cubicBezTo>
                <a:cubicBezTo>
                  <a:pt x="580" y="76"/>
                  <a:pt x="581" y="75"/>
                  <a:pt x="582" y="75"/>
                </a:cubicBezTo>
                <a:cubicBezTo>
                  <a:pt x="582" y="75"/>
                  <a:pt x="582" y="75"/>
                  <a:pt x="583" y="75"/>
                </a:cubicBezTo>
                <a:cubicBezTo>
                  <a:pt x="583" y="75"/>
                  <a:pt x="583" y="74"/>
                  <a:pt x="583" y="74"/>
                </a:cubicBezTo>
                <a:cubicBezTo>
                  <a:pt x="584" y="75"/>
                  <a:pt x="584" y="75"/>
                  <a:pt x="584" y="75"/>
                </a:cubicBezTo>
                <a:cubicBezTo>
                  <a:pt x="585" y="75"/>
                  <a:pt x="585" y="75"/>
                  <a:pt x="586" y="75"/>
                </a:cubicBezTo>
                <a:cubicBezTo>
                  <a:pt x="586" y="74"/>
                  <a:pt x="586" y="74"/>
                  <a:pt x="586" y="74"/>
                </a:cubicBezTo>
                <a:cubicBezTo>
                  <a:pt x="587" y="74"/>
                  <a:pt x="587" y="73"/>
                  <a:pt x="587" y="73"/>
                </a:cubicBezTo>
                <a:cubicBezTo>
                  <a:pt x="587" y="73"/>
                  <a:pt x="587" y="73"/>
                  <a:pt x="587" y="73"/>
                </a:cubicBezTo>
                <a:cubicBezTo>
                  <a:pt x="587" y="73"/>
                  <a:pt x="586" y="73"/>
                  <a:pt x="586" y="73"/>
                </a:cubicBezTo>
                <a:cubicBezTo>
                  <a:pt x="585" y="73"/>
                  <a:pt x="583" y="73"/>
                  <a:pt x="582" y="72"/>
                </a:cubicBezTo>
                <a:cubicBezTo>
                  <a:pt x="582" y="72"/>
                  <a:pt x="582" y="72"/>
                  <a:pt x="582" y="72"/>
                </a:cubicBezTo>
                <a:cubicBezTo>
                  <a:pt x="582" y="72"/>
                  <a:pt x="582" y="72"/>
                  <a:pt x="582" y="72"/>
                </a:cubicBezTo>
                <a:cubicBezTo>
                  <a:pt x="583" y="72"/>
                  <a:pt x="583" y="72"/>
                  <a:pt x="584" y="71"/>
                </a:cubicBezTo>
                <a:cubicBezTo>
                  <a:pt x="584" y="72"/>
                  <a:pt x="584" y="72"/>
                  <a:pt x="584" y="72"/>
                </a:cubicBezTo>
                <a:cubicBezTo>
                  <a:pt x="585" y="72"/>
                  <a:pt x="585" y="71"/>
                  <a:pt x="585" y="71"/>
                </a:cubicBezTo>
                <a:cubicBezTo>
                  <a:pt x="586" y="72"/>
                  <a:pt x="587" y="72"/>
                  <a:pt x="587" y="72"/>
                </a:cubicBezTo>
                <a:cubicBezTo>
                  <a:pt x="588" y="72"/>
                  <a:pt x="588" y="72"/>
                  <a:pt x="588" y="72"/>
                </a:cubicBezTo>
                <a:cubicBezTo>
                  <a:pt x="588" y="71"/>
                  <a:pt x="589" y="71"/>
                  <a:pt x="589" y="7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70"/>
                  <a:pt x="591" y="70"/>
                  <a:pt x="591" y="70"/>
                </a:cubicBezTo>
                <a:cubicBezTo>
                  <a:pt x="591" y="70"/>
                  <a:pt x="590" y="69"/>
                  <a:pt x="590" y="69"/>
                </a:cubicBezTo>
                <a:cubicBezTo>
                  <a:pt x="590" y="69"/>
                  <a:pt x="589" y="69"/>
                  <a:pt x="589" y="69"/>
                </a:cubicBezTo>
                <a:cubicBezTo>
                  <a:pt x="588" y="69"/>
                  <a:pt x="588" y="69"/>
                  <a:pt x="588" y="69"/>
                </a:cubicBezTo>
                <a:cubicBezTo>
                  <a:pt x="588" y="69"/>
                  <a:pt x="588" y="69"/>
                  <a:pt x="588" y="69"/>
                </a:cubicBezTo>
                <a:cubicBezTo>
                  <a:pt x="587" y="68"/>
                  <a:pt x="587" y="68"/>
                  <a:pt x="586" y="68"/>
                </a:cubicBezTo>
                <a:cubicBezTo>
                  <a:pt x="586" y="68"/>
                  <a:pt x="586" y="68"/>
                  <a:pt x="586" y="68"/>
                </a:cubicBezTo>
                <a:cubicBezTo>
                  <a:pt x="586" y="68"/>
                  <a:pt x="587" y="68"/>
                  <a:pt x="587" y="68"/>
                </a:cubicBezTo>
                <a:cubicBezTo>
                  <a:pt x="588" y="68"/>
                  <a:pt x="588" y="68"/>
                  <a:pt x="588" y="68"/>
                </a:cubicBezTo>
                <a:cubicBezTo>
                  <a:pt x="588" y="68"/>
                  <a:pt x="588" y="68"/>
                  <a:pt x="589" y="68"/>
                </a:cubicBezTo>
                <a:cubicBezTo>
                  <a:pt x="589" y="68"/>
                  <a:pt x="589" y="68"/>
                  <a:pt x="589" y="69"/>
                </a:cubicBezTo>
                <a:cubicBezTo>
                  <a:pt x="590" y="68"/>
                  <a:pt x="590" y="68"/>
                  <a:pt x="591" y="68"/>
                </a:cubicBezTo>
                <a:cubicBezTo>
                  <a:pt x="591" y="68"/>
                  <a:pt x="591" y="68"/>
                  <a:pt x="591" y="68"/>
                </a:cubicBezTo>
                <a:cubicBezTo>
                  <a:pt x="592" y="68"/>
                  <a:pt x="592" y="68"/>
                  <a:pt x="593" y="67"/>
                </a:cubicBezTo>
                <a:cubicBezTo>
                  <a:pt x="593" y="67"/>
                  <a:pt x="593" y="67"/>
                  <a:pt x="593" y="67"/>
                </a:cubicBezTo>
                <a:cubicBezTo>
                  <a:pt x="594" y="67"/>
                  <a:pt x="594" y="66"/>
                  <a:pt x="594" y="66"/>
                </a:cubicBezTo>
                <a:cubicBezTo>
                  <a:pt x="594" y="65"/>
                  <a:pt x="594" y="65"/>
                  <a:pt x="595" y="64"/>
                </a:cubicBezTo>
                <a:cubicBezTo>
                  <a:pt x="595" y="64"/>
                  <a:pt x="595" y="64"/>
                  <a:pt x="595" y="64"/>
                </a:cubicBezTo>
                <a:cubicBezTo>
                  <a:pt x="594" y="64"/>
                  <a:pt x="594" y="64"/>
                  <a:pt x="594" y="64"/>
                </a:cubicBezTo>
                <a:cubicBezTo>
                  <a:pt x="593" y="63"/>
                  <a:pt x="593" y="63"/>
                  <a:pt x="592" y="63"/>
                </a:cubicBezTo>
                <a:cubicBezTo>
                  <a:pt x="592" y="63"/>
                  <a:pt x="592" y="63"/>
                  <a:pt x="591" y="63"/>
                </a:cubicBezTo>
                <a:cubicBezTo>
                  <a:pt x="591" y="63"/>
                  <a:pt x="591" y="64"/>
                  <a:pt x="590" y="64"/>
                </a:cubicBezTo>
                <a:cubicBezTo>
                  <a:pt x="590" y="64"/>
                  <a:pt x="590" y="64"/>
                  <a:pt x="589" y="64"/>
                </a:cubicBezTo>
                <a:cubicBezTo>
                  <a:pt x="589" y="64"/>
                  <a:pt x="589" y="64"/>
                  <a:pt x="589" y="64"/>
                </a:cubicBezTo>
                <a:cubicBezTo>
                  <a:pt x="590" y="63"/>
                  <a:pt x="590" y="63"/>
                  <a:pt x="590" y="63"/>
                </a:cubicBezTo>
                <a:cubicBezTo>
                  <a:pt x="591" y="63"/>
                  <a:pt x="591" y="63"/>
                  <a:pt x="592" y="63"/>
                </a:cubicBezTo>
                <a:cubicBezTo>
                  <a:pt x="592" y="63"/>
                  <a:pt x="592" y="62"/>
                  <a:pt x="592" y="62"/>
                </a:cubicBezTo>
                <a:cubicBezTo>
                  <a:pt x="591" y="62"/>
                  <a:pt x="591" y="62"/>
                  <a:pt x="590" y="62"/>
                </a:cubicBezTo>
                <a:cubicBezTo>
                  <a:pt x="590" y="62"/>
                  <a:pt x="589" y="62"/>
                  <a:pt x="589" y="62"/>
                </a:cubicBezTo>
                <a:cubicBezTo>
                  <a:pt x="589" y="62"/>
                  <a:pt x="588" y="62"/>
                  <a:pt x="588" y="62"/>
                </a:cubicBezTo>
                <a:cubicBezTo>
                  <a:pt x="588" y="62"/>
                  <a:pt x="588" y="62"/>
                  <a:pt x="587" y="62"/>
                </a:cubicBezTo>
                <a:cubicBezTo>
                  <a:pt x="587" y="62"/>
                  <a:pt x="587" y="62"/>
                  <a:pt x="587" y="62"/>
                </a:cubicBezTo>
                <a:cubicBezTo>
                  <a:pt x="587" y="62"/>
                  <a:pt x="586" y="62"/>
                  <a:pt x="586" y="62"/>
                </a:cubicBezTo>
                <a:cubicBezTo>
                  <a:pt x="586" y="62"/>
                  <a:pt x="586" y="62"/>
                  <a:pt x="586" y="62"/>
                </a:cubicBezTo>
                <a:cubicBezTo>
                  <a:pt x="586" y="62"/>
                  <a:pt x="586" y="62"/>
                  <a:pt x="585" y="63"/>
                </a:cubicBezTo>
                <a:cubicBezTo>
                  <a:pt x="585" y="63"/>
                  <a:pt x="585" y="63"/>
                  <a:pt x="584" y="63"/>
                </a:cubicBezTo>
                <a:cubicBezTo>
                  <a:pt x="584" y="62"/>
                  <a:pt x="584" y="62"/>
                  <a:pt x="584" y="62"/>
                </a:cubicBezTo>
                <a:cubicBezTo>
                  <a:pt x="584" y="62"/>
                  <a:pt x="584" y="62"/>
                  <a:pt x="585" y="62"/>
                </a:cubicBezTo>
                <a:cubicBezTo>
                  <a:pt x="584" y="62"/>
                  <a:pt x="583" y="62"/>
                  <a:pt x="582" y="62"/>
                </a:cubicBezTo>
                <a:cubicBezTo>
                  <a:pt x="582" y="61"/>
                  <a:pt x="582" y="61"/>
                  <a:pt x="582" y="61"/>
                </a:cubicBezTo>
                <a:cubicBezTo>
                  <a:pt x="582" y="61"/>
                  <a:pt x="583" y="61"/>
                  <a:pt x="583" y="61"/>
                </a:cubicBezTo>
                <a:cubicBezTo>
                  <a:pt x="584" y="61"/>
                  <a:pt x="584" y="61"/>
                  <a:pt x="585" y="61"/>
                </a:cubicBezTo>
                <a:cubicBezTo>
                  <a:pt x="585" y="61"/>
                  <a:pt x="586" y="61"/>
                  <a:pt x="586" y="61"/>
                </a:cubicBezTo>
                <a:cubicBezTo>
                  <a:pt x="586" y="62"/>
                  <a:pt x="586" y="62"/>
                  <a:pt x="586" y="62"/>
                </a:cubicBezTo>
                <a:cubicBezTo>
                  <a:pt x="586" y="62"/>
                  <a:pt x="587" y="61"/>
                  <a:pt x="588" y="61"/>
                </a:cubicBezTo>
                <a:cubicBezTo>
                  <a:pt x="588" y="61"/>
                  <a:pt x="589" y="61"/>
                  <a:pt x="590" y="61"/>
                </a:cubicBezTo>
                <a:cubicBezTo>
                  <a:pt x="590" y="61"/>
                  <a:pt x="591" y="61"/>
                  <a:pt x="591" y="61"/>
                </a:cubicBezTo>
                <a:cubicBezTo>
                  <a:pt x="591" y="61"/>
                  <a:pt x="592" y="61"/>
                  <a:pt x="592" y="61"/>
                </a:cubicBezTo>
                <a:cubicBezTo>
                  <a:pt x="592" y="61"/>
                  <a:pt x="592" y="61"/>
                  <a:pt x="592" y="60"/>
                </a:cubicBezTo>
                <a:cubicBezTo>
                  <a:pt x="591" y="60"/>
                  <a:pt x="590" y="60"/>
                  <a:pt x="589" y="60"/>
                </a:cubicBezTo>
                <a:cubicBezTo>
                  <a:pt x="588" y="60"/>
                  <a:pt x="587" y="60"/>
                  <a:pt x="587" y="60"/>
                </a:cubicBezTo>
                <a:cubicBezTo>
                  <a:pt x="586" y="60"/>
                  <a:pt x="585" y="60"/>
                  <a:pt x="585" y="60"/>
                </a:cubicBezTo>
                <a:cubicBezTo>
                  <a:pt x="585" y="60"/>
                  <a:pt x="585" y="60"/>
                  <a:pt x="585" y="60"/>
                </a:cubicBezTo>
                <a:cubicBezTo>
                  <a:pt x="585" y="60"/>
                  <a:pt x="586" y="60"/>
                  <a:pt x="586" y="60"/>
                </a:cubicBezTo>
                <a:cubicBezTo>
                  <a:pt x="587" y="60"/>
                  <a:pt x="587" y="60"/>
                  <a:pt x="587" y="60"/>
                </a:cubicBezTo>
                <a:cubicBezTo>
                  <a:pt x="588" y="60"/>
                  <a:pt x="589" y="60"/>
                  <a:pt x="590" y="60"/>
                </a:cubicBezTo>
                <a:cubicBezTo>
                  <a:pt x="591" y="60"/>
                  <a:pt x="591" y="60"/>
                  <a:pt x="592" y="59"/>
                </a:cubicBezTo>
                <a:cubicBezTo>
                  <a:pt x="592" y="60"/>
                  <a:pt x="592" y="60"/>
                  <a:pt x="593" y="60"/>
                </a:cubicBezTo>
                <a:cubicBezTo>
                  <a:pt x="593" y="60"/>
                  <a:pt x="593" y="61"/>
                  <a:pt x="593" y="61"/>
                </a:cubicBezTo>
                <a:cubicBezTo>
                  <a:pt x="593" y="61"/>
                  <a:pt x="593" y="61"/>
                  <a:pt x="593" y="61"/>
                </a:cubicBezTo>
                <a:cubicBezTo>
                  <a:pt x="594" y="62"/>
                  <a:pt x="594" y="62"/>
                  <a:pt x="595" y="62"/>
                </a:cubicBezTo>
                <a:cubicBezTo>
                  <a:pt x="595" y="62"/>
                  <a:pt x="596" y="62"/>
                  <a:pt x="596" y="62"/>
                </a:cubicBezTo>
                <a:cubicBezTo>
                  <a:pt x="597" y="62"/>
                  <a:pt x="597" y="62"/>
                  <a:pt x="597" y="62"/>
                </a:cubicBezTo>
                <a:cubicBezTo>
                  <a:pt x="598" y="62"/>
                  <a:pt x="598" y="62"/>
                  <a:pt x="598" y="62"/>
                </a:cubicBezTo>
                <a:cubicBezTo>
                  <a:pt x="598" y="62"/>
                  <a:pt x="598" y="62"/>
                  <a:pt x="599" y="62"/>
                </a:cubicBezTo>
                <a:cubicBezTo>
                  <a:pt x="598" y="61"/>
                  <a:pt x="598" y="61"/>
                  <a:pt x="598" y="61"/>
                </a:cubicBezTo>
                <a:cubicBezTo>
                  <a:pt x="598" y="61"/>
                  <a:pt x="598" y="60"/>
                  <a:pt x="598" y="60"/>
                </a:cubicBezTo>
                <a:cubicBezTo>
                  <a:pt x="598" y="60"/>
                  <a:pt x="598" y="60"/>
                  <a:pt x="598" y="60"/>
                </a:cubicBezTo>
                <a:cubicBezTo>
                  <a:pt x="598" y="60"/>
                  <a:pt x="598" y="59"/>
                  <a:pt x="599" y="59"/>
                </a:cubicBezTo>
                <a:cubicBezTo>
                  <a:pt x="599" y="59"/>
                  <a:pt x="598" y="59"/>
                  <a:pt x="598" y="59"/>
                </a:cubicBezTo>
                <a:cubicBezTo>
                  <a:pt x="597" y="59"/>
                  <a:pt x="596" y="59"/>
                  <a:pt x="595" y="59"/>
                </a:cubicBezTo>
                <a:cubicBezTo>
                  <a:pt x="594" y="59"/>
                  <a:pt x="594" y="59"/>
                  <a:pt x="594" y="59"/>
                </a:cubicBezTo>
                <a:cubicBezTo>
                  <a:pt x="593" y="59"/>
                  <a:pt x="593" y="59"/>
                  <a:pt x="593" y="59"/>
                </a:cubicBezTo>
                <a:cubicBezTo>
                  <a:pt x="593" y="59"/>
                  <a:pt x="592" y="59"/>
                  <a:pt x="592" y="59"/>
                </a:cubicBezTo>
                <a:cubicBezTo>
                  <a:pt x="591" y="59"/>
                  <a:pt x="591" y="59"/>
                  <a:pt x="590" y="59"/>
                </a:cubicBezTo>
                <a:cubicBezTo>
                  <a:pt x="590" y="59"/>
                  <a:pt x="590" y="59"/>
                  <a:pt x="589" y="59"/>
                </a:cubicBezTo>
                <a:cubicBezTo>
                  <a:pt x="589" y="59"/>
                  <a:pt x="589" y="59"/>
                  <a:pt x="588" y="59"/>
                </a:cubicBezTo>
                <a:cubicBezTo>
                  <a:pt x="588" y="59"/>
                  <a:pt x="588" y="59"/>
                  <a:pt x="588" y="59"/>
                </a:cubicBezTo>
                <a:cubicBezTo>
                  <a:pt x="588" y="59"/>
                  <a:pt x="588" y="59"/>
                  <a:pt x="587" y="59"/>
                </a:cubicBezTo>
                <a:cubicBezTo>
                  <a:pt x="587" y="59"/>
                  <a:pt x="587" y="59"/>
                  <a:pt x="587" y="59"/>
                </a:cubicBezTo>
                <a:cubicBezTo>
                  <a:pt x="587" y="59"/>
                  <a:pt x="586" y="59"/>
                  <a:pt x="586" y="59"/>
                </a:cubicBezTo>
                <a:cubicBezTo>
                  <a:pt x="585" y="58"/>
                  <a:pt x="585" y="58"/>
                  <a:pt x="585" y="58"/>
                </a:cubicBezTo>
                <a:cubicBezTo>
                  <a:pt x="586" y="58"/>
                  <a:pt x="586" y="58"/>
                  <a:pt x="586" y="58"/>
                </a:cubicBezTo>
                <a:cubicBezTo>
                  <a:pt x="587" y="58"/>
                  <a:pt x="587" y="58"/>
                  <a:pt x="587" y="58"/>
                </a:cubicBezTo>
                <a:cubicBezTo>
                  <a:pt x="587" y="58"/>
                  <a:pt x="588" y="58"/>
                  <a:pt x="588" y="58"/>
                </a:cubicBezTo>
                <a:cubicBezTo>
                  <a:pt x="588" y="58"/>
                  <a:pt x="588" y="58"/>
                  <a:pt x="589" y="57"/>
                </a:cubicBezTo>
                <a:cubicBezTo>
                  <a:pt x="588" y="57"/>
                  <a:pt x="588" y="57"/>
                  <a:pt x="588" y="57"/>
                </a:cubicBezTo>
                <a:cubicBezTo>
                  <a:pt x="588" y="57"/>
                  <a:pt x="588" y="57"/>
                  <a:pt x="589" y="57"/>
                </a:cubicBezTo>
                <a:cubicBezTo>
                  <a:pt x="589" y="57"/>
                  <a:pt x="589" y="57"/>
                  <a:pt x="589" y="57"/>
                </a:cubicBezTo>
                <a:cubicBezTo>
                  <a:pt x="590" y="57"/>
                  <a:pt x="590" y="58"/>
                  <a:pt x="590" y="58"/>
                </a:cubicBezTo>
                <a:cubicBezTo>
                  <a:pt x="590" y="58"/>
                  <a:pt x="590" y="58"/>
                  <a:pt x="591" y="58"/>
                </a:cubicBezTo>
                <a:cubicBezTo>
                  <a:pt x="592" y="58"/>
                  <a:pt x="593" y="58"/>
                  <a:pt x="594" y="58"/>
                </a:cubicBezTo>
                <a:cubicBezTo>
                  <a:pt x="594" y="58"/>
                  <a:pt x="594" y="58"/>
                  <a:pt x="594" y="58"/>
                </a:cubicBezTo>
                <a:cubicBezTo>
                  <a:pt x="594" y="57"/>
                  <a:pt x="593" y="57"/>
                  <a:pt x="593" y="56"/>
                </a:cubicBezTo>
                <a:cubicBezTo>
                  <a:pt x="592" y="56"/>
                  <a:pt x="592" y="56"/>
                  <a:pt x="591" y="56"/>
                </a:cubicBezTo>
                <a:cubicBezTo>
                  <a:pt x="591" y="56"/>
                  <a:pt x="591" y="56"/>
                  <a:pt x="590" y="56"/>
                </a:cubicBezTo>
                <a:cubicBezTo>
                  <a:pt x="590" y="56"/>
                  <a:pt x="590" y="56"/>
                  <a:pt x="590" y="56"/>
                </a:cubicBezTo>
                <a:cubicBezTo>
                  <a:pt x="590" y="56"/>
                  <a:pt x="590" y="55"/>
                  <a:pt x="590" y="55"/>
                </a:cubicBezTo>
                <a:cubicBezTo>
                  <a:pt x="591" y="56"/>
                  <a:pt x="591" y="56"/>
                  <a:pt x="591" y="56"/>
                </a:cubicBezTo>
                <a:cubicBezTo>
                  <a:pt x="592" y="56"/>
                  <a:pt x="592" y="56"/>
                  <a:pt x="593" y="56"/>
                </a:cubicBezTo>
                <a:cubicBezTo>
                  <a:pt x="593" y="56"/>
                  <a:pt x="593" y="56"/>
                  <a:pt x="594" y="56"/>
                </a:cubicBezTo>
                <a:cubicBezTo>
                  <a:pt x="594" y="56"/>
                  <a:pt x="594" y="56"/>
                  <a:pt x="594" y="56"/>
                </a:cubicBezTo>
                <a:cubicBezTo>
                  <a:pt x="594" y="56"/>
                  <a:pt x="594" y="56"/>
                  <a:pt x="595" y="56"/>
                </a:cubicBezTo>
                <a:cubicBezTo>
                  <a:pt x="595" y="56"/>
                  <a:pt x="595" y="57"/>
                  <a:pt x="596" y="57"/>
                </a:cubicBezTo>
                <a:cubicBezTo>
                  <a:pt x="596" y="57"/>
                  <a:pt x="596" y="57"/>
                  <a:pt x="597" y="57"/>
                </a:cubicBezTo>
                <a:cubicBezTo>
                  <a:pt x="597" y="57"/>
                  <a:pt x="597" y="57"/>
                  <a:pt x="597" y="57"/>
                </a:cubicBezTo>
                <a:cubicBezTo>
                  <a:pt x="598" y="57"/>
                  <a:pt x="598" y="57"/>
                  <a:pt x="598" y="57"/>
                </a:cubicBezTo>
                <a:cubicBezTo>
                  <a:pt x="598" y="57"/>
                  <a:pt x="599" y="57"/>
                  <a:pt x="599" y="56"/>
                </a:cubicBezTo>
                <a:cubicBezTo>
                  <a:pt x="599" y="56"/>
                  <a:pt x="599" y="56"/>
                  <a:pt x="600" y="56"/>
                </a:cubicBezTo>
                <a:cubicBezTo>
                  <a:pt x="600" y="56"/>
                  <a:pt x="601" y="56"/>
                  <a:pt x="601" y="57"/>
                </a:cubicBezTo>
                <a:cubicBezTo>
                  <a:pt x="601" y="57"/>
                  <a:pt x="601" y="56"/>
                  <a:pt x="601" y="56"/>
                </a:cubicBezTo>
                <a:cubicBezTo>
                  <a:pt x="601" y="56"/>
                  <a:pt x="601" y="56"/>
                  <a:pt x="601" y="56"/>
                </a:cubicBezTo>
                <a:cubicBezTo>
                  <a:pt x="602" y="56"/>
                  <a:pt x="602" y="56"/>
                  <a:pt x="602" y="56"/>
                </a:cubicBezTo>
                <a:cubicBezTo>
                  <a:pt x="603" y="56"/>
                  <a:pt x="603" y="56"/>
                  <a:pt x="603" y="56"/>
                </a:cubicBezTo>
                <a:cubicBezTo>
                  <a:pt x="604" y="56"/>
                  <a:pt x="604" y="56"/>
                  <a:pt x="605" y="56"/>
                </a:cubicBezTo>
                <a:cubicBezTo>
                  <a:pt x="605" y="56"/>
                  <a:pt x="605" y="56"/>
                  <a:pt x="605" y="55"/>
                </a:cubicBezTo>
                <a:cubicBezTo>
                  <a:pt x="605" y="55"/>
                  <a:pt x="605" y="54"/>
                  <a:pt x="605" y="53"/>
                </a:cubicBezTo>
                <a:cubicBezTo>
                  <a:pt x="604" y="53"/>
                  <a:pt x="603" y="53"/>
                  <a:pt x="602" y="52"/>
                </a:cubicBezTo>
                <a:cubicBezTo>
                  <a:pt x="601" y="52"/>
                  <a:pt x="601" y="52"/>
                  <a:pt x="601" y="52"/>
                </a:cubicBezTo>
                <a:cubicBezTo>
                  <a:pt x="601" y="53"/>
                  <a:pt x="601" y="53"/>
                  <a:pt x="600" y="53"/>
                </a:cubicBezTo>
                <a:cubicBezTo>
                  <a:pt x="600" y="53"/>
                  <a:pt x="600" y="53"/>
                  <a:pt x="600" y="53"/>
                </a:cubicBezTo>
                <a:cubicBezTo>
                  <a:pt x="600" y="52"/>
                  <a:pt x="600" y="52"/>
                  <a:pt x="600" y="52"/>
                </a:cubicBezTo>
                <a:cubicBezTo>
                  <a:pt x="600" y="52"/>
                  <a:pt x="601" y="52"/>
                  <a:pt x="602" y="52"/>
                </a:cubicBezTo>
                <a:cubicBezTo>
                  <a:pt x="602" y="52"/>
                  <a:pt x="602" y="52"/>
                  <a:pt x="602" y="52"/>
                </a:cubicBezTo>
                <a:cubicBezTo>
                  <a:pt x="603" y="52"/>
                  <a:pt x="603" y="52"/>
                  <a:pt x="603" y="51"/>
                </a:cubicBezTo>
                <a:cubicBezTo>
                  <a:pt x="603" y="52"/>
                  <a:pt x="604" y="52"/>
                  <a:pt x="604" y="52"/>
                </a:cubicBezTo>
                <a:cubicBezTo>
                  <a:pt x="604" y="52"/>
                  <a:pt x="604" y="52"/>
                  <a:pt x="604" y="52"/>
                </a:cubicBezTo>
                <a:cubicBezTo>
                  <a:pt x="604" y="52"/>
                  <a:pt x="604" y="53"/>
                  <a:pt x="605" y="53"/>
                </a:cubicBezTo>
                <a:cubicBezTo>
                  <a:pt x="605" y="53"/>
                  <a:pt x="606" y="53"/>
                  <a:pt x="606" y="53"/>
                </a:cubicBezTo>
                <a:cubicBezTo>
                  <a:pt x="606" y="53"/>
                  <a:pt x="607" y="53"/>
                  <a:pt x="607" y="54"/>
                </a:cubicBezTo>
                <a:cubicBezTo>
                  <a:pt x="607" y="54"/>
                  <a:pt x="607" y="54"/>
                  <a:pt x="607" y="54"/>
                </a:cubicBezTo>
                <a:cubicBezTo>
                  <a:pt x="608" y="54"/>
                  <a:pt x="608" y="54"/>
                  <a:pt x="608" y="54"/>
                </a:cubicBezTo>
                <a:cubicBezTo>
                  <a:pt x="609" y="54"/>
                  <a:pt x="609" y="54"/>
                  <a:pt x="609" y="54"/>
                </a:cubicBezTo>
                <a:cubicBezTo>
                  <a:pt x="610" y="54"/>
                  <a:pt x="611" y="54"/>
                  <a:pt x="612" y="54"/>
                </a:cubicBezTo>
                <a:cubicBezTo>
                  <a:pt x="612" y="54"/>
                  <a:pt x="613" y="54"/>
                  <a:pt x="614" y="54"/>
                </a:cubicBezTo>
                <a:cubicBezTo>
                  <a:pt x="614" y="53"/>
                  <a:pt x="615" y="53"/>
                  <a:pt x="615" y="52"/>
                </a:cubicBezTo>
                <a:cubicBezTo>
                  <a:pt x="615" y="52"/>
                  <a:pt x="615" y="52"/>
                  <a:pt x="615" y="52"/>
                </a:cubicBezTo>
                <a:cubicBezTo>
                  <a:pt x="615" y="51"/>
                  <a:pt x="615" y="51"/>
                  <a:pt x="615" y="51"/>
                </a:cubicBezTo>
                <a:cubicBezTo>
                  <a:pt x="614" y="51"/>
                  <a:pt x="614" y="52"/>
                  <a:pt x="614" y="52"/>
                </a:cubicBezTo>
                <a:cubicBezTo>
                  <a:pt x="614" y="52"/>
                  <a:pt x="614" y="52"/>
                  <a:pt x="613" y="51"/>
                </a:cubicBezTo>
                <a:cubicBezTo>
                  <a:pt x="614" y="51"/>
                  <a:pt x="614" y="51"/>
                  <a:pt x="614" y="51"/>
                </a:cubicBezTo>
                <a:cubicBezTo>
                  <a:pt x="614" y="51"/>
                  <a:pt x="615" y="51"/>
                  <a:pt x="615" y="51"/>
                </a:cubicBezTo>
                <a:cubicBezTo>
                  <a:pt x="616" y="51"/>
                  <a:pt x="616" y="51"/>
                  <a:pt x="617" y="51"/>
                </a:cubicBezTo>
                <a:cubicBezTo>
                  <a:pt x="617" y="50"/>
                  <a:pt x="618" y="50"/>
                  <a:pt x="618" y="50"/>
                </a:cubicBezTo>
                <a:cubicBezTo>
                  <a:pt x="618" y="50"/>
                  <a:pt x="618" y="49"/>
                  <a:pt x="618" y="49"/>
                </a:cubicBezTo>
                <a:cubicBezTo>
                  <a:pt x="618" y="49"/>
                  <a:pt x="618" y="49"/>
                  <a:pt x="617" y="49"/>
                </a:cubicBezTo>
                <a:cubicBezTo>
                  <a:pt x="616" y="49"/>
                  <a:pt x="615" y="49"/>
                  <a:pt x="614" y="49"/>
                </a:cubicBezTo>
                <a:cubicBezTo>
                  <a:pt x="613" y="49"/>
                  <a:pt x="613" y="49"/>
                  <a:pt x="612" y="49"/>
                </a:cubicBezTo>
                <a:cubicBezTo>
                  <a:pt x="612" y="49"/>
                  <a:pt x="612" y="49"/>
                  <a:pt x="612" y="49"/>
                </a:cubicBezTo>
                <a:cubicBezTo>
                  <a:pt x="612" y="49"/>
                  <a:pt x="613" y="49"/>
                  <a:pt x="613" y="49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4" y="48"/>
                  <a:pt x="614" y="48"/>
                  <a:pt x="614" y="48"/>
                </a:cubicBezTo>
                <a:cubicBezTo>
                  <a:pt x="614" y="48"/>
                  <a:pt x="614" y="48"/>
                  <a:pt x="614" y="49"/>
                </a:cubicBezTo>
                <a:cubicBezTo>
                  <a:pt x="614" y="49"/>
                  <a:pt x="615" y="49"/>
                  <a:pt x="615" y="49"/>
                </a:cubicBezTo>
                <a:cubicBezTo>
                  <a:pt x="615" y="48"/>
                  <a:pt x="615" y="48"/>
                  <a:pt x="616" y="48"/>
                </a:cubicBezTo>
                <a:cubicBezTo>
                  <a:pt x="616" y="48"/>
                  <a:pt x="617" y="48"/>
                  <a:pt x="618" y="48"/>
                </a:cubicBezTo>
                <a:cubicBezTo>
                  <a:pt x="618" y="48"/>
                  <a:pt x="618" y="48"/>
                  <a:pt x="619" y="48"/>
                </a:cubicBezTo>
                <a:cubicBezTo>
                  <a:pt x="619" y="48"/>
                  <a:pt x="619" y="48"/>
                  <a:pt x="620" y="48"/>
                </a:cubicBezTo>
                <a:cubicBezTo>
                  <a:pt x="620" y="48"/>
                  <a:pt x="620" y="48"/>
                  <a:pt x="620" y="48"/>
                </a:cubicBezTo>
                <a:cubicBezTo>
                  <a:pt x="621" y="48"/>
                  <a:pt x="621" y="47"/>
                  <a:pt x="622" y="47"/>
                </a:cubicBezTo>
                <a:cubicBezTo>
                  <a:pt x="621" y="47"/>
                  <a:pt x="621" y="47"/>
                  <a:pt x="621" y="47"/>
                </a:cubicBezTo>
                <a:cubicBezTo>
                  <a:pt x="621" y="46"/>
                  <a:pt x="620" y="46"/>
                  <a:pt x="620" y="46"/>
                </a:cubicBezTo>
                <a:cubicBezTo>
                  <a:pt x="620" y="46"/>
                  <a:pt x="620" y="46"/>
                  <a:pt x="620" y="46"/>
                </a:cubicBezTo>
                <a:cubicBezTo>
                  <a:pt x="620" y="45"/>
                  <a:pt x="620" y="45"/>
                  <a:pt x="621" y="45"/>
                </a:cubicBezTo>
                <a:cubicBezTo>
                  <a:pt x="620" y="45"/>
                  <a:pt x="620" y="44"/>
                  <a:pt x="620" y="44"/>
                </a:cubicBezTo>
                <a:cubicBezTo>
                  <a:pt x="620" y="44"/>
                  <a:pt x="621" y="44"/>
                  <a:pt x="621" y="44"/>
                </a:cubicBezTo>
                <a:cubicBezTo>
                  <a:pt x="621" y="45"/>
                  <a:pt x="621" y="45"/>
                  <a:pt x="621" y="45"/>
                </a:cubicBezTo>
                <a:cubicBezTo>
                  <a:pt x="621" y="45"/>
                  <a:pt x="621" y="45"/>
                  <a:pt x="621" y="46"/>
                </a:cubicBezTo>
                <a:cubicBezTo>
                  <a:pt x="621" y="46"/>
                  <a:pt x="621" y="46"/>
                  <a:pt x="621" y="46"/>
                </a:cubicBezTo>
                <a:cubicBezTo>
                  <a:pt x="621" y="46"/>
                  <a:pt x="622" y="46"/>
                  <a:pt x="622" y="46"/>
                </a:cubicBezTo>
                <a:cubicBezTo>
                  <a:pt x="622" y="46"/>
                  <a:pt x="622" y="46"/>
                  <a:pt x="623" y="46"/>
                </a:cubicBezTo>
                <a:cubicBezTo>
                  <a:pt x="624" y="45"/>
                  <a:pt x="625" y="45"/>
                  <a:pt x="626" y="45"/>
                </a:cubicBezTo>
                <a:cubicBezTo>
                  <a:pt x="626" y="45"/>
                  <a:pt x="626" y="45"/>
                  <a:pt x="626" y="44"/>
                </a:cubicBezTo>
                <a:cubicBezTo>
                  <a:pt x="627" y="44"/>
                  <a:pt x="627" y="44"/>
                  <a:pt x="627" y="44"/>
                </a:cubicBezTo>
                <a:cubicBezTo>
                  <a:pt x="627" y="43"/>
                  <a:pt x="627" y="43"/>
                  <a:pt x="627" y="43"/>
                </a:cubicBezTo>
                <a:cubicBezTo>
                  <a:pt x="627" y="43"/>
                  <a:pt x="627" y="43"/>
                  <a:pt x="628" y="42"/>
                </a:cubicBezTo>
                <a:cubicBezTo>
                  <a:pt x="628" y="42"/>
                  <a:pt x="628" y="42"/>
                  <a:pt x="629" y="42"/>
                </a:cubicBezTo>
                <a:cubicBezTo>
                  <a:pt x="629" y="42"/>
                  <a:pt x="629" y="42"/>
                  <a:pt x="629" y="42"/>
                </a:cubicBezTo>
                <a:cubicBezTo>
                  <a:pt x="630" y="42"/>
                  <a:pt x="630" y="42"/>
                  <a:pt x="630" y="42"/>
                </a:cubicBezTo>
                <a:cubicBezTo>
                  <a:pt x="631" y="41"/>
                  <a:pt x="631" y="41"/>
                  <a:pt x="631" y="41"/>
                </a:cubicBezTo>
                <a:cubicBezTo>
                  <a:pt x="632" y="41"/>
                  <a:pt x="633" y="41"/>
                  <a:pt x="634" y="40"/>
                </a:cubicBezTo>
                <a:cubicBezTo>
                  <a:pt x="634" y="40"/>
                  <a:pt x="634" y="40"/>
                  <a:pt x="634" y="40"/>
                </a:cubicBezTo>
                <a:cubicBezTo>
                  <a:pt x="635" y="39"/>
                  <a:pt x="636" y="39"/>
                  <a:pt x="637" y="39"/>
                </a:cubicBezTo>
                <a:cubicBezTo>
                  <a:pt x="637" y="39"/>
                  <a:pt x="637" y="38"/>
                  <a:pt x="638" y="38"/>
                </a:cubicBezTo>
                <a:cubicBezTo>
                  <a:pt x="638" y="38"/>
                  <a:pt x="639" y="38"/>
                  <a:pt x="639" y="38"/>
                </a:cubicBezTo>
                <a:cubicBezTo>
                  <a:pt x="639" y="38"/>
                  <a:pt x="640" y="38"/>
                  <a:pt x="640" y="38"/>
                </a:cubicBezTo>
                <a:cubicBezTo>
                  <a:pt x="640" y="38"/>
                  <a:pt x="641" y="38"/>
                  <a:pt x="641" y="38"/>
                </a:cubicBezTo>
                <a:cubicBezTo>
                  <a:pt x="642" y="37"/>
                  <a:pt x="642" y="37"/>
                  <a:pt x="643" y="37"/>
                </a:cubicBezTo>
                <a:cubicBezTo>
                  <a:pt x="643" y="36"/>
                  <a:pt x="644" y="36"/>
                  <a:pt x="644" y="36"/>
                </a:cubicBezTo>
                <a:cubicBezTo>
                  <a:pt x="645" y="36"/>
                  <a:pt x="645" y="36"/>
                  <a:pt x="645" y="36"/>
                </a:cubicBezTo>
                <a:cubicBezTo>
                  <a:pt x="645" y="35"/>
                  <a:pt x="646" y="35"/>
                  <a:pt x="646" y="35"/>
                </a:cubicBezTo>
                <a:cubicBezTo>
                  <a:pt x="647" y="34"/>
                  <a:pt x="648" y="34"/>
                  <a:pt x="648" y="34"/>
                </a:cubicBezTo>
                <a:cubicBezTo>
                  <a:pt x="649" y="34"/>
                  <a:pt x="649" y="34"/>
                  <a:pt x="649" y="34"/>
                </a:cubicBezTo>
                <a:cubicBezTo>
                  <a:pt x="650" y="33"/>
                  <a:pt x="650" y="33"/>
                  <a:pt x="651" y="33"/>
                </a:cubicBezTo>
                <a:cubicBezTo>
                  <a:pt x="651" y="32"/>
                  <a:pt x="652" y="32"/>
                  <a:pt x="652" y="32"/>
                </a:cubicBezTo>
                <a:cubicBezTo>
                  <a:pt x="652" y="31"/>
                  <a:pt x="652" y="31"/>
                  <a:pt x="652" y="30"/>
                </a:cubicBezTo>
                <a:cubicBezTo>
                  <a:pt x="652" y="30"/>
                  <a:pt x="651" y="31"/>
                  <a:pt x="650" y="31"/>
                </a:cubicBezTo>
                <a:cubicBezTo>
                  <a:pt x="650" y="31"/>
                  <a:pt x="649" y="31"/>
                  <a:pt x="649" y="31"/>
                </a:cubicBezTo>
                <a:cubicBezTo>
                  <a:pt x="649" y="31"/>
                  <a:pt x="648" y="31"/>
                  <a:pt x="648" y="31"/>
                </a:cubicBezTo>
                <a:cubicBezTo>
                  <a:pt x="648" y="31"/>
                  <a:pt x="647" y="31"/>
                  <a:pt x="647" y="31"/>
                </a:cubicBezTo>
                <a:cubicBezTo>
                  <a:pt x="646" y="32"/>
                  <a:pt x="645" y="32"/>
                  <a:pt x="645" y="33"/>
                </a:cubicBezTo>
                <a:cubicBezTo>
                  <a:pt x="644" y="33"/>
                  <a:pt x="643" y="33"/>
                  <a:pt x="642" y="33"/>
                </a:cubicBezTo>
                <a:cubicBezTo>
                  <a:pt x="640" y="34"/>
                  <a:pt x="639" y="34"/>
                  <a:pt x="637" y="34"/>
                </a:cubicBezTo>
                <a:cubicBezTo>
                  <a:pt x="637" y="34"/>
                  <a:pt x="636" y="34"/>
                  <a:pt x="636" y="34"/>
                </a:cubicBezTo>
                <a:cubicBezTo>
                  <a:pt x="634" y="34"/>
                  <a:pt x="633" y="35"/>
                  <a:pt x="632" y="35"/>
                </a:cubicBezTo>
                <a:cubicBezTo>
                  <a:pt x="632" y="35"/>
                  <a:pt x="631" y="35"/>
                  <a:pt x="631" y="36"/>
                </a:cubicBezTo>
                <a:cubicBezTo>
                  <a:pt x="630" y="35"/>
                  <a:pt x="630" y="35"/>
                  <a:pt x="630" y="35"/>
                </a:cubicBezTo>
                <a:cubicBezTo>
                  <a:pt x="630" y="35"/>
                  <a:pt x="629" y="35"/>
                  <a:pt x="629" y="35"/>
                </a:cubicBezTo>
                <a:cubicBezTo>
                  <a:pt x="629" y="35"/>
                  <a:pt x="629" y="35"/>
                  <a:pt x="629" y="34"/>
                </a:cubicBezTo>
                <a:cubicBezTo>
                  <a:pt x="630" y="34"/>
                  <a:pt x="630" y="34"/>
                  <a:pt x="631" y="34"/>
                </a:cubicBezTo>
                <a:cubicBezTo>
                  <a:pt x="631" y="34"/>
                  <a:pt x="631" y="34"/>
                  <a:pt x="632" y="34"/>
                </a:cubicBezTo>
                <a:cubicBezTo>
                  <a:pt x="632" y="34"/>
                  <a:pt x="632" y="34"/>
                  <a:pt x="633" y="34"/>
                </a:cubicBezTo>
                <a:cubicBezTo>
                  <a:pt x="633" y="34"/>
                  <a:pt x="633" y="34"/>
                  <a:pt x="633" y="34"/>
                </a:cubicBezTo>
                <a:cubicBezTo>
                  <a:pt x="634" y="34"/>
                  <a:pt x="634" y="34"/>
                  <a:pt x="635" y="34"/>
                </a:cubicBezTo>
                <a:cubicBezTo>
                  <a:pt x="635" y="34"/>
                  <a:pt x="636" y="34"/>
                  <a:pt x="637" y="34"/>
                </a:cubicBezTo>
                <a:cubicBezTo>
                  <a:pt x="637" y="33"/>
                  <a:pt x="637" y="33"/>
                  <a:pt x="638" y="33"/>
                </a:cubicBezTo>
                <a:cubicBezTo>
                  <a:pt x="639" y="33"/>
                  <a:pt x="640" y="33"/>
                  <a:pt x="641" y="32"/>
                </a:cubicBezTo>
                <a:cubicBezTo>
                  <a:pt x="643" y="32"/>
                  <a:pt x="645" y="31"/>
                  <a:pt x="647" y="30"/>
                </a:cubicBezTo>
                <a:cubicBezTo>
                  <a:pt x="647" y="30"/>
                  <a:pt x="647" y="30"/>
                  <a:pt x="647" y="30"/>
                </a:cubicBezTo>
                <a:cubicBezTo>
                  <a:pt x="647" y="30"/>
                  <a:pt x="647" y="30"/>
                  <a:pt x="647" y="30"/>
                </a:cubicBezTo>
                <a:cubicBezTo>
                  <a:pt x="646" y="30"/>
                  <a:pt x="645" y="30"/>
                  <a:pt x="644" y="30"/>
                </a:cubicBezTo>
                <a:cubicBezTo>
                  <a:pt x="643" y="30"/>
                  <a:pt x="641" y="30"/>
                  <a:pt x="640" y="30"/>
                </a:cubicBezTo>
                <a:cubicBezTo>
                  <a:pt x="640" y="30"/>
                  <a:pt x="639" y="29"/>
                  <a:pt x="639" y="29"/>
                </a:cubicBezTo>
                <a:cubicBezTo>
                  <a:pt x="640" y="29"/>
                  <a:pt x="640" y="29"/>
                  <a:pt x="641" y="29"/>
                </a:cubicBezTo>
                <a:cubicBezTo>
                  <a:pt x="641" y="29"/>
                  <a:pt x="642" y="29"/>
                  <a:pt x="642" y="29"/>
                </a:cubicBezTo>
                <a:cubicBezTo>
                  <a:pt x="642" y="29"/>
                  <a:pt x="642" y="29"/>
                  <a:pt x="642" y="29"/>
                </a:cubicBezTo>
                <a:cubicBezTo>
                  <a:pt x="641" y="29"/>
                  <a:pt x="641" y="28"/>
                  <a:pt x="640" y="28"/>
                </a:cubicBezTo>
                <a:cubicBezTo>
                  <a:pt x="640" y="28"/>
                  <a:pt x="640" y="28"/>
                  <a:pt x="640" y="27"/>
                </a:cubicBezTo>
                <a:cubicBezTo>
                  <a:pt x="640" y="28"/>
                  <a:pt x="641" y="28"/>
                  <a:pt x="641" y="28"/>
                </a:cubicBezTo>
                <a:cubicBezTo>
                  <a:pt x="642" y="28"/>
                  <a:pt x="643" y="29"/>
                  <a:pt x="643" y="29"/>
                </a:cubicBezTo>
                <a:cubicBezTo>
                  <a:pt x="644" y="29"/>
                  <a:pt x="644" y="29"/>
                  <a:pt x="644" y="29"/>
                </a:cubicBezTo>
                <a:cubicBezTo>
                  <a:pt x="644" y="29"/>
                  <a:pt x="645" y="29"/>
                  <a:pt x="645" y="29"/>
                </a:cubicBezTo>
                <a:cubicBezTo>
                  <a:pt x="645" y="29"/>
                  <a:pt x="645" y="29"/>
                  <a:pt x="646" y="29"/>
                </a:cubicBezTo>
                <a:cubicBezTo>
                  <a:pt x="646" y="29"/>
                  <a:pt x="647" y="29"/>
                  <a:pt x="648" y="29"/>
                </a:cubicBezTo>
                <a:cubicBezTo>
                  <a:pt x="648" y="29"/>
                  <a:pt x="648" y="29"/>
                  <a:pt x="649" y="29"/>
                </a:cubicBezTo>
                <a:cubicBezTo>
                  <a:pt x="649" y="29"/>
                  <a:pt x="649" y="29"/>
                  <a:pt x="650" y="29"/>
                </a:cubicBezTo>
                <a:cubicBezTo>
                  <a:pt x="650" y="29"/>
                  <a:pt x="651" y="29"/>
                  <a:pt x="651" y="29"/>
                </a:cubicBezTo>
                <a:cubicBezTo>
                  <a:pt x="651" y="29"/>
                  <a:pt x="652" y="28"/>
                  <a:pt x="652" y="28"/>
                </a:cubicBezTo>
                <a:cubicBezTo>
                  <a:pt x="652" y="28"/>
                  <a:pt x="652" y="28"/>
                  <a:pt x="651" y="28"/>
                </a:cubicBezTo>
                <a:cubicBezTo>
                  <a:pt x="651" y="28"/>
                  <a:pt x="650" y="28"/>
                  <a:pt x="650" y="28"/>
                </a:cubicBezTo>
                <a:cubicBezTo>
                  <a:pt x="650" y="28"/>
                  <a:pt x="650" y="28"/>
                  <a:pt x="650" y="28"/>
                </a:cubicBezTo>
                <a:cubicBezTo>
                  <a:pt x="650" y="28"/>
                  <a:pt x="651" y="28"/>
                  <a:pt x="652" y="28"/>
                </a:cubicBezTo>
                <a:cubicBezTo>
                  <a:pt x="652" y="28"/>
                  <a:pt x="653" y="28"/>
                  <a:pt x="653" y="28"/>
                </a:cubicBezTo>
                <a:cubicBezTo>
                  <a:pt x="654" y="28"/>
                  <a:pt x="654" y="28"/>
                  <a:pt x="655" y="28"/>
                </a:cubicBezTo>
                <a:cubicBezTo>
                  <a:pt x="655" y="28"/>
                  <a:pt x="655" y="28"/>
                  <a:pt x="655" y="28"/>
                </a:cubicBezTo>
                <a:cubicBezTo>
                  <a:pt x="655" y="28"/>
                  <a:pt x="655" y="27"/>
                  <a:pt x="656" y="27"/>
                </a:cubicBezTo>
                <a:cubicBezTo>
                  <a:pt x="656" y="27"/>
                  <a:pt x="656" y="27"/>
                  <a:pt x="657" y="28"/>
                </a:cubicBezTo>
                <a:cubicBezTo>
                  <a:pt x="657" y="27"/>
                  <a:pt x="658" y="27"/>
                  <a:pt x="658" y="27"/>
                </a:cubicBezTo>
                <a:cubicBezTo>
                  <a:pt x="659" y="27"/>
                  <a:pt x="659" y="27"/>
                  <a:pt x="660" y="27"/>
                </a:cubicBezTo>
                <a:cubicBezTo>
                  <a:pt x="660" y="27"/>
                  <a:pt x="661" y="26"/>
                  <a:pt x="661" y="26"/>
                </a:cubicBezTo>
                <a:cubicBezTo>
                  <a:pt x="662" y="26"/>
                  <a:pt x="662" y="26"/>
                  <a:pt x="663" y="26"/>
                </a:cubicBezTo>
                <a:cubicBezTo>
                  <a:pt x="664" y="25"/>
                  <a:pt x="665" y="24"/>
                  <a:pt x="666" y="24"/>
                </a:cubicBezTo>
                <a:cubicBezTo>
                  <a:pt x="666" y="24"/>
                  <a:pt x="667" y="24"/>
                  <a:pt x="667" y="23"/>
                </a:cubicBezTo>
                <a:cubicBezTo>
                  <a:pt x="667" y="23"/>
                  <a:pt x="667" y="23"/>
                  <a:pt x="667" y="23"/>
                </a:cubicBezTo>
                <a:cubicBezTo>
                  <a:pt x="667" y="23"/>
                  <a:pt x="667" y="23"/>
                  <a:pt x="668" y="23"/>
                </a:cubicBezTo>
                <a:cubicBezTo>
                  <a:pt x="668" y="23"/>
                  <a:pt x="669" y="23"/>
                  <a:pt x="669" y="23"/>
                </a:cubicBezTo>
                <a:cubicBezTo>
                  <a:pt x="669" y="23"/>
                  <a:pt x="669" y="22"/>
                  <a:pt x="670" y="22"/>
                </a:cubicBezTo>
                <a:cubicBezTo>
                  <a:pt x="670" y="22"/>
                  <a:pt x="671" y="22"/>
                  <a:pt x="672" y="21"/>
                </a:cubicBezTo>
                <a:cubicBezTo>
                  <a:pt x="672" y="21"/>
                  <a:pt x="673" y="20"/>
                  <a:pt x="673" y="19"/>
                </a:cubicBezTo>
                <a:cubicBezTo>
                  <a:pt x="673" y="19"/>
                  <a:pt x="673" y="18"/>
                  <a:pt x="673" y="18"/>
                </a:cubicBezTo>
                <a:cubicBezTo>
                  <a:pt x="673" y="17"/>
                  <a:pt x="673" y="17"/>
                  <a:pt x="673" y="17"/>
                </a:cubicBezTo>
                <a:cubicBezTo>
                  <a:pt x="673" y="16"/>
                  <a:pt x="672" y="16"/>
                  <a:pt x="672" y="16"/>
                </a:cubicBezTo>
                <a:cubicBezTo>
                  <a:pt x="672" y="16"/>
                  <a:pt x="671" y="16"/>
                  <a:pt x="671" y="15"/>
                </a:cubicBezTo>
                <a:cubicBezTo>
                  <a:pt x="670" y="15"/>
                  <a:pt x="670" y="15"/>
                  <a:pt x="670" y="15"/>
                </a:cubicBezTo>
                <a:cubicBezTo>
                  <a:pt x="670" y="16"/>
                  <a:pt x="670" y="16"/>
                  <a:pt x="670" y="16"/>
                </a:cubicBezTo>
                <a:cubicBezTo>
                  <a:pt x="669" y="16"/>
                  <a:pt x="669" y="16"/>
                  <a:pt x="668" y="16"/>
                </a:cubicBezTo>
                <a:cubicBezTo>
                  <a:pt x="668" y="16"/>
                  <a:pt x="668" y="16"/>
                  <a:pt x="668" y="17"/>
                </a:cubicBezTo>
                <a:cubicBezTo>
                  <a:pt x="667" y="17"/>
                  <a:pt x="667" y="17"/>
                  <a:pt x="667" y="17"/>
                </a:cubicBezTo>
                <a:cubicBezTo>
                  <a:pt x="667" y="17"/>
                  <a:pt x="667" y="17"/>
                  <a:pt x="666" y="17"/>
                </a:cubicBezTo>
                <a:cubicBezTo>
                  <a:pt x="667" y="16"/>
                  <a:pt x="667" y="16"/>
                  <a:pt x="668" y="15"/>
                </a:cubicBezTo>
                <a:cubicBezTo>
                  <a:pt x="668" y="15"/>
                  <a:pt x="668" y="15"/>
                  <a:pt x="668" y="15"/>
                </a:cubicBezTo>
                <a:cubicBezTo>
                  <a:pt x="668" y="15"/>
                  <a:pt x="669" y="15"/>
                  <a:pt x="669" y="14"/>
                </a:cubicBezTo>
                <a:cubicBezTo>
                  <a:pt x="669" y="14"/>
                  <a:pt x="669" y="14"/>
                  <a:pt x="669" y="13"/>
                </a:cubicBezTo>
                <a:cubicBezTo>
                  <a:pt x="669" y="13"/>
                  <a:pt x="669" y="13"/>
                  <a:pt x="668" y="13"/>
                </a:cubicBezTo>
                <a:cubicBezTo>
                  <a:pt x="668" y="13"/>
                  <a:pt x="668" y="13"/>
                  <a:pt x="668" y="12"/>
                </a:cubicBezTo>
                <a:cubicBezTo>
                  <a:pt x="668" y="12"/>
                  <a:pt x="668" y="12"/>
                  <a:pt x="669" y="12"/>
                </a:cubicBezTo>
                <a:cubicBezTo>
                  <a:pt x="669" y="12"/>
                  <a:pt x="669" y="11"/>
                  <a:pt x="669" y="10"/>
                </a:cubicBezTo>
                <a:cubicBezTo>
                  <a:pt x="669" y="10"/>
                  <a:pt x="668" y="10"/>
                  <a:pt x="668" y="10"/>
                </a:cubicBezTo>
                <a:cubicBezTo>
                  <a:pt x="668" y="11"/>
                  <a:pt x="667" y="11"/>
                  <a:pt x="667" y="11"/>
                </a:cubicBezTo>
                <a:cubicBezTo>
                  <a:pt x="667" y="11"/>
                  <a:pt x="667" y="11"/>
                  <a:pt x="667" y="11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6" y="12"/>
                  <a:pt x="665" y="12"/>
                  <a:pt x="665" y="12"/>
                </a:cubicBezTo>
                <a:cubicBezTo>
                  <a:pt x="665" y="12"/>
                  <a:pt x="665" y="12"/>
                  <a:pt x="665" y="12"/>
                </a:cubicBezTo>
                <a:cubicBezTo>
                  <a:pt x="665" y="12"/>
                  <a:pt x="665" y="12"/>
                  <a:pt x="665" y="11"/>
                </a:cubicBezTo>
                <a:cubicBezTo>
                  <a:pt x="665" y="11"/>
                  <a:pt x="665" y="11"/>
                  <a:pt x="665" y="11"/>
                </a:cubicBezTo>
                <a:cubicBezTo>
                  <a:pt x="665" y="11"/>
                  <a:pt x="665" y="10"/>
                  <a:pt x="666" y="10"/>
                </a:cubicBezTo>
                <a:cubicBezTo>
                  <a:pt x="665" y="10"/>
                  <a:pt x="665" y="10"/>
                  <a:pt x="665" y="10"/>
                </a:cubicBezTo>
                <a:cubicBezTo>
                  <a:pt x="665" y="10"/>
                  <a:pt x="664" y="10"/>
                  <a:pt x="664" y="11"/>
                </a:cubicBezTo>
                <a:cubicBezTo>
                  <a:pt x="664" y="11"/>
                  <a:pt x="664" y="11"/>
                  <a:pt x="663" y="12"/>
                </a:cubicBezTo>
                <a:cubicBezTo>
                  <a:pt x="663" y="12"/>
                  <a:pt x="663" y="12"/>
                  <a:pt x="663" y="12"/>
                </a:cubicBezTo>
                <a:cubicBezTo>
                  <a:pt x="663" y="12"/>
                  <a:pt x="662" y="12"/>
                  <a:pt x="662" y="12"/>
                </a:cubicBezTo>
                <a:cubicBezTo>
                  <a:pt x="662" y="11"/>
                  <a:pt x="663" y="11"/>
                  <a:pt x="663" y="11"/>
                </a:cubicBezTo>
                <a:cubicBezTo>
                  <a:pt x="663" y="10"/>
                  <a:pt x="663" y="10"/>
                  <a:pt x="662" y="10"/>
                </a:cubicBezTo>
                <a:cubicBezTo>
                  <a:pt x="662" y="10"/>
                  <a:pt x="661" y="10"/>
                  <a:pt x="661" y="10"/>
                </a:cubicBezTo>
                <a:cubicBezTo>
                  <a:pt x="660" y="11"/>
                  <a:pt x="660" y="11"/>
                  <a:pt x="659" y="11"/>
                </a:cubicBezTo>
                <a:cubicBezTo>
                  <a:pt x="659" y="11"/>
                  <a:pt x="659" y="12"/>
                  <a:pt x="659" y="12"/>
                </a:cubicBezTo>
                <a:cubicBezTo>
                  <a:pt x="658" y="12"/>
                  <a:pt x="658" y="12"/>
                  <a:pt x="657" y="12"/>
                </a:cubicBezTo>
                <a:cubicBezTo>
                  <a:pt x="657" y="12"/>
                  <a:pt x="657" y="12"/>
                  <a:pt x="657" y="12"/>
                </a:cubicBezTo>
                <a:cubicBezTo>
                  <a:pt x="657" y="13"/>
                  <a:pt x="656" y="13"/>
                  <a:pt x="656" y="13"/>
                </a:cubicBezTo>
                <a:cubicBezTo>
                  <a:pt x="656" y="13"/>
                  <a:pt x="656" y="13"/>
                  <a:pt x="655" y="13"/>
                </a:cubicBezTo>
                <a:cubicBezTo>
                  <a:pt x="655" y="13"/>
                  <a:pt x="655" y="13"/>
                  <a:pt x="654" y="13"/>
                </a:cubicBezTo>
                <a:cubicBezTo>
                  <a:pt x="654" y="13"/>
                  <a:pt x="653" y="13"/>
                  <a:pt x="652" y="13"/>
                </a:cubicBezTo>
                <a:cubicBezTo>
                  <a:pt x="651" y="13"/>
                  <a:pt x="650" y="14"/>
                  <a:pt x="649" y="14"/>
                </a:cubicBezTo>
                <a:cubicBezTo>
                  <a:pt x="650" y="14"/>
                  <a:pt x="650" y="13"/>
                  <a:pt x="651" y="13"/>
                </a:cubicBezTo>
                <a:cubicBezTo>
                  <a:pt x="651" y="13"/>
                  <a:pt x="651" y="13"/>
                  <a:pt x="652" y="13"/>
                </a:cubicBezTo>
                <a:cubicBezTo>
                  <a:pt x="652" y="13"/>
                  <a:pt x="652" y="13"/>
                  <a:pt x="653" y="13"/>
                </a:cubicBezTo>
                <a:cubicBezTo>
                  <a:pt x="653" y="13"/>
                  <a:pt x="653" y="13"/>
                  <a:pt x="654" y="13"/>
                </a:cubicBezTo>
                <a:cubicBezTo>
                  <a:pt x="654" y="12"/>
                  <a:pt x="655" y="12"/>
                  <a:pt x="655" y="12"/>
                </a:cubicBezTo>
                <a:cubicBezTo>
                  <a:pt x="656" y="12"/>
                  <a:pt x="656" y="12"/>
                  <a:pt x="657" y="12"/>
                </a:cubicBezTo>
                <a:cubicBezTo>
                  <a:pt x="657" y="11"/>
                  <a:pt x="657" y="11"/>
                  <a:pt x="658" y="10"/>
                </a:cubicBezTo>
                <a:cubicBezTo>
                  <a:pt x="658" y="10"/>
                  <a:pt x="659" y="10"/>
                  <a:pt x="660" y="10"/>
                </a:cubicBezTo>
                <a:cubicBezTo>
                  <a:pt x="660" y="9"/>
                  <a:pt x="660" y="9"/>
                  <a:pt x="660" y="9"/>
                </a:cubicBezTo>
                <a:cubicBezTo>
                  <a:pt x="660" y="9"/>
                  <a:pt x="660" y="9"/>
                  <a:pt x="660" y="9"/>
                </a:cubicBezTo>
                <a:cubicBezTo>
                  <a:pt x="660" y="9"/>
                  <a:pt x="659" y="9"/>
                  <a:pt x="659" y="9"/>
                </a:cubicBezTo>
                <a:cubicBezTo>
                  <a:pt x="658" y="9"/>
                  <a:pt x="657" y="9"/>
                  <a:pt x="657" y="8"/>
                </a:cubicBezTo>
                <a:cubicBezTo>
                  <a:pt x="656" y="8"/>
                  <a:pt x="656" y="8"/>
                  <a:pt x="656" y="8"/>
                </a:cubicBezTo>
                <a:cubicBezTo>
                  <a:pt x="656" y="8"/>
                  <a:pt x="656" y="8"/>
                  <a:pt x="656" y="8"/>
                </a:cubicBezTo>
                <a:cubicBezTo>
                  <a:pt x="655" y="8"/>
                  <a:pt x="655" y="8"/>
                  <a:pt x="654" y="9"/>
                </a:cubicBezTo>
                <a:cubicBezTo>
                  <a:pt x="654" y="9"/>
                  <a:pt x="654" y="9"/>
                  <a:pt x="654" y="9"/>
                </a:cubicBezTo>
                <a:cubicBezTo>
                  <a:pt x="654" y="9"/>
                  <a:pt x="653" y="9"/>
                  <a:pt x="653" y="9"/>
                </a:cubicBezTo>
                <a:cubicBezTo>
                  <a:pt x="653" y="9"/>
                  <a:pt x="653" y="9"/>
                  <a:pt x="653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3" y="8"/>
                  <a:pt x="653" y="8"/>
                  <a:pt x="653" y="7"/>
                </a:cubicBezTo>
                <a:cubicBezTo>
                  <a:pt x="653" y="8"/>
                  <a:pt x="652" y="8"/>
                  <a:pt x="651" y="8"/>
                </a:cubicBezTo>
                <a:cubicBezTo>
                  <a:pt x="651" y="8"/>
                  <a:pt x="651" y="8"/>
                  <a:pt x="651" y="9"/>
                </a:cubicBezTo>
                <a:cubicBezTo>
                  <a:pt x="650" y="8"/>
                  <a:pt x="650" y="8"/>
                  <a:pt x="650" y="8"/>
                </a:cubicBezTo>
                <a:cubicBezTo>
                  <a:pt x="650" y="8"/>
                  <a:pt x="650" y="8"/>
                  <a:pt x="650" y="8"/>
                </a:cubicBezTo>
                <a:cubicBezTo>
                  <a:pt x="649" y="8"/>
                  <a:pt x="649" y="8"/>
                  <a:pt x="648" y="8"/>
                </a:cubicBezTo>
                <a:cubicBezTo>
                  <a:pt x="648" y="8"/>
                  <a:pt x="648" y="8"/>
                  <a:pt x="648" y="9"/>
                </a:cubicBezTo>
                <a:cubicBezTo>
                  <a:pt x="648" y="9"/>
                  <a:pt x="647" y="8"/>
                  <a:pt x="647" y="8"/>
                </a:cubicBezTo>
                <a:cubicBezTo>
                  <a:pt x="647" y="8"/>
                  <a:pt x="648" y="8"/>
                  <a:pt x="648" y="8"/>
                </a:cubicBezTo>
                <a:cubicBezTo>
                  <a:pt x="648" y="8"/>
                  <a:pt x="648" y="7"/>
                  <a:pt x="647" y="7"/>
                </a:cubicBezTo>
                <a:cubicBezTo>
                  <a:pt x="648" y="7"/>
                  <a:pt x="648" y="7"/>
                  <a:pt x="648" y="7"/>
                </a:cubicBezTo>
                <a:cubicBezTo>
                  <a:pt x="648" y="7"/>
                  <a:pt x="648" y="7"/>
                  <a:pt x="649" y="7"/>
                </a:cubicBezTo>
                <a:cubicBezTo>
                  <a:pt x="648" y="6"/>
                  <a:pt x="648" y="6"/>
                  <a:pt x="648" y="6"/>
                </a:cubicBezTo>
                <a:cubicBezTo>
                  <a:pt x="647" y="6"/>
                  <a:pt x="646" y="6"/>
                  <a:pt x="645" y="6"/>
                </a:cubicBezTo>
                <a:cubicBezTo>
                  <a:pt x="645" y="6"/>
                  <a:pt x="644" y="6"/>
                  <a:pt x="643" y="6"/>
                </a:cubicBezTo>
                <a:cubicBezTo>
                  <a:pt x="643" y="6"/>
                  <a:pt x="643" y="6"/>
                  <a:pt x="642" y="6"/>
                </a:cubicBezTo>
                <a:cubicBezTo>
                  <a:pt x="642" y="7"/>
                  <a:pt x="641" y="7"/>
                  <a:pt x="641" y="7"/>
                </a:cubicBezTo>
                <a:cubicBezTo>
                  <a:pt x="641" y="7"/>
                  <a:pt x="641" y="8"/>
                  <a:pt x="641" y="8"/>
                </a:cubicBezTo>
                <a:cubicBezTo>
                  <a:pt x="641" y="8"/>
                  <a:pt x="640" y="8"/>
                  <a:pt x="640" y="8"/>
                </a:cubicBezTo>
                <a:cubicBezTo>
                  <a:pt x="640" y="8"/>
                  <a:pt x="640" y="8"/>
                  <a:pt x="639" y="8"/>
                </a:cubicBezTo>
                <a:cubicBezTo>
                  <a:pt x="640" y="7"/>
                  <a:pt x="640" y="7"/>
                  <a:pt x="641" y="7"/>
                </a:cubicBezTo>
                <a:cubicBezTo>
                  <a:pt x="641" y="6"/>
                  <a:pt x="641" y="6"/>
                  <a:pt x="641" y="6"/>
                </a:cubicBezTo>
                <a:cubicBezTo>
                  <a:pt x="640" y="6"/>
                  <a:pt x="640" y="6"/>
                  <a:pt x="639" y="6"/>
                </a:cubicBezTo>
                <a:cubicBezTo>
                  <a:pt x="639" y="6"/>
                  <a:pt x="638" y="6"/>
                  <a:pt x="638" y="6"/>
                </a:cubicBezTo>
                <a:cubicBezTo>
                  <a:pt x="637" y="6"/>
                  <a:pt x="637" y="6"/>
                  <a:pt x="636" y="6"/>
                </a:cubicBezTo>
                <a:cubicBezTo>
                  <a:pt x="636" y="7"/>
                  <a:pt x="636" y="7"/>
                  <a:pt x="636" y="7"/>
                </a:cubicBezTo>
                <a:cubicBezTo>
                  <a:pt x="635" y="7"/>
                  <a:pt x="634" y="8"/>
                  <a:pt x="634" y="8"/>
                </a:cubicBezTo>
                <a:cubicBezTo>
                  <a:pt x="633" y="8"/>
                  <a:pt x="633" y="9"/>
                  <a:pt x="633" y="9"/>
                </a:cubicBezTo>
                <a:cubicBezTo>
                  <a:pt x="632" y="9"/>
                  <a:pt x="632" y="9"/>
                  <a:pt x="632" y="9"/>
                </a:cubicBezTo>
                <a:cubicBezTo>
                  <a:pt x="632" y="9"/>
                  <a:pt x="631" y="9"/>
                  <a:pt x="631" y="9"/>
                </a:cubicBezTo>
                <a:cubicBezTo>
                  <a:pt x="632" y="9"/>
                  <a:pt x="632" y="8"/>
                  <a:pt x="632" y="8"/>
                </a:cubicBezTo>
                <a:cubicBezTo>
                  <a:pt x="632" y="8"/>
                  <a:pt x="632" y="8"/>
                  <a:pt x="632" y="7"/>
                </a:cubicBezTo>
                <a:cubicBezTo>
                  <a:pt x="631" y="7"/>
                  <a:pt x="631" y="7"/>
                  <a:pt x="631" y="7"/>
                </a:cubicBezTo>
                <a:cubicBezTo>
                  <a:pt x="631" y="7"/>
                  <a:pt x="631" y="7"/>
                  <a:pt x="631" y="6"/>
                </a:cubicBezTo>
                <a:cubicBezTo>
                  <a:pt x="630" y="6"/>
                  <a:pt x="630" y="6"/>
                  <a:pt x="629" y="6"/>
                </a:cubicBezTo>
                <a:cubicBezTo>
                  <a:pt x="628" y="6"/>
                  <a:pt x="628" y="6"/>
                  <a:pt x="628" y="7"/>
                </a:cubicBezTo>
                <a:cubicBezTo>
                  <a:pt x="627" y="7"/>
                  <a:pt x="626" y="7"/>
                  <a:pt x="626" y="7"/>
                </a:cubicBezTo>
                <a:cubicBezTo>
                  <a:pt x="626" y="6"/>
                  <a:pt x="625" y="6"/>
                  <a:pt x="625" y="6"/>
                </a:cubicBezTo>
                <a:cubicBezTo>
                  <a:pt x="625" y="6"/>
                  <a:pt x="624" y="6"/>
                  <a:pt x="624" y="6"/>
                </a:cubicBezTo>
                <a:cubicBezTo>
                  <a:pt x="623" y="6"/>
                  <a:pt x="623" y="6"/>
                  <a:pt x="622" y="7"/>
                </a:cubicBezTo>
                <a:cubicBezTo>
                  <a:pt x="622" y="7"/>
                  <a:pt x="621" y="7"/>
                  <a:pt x="621" y="7"/>
                </a:cubicBezTo>
                <a:cubicBezTo>
                  <a:pt x="621" y="7"/>
                  <a:pt x="620" y="7"/>
                  <a:pt x="620" y="7"/>
                </a:cubicBezTo>
                <a:cubicBezTo>
                  <a:pt x="620" y="7"/>
                  <a:pt x="620" y="7"/>
                  <a:pt x="619" y="6"/>
                </a:cubicBezTo>
                <a:cubicBezTo>
                  <a:pt x="619" y="7"/>
                  <a:pt x="619" y="7"/>
                  <a:pt x="618" y="7"/>
                </a:cubicBezTo>
                <a:cubicBezTo>
                  <a:pt x="618" y="7"/>
                  <a:pt x="618" y="8"/>
                  <a:pt x="618" y="8"/>
                </a:cubicBezTo>
                <a:cubicBezTo>
                  <a:pt x="619" y="8"/>
                  <a:pt x="619" y="9"/>
                  <a:pt x="620" y="9"/>
                </a:cubicBezTo>
                <a:cubicBezTo>
                  <a:pt x="619" y="10"/>
                  <a:pt x="619" y="10"/>
                  <a:pt x="619" y="11"/>
                </a:cubicBezTo>
                <a:cubicBezTo>
                  <a:pt x="619" y="11"/>
                  <a:pt x="619" y="11"/>
                  <a:pt x="619" y="12"/>
                </a:cubicBezTo>
                <a:cubicBezTo>
                  <a:pt x="619" y="12"/>
                  <a:pt x="619" y="12"/>
                  <a:pt x="619" y="12"/>
                </a:cubicBezTo>
                <a:cubicBezTo>
                  <a:pt x="618" y="12"/>
                  <a:pt x="618" y="12"/>
                  <a:pt x="618" y="12"/>
                </a:cubicBezTo>
                <a:cubicBezTo>
                  <a:pt x="617" y="12"/>
                  <a:pt x="617" y="12"/>
                  <a:pt x="617" y="12"/>
                </a:cubicBezTo>
                <a:cubicBezTo>
                  <a:pt x="616" y="12"/>
                  <a:pt x="616" y="12"/>
                  <a:pt x="616" y="12"/>
                </a:cubicBezTo>
                <a:cubicBezTo>
                  <a:pt x="616" y="12"/>
                  <a:pt x="616" y="12"/>
                  <a:pt x="617" y="12"/>
                </a:cubicBezTo>
                <a:cubicBezTo>
                  <a:pt x="616" y="11"/>
                  <a:pt x="616" y="11"/>
                  <a:pt x="616" y="10"/>
                </a:cubicBezTo>
                <a:cubicBezTo>
                  <a:pt x="616" y="10"/>
                  <a:pt x="616" y="10"/>
                  <a:pt x="616" y="10"/>
                </a:cubicBezTo>
                <a:cubicBezTo>
                  <a:pt x="616" y="9"/>
                  <a:pt x="616" y="9"/>
                  <a:pt x="616" y="9"/>
                </a:cubicBezTo>
                <a:cubicBezTo>
                  <a:pt x="616" y="9"/>
                  <a:pt x="616" y="9"/>
                  <a:pt x="616" y="9"/>
                </a:cubicBezTo>
                <a:cubicBezTo>
                  <a:pt x="615" y="9"/>
                  <a:pt x="615" y="9"/>
                  <a:pt x="614" y="10"/>
                </a:cubicBezTo>
                <a:cubicBezTo>
                  <a:pt x="614" y="10"/>
                  <a:pt x="614" y="10"/>
                  <a:pt x="614" y="10"/>
                </a:cubicBezTo>
                <a:cubicBezTo>
                  <a:pt x="614" y="10"/>
                  <a:pt x="614" y="10"/>
                  <a:pt x="613" y="10"/>
                </a:cubicBezTo>
                <a:cubicBezTo>
                  <a:pt x="613" y="10"/>
                  <a:pt x="613" y="10"/>
                  <a:pt x="613" y="10"/>
                </a:cubicBezTo>
                <a:cubicBezTo>
                  <a:pt x="613" y="10"/>
                  <a:pt x="613" y="9"/>
                  <a:pt x="613" y="9"/>
                </a:cubicBezTo>
                <a:cubicBezTo>
                  <a:pt x="613" y="9"/>
                  <a:pt x="613" y="9"/>
                  <a:pt x="613" y="9"/>
                </a:cubicBezTo>
                <a:cubicBezTo>
                  <a:pt x="612" y="9"/>
                  <a:pt x="612" y="9"/>
                  <a:pt x="612" y="9"/>
                </a:cubicBezTo>
                <a:cubicBezTo>
                  <a:pt x="612" y="9"/>
                  <a:pt x="612" y="10"/>
                  <a:pt x="611" y="10"/>
                </a:cubicBezTo>
                <a:cubicBezTo>
                  <a:pt x="611" y="10"/>
                  <a:pt x="611" y="10"/>
                  <a:pt x="611" y="10"/>
                </a:cubicBezTo>
                <a:cubicBezTo>
                  <a:pt x="610" y="10"/>
                  <a:pt x="610" y="10"/>
                  <a:pt x="610" y="10"/>
                </a:cubicBezTo>
                <a:cubicBezTo>
                  <a:pt x="610" y="10"/>
                  <a:pt x="611" y="9"/>
                  <a:pt x="611" y="9"/>
                </a:cubicBezTo>
                <a:cubicBezTo>
                  <a:pt x="611" y="9"/>
                  <a:pt x="611" y="9"/>
                  <a:pt x="611" y="8"/>
                </a:cubicBezTo>
                <a:cubicBezTo>
                  <a:pt x="610" y="8"/>
                  <a:pt x="610" y="8"/>
                  <a:pt x="610" y="8"/>
                </a:cubicBezTo>
                <a:cubicBezTo>
                  <a:pt x="609" y="8"/>
                  <a:pt x="608" y="8"/>
                  <a:pt x="607" y="8"/>
                </a:cubicBezTo>
                <a:cubicBezTo>
                  <a:pt x="607" y="9"/>
                  <a:pt x="607" y="9"/>
                  <a:pt x="606" y="9"/>
                </a:cubicBezTo>
                <a:cubicBezTo>
                  <a:pt x="606" y="9"/>
                  <a:pt x="606" y="9"/>
                  <a:pt x="605" y="9"/>
                </a:cubicBezTo>
                <a:cubicBezTo>
                  <a:pt x="605" y="9"/>
                  <a:pt x="605" y="10"/>
                  <a:pt x="604" y="10"/>
                </a:cubicBezTo>
                <a:cubicBezTo>
                  <a:pt x="605" y="10"/>
                  <a:pt x="605" y="10"/>
                  <a:pt x="605" y="10"/>
                </a:cubicBezTo>
                <a:cubicBezTo>
                  <a:pt x="606" y="10"/>
                  <a:pt x="606" y="10"/>
                  <a:pt x="606" y="10"/>
                </a:cubicBezTo>
                <a:cubicBezTo>
                  <a:pt x="607" y="10"/>
                  <a:pt x="607" y="10"/>
                  <a:pt x="607" y="10"/>
                </a:cubicBezTo>
                <a:cubicBezTo>
                  <a:pt x="607" y="10"/>
                  <a:pt x="606" y="11"/>
                  <a:pt x="606" y="11"/>
                </a:cubicBezTo>
                <a:cubicBezTo>
                  <a:pt x="605" y="11"/>
                  <a:pt x="605" y="11"/>
                  <a:pt x="605" y="11"/>
                </a:cubicBezTo>
                <a:cubicBezTo>
                  <a:pt x="605" y="11"/>
                  <a:pt x="606" y="11"/>
                  <a:pt x="606" y="11"/>
                </a:cubicBezTo>
                <a:cubicBezTo>
                  <a:pt x="606" y="12"/>
                  <a:pt x="607" y="12"/>
                  <a:pt x="607" y="12"/>
                </a:cubicBezTo>
                <a:cubicBezTo>
                  <a:pt x="607" y="12"/>
                  <a:pt x="607" y="12"/>
                  <a:pt x="607" y="12"/>
                </a:cubicBezTo>
                <a:cubicBezTo>
                  <a:pt x="607" y="12"/>
                  <a:pt x="607" y="13"/>
                  <a:pt x="607" y="13"/>
                </a:cubicBezTo>
                <a:cubicBezTo>
                  <a:pt x="607" y="13"/>
                  <a:pt x="608" y="13"/>
                  <a:pt x="608" y="13"/>
                </a:cubicBezTo>
                <a:cubicBezTo>
                  <a:pt x="608" y="13"/>
                  <a:pt x="609" y="13"/>
                  <a:pt x="609" y="13"/>
                </a:cubicBezTo>
                <a:cubicBezTo>
                  <a:pt x="609" y="13"/>
                  <a:pt x="609" y="14"/>
                  <a:pt x="609" y="14"/>
                </a:cubicBezTo>
                <a:cubicBezTo>
                  <a:pt x="609" y="14"/>
                  <a:pt x="608" y="14"/>
                  <a:pt x="608" y="14"/>
                </a:cubicBezTo>
                <a:cubicBezTo>
                  <a:pt x="608" y="14"/>
                  <a:pt x="608" y="14"/>
                  <a:pt x="608" y="14"/>
                </a:cubicBezTo>
                <a:cubicBezTo>
                  <a:pt x="607" y="14"/>
                  <a:pt x="606" y="13"/>
                  <a:pt x="605" y="13"/>
                </a:cubicBezTo>
                <a:cubicBezTo>
                  <a:pt x="605" y="13"/>
                  <a:pt x="605" y="13"/>
                  <a:pt x="605" y="13"/>
                </a:cubicBezTo>
                <a:cubicBezTo>
                  <a:pt x="605" y="13"/>
                  <a:pt x="605" y="14"/>
                  <a:pt x="605" y="14"/>
                </a:cubicBezTo>
                <a:cubicBezTo>
                  <a:pt x="605" y="14"/>
                  <a:pt x="605" y="14"/>
                  <a:pt x="605" y="14"/>
                </a:cubicBezTo>
                <a:cubicBezTo>
                  <a:pt x="605" y="14"/>
                  <a:pt x="604" y="14"/>
                  <a:pt x="604" y="14"/>
                </a:cubicBezTo>
                <a:cubicBezTo>
                  <a:pt x="604" y="14"/>
                  <a:pt x="604" y="14"/>
                  <a:pt x="604" y="13"/>
                </a:cubicBezTo>
                <a:cubicBezTo>
                  <a:pt x="604" y="13"/>
                  <a:pt x="604" y="13"/>
                  <a:pt x="604" y="12"/>
                </a:cubicBezTo>
                <a:cubicBezTo>
                  <a:pt x="604" y="12"/>
                  <a:pt x="603" y="12"/>
                  <a:pt x="603" y="12"/>
                </a:cubicBezTo>
                <a:cubicBezTo>
                  <a:pt x="603" y="11"/>
                  <a:pt x="603" y="11"/>
                  <a:pt x="603" y="11"/>
                </a:cubicBezTo>
                <a:cubicBezTo>
                  <a:pt x="603" y="11"/>
                  <a:pt x="602" y="11"/>
                  <a:pt x="602" y="11"/>
                </a:cubicBezTo>
                <a:cubicBezTo>
                  <a:pt x="602" y="11"/>
                  <a:pt x="602" y="11"/>
                  <a:pt x="601" y="11"/>
                </a:cubicBezTo>
                <a:cubicBezTo>
                  <a:pt x="601" y="11"/>
                  <a:pt x="601" y="10"/>
                  <a:pt x="600" y="10"/>
                </a:cubicBezTo>
                <a:cubicBezTo>
                  <a:pt x="600" y="10"/>
                  <a:pt x="600" y="10"/>
                  <a:pt x="599" y="10"/>
                </a:cubicBezTo>
                <a:cubicBezTo>
                  <a:pt x="599" y="11"/>
                  <a:pt x="599" y="11"/>
                  <a:pt x="599" y="11"/>
                </a:cubicBezTo>
                <a:cubicBezTo>
                  <a:pt x="599" y="12"/>
                  <a:pt x="599" y="12"/>
                  <a:pt x="599" y="12"/>
                </a:cubicBezTo>
                <a:cubicBezTo>
                  <a:pt x="599" y="13"/>
                  <a:pt x="599" y="13"/>
                  <a:pt x="599" y="14"/>
                </a:cubicBezTo>
                <a:cubicBezTo>
                  <a:pt x="600" y="14"/>
                  <a:pt x="600" y="14"/>
                  <a:pt x="600" y="15"/>
                </a:cubicBezTo>
                <a:cubicBezTo>
                  <a:pt x="600" y="15"/>
                  <a:pt x="600" y="15"/>
                  <a:pt x="601" y="16"/>
                </a:cubicBezTo>
                <a:cubicBezTo>
                  <a:pt x="601" y="16"/>
                  <a:pt x="601" y="16"/>
                  <a:pt x="601" y="16"/>
                </a:cubicBezTo>
                <a:cubicBezTo>
                  <a:pt x="601" y="16"/>
                  <a:pt x="601" y="17"/>
                  <a:pt x="601" y="17"/>
                </a:cubicBezTo>
                <a:cubicBezTo>
                  <a:pt x="601" y="17"/>
                  <a:pt x="601" y="17"/>
                  <a:pt x="600" y="17"/>
                </a:cubicBezTo>
                <a:cubicBezTo>
                  <a:pt x="600" y="17"/>
                  <a:pt x="600" y="17"/>
                  <a:pt x="600" y="17"/>
                </a:cubicBezTo>
                <a:cubicBezTo>
                  <a:pt x="600" y="16"/>
                  <a:pt x="599" y="16"/>
                  <a:pt x="599" y="16"/>
                </a:cubicBezTo>
                <a:cubicBezTo>
                  <a:pt x="599" y="16"/>
                  <a:pt x="599" y="16"/>
                  <a:pt x="599" y="15"/>
                </a:cubicBezTo>
                <a:cubicBezTo>
                  <a:pt x="599" y="15"/>
                  <a:pt x="599" y="15"/>
                  <a:pt x="599" y="15"/>
                </a:cubicBezTo>
                <a:cubicBezTo>
                  <a:pt x="598" y="14"/>
                  <a:pt x="598" y="14"/>
                  <a:pt x="598" y="14"/>
                </a:cubicBezTo>
                <a:cubicBezTo>
                  <a:pt x="598" y="14"/>
                  <a:pt x="598" y="13"/>
                  <a:pt x="598" y="13"/>
                </a:cubicBezTo>
                <a:cubicBezTo>
                  <a:pt x="597" y="13"/>
                  <a:pt x="596" y="13"/>
                  <a:pt x="595" y="12"/>
                </a:cubicBezTo>
                <a:cubicBezTo>
                  <a:pt x="595" y="13"/>
                  <a:pt x="595" y="13"/>
                  <a:pt x="594" y="13"/>
                </a:cubicBezTo>
                <a:cubicBezTo>
                  <a:pt x="594" y="13"/>
                  <a:pt x="594" y="13"/>
                  <a:pt x="594" y="13"/>
                </a:cubicBezTo>
                <a:cubicBezTo>
                  <a:pt x="594" y="14"/>
                  <a:pt x="594" y="14"/>
                  <a:pt x="594" y="14"/>
                </a:cubicBezTo>
                <a:cubicBezTo>
                  <a:pt x="594" y="14"/>
                  <a:pt x="594" y="14"/>
                  <a:pt x="594" y="15"/>
                </a:cubicBezTo>
                <a:cubicBezTo>
                  <a:pt x="595" y="15"/>
                  <a:pt x="596" y="15"/>
                  <a:pt x="597" y="15"/>
                </a:cubicBezTo>
                <a:cubicBezTo>
                  <a:pt x="597" y="15"/>
                  <a:pt x="597" y="16"/>
                  <a:pt x="597" y="16"/>
                </a:cubicBezTo>
                <a:cubicBezTo>
                  <a:pt x="596" y="16"/>
                  <a:pt x="595" y="16"/>
                  <a:pt x="595" y="16"/>
                </a:cubicBezTo>
                <a:cubicBezTo>
                  <a:pt x="594" y="16"/>
                  <a:pt x="594" y="16"/>
                  <a:pt x="594" y="16"/>
                </a:cubicBezTo>
                <a:cubicBezTo>
                  <a:pt x="594" y="16"/>
                  <a:pt x="593" y="16"/>
                  <a:pt x="593" y="16"/>
                </a:cubicBezTo>
                <a:cubicBezTo>
                  <a:pt x="593" y="16"/>
                  <a:pt x="593" y="16"/>
                  <a:pt x="592" y="17"/>
                </a:cubicBezTo>
                <a:cubicBezTo>
                  <a:pt x="593" y="17"/>
                  <a:pt x="593" y="17"/>
                  <a:pt x="593" y="18"/>
                </a:cubicBezTo>
                <a:cubicBezTo>
                  <a:pt x="593" y="18"/>
                  <a:pt x="593" y="18"/>
                  <a:pt x="593" y="18"/>
                </a:cubicBezTo>
                <a:cubicBezTo>
                  <a:pt x="593" y="18"/>
                  <a:pt x="592" y="19"/>
                  <a:pt x="592" y="19"/>
                </a:cubicBezTo>
                <a:cubicBezTo>
                  <a:pt x="592" y="19"/>
                  <a:pt x="592" y="19"/>
                  <a:pt x="592" y="19"/>
                </a:cubicBezTo>
                <a:cubicBezTo>
                  <a:pt x="591" y="20"/>
                  <a:pt x="591" y="20"/>
                  <a:pt x="591" y="20"/>
                </a:cubicBezTo>
                <a:cubicBezTo>
                  <a:pt x="590" y="20"/>
                  <a:pt x="590" y="20"/>
                  <a:pt x="590" y="20"/>
                </a:cubicBezTo>
                <a:cubicBezTo>
                  <a:pt x="590" y="19"/>
                  <a:pt x="590" y="19"/>
                  <a:pt x="590" y="19"/>
                </a:cubicBezTo>
                <a:cubicBezTo>
                  <a:pt x="590" y="19"/>
                  <a:pt x="590" y="19"/>
                  <a:pt x="589" y="19"/>
                </a:cubicBezTo>
                <a:cubicBezTo>
                  <a:pt x="589" y="19"/>
                  <a:pt x="589" y="20"/>
                  <a:pt x="589" y="20"/>
                </a:cubicBezTo>
                <a:cubicBezTo>
                  <a:pt x="588" y="20"/>
                  <a:pt x="588" y="20"/>
                  <a:pt x="588" y="20"/>
                </a:cubicBezTo>
                <a:cubicBezTo>
                  <a:pt x="588" y="20"/>
                  <a:pt x="587" y="19"/>
                  <a:pt x="587" y="19"/>
                </a:cubicBezTo>
                <a:cubicBezTo>
                  <a:pt x="587" y="19"/>
                  <a:pt x="587" y="18"/>
                  <a:pt x="588" y="18"/>
                </a:cubicBezTo>
                <a:cubicBezTo>
                  <a:pt x="587" y="18"/>
                  <a:pt x="587" y="18"/>
                  <a:pt x="587" y="17"/>
                </a:cubicBezTo>
                <a:cubicBezTo>
                  <a:pt x="587" y="17"/>
                  <a:pt x="586" y="17"/>
                  <a:pt x="585" y="17"/>
                </a:cubicBezTo>
                <a:cubicBezTo>
                  <a:pt x="585" y="17"/>
                  <a:pt x="585" y="17"/>
                  <a:pt x="585" y="17"/>
                </a:cubicBezTo>
                <a:cubicBezTo>
                  <a:pt x="585" y="17"/>
                  <a:pt x="585" y="17"/>
                  <a:pt x="585" y="16"/>
                </a:cubicBezTo>
                <a:cubicBezTo>
                  <a:pt x="585" y="16"/>
                  <a:pt x="585" y="16"/>
                  <a:pt x="585" y="16"/>
                </a:cubicBezTo>
                <a:cubicBezTo>
                  <a:pt x="585" y="16"/>
                  <a:pt x="585" y="16"/>
                  <a:pt x="584" y="16"/>
                </a:cubicBezTo>
                <a:cubicBezTo>
                  <a:pt x="584" y="16"/>
                  <a:pt x="583" y="16"/>
                  <a:pt x="582" y="16"/>
                </a:cubicBezTo>
                <a:cubicBezTo>
                  <a:pt x="582" y="16"/>
                  <a:pt x="582" y="16"/>
                  <a:pt x="582" y="16"/>
                </a:cubicBezTo>
                <a:cubicBezTo>
                  <a:pt x="581" y="16"/>
                  <a:pt x="581" y="16"/>
                  <a:pt x="580" y="16"/>
                </a:cubicBezTo>
                <a:cubicBezTo>
                  <a:pt x="580" y="16"/>
                  <a:pt x="580" y="17"/>
                  <a:pt x="580" y="17"/>
                </a:cubicBezTo>
                <a:cubicBezTo>
                  <a:pt x="580" y="17"/>
                  <a:pt x="581" y="17"/>
                  <a:pt x="581" y="17"/>
                </a:cubicBezTo>
                <a:cubicBezTo>
                  <a:pt x="581" y="18"/>
                  <a:pt x="581" y="18"/>
                  <a:pt x="581" y="19"/>
                </a:cubicBezTo>
                <a:cubicBezTo>
                  <a:pt x="581" y="19"/>
                  <a:pt x="581" y="19"/>
                  <a:pt x="581" y="19"/>
                </a:cubicBezTo>
                <a:cubicBezTo>
                  <a:pt x="580" y="19"/>
                  <a:pt x="580" y="19"/>
                  <a:pt x="579" y="19"/>
                </a:cubicBezTo>
                <a:cubicBezTo>
                  <a:pt x="579" y="19"/>
                  <a:pt x="579" y="19"/>
                  <a:pt x="578" y="19"/>
                </a:cubicBezTo>
                <a:cubicBezTo>
                  <a:pt x="578" y="19"/>
                  <a:pt x="578" y="19"/>
                  <a:pt x="577" y="19"/>
                </a:cubicBezTo>
                <a:cubicBezTo>
                  <a:pt x="577" y="19"/>
                  <a:pt x="576" y="19"/>
                  <a:pt x="576" y="19"/>
                </a:cubicBezTo>
                <a:cubicBezTo>
                  <a:pt x="576" y="20"/>
                  <a:pt x="576" y="20"/>
                  <a:pt x="576" y="20"/>
                </a:cubicBezTo>
                <a:cubicBezTo>
                  <a:pt x="576" y="20"/>
                  <a:pt x="576" y="20"/>
                  <a:pt x="577" y="20"/>
                </a:cubicBezTo>
                <a:cubicBezTo>
                  <a:pt x="577" y="21"/>
                  <a:pt x="577" y="21"/>
                  <a:pt x="577" y="21"/>
                </a:cubicBezTo>
                <a:cubicBezTo>
                  <a:pt x="578" y="21"/>
                  <a:pt x="578" y="21"/>
                  <a:pt x="578" y="21"/>
                </a:cubicBezTo>
                <a:cubicBezTo>
                  <a:pt x="578" y="22"/>
                  <a:pt x="578" y="22"/>
                  <a:pt x="578" y="22"/>
                </a:cubicBezTo>
                <a:cubicBezTo>
                  <a:pt x="579" y="22"/>
                  <a:pt x="579" y="22"/>
                  <a:pt x="579" y="23"/>
                </a:cubicBezTo>
                <a:cubicBezTo>
                  <a:pt x="579" y="23"/>
                  <a:pt x="579" y="22"/>
                  <a:pt x="580" y="22"/>
                </a:cubicBezTo>
                <a:cubicBezTo>
                  <a:pt x="580" y="23"/>
                  <a:pt x="580" y="23"/>
                  <a:pt x="581" y="23"/>
                </a:cubicBezTo>
                <a:cubicBezTo>
                  <a:pt x="581" y="24"/>
                  <a:pt x="581" y="24"/>
                  <a:pt x="581" y="24"/>
                </a:cubicBezTo>
                <a:cubicBezTo>
                  <a:pt x="581" y="24"/>
                  <a:pt x="581" y="24"/>
                  <a:pt x="581" y="25"/>
                </a:cubicBezTo>
                <a:cubicBezTo>
                  <a:pt x="581" y="24"/>
                  <a:pt x="581" y="24"/>
                  <a:pt x="581" y="24"/>
                </a:cubicBezTo>
                <a:cubicBezTo>
                  <a:pt x="580" y="24"/>
                  <a:pt x="580" y="24"/>
                  <a:pt x="580" y="24"/>
                </a:cubicBezTo>
                <a:cubicBezTo>
                  <a:pt x="580" y="24"/>
                  <a:pt x="579" y="25"/>
                  <a:pt x="579" y="25"/>
                </a:cubicBezTo>
                <a:cubicBezTo>
                  <a:pt x="579" y="25"/>
                  <a:pt x="579" y="25"/>
                  <a:pt x="579" y="25"/>
                </a:cubicBezTo>
                <a:cubicBezTo>
                  <a:pt x="578" y="24"/>
                  <a:pt x="578" y="24"/>
                  <a:pt x="578" y="24"/>
                </a:cubicBezTo>
                <a:cubicBezTo>
                  <a:pt x="578" y="24"/>
                  <a:pt x="579" y="24"/>
                  <a:pt x="579" y="24"/>
                </a:cubicBezTo>
                <a:cubicBezTo>
                  <a:pt x="579" y="23"/>
                  <a:pt x="578" y="23"/>
                  <a:pt x="578" y="23"/>
                </a:cubicBezTo>
                <a:cubicBezTo>
                  <a:pt x="578" y="23"/>
                  <a:pt x="578" y="23"/>
                  <a:pt x="578" y="24"/>
                </a:cubicBezTo>
                <a:cubicBezTo>
                  <a:pt x="577" y="24"/>
                  <a:pt x="577" y="24"/>
                  <a:pt x="577" y="24"/>
                </a:cubicBezTo>
                <a:cubicBezTo>
                  <a:pt x="577" y="24"/>
                  <a:pt x="577" y="24"/>
                  <a:pt x="577" y="25"/>
                </a:cubicBezTo>
                <a:cubicBezTo>
                  <a:pt x="577" y="25"/>
                  <a:pt x="577" y="25"/>
                  <a:pt x="577" y="25"/>
                </a:cubicBezTo>
                <a:cubicBezTo>
                  <a:pt x="577" y="25"/>
                  <a:pt x="576" y="25"/>
                  <a:pt x="576" y="25"/>
                </a:cubicBezTo>
                <a:cubicBezTo>
                  <a:pt x="576" y="25"/>
                  <a:pt x="576" y="25"/>
                  <a:pt x="576" y="25"/>
                </a:cubicBezTo>
                <a:cubicBezTo>
                  <a:pt x="576" y="24"/>
                  <a:pt x="576" y="24"/>
                  <a:pt x="576" y="24"/>
                </a:cubicBezTo>
                <a:cubicBezTo>
                  <a:pt x="576" y="23"/>
                  <a:pt x="576" y="23"/>
                  <a:pt x="576" y="23"/>
                </a:cubicBezTo>
                <a:cubicBezTo>
                  <a:pt x="575" y="23"/>
                  <a:pt x="575" y="22"/>
                  <a:pt x="574" y="22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3" y="23"/>
                  <a:pt x="573" y="23"/>
                  <a:pt x="573" y="24"/>
                </a:cubicBezTo>
                <a:cubicBezTo>
                  <a:pt x="572" y="24"/>
                  <a:pt x="572" y="24"/>
                  <a:pt x="572" y="24"/>
                </a:cubicBezTo>
                <a:cubicBezTo>
                  <a:pt x="572" y="24"/>
                  <a:pt x="572" y="25"/>
                  <a:pt x="572" y="25"/>
                </a:cubicBezTo>
                <a:cubicBezTo>
                  <a:pt x="572" y="25"/>
                  <a:pt x="572" y="25"/>
                  <a:pt x="573" y="25"/>
                </a:cubicBezTo>
                <a:cubicBezTo>
                  <a:pt x="572" y="25"/>
                  <a:pt x="572" y="25"/>
                  <a:pt x="572" y="26"/>
                </a:cubicBezTo>
                <a:cubicBezTo>
                  <a:pt x="572" y="25"/>
                  <a:pt x="572" y="25"/>
                  <a:pt x="571" y="25"/>
                </a:cubicBezTo>
                <a:cubicBezTo>
                  <a:pt x="571" y="25"/>
                  <a:pt x="571" y="25"/>
                  <a:pt x="571" y="25"/>
                </a:cubicBezTo>
                <a:cubicBezTo>
                  <a:pt x="571" y="25"/>
                  <a:pt x="571" y="24"/>
                  <a:pt x="571" y="24"/>
                </a:cubicBezTo>
                <a:cubicBezTo>
                  <a:pt x="571" y="24"/>
                  <a:pt x="571" y="24"/>
                  <a:pt x="571" y="24"/>
                </a:cubicBezTo>
                <a:cubicBezTo>
                  <a:pt x="571" y="23"/>
                  <a:pt x="571" y="23"/>
                  <a:pt x="571" y="23"/>
                </a:cubicBezTo>
                <a:cubicBezTo>
                  <a:pt x="570" y="23"/>
                  <a:pt x="570" y="23"/>
                  <a:pt x="569" y="23"/>
                </a:cubicBezTo>
                <a:cubicBezTo>
                  <a:pt x="569" y="22"/>
                  <a:pt x="569" y="22"/>
                  <a:pt x="569" y="22"/>
                </a:cubicBezTo>
                <a:cubicBezTo>
                  <a:pt x="569" y="22"/>
                  <a:pt x="569" y="21"/>
                  <a:pt x="569" y="21"/>
                </a:cubicBezTo>
                <a:cubicBezTo>
                  <a:pt x="569" y="21"/>
                  <a:pt x="569" y="21"/>
                  <a:pt x="568" y="21"/>
                </a:cubicBezTo>
                <a:cubicBezTo>
                  <a:pt x="568" y="22"/>
                  <a:pt x="567" y="22"/>
                  <a:pt x="567" y="22"/>
                </a:cubicBezTo>
                <a:cubicBezTo>
                  <a:pt x="567" y="22"/>
                  <a:pt x="566" y="22"/>
                  <a:pt x="566" y="22"/>
                </a:cubicBezTo>
                <a:cubicBezTo>
                  <a:pt x="566" y="23"/>
                  <a:pt x="566" y="23"/>
                  <a:pt x="566" y="23"/>
                </a:cubicBezTo>
                <a:cubicBezTo>
                  <a:pt x="566" y="24"/>
                  <a:pt x="566" y="24"/>
                  <a:pt x="566" y="24"/>
                </a:cubicBezTo>
                <a:cubicBezTo>
                  <a:pt x="566" y="24"/>
                  <a:pt x="566" y="24"/>
                  <a:pt x="566" y="24"/>
                </a:cubicBezTo>
                <a:cubicBezTo>
                  <a:pt x="566" y="24"/>
                  <a:pt x="566" y="25"/>
                  <a:pt x="566" y="25"/>
                </a:cubicBezTo>
                <a:cubicBezTo>
                  <a:pt x="566" y="25"/>
                  <a:pt x="566" y="25"/>
                  <a:pt x="565" y="25"/>
                </a:cubicBezTo>
                <a:cubicBezTo>
                  <a:pt x="565" y="25"/>
                  <a:pt x="565" y="25"/>
                  <a:pt x="565" y="25"/>
                </a:cubicBezTo>
                <a:cubicBezTo>
                  <a:pt x="565" y="25"/>
                  <a:pt x="565" y="25"/>
                  <a:pt x="566" y="24"/>
                </a:cubicBezTo>
                <a:cubicBezTo>
                  <a:pt x="565" y="24"/>
                  <a:pt x="565" y="24"/>
                  <a:pt x="565" y="24"/>
                </a:cubicBezTo>
                <a:cubicBezTo>
                  <a:pt x="565" y="24"/>
                  <a:pt x="565" y="25"/>
                  <a:pt x="564" y="25"/>
                </a:cubicBezTo>
                <a:cubicBezTo>
                  <a:pt x="564" y="25"/>
                  <a:pt x="564" y="25"/>
                  <a:pt x="564" y="26"/>
                </a:cubicBezTo>
                <a:cubicBezTo>
                  <a:pt x="564" y="26"/>
                  <a:pt x="563" y="26"/>
                  <a:pt x="563" y="26"/>
                </a:cubicBezTo>
                <a:cubicBezTo>
                  <a:pt x="563" y="26"/>
                  <a:pt x="563" y="25"/>
                  <a:pt x="563" y="24"/>
                </a:cubicBezTo>
                <a:cubicBezTo>
                  <a:pt x="563" y="24"/>
                  <a:pt x="563" y="24"/>
                  <a:pt x="563" y="24"/>
                </a:cubicBezTo>
                <a:cubicBezTo>
                  <a:pt x="563" y="24"/>
                  <a:pt x="563" y="24"/>
                  <a:pt x="563" y="24"/>
                </a:cubicBezTo>
                <a:cubicBezTo>
                  <a:pt x="563" y="24"/>
                  <a:pt x="562" y="24"/>
                  <a:pt x="562" y="24"/>
                </a:cubicBezTo>
                <a:cubicBezTo>
                  <a:pt x="562" y="24"/>
                  <a:pt x="562" y="24"/>
                  <a:pt x="561" y="24"/>
                </a:cubicBezTo>
                <a:cubicBezTo>
                  <a:pt x="561" y="24"/>
                  <a:pt x="560" y="24"/>
                  <a:pt x="559" y="24"/>
                </a:cubicBezTo>
                <a:cubicBezTo>
                  <a:pt x="558" y="25"/>
                  <a:pt x="558" y="25"/>
                  <a:pt x="557" y="25"/>
                </a:cubicBezTo>
                <a:cubicBezTo>
                  <a:pt x="557" y="25"/>
                  <a:pt x="556" y="25"/>
                  <a:pt x="556" y="25"/>
                </a:cubicBezTo>
                <a:cubicBezTo>
                  <a:pt x="556" y="26"/>
                  <a:pt x="555" y="26"/>
                  <a:pt x="555" y="26"/>
                </a:cubicBezTo>
                <a:cubicBezTo>
                  <a:pt x="555" y="26"/>
                  <a:pt x="554" y="27"/>
                  <a:pt x="554" y="27"/>
                </a:cubicBezTo>
                <a:cubicBezTo>
                  <a:pt x="554" y="27"/>
                  <a:pt x="553" y="27"/>
                  <a:pt x="553" y="27"/>
                </a:cubicBezTo>
                <a:cubicBezTo>
                  <a:pt x="553" y="27"/>
                  <a:pt x="552" y="28"/>
                  <a:pt x="552" y="28"/>
                </a:cubicBezTo>
                <a:cubicBezTo>
                  <a:pt x="552" y="28"/>
                  <a:pt x="552" y="28"/>
                  <a:pt x="552" y="29"/>
                </a:cubicBezTo>
                <a:cubicBezTo>
                  <a:pt x="552" y="29"/>
                  <a:pt x="551" y="28"/>
                  <a:pt x="551" y="28"/>
                </a:cubicBezTo>
                <a:cubicBezTo>
                  <a:pt x="551" y="29"/>
                  <a:pt x="551" y="29"/>
                  <a:pt x="551" y="29"/>
                </a:cubicBezTo>
                <a:cubicBezTo>
                  <a:pt x="551" y="29"/>
                  <a:pt x="551" y="29"/>
                  <a:pt x="551" y="29"/>
                </a:cubicBezTo>
                <a:cubicBezTo>
                  <a:pt x="551" y="29"/>
                  <a:pt x="551" y="29"/>
                  <a:pt x="552" y="29"/>
                </a:cubicBezTo>
                <a:close/>
                <a:moveTo>
                  <a:pt x="602" y="296"/>
                </a:moveTo>
                <a:cubicBezTo>
                  <a:pt x="602" y="296"/>
                  <a:pt x="603" y="296"/>
                  <a:pt x="603" y="296"/>
                </a:cubicBezTo>
                <a:cubicBezTo>
                  <a:pt x="603" y="296"/>
                  <a:pt x="603" y="296"/>
                  <a:pt x="604" y="296"/>
                </a:cubicBezTo>
                <a:cubicBezTo>
                  <a:pt x="604" y="295"/>
                  <a:pt x="603" y="295"/>
                  <a:pt x="603" y="295"/>
                </a:cubicBezTo>
                <a:cubicBezTo>
                  <a:pt x="603" y="295"/>
                  <a:pt x="603" y="295"/>
                  <a:pt x="603" y="295"/>
                </a:cubicBezTo>
                <a:cubicBezTo>
                  <a:pt x="603" y="295"/>
                  <a:pt x="602" y="295"/>
                  <a:pt x="602" y="295"/>
                </a:cubicBezTo>
                <a:cubicBezTo>
                  <a:pt x="602" y="295"/>
                  <a:pt x="601" y="295"/>
                  <a:pt x="601" y="295"/>
                </a:cubicBezTo>
                <a:cubicBezTo>
                  <a:pt x="601" y="295"/>
                  <a:pt x="601" y="295"/>
                  <a:pt x="601" y="295"/>
                </a:cubicBezTo>
                <a:cubicBezTo>
                  <a:pt x="601" y="295"/>
                  <a:pt x="601" y="296"/>
                  <a:pt x="601" y="296"/>
                </a:cubicBezTo>
                <a:cubicBezTo>
                  <a:pt x="601" y="296"/>
                  <a:pt x="601" y="296"/>
                  <a:pt x="600" y="295"/>
                </a:cubicBezTo>
                <a:cubicBezTo>
                  <a:pt x="600" y="295"/>
                  <a:pt x="601" y="295"/>
                  <a:pt x="601" y="295"/>
                </a:cubicBezTo>
                <a:cubicBezTo>
                  <a:pt x="601" y="295"/>
                  <a:pt x="600" y="295"/>
                  <a:pt x="600" y="294"/>
                </a:cubicBezTo>
                <a:cubicBezTo>
                  <a:pt x="600" y="294"/>
                  <a:pt x="599" y="294"/>
                  <a:pt x="599" y="294"/>
                </a:cubicBezTo>
                <a:cubicBezTo>
                  <a:pt x="599" y="294"/>
                  <a:pt x="599" y="294"/>
                  <a:pt x="600" y="294"/>
                </a:cubicBezTo>
                <a:cubicBezTo>
                  <a:pt x="600" y="293"/>
                  <a:pt x="600" y="293"/>
                  <a:pt x="601" y="292"/>
                </a:cubicBezTo>
                <a:cubicBezTo>
                  <a:pt x="601" y="292"/>
                  <a:pt x="601" y="292"/>
                  <a:pt x="600" y="292"/>
                </a:cubicBezTo>
                <a:cubicBezTo>
                  <a:pt x="600" y="292"/>
                  <a:pt x="600" y="292"/>
                  <a:pt x="600" y="292"/>
                </a:cubicBezTo>
                <a:cubicBezTo>
                  <a:pt x="600" y="292"/>
                  <a:pt x="600" y="291"/>
                  <a:pt x="600" y="291"/>
                </a:cubicBezTo>
                <a:cubicBezTo>
                  <a:pt x="600" y="291"/>
                  <a:pt x="600" y="291"/>
                  <a:pt x="600" y="291"/>
                </a:cubicBezTo>
                <a:cubicBezTo>
                  <a:pt x="599" y="291"/>
                  <a:pt x="599" y="291"/>
                  <a:pt x="599" y="291"/>
                </a:cubicBezTo>
                <a:cubicBezTo>
                  <a:pt x="599" y="291"/>
                  <a:pt x="599" y="292"/>
                  <a:pt x="599" y="292"/>
                </a:cubicBezTo>
                <a:cubicBezTo>
                  <a:pt x="598" y="292"/>
                  <a:pt x="598" y="293"/>
                  <a:pt x="597" y="293"/>
                </a:cubicBezTo>
                <a:cubicBezTo>
                  <a:pt x="597" y="293"/>
                  <a:pt x="597" y="293"/>
                  <a:pt x="597" y="294"/>
                </a:cubicBezTo>
                <a:cubicBezTo>
                  <a:pt x="597" y="294"/>
                  <a:pt x="597" y="294"/>
                  <a:pt x="597" y="294"/>
                </a:cubicBezTo>
                <a:cubicBezTo>
                  <a:pt x="596" y="295"/>
                  <a:pt x="596" y="295"/>
                  <a:pt x="596" y="295"/>
                </a:cubicBezTo>
                <a:cubicBezTo>
                  <a:pt x="595" y="296"/>
                  <a:pt x="595" y="296"/>
                  <a:pt x="594" y="296"/>
                </a:cubicBezTo>
                <a:cubicBezTo>
                  <a:pt x="594" y="297"/>
                  <a:pt x="594" y="297"/>
                  <a:pt x="594" y="297"/>
                </a:cubicBezTo>
                <a:cubicBezTo>
                  <a:pt x="594" y="297"/>
                  <a:pt x="594" y="297"/>
                  <a:pt x="595" y="297"/>
                </a:cubicBezTo>
                <a:cubicBezTo>
                  <a:pt x="595" y="298"/>
                  <a:pt x="595" y="298"/>
                  <a:pt x="595" y="298"/>
                </a:cubicBezTo>
                <a:cubicBezTo>
                  <a:pt x="596" y="298"/>
                  <a:pt x="596" y="298"/>
                  <a:pt x="597" y="298"/>
                </a:cubicBezTo>
                <a:cubicBezTo>
                  <a:pt x="597" y="299"/>
                  <a:pt x="597" y="299"/>
                  <a:pt x="597" y="299"/>
                </a:cubicBezTo>
                <a:cubicBezTo>
                  <a:pt x="597" y="299"/>
                  <a:pt x="597" y="299"/>
                  <a:pt x="597" y="299"/>
                </a:cubicBezTo>
                <a:cubicBezTo>
                  <a:pt x="597" y="298"/>
                  <a:pt x="597" y="298"/>
                  <a:pt x="598" y="298"/>
                </a:cubicBezTo>
                <a:cubicBezTo>
                  <a:pt x="598" y="298"/>
                  <a:pt x="598" y="298"/>
                  <a:pt x="598" y="298"/>
                </a:cubicBezTo>
                <a:cubicBezTo>
                  <a:pt x="598" y="298"/>
                  <a:pt x="598" y="298"/>
                  <a:pt x="598" y="298"/>
                </a:cubicBezTo>
                <a:cubicBezTo>
                  <a:pt x="599" y="298"/>
                  <a:pt x="599" y="298"/>
                  <a:pt x="599" y="298"/>
                </a:cubicBezTo>
                <a:cubicBezTo>
                  <a:pt x="600" y="298"/>
                  <a:pt x="600" y="297"/>
                  <a:pt x="601" y="297"/>
                </a:cubicBezTo>
                <a:cubicBezTo>
                  <a:pt x="601" y="297"/>
                  <a:pt x="602" y="297"/>
                  <a:pt x="602" y="296"/>
                </a:cubicBezTo>
                <a:close/>
                <a:moveTo>
                  <a:pt x="626" y="264"/>
                </a:moveTo>
                <a:cubicBezTo>
                  <a:pt x="626" y="264"/>
                  <a:pt x="626" y="264"/>
                  <a:pt x="625" y="264"/>
                </a:cubicBezTo>
                <a:cubicBezTo>
                  <a:pt x="625" y="264"/>
                  <a:pt x="625" y="264"/>
                  <a:pt x="625" y="264"/>
                </a:cubicBezTo>
                <a:cubicBezTo>
                  <a:pt x="625" y="264"/>
                  <a:pt x="625" y="264"/>
                  <a:pt x="625" y="264"/>
                </a:cubicBezTo>
                <a:cubicBezTo>
                  <a:pt x="625" y="264"/>
                  <a:pt x="625" y="264"/>
                  <a:pt x="624" y="265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3" y="264"/>
                  <a:pt x="623" y="265"/>
                </a:cubicBezTo>
                <a:cubicBezTo>
                  <a:pt x="623" y="265"/>
                  <a:pt x="623" y="265"/>
                  <a:pt x="623" y="265"/>
                </a:cubicBezTo>
                <a:cubicBezTo>
                  <a:pt x="623" y="265"/>
                  <a:pt x="622" y="265"/>
                  <a:pt x="622" y="265"/>
                </a:cubicBezTo>
                <a:cubicBezTo>
                  <a:pt x="622" y="265"/>
                  <a:pt x="622" y="265"/>
                  <a:pt x="622" y="266"/>
                </a:cubicBezTo>
                <a:cubicBezTo>
                  <a:pt x="621" y="266"/>
                  <a:pt x="621" y="266"/>
                  <a:pt x="621" y="266"/>
                </a:cubicBezTo>
                <a:cubicBezTo>
                  <a:pt x="621" y="266"/>
                  <a:pt x="620" y="266"/>
                  <a:pt x="620" y="266"/>
                </a:cubicBezTo>
                <a:cubicBezTo>
                  <a:pt x="620" y="267"/>
                  <a:pt x="620" y="267"/>
                  <a:pt x="619" y="267"/>
                </a:cubicBezTo>
                <a:cubicBezTo>
                  <a:pt x="619" y="267"/>
                  <a:pt x="619" y="267"/>
                  <a:pt x="619" y="268"/>
                </a:cubicBezTo>
                <a:cubicBezTo>
                  <a:pt x="619" y="268"/>
                  <a:pt x="619" y="268"/>
                  <a:pt x="619" y="268"/>
                </a:cubicBezTo>
                <a:cubicBezTo>
                  <a:pt x="619" y="268"/>
                  <a:pt x="618" y="268"/>
                  <a:pt x="618" y="268"/>
                </a:cubicBezTo>
                <a:cubicBezTo>
                  <a:pt x="618" y="268"/>
                  <a:pt x="618" y="268"/>
                  <a:pt x="618" y="268"/>
                </a:cubicBezTo>
                <a:cubicBezTo>
                  <a:pt x="618" y="268"/>
                  <a:pt x="618" y="268"/>
                  <a:pt x="618" y="268"/>
                </a:cubicBezTo>
                <a:cubicBezTo>
                  <a:pt x="618" y="268"/>
                  <a:pt x="618" y="268"/>
                  <a:pt x="619" y="268"/>
                </a:cubicBezTo>
                <a:cubicBezTo>
                  <a:pt x="618" y="269"/>
                  <a:pt x="618" y="269"/>
                  <a:pt x="618" y="269"/>
                </a:cubicBezTo>
                <a:cubicBezTo>
                  <a:pt x="618" y="269"/>
                  <a:pt x="618" y="269"/>
                  <a:pt x="617" y="269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6" y="270"/>
                  <a:pt x="616" y="270"/>
                </a:cubicBezTo>
                <a:cubicBezTo>
                  <a:pt x="616" y="271"/>
                  <a:pt x="616" y="271"/>
                  <a:pt x="616" y="271"/>
                </a:cubicBezTo>
                <a:cubicBezTo>
                  <a:pt x="616" y="271"/>
                  <a:pt x="617" y="271"/>
                  <a:pt x="617" y="271"/>
                </a:cubicBezTo>
                <a:cubicBezTo>
                  <a:pt x="617" y="271"/>
                  <a:pt x="617" y="271"/>
                  <a:pt x="616" y="271"/>
                </a:cubicBezTo>
                <a:cubicBezTo>
                  <a:pt x="616" y="271"/>
                  <a:pt x="616" y="271"/>
                  <a:pt x="616" y="271"/>
                </a:cubicBezTo>
                <a:cubicBezTo>
                  <a:pt x="616" y="272"/>
                  <a:pt x="615" y="272"/>
                  <a:pt x="615" y="272"/>
                </a:cubicBezTo>
                <a:cubicBezTo>
                  <a:pt x="615" y="272"/>
                  <a:pt x="615" y="272"/>
                  <a:pt x="615" y="272"/>
                </a:cubicBezTo>
                <a:cubicBezTo>
                  <a:pt x="615" y="272"/>
                  <a:pt x="615" y="272"/>
                  <a:pt x="616" y="272"/>
                </a:cubicBezTo>
                <a:cubicBezTo>
                  <a:pt x="616" y="272"/>
                  <a:pt x="616" y="272"/>
                  <a:pt x="616" y="272"/>
                </a:cubicBezTo>
                <a:cubicBezTo>
                  <a:pt x="616" y="272"/>
                  <a:pt x="616" y="272"/>
                  <a:pt x="615" y="273"/>
                </a:cubicBezTo>
                <a:cubicBezTo>
                  <a:pt x="615" y="273"/>
                  <a:pt x="615" y="273"/>
                  <a:pt x="615" y="273"/>
                </a:cubicBezTo>
                <a:cubicBezTo>
                  <a:pt x="615" y="273"/>
                  <a:pt x="614" y="273"/>
                  <a:pt x="614" y="273"/>
                </a:cubicBezTo>
                <a:cubicBezTo>
                  <a:pt x="614" y="274"/>
                  <a:pt x="614" y="274"/>
                  <a:pt x="614" y="274"/>
                </a:cubicBezTo>
                <a:cubicBezTo>
                  <a:pt x="614" y="274"/>
                  <a:pt x="614" y="275"/>
                  <a:pt x="613" y="275"/>
                </a:cubicBezTo>
                <a:cubicBezTo>
                  <a:pt x="613" y="275"/>
                  <a:pt x="613" y="275"/>
                  <a:pt x="613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3" y="276"/>
                  <a:pt x="613" y="276"/>
                </a:cubicBezTo>
                <a:cubicBezTo>
                  <a:pt x="613" y="276"/>
                  <a:pt x="613" y="276"/>
                  <a:pt x="613" y="276"/>
                </a:cubicBezTo>
                <a:cubicBezTo>
                  <a:pt x="613" y="276"/>
                  <a:pt x="612" y="276"/>
                  <a:pt x="612" y="277"/>
                </a:cubicBezTo>
                <a:cubicBezTo>
                  <a:pt x="612" y="277"/>
                  <a:pt x="612" y="277"/>
                  <a:pt x="612" y="277"/>
                </a:cubicBezTo>
                <a:cubicBezTo>
                  <a:pt x="612" y="277"/>
                  <a:pt x="612" y="277"/>
                  <a:pt x="612" y="277"/>
                </a:cubicBezTo>
                <a:cubicBezTo>
                  <a:pt x="612" y="277"/>
                  <a:pt x="612" y="277"/>
                  <a:pt x="613" y="277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2" y="278"/>
                  <a:pt x="612" y="279"/>
                  <a:pt x="612" y="279"/>
                </a:cubicBezTo>
                <a:cubicBezTo>
                  <a:pt x="612" y="279"/>
                  <a:pt x="611" y="279"/>
                  <a:pt x="611" y="279"/>
                </a:cubicBezTo>
                <a:cubicBezTo>
                  <a:pt x="611" y="279"/>
                  <a:pt x="611" y="279"/>
                  <a:pt x="611" y="279"/>
                </a:cubicBezTo>
                <a:cubicBezTo>
                  <a:pt x="611" y="279"/>
                  <a:pt x="611" y="279"/>
                  <a:pt x="611" y="279"/>
                </a:cubicBezTo>
                <a:cubicBezTo>
                  <a:pt x="610" y="279"/>
                  <a:pt x="610" y="280"/>
                  <a:pt x="610" y="280"/>
                </a:cubicBezTo>
                <a:cubicBezTo>
                  <a:pt x="610" y="280"/>
                  <a:pt x="610" y="280"/>
                  <a:pt x="610" y="281"/>
                </a:cubicBezTo>
                <a:cubicBezTo>
                  <a:pt x="610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8" y="281"/>
                  <a:pt x="608" y="281"/>
                  <a:pt x="608" y="281"/>
                </a:cubicBezTo>
                <a:cubicBezTo>
                  <a:pt x="608" y="281"/>
                  <a:pt x="608" y="281"/>
                  <a:pt x="608" y="281"/>
                </a:cubicBezTo>
                <a:cubicBezTo>
                  <a:pt x="608" y="280"/>
                  <a:pt x="609" y="280"/>
                  <a:pt x="609" y="280"/>
                </a:cubicBezTo>
                <a:cubicBezTo>
                  <a:pt x="609" y="280"/>
                  <a:pt x="609" y="280"/>
                  <a:pt x="609" y="280"/>
                </a:cubicBezTo>
                <a:cubicBezTo>
                  <a:pt x="609" y="280"/>
                  <a:pt x="609" y="280"/>
                  <a:pt x="609" y="280"/>
                </a:cubicBezTo>
                <a:cubicBezTo>
                  <a:pt x="608" y="280"/>
                  <a:pt x="608" y="280"/>
                  <a:pt x="608" y="281"/>
                </a:cubicBezTo>
                <a:cubicBezTo>
                  <a:pt x="608" y="281"/>
                  <a:pt x="607" y="281"/>
                  <a:pt x="607" y="281"/>
                </a:cubicBezTo>
                <a:cubicBezTo>
                  <a:pt x="607" y="282"/>
                  <a:pt x="607" y="282"/>
                  <a:pt x="606" y="282"/>
                </a:cubicBezTo>
                <a:cubicBezTo>
                  <a:pt x="607" y="282"/>
                  <a:pt x="607" y="282"/>
                  <a:pt x="607" y="282"/>
                </a:cubicBezTo>
                <a:cubicBezTo>
                  <a:pt x="607" y="282"/>
                  <a:pt x="607" y="282"/>
                  <a:pt x="608" y="282"/>
                </a:cubicBezTo>
                <a:cubicBezTo>
                  <a:pt x="608" y="282"/>
                  <a:pt x="609" y="282"/>
                  <a:pt x="609" y="282"/>
                </a:cubicBezTo>
                <a:cubicBezTo>
                  <a:pt x="609" y="281"/>
                  <a:pt x="610" y="281"/>
                  <a:pt x="610" y="281"/>
                </a:cubicBezTo>
                <a:cubicBezTo>
                  <a:pt x="610" y="281"/>
                  <a:pt x="610" y="282"/>
                  <a:pt x="610" y="282"/>
                </a:cubicBezTo>
                <a:cubicBezTo>
                  <a:pt x="609" y="282"/>
                  <a:pt x="609" y="283"/>
                  <a:pt x="609" y="283"/>
                </a:cubicBezTo>
                <a:cubicBezTo>
                  <a:pt x="609" y="283"/>
                  <a:pt x="608" y="283"/>
                  <a:pt x="608" y="284"/>
                </a:cubicBezTo>
                <a:cubicBezTo>
                  <a:pt x="608" y="284"/>
                  <a:pt x="608" y="284"/>
                  <a:pt x="607" y="284"/>
                </a:cubicBezTo>
                <a:cubicBezTo>
                  <a:pt x="607" y="285"/>
                  <a:pt x="607" y="285"/>
                  <a:pt x="606" y="285"/>
                </a:cubicBezTo>
                <a:cubicBezTo>
                  <a:pt x="606" y="285"/>
                  <a:pt x="606" y="285"/>
                  <a:pt x="606" y="285"/>
                </a:cubicBezTo>
                <a:cubicBezTo>
                  <a:pt x="606" y="285"/>
                  <a:pt x="606" y="286"/>
                  <a:pt x="605" y="286"/>
                </a:cubicBezTo>
                <a:cubicBezTo>
                  <a:pt x="606" y="286"/>
                  <a:pt x="606" y="286"/>
                  <a:pt x="606" y="286"/>
                </a:cubicBezTo>
                <a:cubicBezTo>
                  <a:pt x="606" y="286"/>
                  <a:pt x="606" y="286"/>
                  <a:pt x="606" y="287"/>
                </a:cubicBezTo>
                <a:cubicBezTo>
                  <a:pt x="606" y="287"/>
                  <a:pt x="606" y="287"/>
                  <a:pt x="606" y="287"/>
                </a:cubicBezTo>
                <a:cubicBezTo>
                  <a:pt x="606" y="287"/>
                  <a:pt x="606" y="287"/>
                  <a:pt x="607" y="287"/>
                </a:cubicBezTo>
                <a:cubicBezTo>
                  <a:pt x="607" y="287"/>
                  <a:pt x="607" y="287"/>
                  <a:pt x="608" y="287"/>
                </a:cubicBezTo>
                <a:cubicBezTo>
                  <a:pt x="608" y="287"/>
                  <a:pt x="608" y="287"/>
                  <a:pt x="609" y="287"/>
                </a:cubicBezTo>
                <a:cubicBezTo>
                  <a:pt x="609" y="286"/>
                  <a:pt x="609" y="286"/>
                  <a:pt x="609" y="286"/>
                </a:cubicBezTo>
                <a:cubicBezTo>
                  <a:pt x="610" y="286"/>
                  <a:pt x="610" y="286"/>
                  <a:pt x="610" y="286"/>
                </a:cubicBezTo>
                <a:cubicBezTo>
                  <a:pt x="611" y="286"/>
                  <a:pt x="611" y="285"/>
                  <a:pt x="611" y="285"/>
                </a:cubicBezTo>
                <a:cubicBezTo>
                  <a:pt x="611" y="285"/>
                  <a:pt x="611" y="285"/>
                  <a:pt x="611" y="285"/>
                </a:cubicBezTo>
                <a:cubicBezTo>
                  <a:pt x="611" y="285"/>
                  <a:pt x="611" y="285"/>
                  <a:pt x="611" y="285"/>
                </a:cubicBezTo>
                <a:cubicBezTo>
                  <a:pt x="611" y="285"/>
                  <a:pt x="611" y="285"/>
                  <a:pt x="611" y="286"/>
                </a:cubicBezTo>
                <a:cubicBezTo>
                  <a:pt x="611" y="286"/>
                  <a:pt x="612" y="286"/>
                  <a:pt x="612" y="286"/>
                </a:cubicBezTo>
                <a:cubicBezTo>
                  <a:pt x="612" y="285"/>
                  <a:pt x="612" y="285"/>
                  <a:pt x="613" y="285"/>
                </a:cubicBezTo>
                <a:cubicBezTo>
                  <a:pt x="613" y="285"/>
                  <a:pt x="613" y="285"/>
                  <a:pt x="613" y="286"/>
                </a:cubicBezTo>
                <a:cubicBezTo>
                  <a:pt x="614" y="285"/>
                  <a:pt x="614" y="285"/>
                  <a:pt x="615" y="285"/>
                </a:cubicBezTo>
                <a:cubicBezTo>
                  <a:pt x="615" y="285"/>
                  <a:pt x="615" y="285"/>
                  <a:pt x="615" y="285"/>
                </a:cubicBezTo>
                <a:cubicBezTo>
                  <a:pt x="615" y="285"/>
                  <a:pt x="616" y="285"/>
                  <a:pt x="616" y="285"/>
                </a:cubicBezTo>
                <a:cubicBezTo>
                  <a:pt x="616" y="285"/>
                  <a:pt x="616" y="285"/>
                  <a:pt x="616" y="285"/>
                </a:cubicBezTo>
                <a:cubicBezTo>
                  <a:pt x="616" y="285"/>
                  <a:pt x="617" y="285"/>
                  <a:pt x="617" y="285"/>
                </a:cubicBezTo>
                <a:cubicBezTo>
                  <a:pt x="617" y="285"/>
                  <a:pt x="617" y="285"/>
                  <a:pt x="617" y="285"/>
                </a:cubicBezTo>
                <a:cubicBezTo>
                  <a:pt x="617" y="285"/>
                  <a:pt x="617" y="285"/>
                  <a:pt x="618" y="285"/>
                </a:cubicBezTo>
                <a:cubicBezTo>
                  <a:pt x="618" y="285"/>
                  <a:pt x="618" y="285"/>
                  <a:pt x="618" y="285"/>
                </a:cubicBezTo>
                <a:cubicBezTo>
                  <a:pt x="618" y="285"/>
                  <a:pt x="618" y="285"/>
                  <a:pt x="619" y="285"/>
                </a:cubicBezTo>
                <a:cubicBezTo>
                  <a:pt x="619" y="285"/>
                  <a:pt x="619" y="285"/>
                  <a:pt x="619" y="285"/>
                </a:cubicBezTo>
                <a:cubicBezTo>
                  <a:pt x="619" y="285"/>
                  <a:pt x="619" y="285"/>
                  <a:pt x="619" y="285"/>
                </a:cubicBezTo>
                <a:cubicBezTo>
                  <a:pt x="619" y="285"/>
                  <a:pt x="620" y="285"/>
                  <a:pt x="620" y="285"/>
                </a:cubicBezTo>
                <a:cubicBezTo>
                  <a:pt x="620" y="285"/>
                  <a:pt x="620" y="285"/>
                  <a:pt x="620" y="285"/>
                </a:cubicBezTo>
                <a:cubicBezTo>
                  <a:pt x="620" y="285"/>
                  <a:pt x="620" y="284"/>
                  <a:pt x="620" y="284"/>
                </a:cubicBezTo>
                <a:cubicBezTo>
                  <a:pt x="621" y="284"/>
                  <a:pt x="621" y="284"/>
                  <a:pt x="621" y="284"/>
                </a:cubicBezTo>
                <a:cubicBezTo>
                  <a:pt x="621" y="284"/>
                  <a:pt x="621" y="284"/>
                  <a:pt x="621" y="284"/>
                </a:cubicBez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2" y="284"/>
                  <a:pt x="621" y="284"/>
                </a:cubicBezTo>
                <a:cubicBezTo>
                  <a:pt x="621" y="283"/>
                  <a:pt x="621" y="283"/>
                  <a:pt x="621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4"/>
                </a:cubicBez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2" y="283"/>
                  <a:pt x="622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ubicBezTo>
                  <a:pt x="623" y="284"/>
                  <a:pt x="623" y="284"/>
                  <a:pt x="624" y="284"/>
                </a:cubicBezTo>
                <a:cubicBezTo>
                  <a:pt x="624" y="284"/>
                  <a:pt x="624" y="284"/>
                  <a:pt x="624" y="284"/>
                </a:cubicBezTo>
                <a:cubicBezTo>
                  <a:pt x="624" y="284"/>
                  <a:pt x="624" y="284"/>
                  <a:pt x="624" y="284"/>
                </a:cubicBezTo>
                <a:cubicBezTo>
                  <a:pt x="624" y="284"/>
                  <a:pt x="623" y="284"/>
                  <a:pt x="623" y="284"/>
                </a:cubicBezTo>
                <a:cubicBezTo>
                  <a:pt x="623" y="284"/>
                  <a:pt x="622" y="285"/>
                  <a:pt x="622" y="285"/>
                </a:cubicBezTo>
                <a:cubicBezTo>
                  <a:pt x="622" y="285"/>
                  <a:pt x="622" y="285"/>
                  <a:pt x="622" y="285"/>
                </a:cubicBezTo>
                <a:cubicBezTo>
                  <a:pt x="622" y="285"/>
                  <a:pt x="622" y="285"/>
                  <a:pt x="623" y="285"/>
                </a:cubicBezTo>
                <a:cubicBezTo>
                  <a:pt x="623" y="285"/>
                  <a:pt x="623" y="285"/>
                  <a:pt x="623" y="285"/>
                </a:cubicBezTo>
                <a:cubicBezTo>
                  <a:pt x="623" y="285"/>
                  <a:pt x="623" y="285"/>
                  <a:pt x="623" y="285"/>
                </a:cubicBezTo>
                <a:cubicBezTo>
                  <a:pt x="624" y="285"/>
                  <a:pt x="624" y="285"/>
                  <a:pt x="624" y="285"/>
                </a:cubicBezTo>
                <a:cubicBezTo>
                  <a:pt x="624" y="285"/>
                  <a:pt x="624" y="285"/>
                  <a:pt x="624" y="285"/>
                </a:cubicBezTo>
                <a:cubicBezTo>
                  <a:pt x="624" y="285"/>
                  <a:pt x="625" y="285"/>
                  <a:pt x="625" y="285"/>
                </a:cubicBezTo>
                <a:cubicBezTo>
                  <a:pt x="625" y="284"/>
                  <a:pt x="625" y="284"/>
                  <a:pt x="625" y="284"/>
                </a:cubicBezTo>
                <a:cubicBezTo>
                  <a:pt x="625" y="284"/>
                  <a:pt x="625" y="284"/>
                  <a:pt x="626" y="284"/>
                </a:cubicBezTo>
                <a:cubicBezTo>
                  <a:pt x="625" y="284"/>
                  <a:pt x="625" y="284"/>
                  <a:pt x="625" y="283"/>
                </a:cubicBezTo>
                <a:cubicBezTo>
                  <a:pt x="625" y="283"/>
                  <a:pt x="626" y="284"/>
                  <a:pt x="626" y="284"/>
                </a:cubicBezTo>
                <a:cubicBezTo>
                  <a:pt x="626" y="284"/>
                  <a:pt x="626" y="284"/>
                  <a:pt x="627" y="284"/>
                </a:cubicBezTo>
                <a:cubicBezTo>
                  <a:pt x="627" y="284"/>
                  <a:pt x="627" y="284"/>
                  <a:pt x="627" y="284"/>
                </a:cubicBezTo>
                <a:cubicBezTo>
                  <a:pt x="627" y="284"/>
                  <a:pt x="628" y="284"/>
                  <a:pt x="628" y="284"/>
                </a:cubicBezTo>
                <a:cubicBezTo>
                  <a:pt x="628" y="283"/>
                  <a:pt x="628" y="283"/>
                  <a:pt x="628" y="283"/>
                </a:cubicBezTo>
                <a:cubicBezTo>
                  <a:pt x="628" y="283"/>
                  <a:pt x="629" y="283"/>
                  <a:pt x="629" y="283"/>
                </a:cubicBezTo>
                <a:cubicBezTo>
                  <a:pt x="629" y="283"/>
                  <a:pt x="629" y="283"/>
                  <a:pt x="628" y="284"/>
                </a:cubicBezTo>
                <a:cubicBezTo>
                  <a:pt x="628" y="284"/>
                  <a:pt x="628" y="284"/>
                  <a:pt x="628" y="284"/>
                </a:cubicBezTo>
                <a:cubicBezTo>
                  <a:pt x="628" y="284"/>
                  <a:pt x="628" y="284"/>
                  <a:pt x="627" y="284"/>
                </a:cubicBezTo>
                <a:cubicBezTo>
                  <a:pt x="627" y="284"/>
                  <a:pt x="627" y="284"/>
                  <a:pt x="627" y="284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6"/>
                  <a:pt x="626" y="286"/>
                </a:cubicBezTo>
                <a:cubicBezTo>
                  <a:pt x="626" y="286"/>
                  <a:pt x="625" y="286"/>
                  <a:pt x="625" y="286"/>
                </a:cubicBezTo>
                <a:cubicBezTo>
                  <a:pt x="625" y="286"/>
                  <a:pt x="625" y="286"/>
                  <a:pt x="625" y="286"/>
                </a:cubicBezTo>
                <a:cubicBezTo>
                  <a:pt x="625" y="286"/>
                  <a:pt x="625" y="286"/>
                  <a:pt x="625" y="286"/>
                </a:cubicBezTo>
                <a:cubicBezTo>
                  <a:pt x="624" y="286"/>
                  <a:pt x="624" y="286"/>
                  <a:pt x="624" y="287"/>
                </a:cubicBezTo>
                <a:cubicBezTo>
                  <a:pt x="624" y="287"/>
                  <a:pt x="624" y="287"/>
                  <a:pt x="623" y="287"/>
                </a:cubicBezTo>
                <a:cubicBezTo>
                  <a:pt x="623" y="287"/>
                  <a:pt x="623" y="287"/>
                  <a:pt x="623" y="287"/>
                </a:cubicBezTo>
                <a:cubicBezTo>
                  <a:pt x="623" y="287"/>
                  <a:pt x="623" y="288"/>
                  <a:pt x="623" y="288"/>
                </a:cubicBezTo>
                <a:cubicBezTo>
                  <a:pt x="623" y="288"/>
                  <a:pt x="623" y="288"/>
                  <a:pt x="623" y="288"/>
                </a:cubicBezTo>
                <a:cubicBezTo>
                  <a:pt x="623" y="288"/>
                  <a:pt x="623" y="288"/>
                  <a:pt x="623" y="288"/>
                </a:cubicBezTo>
                <a:cubicBezTo>
                  <a:pt x="623" y="288"/>
                  <a:pt x="624" y="288"/>
                  <a:pt x="624" y="288"/>
                </a:cubicBezTo>
                <a:cubicBezTo>
                  <a:pt x="624" y="288"/>
                  <a:pt x="624" y="288"/>
                  <a:pt x="624" y="288"/>
                </a:cubicBezTo>
                <a:cubicBezTo>
                  <a:pt x="624" y="287"/>
                  <a:pt x="624" y="287"/>
                  <a:pt x="624" y="287"/>
                </a:cubicBezTo>
                <a:cubicBezTo>
                  <a:pt x="624" y="287"/>
                  <a:pt x="625" y="287"/>
                  <a:pt x="625" y="287"/>
                </a:cubicBezTo>
                <a:cubicBezTo>
                  <a:pt x="625" y="287"/>
                  <a:pt x="625" y="288"/>
                  <a:pt x="625" y="288"/>
                </a:cubicBezTo>
                <a:cubicBezTo>
                  <a:pt x="625" y="288"/>
                  <a:pt x="625" y="288"/>
                  <a:pt x="625" y="288"/>
                </a:cubicBezTo>
                <a:cubicBezTo>
                  <a:pt x="625" y="288"/>
                  <a:pt x="626" y="288"/>
                  <a:pt x="626" y="287"/>
                </a:cubicBezTo>
                <a:cubicBezTo>
                  <a:pt x="626" y="287"/>
                  <a:pt x="626" y="287"/>
                  <a:pt x="626" y="287"/>
                </a:cubicBezTo>
                <a:cubicBezTo>
                  <a:pt x="626" y="287"/>
                  <a:pt x="627" y="287"/>
                  <a:pt x="627" y="287"/>
                </a:cubicBezTo>
                <a:cubicBezTo>
                  <a:pt x="627" y="287"/>
                  <a:pt x="627" y="287"/>
                  <a:pt x="627" y="286"/>
                </a:cubicBezTo>
                <a:cubicBezTo>
                  <a:pt x="627" y="286"/>
                  <a:pt x="627" y="286"/>
                  <a:pt x="627" y="286"/>
                </a:cubicBezTo>
                <a:cubicBezTo>
                  <a:pt x="627" y="286"/>
                  <a:pt x="627" y="286"/>
                  <a:pt x="627" y="286"/>
                </a:cubicBezTo>
                <a:cubicBezTo>
                  <a:pt x="627" y="286"/>
                  <a:pt x="627" y="285"/>
                  <a:pt x="627" y="285"/>
                </a:cubicBezTo>
                <a:cubicBezTo>
                  <a:pt x="628" y="285"/>
                  <a:pt x="628" y="285"/>
                  <a:pt x="628" y="285"/>
                </a:cubicBezTo>
                <a:cubicBezTo>
                  <a:pt x="628" y="284"/>
                  <a:pt x="628" y="284"/>
                  <a:pt x="629" y="284"/>
                </a:cubicBezTo>
                <a:cubicBezTo>
                  <a:pt x="629" y="284"/>
                  <a:pt x="629" y="284"/>
                  <a:pt x="629" y="284"/>
                </a:cubicBezTo>
                <a:cubicBezTo>
                  <a:pt x="629" y="284"/>
                  <a:pt x="630" y="284"/>
                  <a:pt x="630" y="284"/>
                </a:cubicBezTo>
                <a:cubicBezTo>
                  <a:pt x="630" y="284"/>
                  <a:pt x="629" y="285"/>
                  <a:pt x="629" y="285"/>
                </a:cubicBezTo>
                <a:cubicBezTo>
                  <a:pt x="629" y="285"/>
                  <a:pt x="630" y="285"/>
                  <a:pt x="630" y="285"/>
                </a:cubicBezTo>
                <a:cubicBezTo>
                  <a:pt x="630" y="284"/>
                  <a:pt x="630" y="284"/>
                  <a:pt x="630" y="284"/>
                </a:cubicBezTo>
                <a:cubicBezTo>
                  <a:pt x="630" y="284"/>
                  <a:pt x="630" y="284"/>
                  <a:pt x="630" y="283"/>
                </a:cubicBezTo>
                <a:cubicBezTo>
                  <a:pt x="631" y="283"/>
                  <a:pt x="631" y="283"/>
                  <a:pt x="631" y="283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2" y="282"/>
                </a:cubicBezTo>
                <a:cubicBezTo>
                  <a:pt x="632" y="282"/>
                  <a:pt x="632" y="282"/>
                  <a:pt x="632" y="282"/>
                </a:cubicBezTo>
                <a:cubicBezTo>
                  <a:pt x="632" y="282"/>
                  <a:pt x="632" y="282"/>
                  <a:pt x="632" y="282"/>
                </a:cubicBezTo>
                <a:cubicBezTo>
                  <a:pt x="632" y="282"/>
                  <a:pt x="633" y="282"/>
                  <a:pt x="633" y="283"/>
                </a:cubicBezTo>
                <a:cubicBezTo>
                  <a:pt x="633" y="283"/>
                  <a:pt x="633" y="283"/>
                  <a:pt x="633" y="283"/>
                </a:cubicBezTo>
                <a:cubicBezTo>
                  <a:pt x="633" y="283"/>
                  <a:pt x="633" y="283"/>
                  <a:pt x="633" y="284"/>
                </a:cubicBezTo>
                <a:cubicBezTo>
                  <a:pt x="633" y="284"/>
                  <a:pt x="633" y="284"/>
                  <a:pt x="633" y="284"/>
                </a:cubicBezTo>
                <a:cubicBezTo>
                  <a:pt x="633" y="284"/>
                  <a:pt x="633" y="284"/>
                  <a:pt x="633" y="284"/>
                </a:cubicBezTo>
                <a:cubicBezTo>
                  <a:pt x="632" y="284"/>
                  <a:pt x="632" y="285"/>
                  <a:pt x="632" y="285"/>
                </a:cubicBezTo>
                <a:cubicBezTo>
                  <a:pt x="632" y="285"/>
                  <a:pt x="632" y="286"/>
                  <a:pt x="632" y="286"/>
                </a:cubicBezTo>
                <a:cubicBezTo>
                  <a:pt x="632" y="286"/>
                  <a:pt x="632" y="286"/>
                  <a:pt x="632" y="286"/>
                </a:cubicBezTo>
                <a:cubicBezTo>
                  <a:pt x="632" y="287"/>
                  <a:pt x="631" y="287"/>
                  <a:pt x="631" y="287"/>
                </a:cubicBezTo>
                <a:cubicBezTo>
                  <a:pt x="631" y="287"/>
                  <a:pt x="631" y="287"/>
                  <a:pt x="631" y="287"/>
                </a:cubicBezTo>
                <a:cubicBezTo>
                  <a:pt x="632" y="287"/>
                  <a:pt x="632" y="287"/>
                  <a:pt x="632" y="287"/>
                </a:cubicBezTo>
                <a:cubicBezTo>
                  <a:pt x="632" y="287"/>
                  <a:pt x="632" y="287"/>
                  <a:pt x="633" y="287"/>
                </a:cubicBezTo>
                <a:cubicBezTo>
                  <a:pt x="633" y="286"/>
                  <a:pt x="633" y="286"/>
                  <a:pt x="633" y="286"/>
                </a:cubicBezTo>
                <a:cubicBezTo>
                  <a:pt x="633" y="286"/>
                  <a:pt x="634" y="286"/>
                  <a:pt x="634" y="286"/>
                </a:cubicBezTo>
                <a:cubicBezTo>
                  <a:pt x="634" y="285"/>
                  <a:pt x="634" y="285"/>
                  <a:pt x="634" y="285"/>
                </a:cubicBezTo>
                <a:cubicBezTo>
                  <a:pt x="634" y="285"/>
                  <a:pt x="634" y="285"/>
                  <a:pt x="635" y="284"/>
                </a:cubicBezTo>
                <a:cubicBezTo>
                  <a:pt x="635" y="284"/>
                  <a:pt x="635" y="285"/>
                  <a:pt x="635" y="285"/>
                </a:cubicBezTo>
                <a:cubicBezTo>
                  <a:pt x="635" y="285"/>
                  <a:pt x="635" y="285"/>
                  <a:pt x="636" y="284"/>
                </a:cubicBezTo>
                <a:cubicBezTo>
                  <a:pt x="636" y="285"/>
                  <a:pt x="636" y="285"/>
                  <a:pt x="636" y="285"/>
                </a:cubicBezTo>
                <a:cubicBezTo>
                  <a:pt x="635" y="285"/>
                  <a:pt x="635" y="285"/>
                  <a:pt x="635" y="285"/>
                </a:cubicBezTo>
                <a:cubicBezTo>
                  <a:pt x="635" y="285"/>
                  <a:pt x="635" y="285"/>
                  <a:pt x="634" y="286"/>
                </a:cubicBezTo>
                <a:cubicBezTo>
                  <a:pt x="634" y="286"/>
                  <a:pt x="634" y="286"/>
                  <a:pt x="634" y="286"/>
                </a:cubicBezTo>
                <a:cubicBezTo>
                  <a:pt x="634" y="286"/>
                  <a:pt x="634" y="286"/>
                  <a:pt x="634" y="287"/>
                </a:cubicBezTo>
                <a:cubicBezTo>
                  <a:pt x="634" y="287"/>
                  <a:pt x="634" y="287"/>
                  <a:pt x="635" y="287"/>
                </a:cubicBezTo>
                <a:cubicBezTo>
                  <a:pt x="635" y="287"/>
                  <a:pt x="635" y="287"/>
                  <a:pt x="635" y="287"/>
                </a:cubicBezTo>
                <a:cubicBezTo>
                  <a:pt x="635" y="288"/>
                  <a:pt x="635" y="288"/>
                  <a:pt x="635" y="288"/>
                </a:cubicBezTo>
                <a:cubicBezTo>
                  <a:pt x="635" y="288"/>
                  <a:pt x="635" y="287"/>
                  <a:pt x="635" y="287"/>
                </a:cubicBezTo>
                <a:cubicBezTo>
                  <a:pt x="636" y="287"/>
                  <a:pt x="636" y="287"/>
                  <a:pt x="636" y="287"/>
                </a:cubicBezTo>
                <a:cubicBezTo>
                  <a:pt x="636" y="287"/>
                  <a:pt x="636" y="287"/>
                  <a:pt x="636" y="287"/>
                </a:cubicBezTo>
                <a:cubicBezTo>
                  <a:pt x="636" y="287"/>
                  <a:pt x="637" y="287"/>
                  <a:pt x="637" y="287"/>
                </a:cubicBezTo>
                <a:cubicBezTo>
                  <a:pt x="637" y="287"/>
                  <a:pt x="637" y="287"/>
                  <a:pt x="637" y="287"/>
                </a:cubicBezTo>
                <a:cubicBezTo>
                  <a:pt x="638" y="287"/>
                  <a:pt x="638" y="287"/>
                  <a:pt x="638" y="287"/>
                </a:cubicBezTo>
                <a:cubicBezTo>
                  <a:pt x="638" y="287"/>
                  <a:pt x="638" y="286"/>
                  <a:pt x="638" y="286"/>
                </a:cubicBezTo>
                <a:cubicBezTo>
                  <a:pt x="638" y="286"/>
                  <a:pt x="638" y="286"/>
                  <a:pt x="638" y="286"/>
                </a:cubicBezTo>
                <a:cubicBezTo>
                  <a:pt x="638" y="286"/>
                  <a:pt x="638" y="286"/>
                  <a:pt x="638" y="286"/>
                </a:cubicBezTo>
                <a:cubicBezTo>
                  <a:pt x="638" y="286"/>
                  <a:pt x="638" y="286"/>
                  <a:pt x="638" y="285"/>
                </a:cubicBezTo>
                <a:cubicBezTo>
                  <a:pt x="638" y="285"/>
                  <a:pt x="638" y="285"/>
                  <a:pt x="638" y="285"/>
                </a:cubicBezTo>
                <a:cubicBezTo>
                  <a:pt x="638" y="285"/>
                  <a:pt x="639" y="285"/>
                  <a:pt x="639" y="285"/>
                </a:cubicBezTo>
                <a:cubicBezTo>
                  <a:pt x="638" y="285"/>
                  <a:pt x="638" y="285"/>
                  <a:pt x="638" y="285"/>
                </a:cubicBezTo>
                <a:cubicBezTo>
                  <a:pt x="638" y="284"/>
                  <a:pt x="638" y="284"/>
                  <a:pt x="638" y="284"/>
                </a:cubicBezTo>
                <a:cubicBezTo>
                  <a:pt x="639" y="284"/>
                  <a:pt x="639" y="283"/>
                  <a:pt x="639" y="283"/>
                </a:cubicBezTo>
                <a:cubicBezTo>
                  <a:pt x="639" y="283"/>
                  <a:pt x="639" y="283"/>
                  <a:pt x="640" y="282"/>
                </a:cubicBezTo>
                <a:cubicBezTo>
                  <a:pt x="639" y="282"/>
                  <a:pt x="639" y="282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2"/>
                  <a:pt x="639" y="282"/>
                </a:cubicBezTo>
                <a:cubicBezTo>
                  <a:pt x="638" y="282"/>
                  <a:pt x="638" y="282"/>
                  <a:pt x="638" y="282"/>
                </a:cubicBezTo>
                <a:cubicBezTo>
                  <a:pt x="638" y="283"/>
                  <a:pt x="638" y="283"/>
                  <a:pt x="637" y="283"/>
                </a:cubicBezTo>
                <a:cubicBezTo>
                  <a:pt x="637" y="283"/>
                  <a:pt x="637" y="283"/>
                  <a:pt x="637" y="283"/>
                </a:cubicBezTo>
                <a:cubicBezTo>
                  <a:pt x="637" y="283"/>
                  <a:pt x="637" y="283"/>
                  <a:pt x="637" y="283"/>
                </a:cubicBezTo>
                <a:cubicBezTo>
                  <a:pt x="637" y="283"/>
                  <a:pt x="637" y="282"/>
                  <a:pt x="637" y="282"/>
                </a:cubicBezTo>
                <a:cubicBezTo>
                  <a:pt x="637" y="282"/>
                  <a:pt x="636" y="282"/>
                  <a:pt x="636" y="282"/>
                </a:cubicBezTo>
                <a:cubicBezTo>
                  <a:pt x="637" y="281"/>
                  <a:pt x="637" y="281"/>
                  <a:pt x="637" y="281"/>
                </a:cubicBezTo>
                <a:cubicBezTo>
                  <a:pt x="637" y="281"/>
                  <a:pt x="637" y="281"/>
                  <a:pt x="637" y="281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9" y="280"/>
                  <a:pt x="639" y="280"/>
                  <a:pt x="639" y="280"/>
                </a:cubicBezTo>
                <a:cubicBezTo>
                  <a:pt x="639" y="280"/>
                  <a:pt x="639" y="280"/>
                  <a:pt x="638" y="279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7" y="280"/>
                  <a:pt x="637" y="280"/>
                </a:cubicBezTo>
                <a:cubicBezTo>
                  <a:pt x="637" y="280"/>
                  <a:pt x="637" y="280"/>
                  <a:pt x="637" y="280"/>
                </a:cubicBezTo>
                <a:cubicBezTo>
                  <a:pt x="636" y="281"/>
                  <a:pt x="636" y="281"/>
                  <a:pt x="636" y="281"/>
                </a:cubicBezTo>
                <a:cubicBezTo>
                  <a:pt x="636" y="281"/>
                  <a:pt x="636" y="281"/>
                  <a:pt x="636" y="281"/>
                </a:cubicBezTo>
                <a:cubicBezTo>
                  <a:pt x="636" y="282"/>
                  <a:pt x="635" y="282"/>
                  <a:pt x="635" y="282"/>
                </a:cubicBezTo>
                <a:cubicBezTo>
                  <a:pt x="635" y="282"/>
                  <a:pt x="635" y="282"/>
                  <a:pt x="635" y="282"/>
                </a:cubicBezTo>
                <a:cubicBezTo>
                  <a:pt x="635" y="283"/>
                  <a:pt x="635" y="283"/>
                  <a:pt x="634" y="283"/>
                </a:cubicBezTo>
                <a:cubicBezTo>
                  <a:pt x="634" y="283"/>
                  <a:pt x="634" y="283"/>
                  <a:pt x="634" y="282"/>
                </a:cubicBezTo>
                <a:cubicBezTo>
                  <a:pt x="633" y="282"/>
                  <a:pt x="633" y="282"/>
                  <a:pt x="633" y="282"/>
                </a:cubicBezTo>
                <a:cubicBezTo>
                  <a:pt x="633" y="282"/>
                  <a:pt x="633" y="282"/>
                  <a:pt x="633" y="282"/>
                </a:cubicBezTo>
                <a:cubicBezTo>
                  <a:pt x="633" y="282"/>
                  <a:pt x="633" y="281"/>
                  <a:pt x="633" y="281"/>
                </a:cubicBezTo>
                <a:cubicBezTo>
                  <a:pt x="633" y="281"/>
                  <a:pt x="633" y="282"/>
                  <a:pt x="633" y="282"/>
                </a:cubicBezTo>
                <a:cubicBezTo>
                  <a:pt x="633" y="282"/>
                  <a:pt x="634" y="282"/>
                  <a:pt x="634" y="282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3" y="281"/>
                  <a:pt x="633" y="281"/>
                </a:cubicBezTo>
                <a:cubicBezTo>
                  <a:pt x="633" y="281"/>
                  <a:pt x="633" y="281"/>
                  <a:pt x="634" y="281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4" y="281"/>
                  <a:pt x="633" y="281"/>
                </a:cubicBezTo>
                <a:cubicBezTo>
                  <a:pt x="633" y="281"/>
                  <a:pt x="633" y="280"/>
                  <a:pt x="633" y="280"/>
                </a:cubicBezTo>
                <a:cubicBezTo>
                  <a:pt x="633" y="280"/>
                  <a:pt x="633" y="280"/>
                  <a:pt x="633" y="280"/>
                </a:cubicBezTo>
                <a:cubicBezTo>
                  <a:pt x="633" y="280"/>
                  <a:pt x="633" y="280"/>
                  <a:pt x="633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5" y="279"/>
                  <a:pt x="635" y="279"/>
                  <a:pt x="635" y="279"/>
                </a:cubicBezTo>
                <a:cubicBezTo>
                  <a:pt x="635" y="279"/>
                  <a:pt x="635" y="279"/>
                  <a:pt x="635" y="278"/>
                </a:cubicBezTo>
                <a:cubicBezTo>
                  <a:pt x="636" y="278"/>
                  <a:pt x="636" y="278"/>
                  <a:pt x="636" y="278"/>
                </a:cubicBezTo>
                <a:cubicBezTo>
                  <a:pt x="636" y="278"/>
                  <a:pt x="636" y="278"/>
                  <a:pt x="636" y="278"/>
                </a:cubicBezTo>
                <a:cubicBezTo>
                  <a:pt x="637" y="278"/>
                  <a:pt x="637" y="278"/>
                  <a:pt x="637" y="278"/>
                </a:cubicBezTo>
                <a:cubicBezTo>
                  <a:pt x="637" y="278"/>
                  <a:pt x="638" y="277"/>
                  <a:pt x="638" y="277"/>
                </a:cubicBezTo>
                <a:cubicBezTo>
                  <a:pt x="638" y="277"/>
                  <a:pt x="638" y="277"/>
                  <a:pt x="637" y="277"/>
                </a:cubicBezTo>
                <a:cubicBezTo>
                  <a:pt x="637" y="277"/>
                  <a:pt x="637" y="276"/>
                  <a:pt x="637" y="276"/>
                </a:cubicBezTo>
                <a:cubicBezTo>
                  <a:pt x="637" y="277"/>
                  <a:pt x="637" y="277"/>
                  <a:pt x="637" y="277"/>
                </a:cubicBezTo>
                <a:cubicBezTo>
                  <a:pt x="636" y="277"/>
                  <a:pt x="636" y="277"/>
                  <a:pt x="636" y="277"/>
                </a:cubicBezTo>
                <a:cubicBezTo>
                  <a:pt x="636" y="277"/>
                  <a:pt x="636" y="277"/>
                  <a:pt x="636" y="277"/>
                </a:cubicBezTo>
                <a:cubicBezTo>
                  <a:pt x="636" y="277"/>
                  <a:pt x="635" y="277"/>
                  <a:pt x="635" y="277"/>
                </a:cubicBezTo>
                <a:cubicBezTo>
                  <a:pt x="635" y="277"/>
                  <a:pt x="635" y="277"/>
                  <a:pt x="635" y="277"/>
                </a:cubicBezTo>
                <a:cubicBezTo>
                  <a:pt x="635" y="278"/>
                  <a:pt x="635" y="278"/>
                  <a:pt x="635" y="278"/>
                </a:cubicBezTo>
                <a:cubicBezTo>
                  <a:pt x="635" y="278"/>
                  <a:pt x="635" y="278"/>
                  <a:pt x="635" y="278"/>
                </a:cubicBezTo>
                <a:cubicBezTo>
                  <a:pt x="635" y="278"/>
                  <a:pt x="635" y="278"/>
                  <a:pt x="634" y="278"/>
                </a:cubicBezTo>
                <a:cubicBezTo>
                  <a:pt x="634" y="278"/>
                  <a:pt x="634" y="279"/>
                  <a:pt x="634" y="279"/>
                </a:cubicBezTo>
                <a:cubicBezTo>
                  <a:pt x="634" y="279"/>
                  <a:pt x="634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80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2" y="279"/>
                  <a:pt x="632" y="279"/>
                </a:cubicBezTo>
                <a:cubicBezTo>
                  <a:pt x="632" y="279"/>
                  <a:pt x="633" y="279"/>
                  <a:pt x="633" y="279"/>
                </a:cubicBezTo>
                <a:cubicBezTo>
                  <a:pt x="633" y="279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7"/>
                  <a:pt x="634" y="277"/>
                  <a:pt x="634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2" y="277"/>
                  <a:pt x="632" y="277"/>
                  <a:pt x="632" y="277"/>
                </a:cubicBezTo>
                <a:cubicBezTo>
                  <a:pt x="632" y="277"/>
                  <a:pt x="631" y="277"/>
                  <a:pt x="631" y="277"/>
                </a:cubicBezTo>
                <a:cubicBezTo>
                  <a:pt x="631" y="277"/>
                  <a:pt x="632" y="277"/>
                  <a:pt x="632" y="277"/>
                </a:cubicBezTo>
                <a:cubicBezTo>
                  <a:pt x="632" y="277"/>
                  <a:pt x="632" y="277"/>
                  <a:pt x="632" y="276"/>
                </a:cubicBezTo>
                <a:cubicBezTo>
                  <a:pt x="633" y="276"/>
                  <a:pt x="633" y="276"/>
                  <a:pt x="633" y="276"/>
                </a:cubicBezTo>
                <a:cubicBezTo>
                  <a:pt x="633" y="276"/>
                  <a:pt x="634" y="276"/>
                  <a:pt x="634" y="276"/>
                </a:cubicBezTo>
                <a:cubicBezTo>
                  <a:pt x="634" y="276"/>
                  <a:pt x="634" y="276"/>
                  <a:pt x="634" y="276"/>
                </a:cubicBezTo>
                <a:cubicBezTo>
                  <a:pt x="634" y="275"/>
                  <a:pt x="634" y="275"/>
                  <a:pt x="635" y="275"/>
                </a:cubicBezTo>
                <a:cubicBezTo>
                  <a:pt x="635" y="275"/>
                  <a:pt x="635" y="275"/>
                  <a:pt x="635" y="275"/>
                </a:cubicBezTo>
                <a:cubicBezTo>
                  <a:pt x="635" y="275"/>
                  <a:pt x="635" y="275"/>
                  <a:pt x="635" y="275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4" y="274"/>
                  <a:pt x="634" y="273"/>
                  <a:pt x="634" y="273"/>
                </a:cubicBezTo>
                <a:cubicBezTo>
                  <a:pt x="633" y="273"/>
                  <a:pt x="633" y="273"/>
                  <a:pt x="633" y="273"/>
                </a:cubicBezTo>
                <a:cubicBezTo>
                  <a:pt x="633" y="274"/>
                  <a:pt x="632" y="274"/>
                  <a:pt x="632" y="274"/>
                </a:cubicBezTo>
                <a:cubicBezTo>
                  <a:pt x="632" y="274"/>
                  <a:pt x="632" y="274"/>
                  <a:pt x="632" y="274"/>
                </a:cubicBezTo>
                <a:cubicBezTo>
                  <a:pt x="632" y="274"/>
                  <a:pt x="632" y="274"/>
                  <a:pt x="632" y="274"/>
                </a:cubicBezTo>
                <a:cubicBezTo>
                  <a:pt x="631" y="274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5"/>
                  <a:pt x="631" y="276"/>
                  <a:pt x="631" y="276"/>
                </a:cubicBezTo>
                <a:cubicBezTo>
                  <a:pt x="631" y="276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0" y="274"/>
                  <a:pt x="630" y="274"/>
                </a:cubicBezTo>
                <a:cubicBezTo>
                  <a:pt x="630" y="274"/>
                  <a:pt x="630" y="274"/>
                  <a:pt x="630" y="275"/>
                </a:cubicBezTo>
                <a:cubicBezTo>
                  <a:pt x="630" y="275"/>
                  <a:pt x="630" y="275"/>
                  <a:pt x="629" y="275"/>
                </a:cubicBezTo>
                <a:cubicBezTo>
                  <a:pt x="629" y="275"/>
                  <a:pt x="629" y="275"/>
                  <a:pt x="629" y="275"/>
                </a:cubicBezTo>
                <a:cubicBezTo>
                  <a:pt x="629" y="275"/>
                  <a:pt x="629" y="275"/>
                  <a:pt x="629" y="275"/>
                </a:cubicBezTo>
                <a:cubicBezTo>
                  <a:pt x="629" y="275"/>
                  <a:pt x="628" y="275"/>
                  <a:pt x="628" y="275"/>
                </a:cubicBezTo>
                <a:cubicBezTo>
                  <a:pt x="628" y="275"/>
                  <a:pt x="628" y="275"/>
                  <a:pt x="628" y="275"/>
                </a:cubicBezTo>
                <a:cubicBezTo>
                  <a:pt x="628" y="275"/>
                  <a:pt x="627" y="275"/>
                  <a:pt x="627" y="276"/>
                </a:cubicBezTo>
                <a:cubicBezTo>
                  <a:pt x="627" y="276"/>
                  <a:pt x="627" y="276"/>
                  <a:pt x="627" y="276"/>
                </a:cubicBezTo>
                <a:cubicBezTo>
                  <a:pt x="627" y="276"/>
                  <a:pt x="627" y="277"/>
                  <a:pt x="626" y="277"/>
                </a:cubicBezTo>
                <a:cubicBezTo>
                  <a:pt x="627" y="277"/>
                  <a:pt x="627" y="276"/>
                  <a:pt x="627" y="276"/>
                </a:cubicBezTo>
                <a:cubicBezTo>
                  <a:pt x="627" y="276"/>
                  <a:pt x="627" y="276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6" y="275"/>
                </a:cubicBezTo>
                <a:cubicBezTo>
                  <a:pt x="626" y="275"/>
                  <a:pt x="626" y="276"/>
                  <a:pt x="626" y="276"/>
                </a:cubicBezTo>
                <a:cubicBezTo>
                  <a:pt x="626" y="276"/>
                  <a:pt x="626" y="276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5" y="275"/>
                </a:cubicBezTo>
                <a:cubicBezTo>
                  <a:pt x="625" y="275"/>
                  <a:pt x="625" y="275"/>
                  <a:pt x="625" y="276"/>
                </a:cubicBezTo>
                <a:cubicBezTo>
                  <a:pt x="624" y="276"/>
                  <a:pt x="624" y="276"/>
                  <a:pt x="624" y="276"/>
                </a:cubicBezTo>
                <a:cubicBezTo>
                  <a:pt x="624" y="275"/>
                  <a:pt x="624" y="275"/>
                  <a:pt x="624" y="275"/>
                </a:cubicBezTo>
                <a:cubicBezTo>
                  <a:pt x="624" y="275"/>
                  <a:pt x="624" y="275"/>
                  <a:pt x="623" y="275"/>
                </a:cubicBezTo>
                <a:cubicBezTo>
                  <a:pt x="623" y="275"/>
                  <a:pt x="623" y="275"/>
                  <a:pt x="623" y="276"/>
                </a:cubicBezTo>
                <a:cubicBezTo>
                  <a:pt x="623" y="276"/>
                  <a:pt x="622" y="276"/>
                  <a:pt x="622" y="276"/>
                </a:cubicBezTo>
                <a:cubicBezTo>
                  <a:pt x="622" y="276"/>
                  <a:pt x="622" y="276"/>
                  <a:pt x="622" y="275"/>
                </a:cubicBezTo>
                <a:cubicBezTo>
                  <a:pt x="622" y="275"/>
                  <a:pt x="623" y="275"/>
                  <a:pt x="623" y="275"/>
                </a:cubicBezTo>
                <a:cubicBezTo>
                  <a:pt x="623" y="275"/>
                  <a:pt x="623" y="274"/>
                  <a:pt x="623" y="274"/>
                </a:cubicBezTo>
                <a:cubicBezTo>
                  <a:pt x="624" y="274"/>
                  <a:pt x="624" y="274"/>
                  <a:pt x="624" y="274"/>
                </a:cubicBezTo>
                <a:cubicBezTo>
                  <a:pt x="624" y="274"/>
                  <a:pt x="623" y="274"/>
                  <a:pt x="623" y="274"/>
                </a:cubicBezTo>
                <a:cubicBezTo>
                  <a:pt x="623" y="274"/>
                  <a:pt x="623" y="274"/>
                  <a:pt x="623" y="274"/>
                </a:cubicBezTo>
                <a:cubicBezTo>
                  <a:pt x="623" y="274"/>
                  <a:pt x="622" y="274"/>
                  <a:pt x="622" y="274"/>
                </a:cubicBezTo>
                <a:cubicBezTo>
                  <a:pt x="622" y="274"/>
                  <a:pt x="622" y="274"/>
                  <a:pt x="623" y="274"/>
                </a:cubicBezTo>
                <a:cubicBezTo>
                  <a:pt x="623" y="274"/>
                  <a:pt x="623" y="274"/>
                  <a:pt x="623" y="273"/>
                </a:cubicBezTo>
                <a:cubicBezTo>
                  <a:pt x="624" y="273"/>
                  <a:pt x="624" y="273"/>
                  <a:pt x="624" y="273"/>
                </a:cubicBezTo>
                <a:cubicBezTo>
                  <a:pt x="624" y="273"/>
                  <a:pt x="624" y="273"/>
                  <a:pt x="625" y="273"/>
                </a:cubicBezTo>
                <a:cubicBezTo>
                  <a:pt x="625" y="273"/>
                  <a:pt x="625" y="273"/>
                  <a:pt x="625" y="273"/>
                </a:cubicBezTo>
                <a:cubicBezTo>
                  <a:pt x="625" y="272"/>
                  <a:pt x="626" y="272"/>
                  <a:pt x="626" y="272"/>
                </a:cubicBezTo>
                <a:cubicBezTo>
                  <a:pt x="626" y="272"/>
                  <a:pt x="626" y="272"/>
                  <a:pt x="626" y="272"/>
                </a:cubicBezTo>
                <a:cubicBezTo>
                  <a:pt x="626" y="272"/>
                  <a:pt x="625" y="272"/>
                  <a:pt x="625" y="272"/>
                </a:cubicBezTo>
                <a:cubicBezTo>
                  <a:pt x="625" y="272"/>
                  <a:pt x="625" y="272"/>
                  <a:pt x="625" y="272"/>
                </a:cubicBezTo>
                <a:cubicBezTo>
                  <a:pt x="624" y="272"/>
                  <a:pt x="624" y="272"/>
                  <a:pt x="624" y="272"/>
                </a:cubicBezTo>
                <a:cubicBezTo>
                  <a:pt x="624" y="272"/>
                  <a:pt x="623" y="272"/>
                  <a:pt x="623" y="272"/>
                </a:cubicBezTo>
                <a:cubicBezTo>
                  <a:pt x="623" y="272"/>
                  <a:pt x="623" y="272"/>
                  <a:pt x="623" y="272"/>
                </a:cubicBezTo>
                <a:cubicBezTo>
                  <a:pt x="623" y="272"/>
                  <a:pt x="622" y="272"/>
                  <a:pt x="622" y="272"/>
                </a:cubicBezTo>
                <a:cubicBezTo>
                  <a:pt x="622" y="272"/>
                  <a:pt x="622" y="272"/>
                  <a:pt x="623" y="272"/>
                </a:cubicBezTo>
                <a:cubicBezTo>
                  <a:pt x="623" y="272"/>
                  <a:pt x="623" y="272"/>
                  <a:pt x="623" y="272"/>
                </a:cubicBezTo>
                <a:cubicBezTo>
                  <a:pt x="623" y="272"/>
                  <a:pt x="623" y="271"/>
                  <a:pt x="623" y="271"/>
                </a:cubicBezTo>
                <a:cubicBezTo>
                  <a:pt x="623" y="271"/>
                  <a:pt x="622" y="272"/>
                  <a:pt x="622" y="272"/>
                </a:cubicBezTo>
                <a:cubicBezTo>
                  <a:pt x="622" y="272"/>
                  <a:pt x="622" y="272"/>
                  <a:pt x="622" y="272"/>
                </a:cubicBezTo>
                <a:cubicBezTo>
                  <a:pt x="621" y="272"/>
                  <a:pt x="621" y="272"/>
                  <a:pt x="621" y="273"/>
                </a:cubicBezTo>
                <a:cubicBezTo>
                  <a:pt x="621" y="273"/>
                  <a:pt x="621" y="273"/>
                  <a:pt x="621" y="273"/>
                </a:cubicBezTo>
                <a:cubicBezTo>
                  <a:pt x="620" y="273"/>
                  <a:pt x="620" y="273"/>
                  <a:pt x="620" y="274"/>
                </a:cubicBezTo>
                <a:cubicBezTo>
                  <a:pt x="620" y="274"/>
                  <a:pt x="620" y="274"/>
                  <a:pt x="620" y="274"/>
                </a:cubicBezTo>
                <a:cubicBezTo>
                  <a:pt x="620" y="274"/>
                  <a:pt x="620" y="274"/>
                  <a:pt x="619" y="274"/>
                </a:cubicBezTo>
                <a:cubicBezTo>
                  <a:pt x="619" y="275"/>
                  <a:pt x="619" y="275"/>
                  <a:pt x="619" y="275"/>
                </a:cubicBezTo>
                <a:cubicBezTo>
                  <a:pt x="619" y="275"/>
                  <a:pt x="619" y="275"/>
                  <a:pt x="619" y="274"/>
                </a:cubicBezTo>
                <a:cubicBezTo>
                  <a:pt x="619" y="274"/>
                  <a:pt x="619" y="274"/>
                  <a:pt x="619" y="274"/>
                </a:cubicBezTo>
                <a:cubicBezTo>
                  <a:pt x="619" y="274"/>
                  <a:pt x="619" y="273"/>
                  <a:pt x="619" y="273"/>
                </a:cubicBezTo>
                <a:cubicBezTo>
                  <a:pt x="619" y="273"/>
                  <a:pt x="619" y="273"/>
                  <a:pt x="619" y="273"/>
                </a:cubicBezTo>
                <a:cubicBezTo>
                  <a:pt x="619" y="273"/>
                  <a:pt x="619" y="272"/>
                  <a:pt x="619" y="272"/>
                </a:cubicBezTo>
                <a:cubicBezTo>
                  <a:pt x="620" y="272"/>
                  <a:pt x="620" y="272"/>
                  <a:pt x="620" y="272"/>
                </a:cubicBezTo>
                <a:cubicBezTo>
                  <a:pt x="620" y="272"/>
                  <a:pt x="620" y="271"/>
                  <a:pt x="620" y="271"/>
                </a:cubicBezTo>
                <a:cubicBezTo>
                  <a:pt x="620" y="271"/>
                  <a:pt x="620" y="271"/>
                  <a:pt x="620" y="271"/>
                </a:cubicBezTo>
                <a:cubicBezTo>
                  <a:pt x="621" y="271"/>
                  <a:pt x="621" y="271"/>
                  <a:pt x="621" y="271"/>
                </a:cubicBezTo>
                <a:cubicBezTo>
                  <a:pt x="621" y="270"/>
                  <a:pt x="621" y="270"/>
                  <a:pt x="621" y="270"/>
                </a:cubicBezTo>
                <a:cubicBezTo>
                  <a:pt x="621" y="270"/>
                  <a:pt x="622" y="270"/>
                  <a:pt x="622" y="270"/>
                </a:cubicBezTo>
                <a:cubicBezTo>
                  <a:pt x="622" y="269"/>
                  <a:pt x="622" y="269"/>
                  <a:pt x="622" y="269"/>
                </a:cubicBezTo>
                <a:cubicBezTo>
                  <a:pt x="622" y="269"/>
                  <a:pt x="622" y="269"/>
                  <a:pt x="623" y="269"/>
                </a:cubicBezTo>
                <a:cubicBezTo>
                  <a:pt x="623" y="269"/>
                  <a:pt x="623" y="269"/>
                  <a:pt x="623" y="269"/>
                </a:cubicBezTo>
                <a:cubicBezTo>
                  <a:pt x="623" y="269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3" y="268"/>
                  <a:pt x="623" y="267"/>
                </a:cubicBezTo>
                <a:cubicBezTo>
                  <a:pt x="623" y="267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4" y="268"/>
                  <a:pt x="624" y="268"/>
                </a:cubicBezTo>
                <a:cubicBezTo>
                  <a:pt x="624" y="267"/>
                  <a:pt x="624" y="267"/>
                  <a:pt x="625" y="267"/>
                </a:cubicBezTo>
                <a:cubicBezTo>
                  <a:pt x="625" y="267"/>
                  <a:pt x="625" y="266"/>
                  <a:pt x="625" y="266"/>
                </a:cubicBezTo>
                <a:cubicBezTo>
                  <a:pt x="625" y="266"/>
                  <a:pt x="625" y="266"/>
                  <a:pt x="624" y="266"/>
                </a:cubicBezTo>
                <a:cubicBezTo>
                  <a:pt x="624" y="266"/>
                  <a:pt x="624" y="266"/>
                  <a:pt x="624" y="266"/>
                </a:cubicBezTo>
                <a:cubicBezTo>
                  <a:pt x="624" y="266"/>
                  <a:pt x="624" y="266"/>
                  <a:pt x="624" y="266"/>
                </a:cubicBezTo>
                <a:cubicBezTo>
                  <a:pt x="624" y="266"/>
                  <a:pt x="624" y="266"/>
                  <a:pt x="623" y="266"/>
                </a:cubicBezTo>
                <a:cubicBezTo>
                  <a:pt x="623" y="266"/>
                  <a:pt x="623" y="266"/>
                  <a:pt x="623" y="266"/>
                </a:cubicBezTo>
                <a:cubicBezTo>
                  <a:pt x="623" y="266"/>
                  <a:pt x="623" y="266"/>
                  <a:pt x="623" y="265"/>
                </a:cubicBezTo>
                <a:cubicBezTo>
                  <a:pt x="623" y="265"/>
                  <a:pt x="624" y="265"/>
                  <a:pt x="624" y="265"/>
                </a:cubicBezTo>
                <a:cubicBezTo>
                  <a:pt x="624" y="265"/>
                  <a:pt x="624" y="265"/>
                  <a:pt x="625" y="265"/>
                </a:cubicBezTo>
                <a:cubicBezTo>
                  <a:pt x="625" y="265"/>
                  <a:pt x="625" y="265"/>
                  <a:pt x="625" y="265"/>
                </a:cubicBezTo>
                <a:cubicBezTo>
                  <a:pt x="626" y="265"/>
                  <a:pt x="626" y="265"/>
                  <a:pt x="626" y="265"/>
                </a:cubicBezTo>
                <a:cubicBezTo>
                  <a:pt x="626" y="265"/>
                  <a:pt x="626" y="265"/>
                  <a:pt x="626" y="265"/>
                </a:cubicBezTo>
                <a:cubicBezTo>
                  <a:pt x="626" y="264"/>
                  <a:pt x="626" y="264"/>
                  <a:pt x="626" y="264"/>
                </a:cubicBezTo>
                <a:close/>
                <a:moveTo>
                  <a:pt x="633" y="280"/>
                </a:moveTo>
                <a:cubicBezTo>
                  <a:pt x="633" y="280"/>
                  <a:pt x="633" y="280"/>
                  <a:pt x="633" y="280"/>
                </a:cubicBezTo>
                <a:cubicBezTo>
                  <a:pt x="633" y="280"/>
                  <a:pt x="634" y="280"/>
                  <a:pt x="634" y="280"/>
                </a:cubicBezTo>
                <a:cubicBezTo>
                  <a:pt x="634" y="280"/>
                  <a:pt x="634" y="280"/>
                  <a:pt x="635" y="280"/>
                </a:cubicBezTo>
                <a:cubicBezTo>
                  <a:pt x="635" y="280"/>
                  <a:pt x="635" y="280"/>
                  <a:pt x="635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4" y="280"/>
                  <a:pt x="633" y="280"/>
                  <a:pt x="633" y="280"/>
                </a:cubicBezTo>
                <a:close/>
                <a:moveTo>
                  <a:pt x="623" y="284"/>
                </a:move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3" y="284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lose/>
                <a:moveTo>
                  <a:pt x="254" y="335"/>
                </a:moveTo>
                <a:cubicBezTo>
                  <a:pt x="254" y="334"/>
                  <a:pt x="255" y="334"/>
                  <a:pt x="255" y="334"/>
                </a:cubicBezTo>
                <a:cubicBezTo>
                  <a:pt x="255" y="334"/>
                  <a:pt x="255" y="335"/>
                  <a:pt x="255" y="335"/>
                </a:cubicBezTo>
                <a:cubicBezTo>
                  <a:pt x="255" y="335"/>
                  <a:pt x="255" y="335"/>
                  <a:pt x="255" y="335"/>
                </a:cubicBezTo>
                <a:cubicBezTo>
                  <a:pt x="255" y="335"/>
                  <a:pt x="256" y="335"/>
                  <a:pt x="256" y="335"/>
                </a:cubicBezTo>
                <a:cubicBezTo>
                  <a:pt x="256" y="335"/>
                  <a:pt x="257" y="334"/>
                  <a:pt x="257" y="334"/>
                </a:cubicBezTo>
                <a:cubicBezTo>
                  <a:pt x="257" y="334"/>
                  <a:pt x="257" y="335"/>
                  <a:pt x="257" y="335"/>
                </a:cubicBezTo>
                <a:cubicBezTo>
                  <a:pt x="257" y="335"/>
                  <a:pt x="257" y="335"/>
                  <a:pt x="257" y="336"/>
                </a:cubicBezTo>
                <a:cubicBezTo>
                  <a:pt x="257" y="335"/>
                  <a:pt x="258" y="335"/>
                  <a:pt x="258" y="334"/>
                </a:cubicBezTo>
                <a:cubicBezTo>
                  <a:pt x="258" y="334"/>
                  <a:pt x="257" y="333"/>
                  <a:pt x="257" y="333"/>
                </a:cubicBezTo>
                <a:cubicBezTo>
                  <a:pt x="257" y="333"/>
                  <a:pt x="256" y="333"/>
                  <a:pt x="256" y="333"/>
                </a:cubicBezTo>
                <a:cubicBezTo>
                  <a:pt x="256" y="333"/>
                  <a:pt x="255" y="333"/>
                  <a:pt x="255" y="333"/>
                </a:cubicBezTo>
                <a:cubicBezTo>
                  <a:pt x="255" y="334"/>
                  <a:pt x="254" y="334"/>
                  <a:pt x="254" y="335"/>
                </a:cubicBezTo>
                <a:close/>
                <a:moveTo>
                  <a:pt x="250" y="196"/>
                </a:moveTo>
                <a:cubicBezTo>
                  <a:pt x="250" y="196"/>
                  <a:pt x="251" y="196"/>
                  <a:pt x="251" y="196"/>
                </a:cubicBezTo>
                <a:cubicBezTo>
                  <a:pt x="251" y="196"/>
                  <a:pt x="251" y="196"/>
                  <a:pt x="252" y="196"/>
                </a:cubicBezTo>
                <a:cubicBezTo>
                  <a:pt x="251" y="195"/>
                  <a:pt x="251" y="195"/>
                  <a:pt x="250" y="195"/>
                </a:cubicBezTo>
                <a:cubicBezTo>
                  <a:pt x="250" y="195"/>
                  <a:pt x="249" y="195"/>
                  <a:pt x="249" y="195"/>
                </a:cubicBezTo>
                <a:cubicBezTo>
                  <a:pt x="249" y="195"/>
                  <a:pt x="248" y="196"/>
                  <a:pt x="248" y="196"/>
                </a:cubicBezTo>
                <a:cubicBezTo>
                  <a:pt x="249" y="196"/>
                  <a:pt x="249" y="196"/>
                  <a:pt x="249" y="196"/>
                </a:cubicBezTo>
                <a:cubicBezTo>
                  <a:pt x="250" y="196"/>
                  <a:pt x="250" y="196"/>
                  <a:pt x="250" y="196"/>
                </a:cubicBezTo>
                <a:close/>
                <a:moveTo>
                  <a:pt x="249" y="330"/>
                </a:moveTo>
                <a:cubicBezTo>
                  <a:pt x="249" y="330"/>
                  <a:pt x="249" y="330"/>
                  <a:pt x="250" y="329"/>
                </a:cubicBezTo>
                <a:cubicBezTo>
                  <a:pt x="250" y="329"/>
                  <a:pt x="250" y="329"/>
                  <a:pt x="250" y="328"/>
                </a:cubicBezTo>
                <a:cubicBezTo>
                  <a:pt x="250" y="328"/>
                  <a:pt x="249" y="328"/>
                  <a:pt x="249" y="328"/>
                </a:cubicBezTo>
                <a:cubicBezTo>
                  <a:pt x="248" y="329"/>
                  <a:pt x="248" y="329"/>
                  <a:pt x="248" y="329"/>
                </a:cubicBezTo>
                <a:cubicBezTo>
                  <a:pt x="247" y="329"/>
                  <a:pt x="247" y="330"/>
                  <a:pt x="247" y="330"/>
                </a:cubicBezTo>
                <a:cubicBezTo>
                  <a:pt x="248" y="330"/>
                  <a:pt x="248" y="330"/>
                  <a:pt x="249" y="329"/>
                </a:cubicBezTo>
                <a:cubicBezTo>
                  <a:pt x="249" y="329"/>
                  <a:pt x="249" y="330"/>
                  <a:pt x="249" y="330"/>
                </a:cubicBezTo>
                <a:close/>
                <a:moveTo>
                  <a:pt x="248" y="326"/>
                </a:moveTo>
                <a:cubicBezTo>
                  <a:pt x="248" y="325"/>
                  <a:pt x="248" y="325"/>
                  <a:pt x="248" y="325"/>
                </a:cubicBezTo>
                <a:cubicBezTo>
                  <a:pt x="247" y="325"/>
                  <a:pt x="247" y="325"/>
                  <a:pt x="247" y="326"/>
                </a:cubicBezTo>
                <a:cubicBezTo>
                  <a:pt x="247" y="326"/>
                  <a:pt x="247" y="326"/>
                  <a:pt x="248" y="326"/>
                </a:cubicBezTo>
                <a:cubicBezTo>
                  <a:pt x="248" y="326"/>
                  <a:pt x="248" y="326"/>
                  <a:pt x="248" y="326"/>
                </a:cubicBezTo>
                <a:close/>
                <a:moveTo>
                  <a:pt x="253" y="333"/>
                </a:moveTo>
                <a:cubicBezTo>
                  <a:pt x="254" y="333"/>
                  <a:pt x="254" y="333"/>
                  <a:pt x="254" y="333"/>
                </a:cubicBezTo>
                <a:cubicBezTo>
                  <a:pt x="254" y="333"/>
                  <a:pt x="255" y="333"/>
                  <a:pt x="255" y="333"/>
                </a:cubicBezTo>
                <a:cubicBezTo>
                  <a:pt x="254" y="333"/>
                  <a:pt x="254" y="333"/>
                  <a:pt x="254" y="332"/>
                </a:cubicBezTo>
                <a:cubicBezTo>
                  <a:pt x="254" y="333"/>
                  <a:pt x="254" y="333"/>
                  <a:pt x="253" y="333"/>
                </a:cubicBezTo>
                <a:close/>
                <a:moveTo>
                  <a:pt x="257" y="329"/>
                </a:moveTo>
                <a:cubicBezTo>
                  <a:pt x="256" y="329"/>
                  <a:pt x="256" y="329"/>
                  <a:pt x="256" y="329"/>
                </a:cubicBezTo>
                <a:cubicBezTo>
                  <a:pt x="256" y="330"/>
                  <a:pt x="255" y="330"/>
                  <a:pt x="255" y="330"/>
                </a:cubicBezTo>
                <a:cubicBezTo>
                  <a:pt x="255" y="330"/>
                  <a:pt x="255" y="331"/>
                  <a:pt x="255" y="331"/>
                </a:cubicBezTo>
                <a:cubicBezTo>
                  <a:pt x="255" y="331"/>
                  <a:pt x="255" y="331"/>
                  <a:pt x="256" y="331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56" y="330"/>
                  <a:pt x="257" y="329"/>
                  <a:pt x="257" y="329"/>
                </a:cubicBezTo>
                <a:close/>
                <a:moveTo>
                  <a:pt x="261" y="201"/>
                </a:moveTo>
                <a:cubicBezTo>
                  <a:pt x="261" y="201"/>
                  <a:pt x="262" y="201"/>
                  <a:pt x="262" y="201"/>
                </a:cubicBezTo>
                <a:cubicBezTo>
                  <a:pt x="262" y="200"/>
                  <a:pt x="262" y="200"/>
                  <a:pt x="262" y="200"/>
                </a:cubicBezTo>
                <a:cubicBezTo>
                  <a:pt x="262" y="199"/>
                  <a:pt x="262" y="199"/>
                  <a:pt x="262" y="198"/>
                </a:cubicBezTo>
                <a:cubicBezTo>
                  <a:pt x="262" y="199"/>
                  <a:pt x="261" y="199"/>
                  <a:pt x="261" y="199"/>
                </a:cubicBezTo>
                <a:cubicBezTo>
                  <a:pt x="261" y="200"/>
                  <a:pt x="261" y="200"/>
                  <a:pt x="261" y="200"/>
                </a:cubicBezTo>
                <a:cubicBezTo>
                  <a:pt x="261" y="200"/>
                  <a:pt x="261" y="200"/>
                  <a:pt x="261" y="201"/>
                </a:cubicBezTo>
                <a:cubicBezTo>
                  <a:pt x="261" y="201"/>
                  <a:pt x="261" y="201"/>
                  <a:pt x="261" y="201"/>
                </a:cubicBezTo>
                <a:close/>
                <a:moveTo>
                  <a:pt x="268" y="192"/>
                </a:moveTo>
                <a:cubicBezTo>
                  <a:pt x="268" y="192"/>
                  <a:pt x="267" y="192"/>
                  <a:pt x="267" y="192"/>
                </a:cubicBezTo>
                <a:cubicBezTo>
                  <a:pt x="267" y="192"/>
                  <a:pt x="267" y="193"/>
                  <a:pt x="267" y="193"/>
                </a:cubicBezTo>
                <a:cubicBezTo>
                  <a:pt x="267" y="193"/>
                  <a:pt x="267" y="193"/>
                  <a:pt x="267" y="193"/>
                </a:cubicBezTo>
                <a:cubicBezTo>
                  <a:pt x="267" y="193"/>
                  <a:pt x="268" y="192"/>
                  <a:pt x="268" y="192"/>
                </a:cubicBezTo>
                <a:close/>
                <a:moveTo>
                  <a:pt x="266" y="199"/>
                </a:moveTo>
                <a:cubicBezTo>
                  <a:pt x="266" y="199"/>
                  <a:pt x="266" y="199"/>
                  <a:pt x="266" y="199"/>
                </a:cubicBezTo>
                <a:cubicBezTo>
                  <a:pt x="267" y="199"/>
                  <a:pt x="267" y="199"/>
                  <a:pt x="267" y="199"/>
                </a:cubicBezTo>
                <a:cubicBezTo>
                  <a:pt x="268" y="199"/>
                  <a:pt x="268" y="199"/>
                  <a:pt x="268" y="198"/>
                </a:cubicBezTo>
                <a:cubicBezTo>
                  <a:pt x="268" y="198"/>
                  <a:pt x="269" y="198"/>
                  <a:pt x="269" y="198"/>
                </a:cubicBezTo>
                <a:cubicBezTo>
                  <a:pt x="270" y="197"/>
                  <a:pt x="271" y="196"/>
                  <a:pt x="272" y="195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4" y="193"/>
                  <a:pt x="274" y="193"/>
                  <a:pt x="274" y="192"/>
                </a:cubicBezTo>
                <a:cubicBezTo>
                  <a:pt x="274" y="193"/>
                  <a:pt x="274" y="193"/>
                  <a:pt x="273" y="193"/>
                </a:cubicBezTo>
                <a:cubicBezTo>
                  <a:pt x="273" y="193"/>
                  <a:pt x="273" y="193"/>
                  <a:pt x="273" y="193"/>
                </a:cubicBezTo>
                <a:cubicBezTo>
                  <a:pt x="272" y="192"/>
                  <a:pt x="272" y="192"/>
                  <a:pt x="272" y="192"/>
                </a:cubicBezTo>
                <a:cubicBezTo>
                  <a:pt x="272" y="192"/>
                  <a:pt x="271" y="192"/>
                  <a:pt x="271" y="192"/>
                </a:cubicBezTo>
                <a:cubicBezTo>
                  <a:pt x="271" y="192"/>
                  <a:pt x="271" y="193"/>
                  <a:pt x="271" y="193"/>
                </a:cubicBezTo>
                <a:cubicBezTo>
                  <a:pt x="270" y="193"/>
                  <a:pt x="270" y="194"/>
                  <a:pt x="270" y="194"/>
                </a:cubicBezTo>
                <a:cubicBezTo>
                  <a:pt x="270" y="194"/>
                  <a:pt x="270" y="194"/>
                  <a:pt x="270" y="194"/>
                </a:cubicBezTo>
                <a:cubicBezTo>
                  <a:pt x="270" y="194"/>
                  <a:pt x="269" y="194"/>
                  <a:pt x="269" y="195"/>
                </a:cubicBezTo>
                <a:cubicBezTo>
                  <a:pt x="269" y="195"/>
                  <a:pt x="269" y="195"/>
                  <a:pt x="269" y="195"/>
                </a:cubicBezTo>
                <a:cubicBezTo>
                  <a:pt x="269" y="195"/>
                  <a:pt x="269" y="195"/>
                  <a:pt x="269" y="196"/>
                </a:cubicBezTo>
                <a:cubicBezTo>
                  <a:pt x="268" y="196"/>
                  <a:pt x="268" y="195"/>
                  <a:pt x="268" y="195"/>
                </a:cubicBezTo>
                <a:cubicBezTo>
                  <a:pt x="268" y="195"/>
                  <a:pt x="268" y="195"/>
                  <a:pt x="268" y="195"/>
                </a:cubicBezTo>
                <a:cubicBezTo>
                  <a:pt x="268" y="195"/>
                  <a:pt x="268" y="195"/>
                  <a:pt x="267" y="195"/>
                </a:cubicBezTo>
                <a:cubicBezTo>
                  <a:pt x="267" y="195"/>
                  <a:pt x="267" y="195"/>
                  <a:pt x="267" y="195"/>
                </a:cubicBezTo>
                <a:cubicBezTo>
                  <a:pt x="267" y="195"/>
                  <a:pt x="267" y="195"/>
                  <a:pt x="266" y="195"/>
                </a:cubicBezTo>
                <a:cubicBezTo>
                  <a:pt x="266" y="196"/>
                  <a:pt x="266" y="196"/>
                  <a:pt x="266" y="196"/>
                </a:cubicBezTo>
                <a:cubicBezTo>
                  <a:pt x="266" y="197"/>
                  <a:pt x="266" y="197"/>
                  <a:pt x="266" y="197"/>
                </a:cubicBezTo>
                <a:cubicBezTo>
                  <a:pt x="266" y="197"/>
                  <a:pt x="266" y="198"/>
                  <a:pt x="266" y="198"/>
                </a:cubicBezTo>
                <a:cubicBezTo>
                  <a:pt x="266" y="198"/>
                  <a:pt x="266" y="199"/>
                  <a:pt x="266" y="199"/>
                </a:cubicBezTo>
                <a:close/>
                <a:moveTo>
                  <a:pt x="308" y="176"/>
                </a:moveTo>
                <a:cubicBezTo>
                  <a:pt x="308" y="176"/>
                  <a:pt x="308" y="176"/>
                  <a:pt x="308" y="175"/>
                </a:cubicBezTo>
                <a:cubicBezTo>
                  <a:pt x="308" y="176"/>
                  <a:pt x="307" y="176"/>
                  <a:pt x="307" y="176"/>
                </a:cubicBezTo>
                <a:cubicBezTo>
                  <a:pt x="307" y="176"/>
                  <a:pt x="307" y="177"/>
                  <a:pt x="306" y="177"/>
                </a:cubicBezTo>
                <a:cubicBezTo>
                  <a:pt x="307" y="177"/>
                  <a:pt x="307" y="177"/>
                  <a:pt x="307" y="177"/>
                </a:cubicBezTo>
                <a:cubicBezTo>
                  <a:pt x="308" y="177"/>
                  <a:pt x="308" y="176"/>
                  <a:pt x="308" y="176"/>
                </a:cubicBezTo>
                <a:close/>
                <a:moveTo>
                  <a:pt x="262" y="203"/>
                </a:moveTo>
                <a:cubicBezTo>
                  <a:pt x="263" y="203"/>
                  <a:pt x="263" y="203"/>
                  <a:pt x="264" y="203"/>
                </a:cubicBezTo>
                <a:cubicBezTo>
                  <a:pt x="265" y="203"/>
                  <a:pt x="265" y="204"/>
                  <a:pt x="266" y="204"/>
                </a:cubicBezTo>
                <a:cubicBezTo>
                  <a:pt x="266" y="204"/>
                  <a:pt x="266" y="203"/>
                  <a:pt x="266" y="203"/>
                </a:cubicBezTo>
                <a:cubicBezTo>
                  <a:pt x="266" y="203"/>
                  <a:pt x="266" y="202"/>
                  <a:pt x="265" y="202"/>
                </a:cubicBezTo>
                <a:cubicBezTo>
                  <a:pt x="265" y="202"/>
                  <a:pt x="265" y="201"/>
                  <a:pt x="265" y="201"/>
                </a:cubicBezTo>
                <a:cubicBezTo>
                  <a:pt x="264" y="201"/>
                  <a:pt x="264" y="201"/>
                  <a:pt x="264" y="201"/>
                </a:cubicBezTo>
                <a:cubicBezTo>
                  <a:pt x="263" y="201"/>
                  <a:pt x="262" y="201"/>
                  <a:pt x="262" y="201"/>
                </a:cubicBezTo>
                <a:cubicBezTo>
                  <a:pt x="262" y="201"/>
                  <a:pt x="261" y="201"/>
                  <a:pt x="261" y="201"/>
                </a:cubicBezTo>
                <a:cubicBezTo>
                  <a:pt x="261" y="202"/>
                  <a:pt x="261" y="202"/>
                  <a:pt x="261" y="202"/>
                </a:cubicBezTo>
                <a:cubicBezTo>
                  <a:pt x="262" y="202"/>
                  <a:pt x="263" y="202"/>
                  <a:pt x="264" y="202"/>
                </a:cubicBezTo>
                <a:cubicBezTo>
                  <a:pt x="263" y="202"/>
                  <a:pt x="263" y="203"/>
                  <a:pt x="262" y="203"/>
                </a:cubicBezTo>
                <a:cubicBezTo>
                  <a:pt x="262" y="203"/>
                  <a:pt x="262" y="203"/>
                  <a:pt x="262" y="203"/>
                </a:cubicBezTo>
                <a:close/>
                <a:moveTo>
                  <a:pt x="264" y="200"/>
                </a:moveTo>
                <a:cubicBezTo>
                  <a:pt x="264" y="200"/>
                  <a:pt x="263" y="200"/>
                  <a:pt x="263" y="200"/>
                </a:cubicBezTo>
                <a:cubicBezTo>
                  <a:pt x="263" y="201"/>
                  <a:pt x="263" y="201"/>
                  <a:pt x="263" y="201"/>
                </a:cubicBezTo>
                <a:cubicBezTo>
                  <a:pt x="263" y="201"/>
                  <a:pt x="264" y="201"/>
                  <a:pt x="264" y="201"/>
                </a:cubicBezTo>
                <a:cubicBezTo>
                  <a:pt x="265" y="201"/>
                  <a:pt x="265" y="200"/>
                  <a:pt x="266" y="200"/>
                </a:cubicBezTo>
                <a:cubicBezTo>
                  <a:pt x="265" y="200"/>
                  <a:pt x="265" y="200"/>
                  <a:pt x="265" y="199"/>
                </a:cubicBezTo>
                <a:cubicBezTo>
                  <a:pt x="265" y="199"/>
                  <a:pt x="265" y="199"/>
                  <a:pt x="265" y="199"/>
                </a:cubicBezTo>
                <a:cubicBezTo>
                  <a:pt x="265" y="198"/>
                  <a:pt x="265" y="198"/>
                  <a:pt x="265" y="197"/>
                </a:cubicBezTo>
                <a:cubicBezTo>
                  <a:pt x="265" y="197"/>
                  <a:pt x="264" y="197"/>
                  <a:pt x="264" y="196"/>
                </a:cubicBezTo>
                <a:cubicBezTo>
                  <a:pt x="264" y="197"/>
                  <a:pt x="264" y="197"/>
                  <a:pt x="264" y="197"/>
                </a:cubicBezTo>
                <a:cubicBezTo>
                  <a:pt x="264" y="197"/>
                  <a:pt x="264" y="197"/>
                  <a:pt x="264" y="197"/>
                </a:cubicBezTo>
                <a:cubicBezTo>
                  <a:pt x="263" y="197"/>
                  <a:pt x="263" y="197"/>
                  <a:pt x="263" y="197"/>
                </a:cubicBezTo>
                <a:cubicBezTo>
                  <a:pt x="263" y="198"/>
                  <a:pt x="263" y="198"/>
                  <a:pt x="262" y="198"/>
                </a:cubicBezTo>
                <a:cubicBezTo>
                  <a:pt x="263" y="198"/>
                  <a:pt x="263" y="199"/>
                  <a:pt x="263" y="199"/>
                </a:cubicBezTo>
                <a:cubicBezTo>
                  <a:pt x="263" y="199"/>
                  <a:pt x="263" y="200"/>
                  <a:pt x="264" y="200"/>
                </a:cubicBezTo>
                <a:close/>
                <a:moveTo>
                  <a:pt x="529" y="205"/>
                </a:moveTo>
                <a:cubicBezTo>
                  <a:pt x="529" y="205"/>
                  <a:pt x="529" y="205"/>
                  <a:pt x="529" y="205"/>
                </a:cubicBezTo>
                <a:cubicBezTo>
                  <a:pt x="530" y="205"/>
                  <a:pt x="530" y="205"/>
                  <a:pt x="530" y="205"/>
                </a:cubicBezTo>
                <a:cubicBezTo>
                  <a:pt x="530" y="205"/>
                  <a:pt x="530" y="205"/>
                  <a:pt x="531" y="205"/>
                </a:cubicBezTo>
                <a:cubicBezTo>
                  <a:pt x="531" y="205"/>
                  <a:pt x="531" y="206"/>
                  <a:pt x="531" y="206"/>
                </a:cubicBezTo>
                <a:cubicBezTo>
                  <a:pt x="531" y="206"/>
                  <a:pt x="531" y="206"/>
                  <a:pt x="531" y="206"/>
                </a:cubicBezTo>
                <a:cubicBezTo>
                  <a:pt x="531" y="206"/>
                  <a:pt x="531" y="206"/>
                  <a:pt x="532" y="206"/>
                </a:cubicBezTo>
                <a:cubicBezTo>
                  <a:pt x="532" y="206"/>
                  <a:pt x="532" y="206"/>
                  <a:pt x="532" y="206"/>
                </a:cubicBezTo>
                <a:cubicBezTo>
                  <a:pt x="532" y="206"/>
                  <a:pt x="532" y="206"/>
                  <a:pt x="533" y="206"/>
                </a:cubicBezTo>
                <a:cubicBezTo>
                  <a:pt x="533" y="206"/>
                  <a:pt x="533" y="205"/>
                  <a:pt x="533" y="205"/>
                </a:cubicBezTo>
                <a:cubicBezTo>
                  <a:pt x="533" y="205"/>
                  <a:pt x="533" y="205"/>
                  <a:pt x="533" y="205"/>
                </a:cubicBezTo>
                <a:cubicBezTo>
                  <a:pt x="533" y="205"/>
                  <a:pt x="533" y="205"/>
                  <a:pt x="533" y="205"/>
                </a:cubicBezTo>
                <a:cubicBezTo>
                  <a:pt x="533" y="205"/>
                  <a:pt x="533" y="205"/>
                  <a:pt x="532" y="205"/>
                </a:cubicBezTo>
                <a:cubicBezTo>
                  <a:pt x="532" y="205"/>
                  <a:pt x="533" y="205"/>
                  <a:pt x="533" y="204"/>
                </a:cubicBezTo>
                <a:cubicBezTo>
                  <a:pt x="533" y="204"/>
                  <a:pt x="533" y="204"/>
                  <a:pt x="533" y="204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31" y="204"/>
                  <a:pt x="531" y="204"/>
                  <a:pt x="531" y="204"/>
                </a:cubicBezTo>
                <a:cubicBezTo>
                  <a:pt x="531" y="204"/>
                  <a:pt x="531" y="204"/>
                  <a:pt x="531" y="204"/>
                </a:cubicBezTo>
                <a:cubicBezTo>
                  <a:pt x="531" y="204"/>
                  <a:pt x="530" y="204"/>
                  <a:pt x="530" y="204"/>
                </a:cubicBezTo>
                <a:cubicBezTo>
                  <a:pt x="530" y="204"/>
                  <a:pt x="530" y="204"/>
                  <a:pt x="530" y="204"/>
                </a:cubicBezTo>
                <a:cubicBezTo>
                  <a:pt x="530" y="204"/>
                  <a:pt x="529" y="204"/>
                  <a:pt x="529" y="204"/>
                </a:cubicBezTo>
                <a:cubicBezTo>
                  <a:pt x="529" y="204"/>
                  <a:pt x="529" y="204"/>
                  <a:pt x="529" y="204"/>
                </a:cubicBezTo>
                <a:cubicBezTo>
                  <a:pt x="528" y="204"/>
                  <a:pt x="528" y="204"/>
                  <a:pt x="528" y="204"/>
                </a:cubicBezTo>
                <a:cubicBezTo>
                  <a:pt x="528" y="204"/>
                  <a:pt x="529" y="205"/>
                  <a:pt x="529" y="205"/>
                </a:cubicBezTo>
                <a:cubicBezTo>
                  <a:pt x="529" y="205"/>
                  <a:pt x="529" y="205"/>
                  <a:pt x="529" y="205"/>
                </a:cubicBezTo>
                <a:close/>
                <a:moveTo>
                  <a:pt x="520" y="162"/>
                </a:moveTo>
                <a:cubicBezTo>
                  <a:pt x="520" y="162"/>
                  <a:pt x="520" y="161"/>
                  <a:pt x="520" y="161"/>
                </a:cubicBezTo>
                <a:cubicBezTo>
                  <a:pt x="520" y="161"/>
                  <a:pt x="520" y="161"/>
                  <a:pt x="520" y="161"/>
                </a:cubicBezTo>
                <a:cubicBezTo>
                  <a:pt x="520" y="161"/>
                  <a:pt x="520" y="161"/>
                  <a:pt x="520" y="161"/>
                </a:cubicBezTo>
                <a:cubicBezTo>
                  <a:pt x="520" y="161"/>
                  <a:pt x="520" y="161"/>
                  <a:pt x="520" y="162"/>
                </a:cubicBezTo>
                <a:close/>
                <a:moveTo>
                  <a:pt x="521" y="162"/>
                </a:moveTo>
                <a:cubicBezTo>
                  <a:pt x="521" y="162"/>
                  <a:pt x="521" y="162"/>
                  <a:pt x="521" y="162"/>
                </a:cubicBezTo>
                <a:cubicBezTo>
                  <a:pt x="521" y="162"/>
                  <a:pt x="522" y="162"/>
                  <a:pt x="522" y="162"/>
                </a:cubicBezTo>
                <a:cubicBezTo>
                  <a:pt x="522" y="162"/>
                  <a:pt x="522" y="162"/>
                  <a:pt x="523" y="162"/>
                </a:cubicBezTo>
                <a:cubicBezTo>
                  <a:pt x="523" y="162"/>
                  <a:pt x="523" y="162"/>
                  <a:pt x="523" y="162"/>
                </a:cubicBezTo>
                <a:cubicBezTo>
                  <a:pt x="522" y="162"/>
                  <a:pt x="522" y="162"/>
                  <a:pt x="522" y="162"/>
                </a:cubicBezTo>
                <a:cubicBezTo>
                  <a:pt x="522" y="162"/>
                  <a:pt x="521" y="162"/>
                  <a:pt x="521" y="162"/>
                </a:cubicBezTo>
                <a:cubicBezTo>
                  <a:pt x="521" y="162"/>
                  <a:pt x="521" y="162"/>
                  <a:pt x="521" y="162"/>
                </a:cubicBezTo>
                <a:close/>
                <a:moveTo>
                  <a:pt x="518" y="159"/>
                </a:moveTo>
                <a:cubicBezTo>
                  <a:pt x="517" y="159"/>
                  <a:pt x="517" y="159"/>
                  <a:pt x="517" y="159"/>
                </a:cubicBezTo>
                <a:cubicBezTo>
                  <a:pt x="517" y="159"/>
                  <a:pt x="517" y="159"/>
                  <a:pt x="517" y="159"/>
                </a:cubicBezTo>
                <a:cubicBezTo>
                  <a:pt x="517" y="159"/>
                  <a:pt x="517" y="159"/>
                  <a:pt x="517" y="160"/>
                </a:cubicBezTo>
                <a:cubicBezTo>
                  <a:pt x="517" y="159"/>
                  <a:pt x="518" y="159"/>
                  <a:pt x="518" y="159"/>
                </a:cubicBezTo>
                <a:cubicBezTo>
                  <a:pt x="518" y="159"/>
                  <a:pt x="518" y="160"/>
                  <a:pt x="518" y="160"/>
                </a:cubicBezTo>
                <a:cubicBezTo>
                  <a:pt x="519" y="160"/>
                  <a:pt x="519" y="159"/>
                  <a:pt x="519" y="159"/>
                </a:cubicBezTo>
                <a:cubicBezTo>
                  <a:pt x="519" y="159"/>
                  <a:pt x="519" y="159"/>
                  <a:pt x="519" y="159"/>
                </a:cubicBezTo>
                <a:cubicBezTo>
                  <a:pt x="519" y="159"/>
                  <a:pt x="518" y="159"/>
                  <a:pt x="518" y="159"/>
                </a:cubicBezTo>
                <a:cubicBezTo>
                  <a:pt x="518" y="159"/>
                  <a:pt x="518" y="159"/>
                  <a:pt x="518" y="159"/>
                </a:cubicBezTo>
                <a:close/>
                <a:moveTo>
                  <a:pt x="522" y="161"/>
                </a:moveTo>
                <a:cubicBezTo>
                  <a:pt x="522" y="161"/>
                  <a:pt x="522" y="161"/>
                  <a:pt x="521" y="161"/>
                </a:cubicBezTo>
                <a:cubicBezTo>
                  <a:pt x="522" y="161"/>
                  <a:pt x="522" y="161"/>
                  <a:pt x="522" y="161"/>
                </a:cubicBezTo>
                <a:cubicBezTo>
                  <a:pt x="522" y="161"/>
                  <a:pt x="522" y="161"/>
                  <a:pt x="522" y="161"/>
                </a:cubicBezTo>
                <a:close/>
                <a:moveTo>
                  <a:pt x="512" y="159"/>
                </a:moveTo>
                <a:cubicBezTo>
                  <a:pt x="513" y="159"/>
                  <a:pt x="513" y="160"/>
                  <a:pt x="513" y="160"/>
                </a:cubicBezTo>
                <a:cubicBezTo>
                  <a:pt x="513" y="160"/>
                  <a:pt x="514" y="160"/>
                  <a:pt x="514" y="160"/>
                </a:cubicBezTo>
                <a:cubicBezTo>
                  <a:pt x="514" y="160"/>
                  <a:pt x="514" y="160"/>
                  <a:pt x="514" y="160"/>
                </a:cubicBezTo>
                <a:cubicBezTo>
                  <a:pt x="514" y="159"/>
                  <a:pt x="514" y="159"/>
                  <a:pt x="514" y="159"/>
                </a:cubicBezTo>
                <a:cubicBezTo>
                  <a:pt x="514" y="159"/>
                  <a:pt x="513" y="159"/>
                  <a:pt x="513" y="159"/>
                </a:cubicBezTo>
                <a:cubicBezTo>
                  <a:pt x="513" y="159"/>
                  <a:pt x="513" y="159"/>
                  <a:pt x="512" y="159"/>
                </a:cubicBezTo>
                <a:close/>
                <a:moveTo>
                  <a:pt x="526" y="209"/>
                </a:moveTo>
                <a:cubicBezTo>
                  <a:pt x="526" y="208"/>
                  <a:pt x="526" y="208"/>
                  <a:pt x="527" y="208"/>
                </a:cubicBezTo>
                <a:cubicBezTo>
                  <a:pt x="527" y="208"/>
                  <a:pt x="527" y="208"/>
                  <a:pt x="527" y="208"/>
                </a:cubicBezTo>
                <a:cubicBezTo>
                  <a:pt x="527" y="208"/>
                  <a:pt x="527" y="208"/>
                  <a:pt x="528" y="208"/>
                </a:cubicBezTo>
                <a:cubicBezTo>
                  <a:pt x="528" y="208"/>
                  <a:pt x="528" y="207"/>
                  <a:pt x="528" y="207"/>
                </a:cubicBezTo>
                <a:cubicBezTo>
                  <a:pt x="528" y="207"/>
                  <a:pt x="528" y="207"/>
                  <a:pt x="528" y="207"/>
                </a:cubicBezTo>
                <a:cubicBezTo>
                  <a:pt x="527" y="207"/>
                  <a:pt x="527" y="206"/>
                  <a:pt x="527" y="206"/>
                </a:cubicBezTo>
                <a:cubicBezTo>
                  <a:pt x="527" y="206"/>
                  <a:pt x="527" y="206"/>
                  <a:pt x="527" y="206"/>
                </a:cubicBezTo>
                <a:cubicBezTo>
                  <a:pt x="526" y="206"/>
                  <a:pt x="526" y="206"/>
                  <a:pt x="526" y="206"/>
                </a:cubicBezTo>
                <a:cubicBezTo>
                  <a:pt x="525" y="206"/>
                  <a:pt x="525" y="206"/>
                  <a:pt x="525" y="206"/>
                </a:cubicBezTo>
                <a:cubicBezTo>
                  <a:pt x="525" y="206"/>
                  <a:pt x="524" y="206"/>
                  <a:pt x="524" y="206"/>
                </a:cubicBezTo>
                <a:cubicBezTo>
                  <a:pt x="524" y="206"/>
                  <a:pt x="524" y="206"/>
                  <a:pt x="524" y="206"/>
                </a:cubicBezTo>
                <a:cubicBezTo>
                  <a:pt x="523" y="206"/>
                  <a:pt x="523" y="206"/>
                  <a:pt x="523" y="206"/>
                </a:cubicBezTo>
                <a:cubicBezTo>
                  <a:pt x="523" y="206"/>
                  <a:pt x="522" y="206"/>
                  <a:pt x="522" y="206"/>
                </a:cubicBezTo>
                <a:cubicBezTo>
                  <a:pt x="522" y="206"/>
                  <a:pt x="522" y="206"/>
                  <a:pt x="522" y="207"/>
                </a:cubicBezTo>
                <a:cubicBezTo>
                  <a:pt x="522" y="207"/>
                  <a:pt x="522" y="207"/>
                  <a:pt x="522" y="207"/>
                </a:cubicBezTo>
                <a:cubicBezTo>
                  <a:pt x="523" y="207"/>
                  <a:pt x="523" y="207"/>
                  <a:pt x="523" y="207"/>
                </a:cubicBezTo>
                <a:cubicBezTo>
                  <a:pt x="524" y="208"/>
                  <a:pt x="524" y="208"/>
                  <a:pt x="524" y="208"/>
                </a:cubicBezTo>
                <a:cubicBezTo>
                  <a:pt x="524" y="208"/>
                  <a:pt x="524" y="208"/>
                  <a:pt x="524" y="208"/>
                </a:cubicBezTo>
                <a:cubicBezTo>
                  <a:pt x="525" y="208"/>
                  <a:pt x="525" y="209"/>
                  <a:pt x="525" y="209"/>
                </a:cubicBezTo>
                <a:cubicBezTo>
                  <a:pt x="525" y="209"/>
                  <a:pt x="525" y="209"/>
                  <a:pt x="525" y="209"/>
                </a:cubicBezTo>
                <a:cubicBezTo>
                  <a:pt x="526" y="209"/>
                  <a:pt x="526" y="209"/>
                  <a:pt x="526" y="209"/>
                </a:cubicBezTo>
                <a:close/>
                <a:moveTo>
                  <a:pt x="479" y="167"/>
                </a:moveTo>
                <a:cubicBezTo>
                  <a:pt x="479" y="167"/>
                  <a:pt x="479" y="167"/>
                  <a:pt x="479" y="167"/>
                </a:cubicBezTo>
                <a:cubicBezTo>
                  <a:pt x="479" y="167"/>
                  <a:pt x="479" y="167"/>
                  <a:pt x="478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80" y="168"/>
                  <a:pt x="480" y="168"/>
                  <a:pt x="480" y="168"/>
                </a:cubicBezTo>
                <a:cubicBezTo>
                  <a:pt x="480" y="168"/>
                  <a:pt x="479" y="167"/>
                  <a:pt x="479" y="167"/>
                </a:cubicBezTo>
                <a:cubicBezTo>
                  <a:pt x="479" y="167"/>
                  <a:pt x="479" y="167"/>
                  <a:pt x="479" y="167"/>
                </a:cubicBezTo>
                <a:close/>
                <a:moveTo>
                  <a:pt x="480" y="167"/>
                </a:moveTo>
                <a:cubicBezTo>
                  <a:pt x="480" y="167"/>
                  <a:pt x="480" y="167"/>
                  <a:pt x="480" y="168"/>
                </a:cubicBezTo>
                <a:cubicBezTo>
                  <a:pt x="480" y="167"/>
                  <a:pt x="480" y="167"/>
                  <a:pt x="481" y="167"/>
                </a:cubicBezTo>
                <a:cubicBezTo>
                  <a:pt x="481" y="167"/>
                  <a:pt x="481" y="167"/>
                  <a:pt x="481" y="167"/>
                </a:cubicBezTo>
                <a:cubicBezTo>
                  <a:pt x="481" y="167"/>
                  <a:pt x="481" y="167"/>
                  <a:pt x="481" y="166"/>
                </a:cubicBezTo>
                <a:cubicBezTo>
                  <a:pt x="481" y="166"/>
                  <a:pt x="480" y="166"/>
                  <a:pt x="480" y="166"/>
                </a:cubicBezTo>
                <a:cubicBezTo>
                  <a:pt x="480" y="167"/>
                  <a:pt x="480" y="167"/>
                  <a:pt x="480" y="167"/>
                </a:cubicBezTo>
                <a:close/>
                <a:moveTo>
                  <a:pt x="475" y="163"/>
                </a:moveTo>
                <a:cubicBezTo>
                  <a:pt x="475" y="163"/>
                  <a:pt x="475" y="164"/>
                  <a:pt x="475" y="164"/>
                </a:cubicBezTo>
                <a:cubicBezTo>
                  <a:pt x="475" y="164"/>
                  <a:pt x="475" y="164"/>
                  <a:pt x="475" y="164"/>
                </a:cubicBezTo>
                <a:cubicBezTo>
                  <a:pt x="476" y="164"/>
                  <a:pt x="476" y="164"/>
                  <a:pt x="476" y="164"/>
                </a:cubicBezTo>
                <a:cubicBezTo>
                  <a:pt x="476" y="164"/>
                  <a:pt x="476" y="164"/>
                  <a:pt x="476" y="164"/>
                </a:cubicBezTo>
                <a:cubicBezTo>
                  <a:pt x="476" y="163"/>
                  <a:pt x="477" y="163"/>
                  <a:pt x="477" y="163"/>
                </a:cubicBezTo>
                <a:cubicBezTo>
                  <a:pt x="476" y="163"/>
                  <a:pt x="476" y="163"/>
                  <a:pt x="476" y="163"/>
                </a:cubicBezTo>
                <a:cubicBezTo>
                  <a:pt x="476" y="163"/>
                  <a:pt x="476" y="163"/>
                  <a:pt x="475" y="163"/>
                </a:cubicBezTo>
                <a:close/>
                <a:moveTo>
                  <a:pt x="550" y="166"/>
                </a:moveTo>
                <a:cubicBezTo>
                  <a:pt x="550" y="167"/>
                  <a:pt x="550" y="167"/>
                  <a:pt x="550" y="167"/>
                </a:cubicBezTo>
                <a:cubicBezTo>
                  <a:pt x="551" y="167"/>
                  <a:pt x="551" y="167"/>
                  <a:pt x="551" y="167"/>
                </a:cubicBezTo>
                <a:cubicBezTo>
                  <a:pt x="551" y="167"/>
                  <a:pt x="551" y="167"/>
                  <a:pt x="551" y="167"/>
                </a:cubicBezTo>
                <a:cubicBezTo>
                  <a:pt x="551" y="167"/>
                  <a:pt x="552" y="167"/>
                  <a:pt x="552" y="167"/>
                </a:cubicBezTo>
                <a:cubicBezTo>
                  <a:pt x="552" y="166"/>
                  <a:pt x="551" y="166"/>
                  <a:pt x="551" y="166"/>
                </a:cubicBezTo>
                <a:cubicBezTo>
                  <a:pt x="551" y="165"/>
                  <a:pt x="551" y="165"/>
                  <a:pt x="551" y="165"/>
                </a:cubicBezTo>
                <a:cubicBezTo>
                  <a:pt x="551" y="164"/>
                  <a:pt x="551" y="164"/>
                  <a:pt x="551" y="164"/>
                </a:cubicBezTo>
                <a:cubicBezTo>
                  <a:pt x="550" y="164"/>
                  <a:pt x="550" y="164"/>
                  <a:pt x="550" y="164"/>
                </a:cubicBezTo>
                <a:cubicBezTo>
                  <a:pt x="550" y="165"/>
                  <a:pt x="550" y="165"/>
                  <a:pt x="550" y="165"/>
                </a:cubicBezTo>
                <a:cubicBezTo>
                  <a:pt x="550" y="165"/>
                  <a:pt x="550" y="166"/>
                  <a:pt x="550" y="166"/>
                </a:cubicBezTo>
                <a:cubicBezTo>
                  <a:pt x="550" y="166"/>
                  <a:pt x="550" y="166"/>
                  <a:pt x="550" y="166"/>
                </a:cubicBezTo>
                <a:close/>
                <a:moveTo>
                  <a:pt x="500" y="158"/>
                </a:moveTo>
                <a:cubicBezTo>
                  <a:pt x="499" y="158"/>
                  <a:pt x="499" y="158"/>
                  <a:pt x="499" y="158"/>
                </a:cubicBezTo>
                <a:cubicBezTo>
                  <a:pt x="499" y="158"/>
                  <a:pt x="498" y="158"/>
                  <a:pt x="498" y="158"/>
                </a:cubicBezTo>
                <a:cubicBezTo>
                  <a:pt x="498" y="158"/>
                  <a:pt x="498" y="158"/>
                  <a:pt x="498" y="158"/>
                </a:cubicBezTo>
                <a:cubicBezTo>
                  <a:pt x="497" y="158"/>
                  <a:pt x="497" y="159"/>
                  <a:pt x="497" y="159"/>
                </a:cubicBezTo>
                <a:cubicBezTo>
                  <a:pt x="497" y="159"/>
                  <a:pt x="497" y="159"/>
                  <a:pt x="497" y="159"/>
                </a:cubicBezTo>
                <a:cubicBezTo>
                  <a:pt x="497" y="159"/>
                  <a:pt x="497" y="159"/>
                  <a:pt x="497" y="159"/>
                </a:cubicBezTo>
                <a:cubicBezTo>
                  <a:pt x="498" y="159"/>
                  <a:pt x="498" y="159"/>
                  <a:pt x="498" y="159"/>
                </a:cubicBezTo>
                <a:cubicBezTo>
                  <a:pt x="498" y="159"/>
                  <a:pt x="498" y="159"/>
                  <a:pt x="498" y="159"/>
                </a:cubicBezTo>
                <a:cubicBezTo>
                  <a:pt x="499" y="159"/>
                  <a:pt x="499" y="159"/>
                  <a:pt x="499" y="159"/>
                </a:cubicBezTo>
                <a:cubicBezTo>
                  <a:pt x="499" y="159"/>
                  <a:pt x="500" y="159"/>
                  <a:pt x="500" y="159"/>
                </a:cubicBezTo>
                <a:cubicBezTo>
                  <a:pt x="500" y="159"/>
                  <a:pt x="500" y="159"/>
                  <a:pt x="500" y="159"/>
                </a:cubicBezTo>
                <a:cubicBezTo>
                  <a:pt x="500" y="159"/>
                  <a:pt x="501" y="159"/>
                  <a:pt x="501" y="159"/>
                </a:cubicBezTo>
                <a:cubicBezTo>
                  <a:pt x="501" y="159"/>
                  <a:pt x="501" y="159"/>
                  <a:pt x="501" y="159"/>
                </a:cubicBezTo>
                <a:cubicBezTo>
                  <a:pt x="501" y="158"/>
                  <a:pt x="501" y="158"/>
                  <a:pt x="501" y="158"/>
                </a:cubicBezTo>
                <a:cubicBezTo>
                  <a:pt x="501" y="158"/>
                  <a:pt x="500" y="158"/>
                  <a:pt x="500" y="158"/>
                </a:cubicBezTo>
                <a:close/>
                <a:moveTo>
                  <a:pt x="262" y="338"/>
                </a:moveTo>
                <a:cubicBezTo>
                  <a:pt x="262" y="338"/>
                  <a:pt x="263" y="338"/>
                  <a:pt x="263" y="338"/>
                </a:cubicBezTo>
                <a:cubicBezTo>
                  <a:pt x="263" y="337"/>
                  <a:pt x="264" y="337"/>
                  <a:pt x="264" y="336"/>
                </a:cubicBezTo>
                <a:cubicBezTo>
                  <a:pt x="264" y="336"/>
                  <a:pt x="264" y="336"/>
                  <a:pt x="264" y="336"/>
                </a:cubicBezTo>
                <a:cubicBezTo>
                  <a:pt x="264" y="336"/>
                  <a:pt x="263" y="336"/>
                  <a:pt x="263" y="337"/>
                </a:cubicBezTo>
                <a:cubicBezTo>
                  <a:pt x="262" y="337"/>
                  <a:pt x="262" y="337"/>
                  <a:pt x="262" y="338"/>
                </a:cubicBezTo>
                <a:cubicBezTo>
                  <a:pt x="262" y="338"/>
                  <a:pt x="262" y="338"/>
                  <a:pt x="261" y="338"/>
                </a:cubicBezTo>
                <a:cubicBezTo>
                  <a:pt x="261" y="339"/>
                  <a:pt x="261" y="339"/>
                  <a:pt x="261" y="340"/>
                </a:cubicBezTo>
                <a:cubicBezTo>
                  <a:pt x="261" y="340"/>
                  <a:pt x="261" y="339"/>
                  <a:pt x="261" y="339"/>
                </a:cubicBezTo>
                <a:cubicBezTo>
                  <a:pt x="261" y="339"/>
                  <a:pt x="262" y="339"/>
                  <a:pt x="262" y="338"/>
                </a:cubicBezTo>
                <a:close/>
                <a:moveTo>
                  <a:pt x="555" y="166"/>
                </a:moveTo>
                <a:cubicBezTo>
                  <a:pt x="554" y="166"/>
                  <a:pt x="554" y="166"/>
                  <a:pt x="554" y="166"/>
                </a:cubicBezTo>
                <a:cubicBezTo>
                  <a:pt x="554" y="166"/>
                  <a:pt x="554" y="167"/>
                  <a:pt x="554" y="167"/>
                </a:cubicBezTo>
                <a:cubicBezTo>
                  <a:pt x="554" y="167"/>
                  <a:pt x="554" y="167"/>
                  <a:pt x="554" y="167"/>
                </a:cubicBezTo>
                <a:cubicBezTo>
                  <a:pt x="555" y="167"/>
                  <a:pt x="555" y="167"/>
                  <a:pt x="555" y="167"/>
                </a:cubicBezTo>
                <a:cubicBezTo>
                  <a:pt x="555" y="167"/>
                  <a:pt x="555" y="166"/>
                  <a:pt x="555" y="166"/>
                </a:cubicBezTo>
                <a:close/>
                <a:moveTo>
                  <a:pt x="516" y="160"/>
                </a:moveTo>
                <a:cubicBezTo>
                  <a:pt x="516" y="159"/>
                  <a:pt x="516" y="159"/>
                  <a:pt x="516" y="159"/>
                </a:cubicBezTo>
                <a:cubicBezTo>
                  <a:pt x="515" y="159"/>
                  <a:pt x="515" y="159"/>
                  <a:pt x="515" y="160"/>
                </a:cubicBezTo>
                <a:cubicBezTo>
                  <a:pt x="515" y="160"/>
                  <a:pt x="516" y="160"/>
                  <a:pt x="516" y="160"/>
                </a:cubicBezTo>
                <a:close/>
                <a:moveTo>
                  <a:pt x="453" y="174"/>
                </a:moveTo>
                <a:cubicBezTo>
                  <a:pt x="453" y="173"/>
                  <a:pt x="453" y="173"/>
                  <a:pt x="453" y="173"/>
                </a:cubicBezTo>
                <a:cubicBezTo>
                  <a:pt x="453" y="172"/>
                  <a:pt x="453" y="172"/>
                  <a:pt x="454" y="171"/>
                </a:cubicBezTo>
                <a:cubicBezTo>
                  <a:pt x="453" y="170"/>
                  <a:pt x="453" y="170"/>
                  <a:pt x="452" y="169"/>
                </a:cubicBezTo>
                <a:cubicBezTo>
                  <a:pt x="452" y="169"/>
                  <a:pt x="451" y="169"/>
                  <a:pt x="451" y="169"/>
                </a:cubicBezTo>
                <a:cubicBezTo>
                  <a:pt x="450" y="168"/>
                  <a:pt x="450" y="168"/>
                  <a:pt x="450" y="168"/>
                </a:cubicBezTo>
                <a:cubicBezTo>
                  <a:pt x="450" y="168"/>
                  <a:pt x="450" y="168"/>
                  <a:pt x="449" y="168"/>
                </a:cubicBezTo>
                <a:cubicBezTo>
                  <a:pt x="449" y="168"/>
                  <a:pt x="449" y="169"/>
                  <a:pt x="449" y="169"/>
                </a:cubicBezTo>
                <a:cubicBezTo>
                  <a:pt x="449" y="169"/>
                  <a:pt x="449" y="168"/>
                  <a:pt x="449" y="168"/>
                </a:cubicBezTo>
                <a:cubicBezTo>
                  <a:pt x="449" y="168"/>
                  <a:pt x="449" y="168"/>
                  <a:pt x="449" y="167"/>
                </a:cubicBezTo>
                <a:cubicBezTo>
                  <a:pt x="449" y="167"/>
                  <a:pt x="449" y="167"/>
                  <a:pt x="449" y="167"/>
                </a:cubicBezTo>
                <a:cubicBezTo>
                  <a:pt x="449" y="167"/>
                  <a:pt x="449" y="166"/>
                  <a:pt x="449" y="166"/>
                </a:cubicBezTo>
                <a:cubicBezTo>
                  <a:pt x="448" y="166"/>
                  <a:pt x="448" y="166"/>
                  <a:pt x="448" y="165"/>
                </a:cubicBezTo>
                <a:cubicBezTo>
                  <a:pt x="448" y="166"/>
                  <a:pt x="447" y="166"/>
                  <a:pt x="447" y="166"/>
                </a:cubicBezTo>
                <a:cubicBezTo>
                  <a:pt x="446" y="167"/>
                  <a:pt x="446" y="167"/>
                  <a:pt x="445" y="168"/>
                </a:cubicBezTo>
                <a:cubicBezTo>
                  <a:pt x="445" y="168"/>
                  <a:pt x="445" y="168"/>
                  <a:pt x="445" y="169"/>
                </a:cubicBezTo>
                <a:cubicBezTo>
                  <a:pt x="445" y="169"/>
                  <a:pt x="445" y="170"/>
                  <a:pt x="446" y="170"/>
                </a:cubicBezTo>
                <a:cubicBezTo>
                  <a:pt x="445" y="170"/>
                  <a:pt x="445" y="170"/>
                  <a:pt x="445" y="170"/>
                </a:cubicBezTo>
                <a:cubicBezTo>
                  <a:pt x="444" y="170"/>
                  <a:pt x="444" y="169"/>
                  <a:pt x="444" y="169"/>
                </a:cubicBezTo>
                <a:cubicBezTo>
                  <a:pt x="444" y="169"/>
                  <a:pt x="444" y="169"/>
                  <a:pt x="443" y="169"/>
                </a:cubicBezTo>
                <a:cubicBezTo>
                  <a:pt x="443" y="170"/>
                  <a:pt x="443" y="170"/>
                  <a:pt x="443" y="170"/>
                </a:cubicBezTo>
                <a:cubicBezTo>
                  <a:pt x="443" y="170"/>
                  <a:pt x="443" y="170"/>
                  <a:pt x="443" y="170"/>
                </a:cubicBezTo>
                <a:cubicBezTo>
                  <a:pt x="443" y="171"/>
                  <a:pt x="443" y="171"/>
                  <a:pt x="443" y="171"/>
                </a:cubicBezTo>
                <a:cubicBezTo>
                  <a:pt x="443" y="171"/>
                  <a:pt x="443" y="171"/>
                  <a:pt x="443" y="172"/>
                </a:cubicBezTo>
                <a:cubicBezTo>
                  <a:pt x="443" y="172"/>
                  <a:pt x="442" y="172"/>
                  <a:pt x="442" y="172"/>
                </a:cubicBezTo>
                <a:cubicBezTo>
                  <a:pt x="442" y="172"/>
                  <a:pt x="442" y="172"/>
                  <a:pt x="442" y="173"/>
                </a:cubicBezTo>
                <a:cubicBezTo>
                  <a:pt x="441" y="173"/>
                  <a:pt x="440" y="173"/>
                  <a:pt x="440" y="173"/>
                </a:cubicBezTo>
                <a:cubicBezTo>
                  <a:pt x="439" y="173"/>
                  <a:pt x="439" y="173"/>
                  <a:pt x="439" y="173"/>
                </a:cubicBezTo>
                <a:cubicBezTo>
                  <a:pt x="439" y="174"/>
                  <a:pt x="439" y="174"/>
                  <a:pt x="438" y="174"/>
                </a:cubicBezTo>
                <a:cubicBezTo>
                  <a:pt x="437" y="174"/>
                  <a:pt x="437" y="175"/>
                  <a:pt x="436" y="175"/>
                </a:cubicBezTo>
                <a:cubicBezTo>
                  <a:pt x="436" y="175"/>
                  <a:pt x="436" y="176"/>
                  <a:pt x="436" y="176"/>
                </a:cubicBezTo>
                <a:cubicBezTo>
                  <a:pt x="437" y="176"/>
                  <a:pt x="437" y="176"/>
                  <a:pt x="438" y="177"/>
                </a:cubicBezTo>
                <a:cubicBezTo>
                  <a:pt x="438" y="176"/>
                  <a:pt x="438" y="176"/>
                  <a:pt x="439" y="176"/>
                </a:cubicBezTo>
                <a:cubicBezTo>
                  <a:pt x="439" y="176"/>
                  <a:pt x="438" y="176"/>
                  <a:pt x="438" y="176"/>
                </a:cubicBezTo>
                <a:cubicBezTo>
                  <a:pt x="438" y="175"/>
                  <a:pt x="438" y="175"/>
                  <a:pt x="439" y="175"/>
                </a:cubicBezTo>
                <a:cubicBezTo>
                  <a:pt x="439" y="175"/>
                  <a:pt x="439" y="175"/>
                  <a:pt x="440" y="175"/>
                </a:cubicBezTo>
                <a:cubicBezTo>
                  <a:pt x="440" y="176"/>
                  <a:pt x="440" y="176"/>
                  <a:pt x="440" y="176"/>
                </a:cubicBezTo>
                <a:cubicBezTo>
                  <a:pt x="440" y="176"/>
                  <a:pt x="441" y="177"/>
                  <a:pt x="441" y="177"/>
                </a:cubicBezTo>
                <a:cubicBezTo>
                  <a:pt x="441" y="176"/>
                  <a:pt x="441" y="176"/>
                  <a:pt x="442" y="176"/>
                </a:cubicBezTo>
                <a:cubicBezTo>
                  <a:pt x="442" y="176"/>
                  <a:pt x="442" y="176"/>
                  <a:pt x="442" y="176"/>
                </a:cubicBezTo>
                <a:cubicBezTo>
                  <a:pt x="442" y="176"/>
                  <a:pt x="442" y="177"/>
                  <a:pt x="442" y="177"/>
                </a:cubicBezTo>
                <a:cubicBezTo>
                  <a:pt x="442" y="177"/>
                  <a:pt x="443" y="177"/>
                  <a:pt x="443" y="177"/>
                </a:cubicBezTo>
                <a:cubicBezTo>
                  <a:pt x="444" y="177"/>
                  <a:pt x="444" y="177"/>
                  <a:pt x="445" y="177"/>
                </a:cubicBezTo>
                <a:cubicBezTo>
                  <a:pt x="445" y="178"/>
                  <a:pt x="445" y="178"/>
                  <a:pt x="445" y="178"/>
                </a:cubicBezTo>
                <a:cubicBezTo>
                  <a:pt x="446" y="178"/>
                  <a:pt x="446" y="178"/>
                  <a:pt x="446" y="178"/>
                </a:cubicBezTo>
                <a:cubicBezTo>
                  <a:pt x="447" y="178"/>
                  <a:pt x="447" y="178"/>
                  <a:pt x="447" y="177"/>
                </a:cubicBezTo>
                <a:cubicBezTo>
                  <a:pt x="447" y="178"/>
                  <a:pt x="447" y="178"/>
                  <a:pt x="447" y="178"/>
                </a:cubicBezTo>
                <a:cubicBezTo>
                  <a:pt x="448" y="178"/>
                  <a:pt x="448" y="178"/>
                  <a:pt x="449" y="178"/>
                </a:cubicBezTo>
                <a:cubicBezTo>
                  <a:pt x="449" y="178"/>
                  <a:pt x="449" y="178"/>
                  <a:pt x="450" y="178"/>
                </a:cubicBezTo>
                <a:cubicBezTo>
                  <a:pt x="450" y="178"/>
                  <a:pt x="450" y="178"/>
                  <a:pt x="451" y="178"/>
                </a:cubicBezTo>
                <a:cubicBezTo>
                  <a:pt x="451" y="178"/>
                  <a:pt x="451" y="177"/>
                  <a:pt x="452" y="177"/>
                </a:cubicBezTo>
                <a:cubicBezTo>
                  <a:pt x="452" y="177"/>
                  <a:pt x="452" y="177"/>
                  <a:pt x="453" y="177"/>
                </a:cubicBezTo>
                <a:cubicBezTo>
                  <a:pt x="453" y="176"/>
                  <a:pt x="453" y="176"/>
                  <a:pt x="454" y="176"/>
                </a:cubicBezTo>
                <a:cubicBezTo>
                  <a:pt x="454" y="176"/>
                  <a:pt x="454" y="176"/>
                  <a:pt x="454" y="176"/>
                </a:cubicBezTo>
                <a:cubicBezTo>
                  <a:pt x="455" y="176"/>
                  <a:pt x="455" y="176"/>
                  <a:pt x="455" y="176"/>
                </a:cubicBezTo>
                <a:cubicBezTo>
                  <a:pt x="455" y="175"/>
                  <a:pt x="456" y="175"/>
                  <a:pt x="456" y="174"/>
                </a:cubicBezTo>
                <a:cubicBezTo>
                  <a:pt x="456" y="174"/>
                  <a:pt x="456" y="174"/>
                  <a:pt x="456" y="174"/>
                </a:cubicBezTo>
                <a:cubicBezTo>
                  <a:pt x="456" y="174"/>
                  <a:pt x="455" y="174"/>
                  <a:pt x="455" y="175"/>
                </a:cubicBezTo>
                <a:cubicBezTo>
                  <a:pt x="455" y="174"/>
                  <a:pt x="454" y="174"/>
                  <a:pt x="454" y="174"/>
                </a:cubicBezTo>
                <a:cubicBezTo>
                  <a:pt x="454" y="174"/>
                  <a:pt x="455" y="173"/>
                  <a:pt x="455" y="172"/>
                </a:cubicBezTo>
                <a:cubicBezTo>
                  <a:pt x="455" y="172"/>
                  <a:pt x="455" y="172"/>
                  <a:pt x="455" y="172"/>
                </a:cubicBezTo>
                <a:cubicBezTo>
                  <a:pt x="455" y="172"/>
                  <a:pt x="454" y="172"/>
                  <a:pt x="454" y="172"/>
                </a:cubicBezTo>
                <a:cubicBezTo>
                  <a:pt x="454" y="173"/>
                  <a:pt x="454" y="173"/>
                  <a:pt x="453" y="174"/>
                </a:cubicBezTo>
                <a:close/>
                <a:moveTo>
                  <a:pt x="428" y="170"/>
                </a:moveTo>
                <a:cubicBezTo>
                  <a:pt x="428" y="170"/>
                  <a:pt x="428" y="170"/>
                  <a:pt x="428" y="169"/>
                </a:cubicBezTo>
                <a:cubicBezTo>
                  <a:pt x="428" y="169"/>
                  <a:pt x="428" y="169"/>
                  <a:pt x="429" y="169"/>
                </a:cubicBezTo>
                <a:cubicBezTo>
                  <a:pt x="429" y="169"/>
                  <a:pt x="429" y="168"/>
                  <a:pt x="429" y="168"/>
                </a:cubicBezTo>
                <a:cubicBezTo>
                  <a:pt x="429" y="168"/>
                  <a:pt x="430" y="168"/>
                  <a:pt x="430" y="167"/>
                </a:cubicBezTo>
                <a:cubicBezTo>
                  <a:pt x="430" y="168"/>
                  <a:pt x="430" y="168"/>
                  <a:pt x="430" y="168"/>
                </a:cubicBezTo>
                <a:cubicBezTo>
                  <a:pt x="429" y="169"/>
                  <a:pt x="429" y="169"/>
                  <a:pt x="429" y="169"/>
                </a:cubicBezTo>
                <a:cubicBezTo>
                  <a:pt x="429" y="169"/>
                  <a:pt x="429" y="170"/>
                  <a:pt x="430" y="170"/>
                </a:cubicBezTo>
                <a:cubicBezTo>
                  <a:pt x="430" y="170"/>
                  <a:pt x="430" y="170"/>
                  <a:pt x="430" y="170"/>
                </a:cubicBezTo>
                <a:cubicBezTo>
                  <a:pt x="431" y="170"/>
                  <a:pt x="431" y="170"/>
                  <a:pt x="431" y="170"/>
                </a:cubicBezTo>
                <a:cubicBezTo>
                  <a:pt x="431" y="170"/>
                  <a:pt x="431" y="170"/>
                  <a:pt x="432" y="169"/>
                </a:cubicBezTo>
                <a:cubicBezTo>
                  <a:pt x="432" y="169"/>
                  <a:pt x="432" y="169"/>
                  <a:pt x="433" y="168"/>
                </a:cubicBezTo>
                <a:cubicBezTo>
                  <a:pt x="433" y="168"/>
                  <a:pt x="433" y="168"/>
                  <a:pt x="433" y="167"/>
                </a:cubicBezTo>
                <a:cubicBezTo>
                  <a:pt x="433" y="167"/>
                  <a:pt x="433" y="167"/>
                  <a:pt x="433" y="166"/>
                </a:cubicBezTo>
                <a:cubicBezTo>
                  <a:pt x="433" y="166"/>
                  <a:pt x="433" y="166"/>
                  <a:pt x="433" y="166"/>
                </a:cubicBezTo>
                <a:cubicBezTo>
                  <a:pt x="433" y="166"/>
                  <a:pt x="433" y="165"/>
                  <a:pt x="433" y="165"/>
                </a:cubicBezTo>
                <a:cubicBezTo>
                  <a:pt x="433" y="165"/>
                  <a:pt x="433" y="165"/>
                  <a:pt x="433" y="165"/>
                </a:cubicBezTo>
                <a:cubicBezTo>
                  <a:pt x="432" y="165"/>
                  <a:pt x="432" y="165"/>
                  <a:pt x="432" y="165"/>
                </a:cubicBezTo>
                <a:cubicBezTo>
                  <a:pt x="432" y="165"/>
                  <a:pt x="432" y="165"/>
                  <a:pt x="431" y="165"/>
                </a:cubicBezTo>
                <a:cubicBezTo>
                  <a:pt x="431" y="165"/>
                  <a:pt x="431" y="166"/>
                  <a:pt x="431" y="166"/>
                </a:cubicBezTo>
                <a:cubicBezTo>
                  <a:pt x="431" y="165"/>
                  <a:pt x="431" y="165"/>
                  <a:pt x="431" y="165"/>
                </a:cubicBezTo>
                <a:cubicBezTo>
                  <a:pt x="431" y="165"/>
                  <a:pt x="431" y="165"/>
                  <a:pt x="431" y="165"/>
                </a:cubicBezTo>
                <a:cubicBezTo>
                  <a:pt x="431" y="164"/>
                  <a:pt x="431" y="164"/>
                  <a:pt x="431" y="164"/>
                </a:cubicBezTo>
                <a:cubicBezTo>
                  <a:pt x="430" y="164"/>
                  <a:pt x="430" y="165"/>
                  <a:pt x="429" y="165"/>
                </a:cubicBezTo>
                <a:cubicBezTo>
                  <a:pt x="429" y="165"/>
                  <a:pt x="429" y="164"/>
                  <a:pt x="429" y="164"/>
                </a:cubicBezTo>
                <a:cubicBezTo>
                  <a:pt x="429" y="164"/>
                  <a:pt x="428" y="164"/>
                  <a:pt x="428" y="164"/>
                </a:cubicBezTo>
                <a:cubicBezTo>
                  <a:pt x="428" y="164"/>
                  <a:pt x="428" y="164"/>
                  <a:pt x="428" y="164"/>
                </a:cubicBezTo>
                <a:cubicBezTo>
                  <a:pt x="427" y="163"/>
                  <a:pt x="427" y="163"/>
                  <a:pt x="427" y="163"/>
                </a:cubicBezTo>
                <a:cubicBezTo>
                  <a:pt x="427" y="162"/>
                  <a:pt x="426" y="162"/>
                  <a:pt x="426" y="162"/>
                </a:cubicBezTo>
                <a:cubicBezTo>
                  <a:pt x="426" y="162"/>
                  <a:pt x="427" y="161"/>
                  <a:pt x="427" y="161"/>
                </a:cubicBezTo>
                <a:cubicBezTo>
                  <a:pt x="426" y="161"/>
                  <a:pt x="426" y="160"/>
                  <a:pt x="426" y="160"/>
                </a:cubicBezTo>
                <a:cubicBezTo>
                  <a:pt x="426" y="160"/>
                  <a:pt x="426" y="161"/>
                  <a:pt x="425" y="161"/>
                </a:cubicBezTo>
                <a:cubicBezTo>
                  <a:pt x="425" y="161"/>
                  <a:pt x="426" y="162"/>
                  <a:pt x="426" y="162"/>
                </a:cubicBezTo>
                <a:cubicBezTo>
                  <a:pt x="425" y="162"/>
                  <a:pt x="425" y="161"/>
                  <a:pt x="425" y="161"/>
                </a:cubicBezTo>
                <a:cubicBezTo>
                  <a:pt x="424" y="161"/>
                  <a:pt x="424" y="161"/>
                  <a:pt x="423" y="161"/>
                </a:cubicBezTo>
                <a:cubicBezTo>
                  <a:pt x="423" y="161"/>
                  <a:pt x="423" y="160"/>
                  <a:pt x="422" y="160"/>
                </a:cubicBezTo>
                <a:cubicBezTo>
                  <a:pt x="422" y="160"/>
                  <a:pt x="422" y="160"/>
                  <a:pt x="422" y="160"/>
                </a:cubicBezTo>
                <a:cubicBezTo>
                  <a:pt x="422" y="159"/>
                  <a:pt x="421" y="159"/>
                  <a:pt x="421" y="159"/>
                </a:cubicBezTo>
                <a:cubicBezTo>
                  <a:pt x="421" y="159"/>
                  <a:pt x="421" y="158"/>
                  <a:pt x="420" y="158"/>
                </a:cubicBezTo>
                <a:cubicBezTo>
                  <a:pt x="420" y="158"/>
                  <a:pt x="420" y="158"/>
                  <a:pt x="420" y="158"/>
                </a:cubicBezTo>
                <a:cubicBezTo>
                  <a:pt x="420" y="157"/>
                  <a:pt x="420" y="157"/>
                  <a:pt x="419" y="157"/>
                </a:cubicBezTo>
                <a:cubicBezTo>
                  <a:pt x="419" y="157"/>
                  <a:pt x="419" y="157"/>
                  <a:pt x="419" y="157"/>
                </a:cubicBezTo>
                <a:cubicBezTo>
                  <a:pt x="420" y="157"/>
                  <a:pt x="420" y="156"/>
                  <a:pt x="420" y="156"/>
                </a:cubicBezTo>
                <a:cubicBezTo>
                  <a:pt x="420" y="156"/>
                  <a:pt x="420" y="156"/>
                  <a:pt x="421" y="155"/>
                </a:cubicBezTo>
                <a:cubicBezTo>
                  <a:pt x="421" y="155"/>
                  <a:pt x="421" y="155"/>
                  <a:pt x="421" y="155"/>
                </a:cubicBezTo>
                <a:cubicBezTo>
                  <a:pt x="421" y="155"/>
                  <a:pt x="421" y="155"/>
                  <a:pt x="422" y="155"/>
                </a:cubicBezTo>
                <a:cubicBezTo>
                  <a:pt x="422" y="155"/>
                  <a:pt x="422" y="155"/>
                  <a:pt x="422" y="155"/>
                </a:cubicBezTo>
                <a:cubicBezTo>
                  <a:pt x="422" y="155"/>
                  <a:pt x="422" y="154"/>
                  <a:pt x="422" y="154"/>
                </a:cubicBezTo>
                <a:cubicBezTo>
                  <a:pt x="422" y="154"/>
                  <a:pt x="423" y="153"/>
                  <a:pt x="423" y="153"/>
                </a:cubicBezTo>
                <a:cubicBezTo>
                  <a:pt x="423" y="152"/>
                  <a:pt x="423" y="152"/>
                  <a:pt x="423" y="152"/>
                </a:cubicBezTo>
                <a:cubicBezTo>
                  <a:pt x="423" y="152"/>
                  <a:pt x="423" y="151"/>
                  <a:pt x="423" y="151"/>
                </a:cubicBezTo>
                <a:cubicBezTo>
                  <a:pt x="422" y="151"/>
                  <a:pt x="422" y="151"/>
                  <a:pt x="421" y="150"/>
                </a:cubicBezTo>
                <a:cubicBezTo>
                  <a:pt x="422" y="150"/>
                  <a:pt x="422" y="150"/>
                  <a:pt x="422" y="149"/>
                </a:cubicBezTo>
                <a:cubicBezTo>
                  <a:pt x="422" y="149"/>
                  <a:pt x="422" y="149"/>
                  <a:pt x="422" y="149"/>
                </a:cubicBezTo>
                <a:cubicBezTo>
                  <a:pt x="422" y="149"/>
                  <a:pt x="422" y="148"/>
                  <a:pt x="422" y="148"/>
                </a:cubicBezTo>
                <a:cubicBezTo>
                  <a:pt x="422" y="148"/>
                  <a:pt x="423" y="147"/>
                  <a:pt x="423" y="147"/>
                </a:cubicBezTo>
                <a:cubicBezTo>
                  <a:pt x="423" y="147"/>
                  <a:pt x="423" y="146"/>
                  <a:pt x="423" y="146"/>
                </a:cubicBezTo>
                <a:cubicBezTo>
                  <a:pt x="423" y="146"/>
                  <a:pt x="423" y="146"/>
                  <a:pt x="424" y="146"/>
                </a:cubicBezTo>
                <a:cubicBezTo>
                  <a:pt x="423" y="145"/>
                  <a:pt x="423" y="145"/>
                  <a:pt x="423" y="144"/>
                </a:cubicBezTo>
                <a:cubicBezTo>
                  <a:pt x="423" y="144"/>
                  <a:pt x="424" y="144"/>
                  <a:pt x="424" y="144"/>
                </a:cubicBezTo>
                <a:cubicBezTo>
                  <a:pt x="424" y="144"/>
                  <a:pt x="424" y="143"/>
                  <a:pt x="424" y="143"/>
                </a:cubicBezTo>
                <a:cubicBezTo>
                  <a:pt x="424" y="143"/>
                  <a:pt x="424" y="142"/>
                  <a:pt x="425" y="142"/>
                </a:cubicBezTo>
                <a:cubicBezTo>
                  <a:pt x="425" y="142"/>
                  <a:pt x="424" y="141"/>
                  <a:pt x="424" y="141"/>
                </a:cubicBezTo>
                <a:cubicBezTo>
                  <a:pt x="424" y="141"/>
                  <a:pt x="424" y="141"/>
                  <a:pt x="424" y="141"/>
                </a:cubicBezTo>
                <a:cubicBezTo>
                  <a:pt x="425" y="141"/>
                  <a:pt x="425" y="140"/>
                  <a:pt x="425" y="140"/>
                </a:cubicBezTo>
                <a:cubicBezTo>
                  <a:pt x="425" y="140"/>
                  <a:pt x="425" y="140"/>
                  <a:pt x="425" y="140"/>
                </a:cubicBezTo>
                <a:cubicBezTo>
                  <a:pt x="425" y="139"/>
                  <a:pt x="424" y="139"/>
                  <a:pt x="424" y="139"/>
                </a:cubicBezTo>
                <a:cubicBezTo>
                  <a:pt x="424" y="139"/>
                  <a:pt x="424" y="139"/>
                  <a:pt x="424" y="139"/>
                </a:cubicBezTo>
                <a:cubicBezTo>
                  <a:pt x="424" y="138"/>
                  <a:pt x="424" y="138"/>
                  <a:pt x="424" y="138"/>
                </a:cubicBezTo>
                <a:cubicBezTo>
                  <a:pt x="424" y="138"/>
                  <a:pt x="423" y="138"/>
                  <a:pt x="423" y="138"/>
                </a:cubicBezTo>
                <a:cubicBezTo>
                  <a:pt x="423" y="138"/>
                  <a:pt x="422" y="137"/>
                  <a:pt x="422" y="137"/>
                </a:cubicBezTo>
                <a:cubicBezTo>
                  <a:pt x="422" y="137"/>
                  <a:pt x="422" y="137"/>
                  <a:pt x="422" y="137"/>
                </a:cubicBezTo>
                <a:cubicBezTo>
                  <a:pt x="422" y="136"/>
                  <a:pt x="422" y="136"/>
                  <a:pt x="421" y="136"/>
                </a:cubicBezTo>
                <a:cubicBezTo>
                  <a:pt x="421" y="136"/>
                  <a:pt x="420" y="136"/>
                  <a:pt x="420" y="136"/>
                </a:cubicBezTo>
                <a:cubicBezTo>
                  <a:pt x="420" y="136"/>
                  <a:pt x="420" y="136"/>
                  <a:pt x="420" y="136"/>
                </a:cubicBezTo>
                <a:cubicBezTo>
                  <a:pt x="419" y="136"/>
                  <a:pt x="419" y="136"/>
                  <a:pt x="419" y="136"/>
                </a:cubicBezTo>
                <a:cubicBezTo>
                  <a:pt x="419" y="136"/>
                  <a:pt x="419" y="136"/>
                  <a:pt x="419" y="137"/>
                </a:cubicBezTo>
                <a:cubicBezTo>
                  <a:pt x="419" y="137"/>
                  <a:pt x="419" y="137"/>
                  <a:pt x="419" y="137"/>
                </a:cubicBezTo>
                <a:cubicBezTo>
                  <a:pt x="418" y="136"/>
                  <a:pt x="417" y="136"/>
                  <a:pt x="417" y="136"/>
                </a:cubicBezTo>
                <a:cubicBezTo>
                  <a:pt x="417" y="136"/>
                  <a:pt x="416" y="136"/>
                  <a:pt x="416" y="136"/>
                </a:cubicBezTo>
                <a:cubicBezTo>
                  <a:pt x="416" y="136"/>
                  <a:pt x="416" y="136"/>
                  <a:pt x="415" y="136"/>
                </a:cubicBezTo>
                <a:cubicBezTo>
                  <a:pt x="415" y="136"/>
                  <a:pt x="415" y="136"/>
                  <a:pt x="415" y="136"/>
                </a:cubicBezTo>
                <a:cubicBezTo>
                  <a:pt x="415" y="136"/>
                  <a:pt x="415" y="137"/>
                  <a:pt x="415" y="137"/>
                </a:cubicBezTo>
                <a:cubicBezTo>
                  <a:pt x="415" y="137"/>
                  <a:pt x="415" y="137"/>
                  <a:pt x="415" y="137"/>
                </a:cubicBezTo>
                <a:cubicBezTo>
                  <a:pt x="414" y="137"/>
                  <a:pt x="414" y="137"/>
                  <a:pt x="414" y="137"/>
                </a:cubicBezTo>
                <a:cubicBezTo>
                  <a:pt x="414" y="138"/>
                  <a:pt x="414" y="138"/>
                  <a:pt x="413" y="138"/>
                </a:cubicBezTo>
                <a:cubicBezTo>
                  <a:pt x="413" y="138"/>
                  <a:pt x="413" y="139"/>
                  <a:pt x="414" y="139"/>
                </a:cubicBezTo>
                <a:cubicBezTo>
                  <a:pt x="413" y="139"/>
                  <a:pt x="413" y="139"/>
                  <a:pt x="413" y="139"/>
                </a:cubicBezTo>
                <a:cubicBezTo>
                  <a:pt x="413" y="140"/>
                  <a:pt x="413" y="140"/>
                  <a:pt x="412" y="141"/>
                </a:cubicBezTo>
                <a:cubicBezTo>
                  <a:pt x="413" y="141"/>
                  <a:pt x="413" y="142"/>
                  <a:pt x="413" y="142"/>
                </a:cubicBezTo>
                <a:cubicBezTo>
                  <a:pt x="413" y="142"/>
                  <a:pt x="412" y="142"/>
                  <a:pt x="412" y="143"/>
                </a:cubicBezTo>
                <a:cubicBezTo>
                  <a:pt x="412" y="143"/>
                  <a:pt x="412" y="143"/>
                  <a:pt x="412" y="143"/>
                </a:cubicBezTo>
                <a:cubicBezTo>
                  <a:pt x="412" y="144"/>
                  <a:pt x="412" y="144"/>
                  <a:pt x="412" y="144"/>
                </a:cubicBezTo>
                <a:cubicBezTo>
                  <a:pt x="412" y="144"/>
                  <a:pt x="412" y="144"/>
                  <a:pt x="412" y="144"/>
                </a:cubicBezTo>
                <a:cubicBezTo>
                  <a:pt x="412" y="145"/>
                  <a:pt x="412" y="145"/>
                  <a:pt x="411" y="145"/>
                </a:cubicBezTo>
                <a:cubicBezTo>
                  <a:pt x="411" y="145"/>
                  <a:pt x="412" y="146"/>
                  <a:pt x="412" y="146"/>
                </a:cubicBezTo>
                <a:cubicBezTo>
                  <a:pt x="411" y="147"/>
                  <a:pt x="411" y="147"/>
                  <a:pt x="411" y="147"/>
                </a:cubicBezTo>
                <a:cubicBezTo>
                  <a:pt x="411" y="147"/>
                  <a:pt x="411" y="147"/>
                  <a:pt x="410" y="147"/>
                </a:cubicBezTo>
                <a:cubicBezTo>
                  <a:pt x="410" y="147"/>
                  <a:pt x="410" y="148"/>
                  <a:pt x="410" y="148"/>
                </a:cubicBezTo>
                <a:cubicBezTo>
                  <a:pt x="410" y="148"/>
                  <a:pt x="410" y="149"/>
                  <a:pt x="410" y="149"/>
                </a:cubicBezTo>
                <a:cubicBezTo>
                  <a:pt x="410" y="149"/>
                  <a:pt x="410" y="149"/>
                  <a:pt x="410" y="149"/>
                </a:cubicBezTo>
                <a:cubicBezTo>
                  <a:pt x="410" y="150"/>
                  <a:pt x="410" y="150"/>
                  <a:pt x="410" y="150"/>
                </a:cubicBezTo>
                <a:cubicBezTo>
                  <a:pt x="410" y="150"/>
                  <a:pt x="410" y="151"/>
                  <a:pt x="410" y="151"/>
                </a:cubicBezTo>
                <a:cubicBezTo>
                  <a:pt x="410" y="151"/>
                  <a:pt x="410" y="151"/>
                  <a:pt x="410" y="151"/>
                </a:cubicBezTo>
                <a:cubicBezTo>
                  <a:pt x="410" y="152"/>
                  <a:pt x="410" y="152"/>
                  <a:pt x="410" y="152"/>
                </a:cubicBezTo>
                <a:cubicBezTo>
                  <a:pt x="410" y="152"/>
                  <a:pt x="410" y="152"/>
                  <a:pt x="409" y="152"/>
                </a:cubicBezTo>
                <a:cubicBezTo>
                  <a:pt x="409" y="152"/>
                  <a:pt x="410" y="153"/>
                  <a:pt x="410" y="153"/>
                </a:cubicBezTo>
                <a:cubicBezTo>
                  <a:pt x="410" y="153"/>
                  <a:pt x="410" y="153"/>
                  <a:pt x="411" y="153"/>
                </a:cubicBezTo>
                <a:cubicBezTo>
                  <a:pt x="411" y="153"/>
                  <a:pt x="411" y="153"/>
                  <a:pt x="411" y="153"/>
                </a:cubicBezTo>
                <a:cubicBezTo>
                  <a:pt x="411" y="153"/>
                  <a:pt x="410" y="153"/>
                  <a:pt x="410" y="153"/>
                </a:cubicBezTo>
                <a:cubicBezTo>
                  <a:pt x="410" y="153"/>
                  <a:pt x="410" y="153"/>
                  <a:pt x="410" y="153"/>
                </a:cubicBezTo>
                <a:cubicBezTo>
                  <a:pt x="409" y="154"/>
                  <a:pt x="409" y="154"/>
                  <a:pt x="409" y="154"/>
                </a:cubicBezTo>
                <a:cubicBezTo>
                  <a:pt x="408" y="154"/>
                  <a:pt x="408" y="154"/>
                  <a:pt x="408" y="154"/>
                </a:cubicBezTo>
                <a:cubicBezTo>
                  <a:pt x="408" y="154"/>
                  <a:pt x="408" y="154"/>
                  <a:pt x="408" y="155"/>
                </a:cubicBezTo>
                <a:cubicBezTo>
                  <a:pt x="408" y="155"/>
                  <a:pt x="408" y="155"/>
                  <a:pt x="408" y="155"/>
                </a:cubicBezTo>
                <a:cubicBezTo>
                  <a:pt x="408" y="155"/>
                  <a:pt x="408" y="156"/>
                  <a:pt x="407" y="156"/>
                </a:cubicBezTo>
                <a:cubicBezTo>
                  <a:pt x="407" y="156"/>
                  <a:pt x="407" y="156"/>
                  <a:pt x="407" y="156"/>
                </a:cubicBezTo>
                <a:cubicBezTo>
                  <a:pt x="406" y="155"/>
                  <a:pt x="406" y="155"/>
                  <a:pt x="406" y="155"/>
                </a:cubicBezTo>
                <a:cubicBezTo>
                  <a:pt x="406" y="155"/>
                  <a:pt x="406" y="155"/>
                  <a:pt x="406" y="154"/>
                </a:cubicBezTo>
                <a:cubicBezTo>
                  <a:pt x="406" y="154"/>
                  <a:pt x="406" y="154"/>
                  <a:pt x="406" y="154"/>
                </a:cubicBezTo>
                <a:cubicBezTo>
                  <a:pt x="405" y="154"/>
                  <a:pt x="405" y="153"/>
                  <a:pt x="405" y="153"/>
                </a:cubicBezTo>
                <a:cubicBezTo>
                  <a:pt x="405" y="153"/>
                  <a:pt x="406" y="152"/>
                  <a:pt x="406" y="152"/>
                </a:cubicBezTo>
                <a:cubicBezTo>
                  <a:pt x="406" y="151"/>
                  <a:pt x="406" y="151"/>
                  <a:pt x="406" y="151"/>
                </a:cubicBezTo>
                <a:cubicBezTo>
                  <a:pt x="406" y="151"/>
                  <a:pt x="406" y="150"/>
                  <a:pt x="406" y="150"/>
                </a:cubicBezTo>
                <a:cubicBezTo>
                  <a:pt x="406" y="150"/>
                  <a:pt x="406" y="150"/>
                  <a:pt x="406" y="150"/>
                </a:cubicBezTo>
                <a:cubicBezTo>
                  <a:pt x="406" y="149"/>
                  <a:pt x="406" y="149"/>
                  <a:pt x="406" y="149"/>
                </a:cubicBezTo>
                <a:cubicBezTo>
                  <a:pt x="407" y="148"/>
                  <a:pt x="407" y="148"/>
                  <a:pt x="407" y="147"/>
                </a:cubicBezTo>
                <a:cubicBezTo>
                  <a:pt x="407" y="147"/>
                  <a:pt x="407" y="147"/>
                  <a:pt x="408" y="146"/>
                </a:cubicBezTo>
                <a:cubicBezTo>
                  <a:pt x="408" y="146"/>
                  <a:pt x="408" y="146"/>
                  <a:pt x="408" y="146"/>
                </a:cubicBezTo>
                <a:cubicBezTo>
                  <a:pt x="408" y="146"/>
                  <a:pt x="407" y="146"/>
                  <a:pt x="407" y="146"/>
                </a:cubicBezTo>
                <a:cubicBezTo>
                  <a:pt x="407" y="146"/>
                  <a:pt x="407" y="146"/>
                  <a:pt x="407" y="146"/>
                </a:cubicBezTo>
                <a:cubicBezTo>
                  <a:pt x="406" y="146"/>
                  <a:pt x="406" y="146"/>
                  <a:pt x="406" y="145"/>
                </a:cubicBezTo>
                <a:cubicBezTo>
                  <a:pt x="407" y="145"/>
                  <a:pt x="407" y="145"/>
                  <a:pt x="407" y="145"/>
                </a:cubicBezTo>
                <a:cubicBezTo>
                  <a:pt x="407" y="144"/>
                  <a:pt x="407" y="144"/>
                  <a:pt x="407" y="143"/>
                </a:cubicBezTo>
                <a:cubicBezTo>
                  <a:pt x="406" y="143"/>
                  <a:pt x="406" y="143"/>
                  <a:pt x="406" y="143"/>
                </a:cubicBezTo>
                <a:cubicBezTo>
                  <a:pt x="406" y="143"/>
                  <a:pt x="406" y="143"/>
                  <a:pt x="405" y="142"/>
                </a:cubicBezTo>
                <a:cubicBezTo>
                  <a:pt x="405" y="142"/>
                  <a:pt x="405" y="142"/>
                  <a:pt x="406" y="142"/>
                </a:cubicBezTo>
                <a:cubicBezTo>
                  <a:pt x="405" y="142"/>
                  <a:pt x="405" y="141"/>
                  <a:pt x="405" y="141"/>
                </a:cubicBezTo>
                <a:cubicBezTo>
                  <a:pt x="405" y="141"/>
                  <a:pt x="405" y="141"/>
                  <a:pt x="405" y="141"/>
                </a:cubicBezTo>
                <a:cubicBezTo>
                  <a:pt x="404" y="141"/>
                  <a:pt x="404" y="141"/>
                  <a:pt x="403" y="141"/>
                </a:cubicBezTo>
                <a:cubicBezTo>
                  <a:pt x="403" y="141"/>
                  <a:pt x="402" y="141"/>
                  <a:pt x="402" y="142"/>
                </a:cubicBezTo>
                <a:cubicBezTo>
                  <a:pt x="402" y="142"/>
                  <a:pt x="402" y="142"/>
                  <a:pt x="402" y="142"/>
                </a:cubicBezTo>
                <a:cubicBezTo>
                  <a:pt x="402" y="142"/>
                  <a:pt x="402" y="143"/>
                  <a:pt x="403" y="143"/>
                </a:cubicBezTo>
                <a:cubicBezTo>
                  <a:pt x="403" y="143"/>
                  <a:pt x="403" y="143"/>
                  <a:pt x="403" y="143"/>
                </a:cubicBezTo>
                <a:cubicBezTo>
                  <a:pt x="403" y="143"/>
                  <a:pt x="403" y="143"/>
                  <a:pt x="404" y="143"/>
                </a:cubicBezTo>
                <a:cubicBezTo>
                  <a:pt x="404" y="144"/>
                  <a:pt x="404" y="144"/>
                  <a:pt x="404" y="144"/>
                </a:cubicBezTo>
                <a:cubicBezTo>
                  <a:pt x="404" y="144"/>
                  <a:pt x="403" y="144"/>
                  <a:pt x="403" y="144"/>
                </a:cubicBezTo>
                <a:cubicBezTo>
                  <a:pt x="403" y="144"/>
                  <a:pt x="403" y="144"/>
                  <a:pt x="403" y="144"/>
                </a:cubicBezTo>
                <a:cubicBezTo>
                  <a:pt x="402" y="144"/>
                  <a:pt x="402" y="144"/>
                  <a:pt x="402" y="144"/>
                </a:cubicBezTo>
                <a:cubicBezTo>
                  <a:pt x="402" y="144"/>
                  <a:pt x="402" y="145"/>
                  <a:pt x="402" y="145"/>
                </a:cubicBezTo>
                <a:cubicBezTo>
                  <a:pt x="402" y="145"/>
                  <a:pt x="402" y="145"/>
                  <a:pt x="402" y="145"/>
                </a:cubicBezTo>
                <a:cubicBezTo>
                  <a:pt x="402" y="145"/>
                  <a:pt x="402" y="145"/>
                  <a:pt x="403" y="145"/>
                </a:cubicBezTo>
                <a:cubicBezTo>
                  <a:pt x="403" y="146"/>
                  <a:pt x="403" y="146"/>
                  <a:pt x="403" y="146"/>
                </a:cubicBezTo>
                <a:cubicBezTo>
                  <a:pt x="403" y="146"/>
                  <a:pt x="403" y="146"/>
                  <a:pt x="403" y="147"/>
                </a:cubicBezTo>
                <a:cubicBezTo>
                  <a:pt x="403" y="146"/>
                  <a:pt x="403" y="146"/>
                  <a:pt x="403" y="146"/>
                </a:cubicBezTo>
                <a:cubicBezTo>
                  <a:pt x="402" y="146"/>
                  <a:pt x="402" y="146"/>
                  <a:pt x="402" y="146"/>
                </a:cubicBezTo>
                <a:cubicBezTo>
                  <a:pt x="402" y="146"/>
                  <a:pt x="402" y="147"/>
                  <a:pt x="402" y="147"/>
                </a:cubicBezTo>
                <a:cubicBezTo>
                  <a:pt x="401" y="147"/>
                  <a:pt x="401" y="147"/>
                  <a:pt x="401" y="147"/>
                </a:cubicBezTo>
                <a:cubicBezTo>
                  <a:pt x="401" y="147"/>
                  <a:pt x="401" y="146"/>
                  <a:pt x="401" y="146"/>
                </a:cubicBezTo>
                <a:cubicBezTo>
                  <a:pt x="400" y="146"/>
                  <a:pt x="400" y="146"/>
                  <a:pt x="400" y="147"/>
                </a:cubicBezTo>
                <a:cubicBezTo>
                  <a:pt x="400" y="147"/>
                  <a:pt x="400" y="147"/>
                  <a:pt x="399" y="147"/>
                </a:cubicBezTo>
                <a:cubicBezTo>
                  <a:pt x="399" y="147"/>
                  <a:pt x="399" y="147"/>
                  <a:pt x="399" y="147"/>
                </a:cubicBezTo>
                <a:cubicBezTo>
                  <a:pt x="399" y="147"/>
                  <a:pt x="399" y="147"/>
                  <a:pt x="399" y="147"/>
                </a:cubicBezTo>
                <a:cubicBezTo>
                  <a:pt x="399" y="146"/>
                  <a:pt x="399" y="146"/>
                  <a:pt x="399" y="146"/>
                </a:cubicBezTo>
                <a:cubicBezTo>
                  <a:pt x="399" y="146"/>
                  <a:pt x="399" y="146"/>
                  <a:pt x="399" y="146"/>
                </a:cubicBezTo>
                <a:cubicBezTo>
                  <a:pt x="398" y="146"/>
                  <a:pt x="398" y="146"/>
                  <a:pt x="398" y="147"/>
                </a:cubicBezTo>
                <a:cubicBezTo>
                  <a:pt x="397" y="147"/>
                  <a:pt x="397" y="147"/>
                  <a:pt x="396" y="148"/>
                </a:cubicBezTo>
                <a:cubicBezTo>
                  <a:pt x="396" y="148"/>
                  <a:pt x="396" y="147"/>
                  <a:pt x="395" y="147"/>
                </a:cubicBezTo>
                <a:cubicBezTo>
                  <a:pt x="395" y="147"/>
                  <a:pt x="395" y="147"/>
                  <a:pt x="395" y="148"/>
                </a:cubicBezTo>
                <a:cubicBezTo>
                  <a:pt x="394" y="148"/>
                  <a:pt x="394" y="148"/>
                  <a:pt x="394" y="148"/>
                </a:cubicBezTo>
                <a:cubicBezTo>
                  <a:pt x="394" y="148"/>
                  <a:pt x="393" y="148"/>
                  <a:pt x="393" y="149"/>
                </a:cubicBezTo>
                <a:cubicBezTo>
                  <a:pt x="393" y="148"/>
                  <a:pt x="393" y="148"/>
                  <a:pt x="392" y="148"/>
                </a:cubicBezTo>
                <a:cubicBezTo>
                  <a:pt x="392" y="148"/>
                  <a:pt x="392" y="149"/>
                  <a:pt x="391" y="149"/>
                </a:cubicBezTo>
                <a:cubicBezTo>
                  <a:pt x="391" y="149"/>
                  <a:pt x="391" y="149"/>
                  <a:pt x="390" y="149"/>
                </a:cubicBezTo>
                <a:cubicBezTo>
                  <a:pt x="391" y="148"/>
                  <a:pt x="391" y="148"/>
                  <a:pt x="391" y="148"/>
                </a:cubicBezTo>
                <a:cubicBezTo>
                  <a:pt x="392" y="148"/>
                  <a:pt x="392" y="147"/>
                  <a:pt x="393" y="147"/>
                </a:cubicBezTo>
                <a:cubicBezTo>
                  <a:pt x="393" y="147"/>
                  <a:pt x="393" y="147"/>
                  <a:pt x="393" y="147"/>
                </a:cubicBezTo>
                <a:cubicBezTo>
                  <a:pt x="394" y="147"/>
                  <a:pt x="394" y="147"/>
                  <a:pt x="395" y="147"/>
                </a:cubicBezTo>
                <a:cubicBezTo>
                  <a:pt x="395" y="147"/>
                  <a:pt x="395" y="146"/>
                  <a:pt x="395" y="146"/>
                </a:cubicBezTo>
                <a:cubicBezTo>
                  <a:pt x="395" y="146"/>
                  <a:pt x="395" y="146"/>
                  <a:pt x="395" y="146"/>
                </a:cubicBezTo>
                <a:cubicBezTo>
                  <a:pt x="396" y="146"/>
                  <a:pt x="396" y="146"/>
                  <a:pt x="396" y="146"/>
                </a:cubicBezTo>
                <a:cubicBezTo>
                  <a:pt x="397" y="145"/>
                  <a:pt x="397" y="145"/>
                  <a:pt x="397" y="145"/>
                </a:cubicBezTo>
                <a:cubicBezTo>
                  <a:pt x="397" y="145"/>
                  <a:pt x="397" y="144"/>
                  <a:pt x="397" y="144"/>
                </a:cubicBezTo>
                <a:cubicBezTo>
                  <a:pt x="397" y="144"/>
                  <a:pt x="397" y="144"/>
                  <a:pt x="397" y="144"/>
                </a:cubicBezTo>
                <a:cubicBezTo>
                  <a:pt x="397" y="144"/>
                  <a:pt x="397" y="144"/>
                  <a:pt x="396" y="144"/>
                </a:cubicBezTo>
                <a:cubicBezTo>
                  <a:pt x="396" y="143"/>
                  <a:pt x="395" y="143"/>
                  <a:pt x="395" y="143"/>
                </a:cubicBezTo>
                <a:cubicBezTo>
                  <a:pt x="394" y="143"/>
                  <a:pt x="394" y="143"/>
                  <a:pt x="394" y="143"/>
                </a:cubicBezTo>
                <a:cubicBezTo>
                  <a:pt x="393" y="143"/>
                  <a:pt x="393" y="142"/>
                  <a:pt x="393" y="142"/>
                </a:cubicBezTo>
                <a:cubicBezTo>
                  <a:pt x="393" y="142"/>
                  <a:pt x="392" y="142"/>
                  <a:pt x="391" y="142"/>
                </a:cubicBezTo>
                <a:cubicBezTo>
                  <a:pt x="391" y="142"/>
                  <a:pt x="391" y="142"/>
                  <a:pt x="391" y="142"/>
                </a:cubicBezTo>
                <a:cubicBezTo>
                  <a:pt x="390" y="142"/>
                  <a:pt x="390" y="142"/>
                  <a:pt x="390" y="142"/>
                </a:cubicBezTo>
                <a:cubicBezTo>
                  <a:pt x="389" y="142"/>
                  <a:pt x="389" y="142"/>
                  <a:pt x="389" y="143"/>
                </a:cubicBezTo>
                <a:cubicBezTo>
                  <a:pt x="388" y="143"/>
                  <a:pt x="388" y="143"/>
                  <a:pt x="388" y="143"/>
                </a:cubicBezTo>
                <a:cubicBezTo>
                  <a:pt x="387" y="144"/>
                  <a:pt x="387" y="144"/>
                  <a:pt x="386" y="145"/>
                </a:cubicBezTo>
                <a:cubicBezTo>
                  <a:pt x="387" y="145"/>
                  <a:pt x="387" y="145"/>
                  <a:pt x="387" y="145"/>
                </a:cubicBezTo>
                <a:cubicBezTo>
                  <a:pt x="387" y="145"/>
                  <a:pt x="387" y="145"/>
                  <a:pt x="387" y="145"/>
                </a:cubicBezTo>
                <a:cubicBezTo>
                  <a:pt x="387" y="145"/>
                  <a:pt x="387" y="145"/>
                  <a:pt x="386" y="146"/>
                </a:cubicBezTo>
                <a:cubicBezTo>
                  <a:pt x="386" y="146"/>
                  <a:pt x="386" y="146"/>
                  <a:pt x="386" y="146"/>
                </a:cubicBezTo>
                <a:cubicBezTo>
                  <a:pt x="386" y="146"/>
                  <a:pt x="386" y="146"/>
                  <a:pt x="386" y="146"/>
                </a:cubicBezTo>
                <a:cubicBezTo>
                  <a:pt x="385" y="146"/>
                  <a:pt x="385" y="146"/>
                  <a:pt x="385" y="146"/>
                </a:cubicBezTo>
                <a:cubicBezTo>
                  <a:pt x="384" y="146"/>
                  <a:pt x="384" y="146"/>
                  <a:pt x="384" y="146"/>
                </a:cubicBezTo>
                <a:cubicBezTo>
                  <a:pt x="383" y="146"/>
                  <a:pt x="383" y="146"/>
                  <a:pt x="383" y="146"/>
                </a:cubicBezTo>
                <a:cubicBezTo>
                  <a:pt x="382" y="147"/>
                  <a:pt x="382" y="147"/>
                  <a:pt x="382" y="147"/>
                </a:cubicBezTo>
                <a:cubicBezTo>
                  <a:pt x="382" y="147"/>
                  <a:pt x="381" y="147"/>
                  <a:pt x="381" y="147"/>
                </a:cubicBezTo>
                <a:cubicBezTo>
                  <a:pt x="381" y="147"/>
                  <a:pt x="381" y="147"/>
                  <a:pt x="380" y="147"/>
                </a:cubicBezTo>
                <a:cubicBezTo>
                  <a:pt x="381" y="147"/>
                  <a:pt x="381" y="147"/>
                  <a:pt x="381" y="147"/>
                </a:cubicBezTo>
                <a:cubicBezTo>
                  <a:pt x="381" y="146"/>
                  <a:pt x="382" y="146"/>
                  <a:pt x="382" y="146"/>
                </a:cubicBezTo>
                <a:cubicBezTo>
                  <a:pt x="382" y="146"/>
                  <a:pt x="383" y="145"/>
                  <a:pt x="383" y="145"/>
                </a:cubicBezTo>
                <a:cubicBezTo>
                  <a:pt x="383" y="145"/>
                  <a:pt x="383" y="145"/>
                  <a:pt x="384" y="145"/>
                </a:cubicBezTo>
                <a:cubicBezTo>
                  <a:pt x="384" y="145"/>
                  <a:pt x="384" y="145"/>
                  <a:pt x="384" y="145"/>
                </a:cubicBezTo>
                <a:cubicBezTo>
                  <a:pt x="385" y="144"/>
                  <a:pt x="385" y="144"/>
                  <a:pt x="385" y="144"/>
                </a:cubicBezTo>
                <a:cubicBezTo>
                  <a:pt x="385" y="143"/>
                  <a:pt x="385" y="143"/>
                  <a:pt x="385" y="143"/>
                </a:cubicBezTo>
                <a:cubicBezTo>
                  <a:pt x="385" y="143"/>
                  <a:pt x="385" y="142"/>
                  <a:pt x="385" y="142"/>
                </a:cubicBezTo>
                <a:cubicBezTo>
                  <a:pt x="385" y="142"/>
                  <a:pt x="386" y="142"/>
                  <a:pt x="386" y="142"/>
                </a:cubicBezTo>
                <a:cubicBezTo>
                  <a:pt x="386" y="142"/>
                  <a:pt x="386" y="141"/>
                  <a:pt x="387" y="141"/>
                </a:cubicBezTo>
                <a:cubicBezTo>
                  <a:pt x="386" y="140"/>
                  <a:pt x="386" y="140"/>
                  <a:pt x="386" y="140"/>
                </a:cubicBezTo>
                <a:cubicBezTo>
                  <a:pt x="386" y="140"/>
                  <a:pt x="386" y="139"/>
                  <a:pt x="386" y="139"/>
                </a:cubicBezTo>
                <a:cubicBezTo>
                  <a:pt x="386" y="139"/>
                  <a:pt x="386" y="139"/>
                  <a:pt x="386" y="139"/>
                </a:cubicBezTo>
                <a:cubicBezTo>
                  <a:pt x="385" y="139"/>
                  <a:pt x="385" y="139"/>
                  <a:pt x="385" y="139"/>
                </a:cubicBezTo>
                <a:cubicBezTo>
                  <a:pt x="384" y="139"/>
                  <a:pt x="384" y="139"/>
                  <a:pt x="383" y="140"/>
                </a:cubicBezTo>
                <a:cubicBezTo>
                  <a:pt x="382" y="140"/>
                  <a:pt x="382" y="140"/>
                  <a:pt x="381" y="141"/>
                </a:cubicBezTo>
                <a:cubicBezTo>
                  <a:pt x="380" y="141"/>
                  <a:pt x="380" y="141"/>
                  <a:pt x="379" y="142"/>
                </a:cubicBezTo>
                <a:cubicBezTo>
                  <a:pt x="378" y="142"/>
                  <a:pt x="376" y="143"/>
                  <a:pt x="375" y="143"/>
                </a:cubicBezTo>
                <a:cubicBezTo>
                  <a:pt x="373" y="144"/>
                  <a:pt x="372" y="145"/>
                  <a:pt x="370" y="146"/>
                </a:cubicBezTo>
                <a:cubicBezTo>
                  <a:pt x="370" y="146"/>
                  <a:pt x="369" y="147"/>
                  <a:pt x="369" y="147"/>
                </a:cubicBezTo>
                <a:cubicBezTo>
                  <a:pt x="368" y="148"/>
                  <a:pt x="367" y="148"/>
                  <a:pt x="366" y="149"/>
                </a:cubicBezTo>
                <a:cubicBezTo>
                  <a:pt x="364" y="149"/>
                  <a:pt x="363" y="150"/>
                  <a:pt x="362" y="151"/>
                </a:cubicBezTo>
                <a:cubicBezTo>
                  <a:pt x="361" y="152"/>
                  <a:pt x="361" y="152"/>
                  <a:pt x="361" y="152"/>
                </a:cubicBezTo>
                <a:cubicBezTo>
                  <a:pt x="361" y="153"/>
                  <a:pt x="361" y="153"/>
                  <a:pt x="361" y="153"/>
                </a:cubicBezTo>
                <a:cubicBezTo>
                  <a:pt x="361" y="153"/>
                  <a:pt x="361" y="153"/>
                  <a:pt x="362" y="153"/>
                </a:cubicBezTo>
                <a:cubicBezTo>
                  <a:pt x="362" y="153"/>
                  <a:pt x="362" y="153"/>
                  <a:pt x="362" y="153"/>
                </a:cubicBezTo>
                <a:cubicBezTo>
                  <a:pt x="362" y="153"/>
                  <a:pt x="362" y="153"/>
                  <a:pt x="361" y="154"/>
                </a:cubicBezTo>
                <a:cubicBezTo>
                  <a:pt x="361" y="154"/>
                  <a:pt x="361" y="154"/>
                  <a:pt x="360" y="154"/>
                </a:cubicBezTo>
                <a:cubicBezTo>
                  <a:pt x="360" y="154"/>
                  <a:pt x="359" y="155"/>
                  <a:pt x="359" y="156"/>
                </a:cubicBezTo>
                <a:cubicBezTo>
                  <a:pt x="358" y="156"/>
                  <a:pt x="358" y="156"/>
                  <a:pt x="357" y="156"/>
                </a:cubicBezTo>
                <a:cubicBezTo>
                  <a:pt x="357" y="156"/>
                  <a:pt x="357" y="156"/>
                  <a:pt x="356" y="157"/>
                </a:cubicBezTo>
                <a:cubicBezTo>
                  <a:pt x="356" y="157"/>
                  <a:pt x="356" y="157"/>
                  <a:pt x="356" y="157"/>
                </a:cubicBezTo>
                <a:cubicBezTo>
                  <a:pt x="356" y="158"/>
                  <a:pt x="355" y="158"/>
                  <a:pt x="355" y="159"/>
                </a:cubicBezTo>
                <a:cubicBezTo>
                  <a:pt x="355" y="159"/>
                  <a:pt x="355" y="159"/>
                  <a:pt x="355" y="159"/>
                </a:cubicBezTo>
                <a:cubicBezTo>
                  <a:pt x="355" y="160"/>
                  <a:pt x="355" y="160"/>
                  <a:pt x="355" y="160"/>
                </a:cubicBezTo>
                <a:cubicBezTo>
                  <a:pt x="355" y="160"/>
                  <a:pt x="355" y="160"/>
                  <a:pt x="355" y="160"/>
                </a:cubicBezTo>
                <a:cubicBezTo>
                  <a:pt x="356" y="160"/>
                  <a:pt x="356" y="160"/>
                  <a:pt x="356" y="160"/>
                </a:cubicBezTo>
                <a:cubicBezTo>
                  <a:pt x="356" y="160"/>
                  <a:pt x="356" y="160"/>
                  <a:pt x="356" y="161"/>
                </a:cubicBezTo>
                <a:cubicBezTo>
                  <a:pt x="356" y="161"/>
                  <a:pt x="356" y="161"/>
                  <a:pt x="357" y="161"/>
                </a:cubicBezTo>
                <a:cubicBezTo>
                  <a:pt x="357" y="160"/>
                  <a:pt x="357" y="160"/>
                  <a:pt x="357" y="160"/>
                </a:cubicBezTo>
                <a:cubicBezTo>
                  <a:pt x="357" y="160"/>
                  <a:pt x="358" y="160"/>
                  <a:pt x="358" y="160"/>
                </a:cubicBezTo>
                <a:cubicBezTo>
                  <a:pt x="358" y="160"/>
                  <a:pt x="359" y="159"/>
                  <a:pt x="359" y="159"/>
                </a:cubicBezTo>
                <a:cubicBezTo>
                  <a:pt x="359" y="159"/>
                  <a:pt x="360" y="159"/>
                  <a:pt x="360" y="159"/>
                </a:cubicBezTo>
                <a:cubicBezTo>
                  <a:pt x="360" y="160"/>
                  <a:pt x="360" y="160"/>
                  <a:pt x="360" y="160"/>
                </a:cubicBezTo>
                <a:cubicBezTo>
                  <a:pt x="360" y="160"/>
                  <a:pt x="359" y="161"/>
                  <a:pt x="359" y="161"/>
                </a:cubicBezTo>
                <a:cubicBezTo>
                  <a:pt x="358" y="161"/>
                  <a:pt x="358" y="161"/>
                  <a:pt x="357" y="161"/>
                </a:cubicBezTo>
                <a:cubicBezTo>
                  <a:pt x="357" y="161"/>
                  <a:pt x="357" y="161"/>
                  <a:pt x="357" y="161"/>
                </a:cubicBezTo>
                <a:cubicBezTo>
                  <a:pt x="357" y="162"/>
                  <a:pt x="357" y="162"/>
                  <a:pt x="357" y="162"/>
                </a:cubicBezTo>
                <a:cubicBezTo>
                  <a:pt x="358" y="162"/>
                  <a:pt x="358" y="162"/>
                  <a:pt x="359" y="162"/>
                </a:cubicBezTo>
                <a:cubicBezTo>
                  <a:pt x="359" y="162"/>
                  <a:pt x="360" y="162"/>
                  <a:pt x="360" y="161"/>
                </a:cubicBezTo>
                <a:cubicBezTo>
                  <a:pt x="360" y="161"/>
                  <a:pt x="360" y="161"/>
                  <a:pt x="360" y="161"/>
                </a:cubicBezTo>
                <a:cubicBezTo>
                  <a:pt x="360" y="161"/>
                  <a:pt x="360" y="161"/>
                  <a:pt x="361" y="161"/>
                </a:cubicBezTo>
                <a:cubicBezTo>
                  <a:pt x="361" y="161"/>
                  <a:pt x="361" y="161"/>
                  <a:pt x="361" y="161"/>
                </a:cubicBezTo>
                <a:cubicBezTo>
                  <a:pt x="361" y="161"/>
                  <a:pt x="361" y="161"/>
                  <a:pt x="361" y="162"/>
                </a:cubicBezTo>
                <a:cubicBezTo>
                  <a:pt x="361" y="161"/>
                  <a:pt x="361" y="161"/>
                  <a:pt x="362" y="161"/>
                </a:cubicBezTo>
                <a:cubicBezTo>
                  <a:pt x="362" y="161"/>
                  <a:pt x="363" y="161"/>
                  <a:pt x="364" y="161"/>
                </a:cubicBezTo>
                <a:cubicBezTo>
                  <a:pt x="364" y="161"/>
                  <a:pt x="365" y="160"/>
                  <a:pt x="365" y="160"/>
                </a:cubicBezTo>
                <a:cubicBezTo>
                  <a:pt x="366" y="160"/>
                  <a:pt x="366" y="160"/>
                  <a:pt x="366" y="160"/>
                </a:cubicBezTo>
                <a:cubicBezTo>
                  <a:pt x="367" y="160"/>
                  <a:pt x="368" y="160"/>
                  <a:pt x="368" y="160"/>
                </a:cubicBezTo>
                <a:cubicBezTo>
                  <a:pt x="369" y="159"/>
                  <a:pt x="369" y="159"/>
                  <a:pt x="369" y="159"/>
                </a:cubicBezTo>
                <a:cubicBezTo>
                  <a:pt x="370" y="159"/>
                  <a:pt x="370" y="159"/>
                  <a:pt x="371" y="159"/>
                </a:cubicBezTo>
                <a:cubicBezTo>
                  <a:pt x="371" y="159"/>
                  <a:pt x="371" y="159"/>
                  <a:pt x="371" y="159"/>
                </a:cubicBezTo>
                <a:cubicBezTo>
                  <a:pt x="372" y="159"/>
                  <a:pt x="372" y="159"/>
                  <a:pt x="372" y="159"/>
                </a:cubicBezTo>
                <a:cubicBezTo>
                  <a:pt x="372" y="159"/>
                  <a:pt x="372" y="160"/>
                  <a:pt x="372" y="160"/>
                </a:cubicBezTo>
                <a:cubicBezTo>
                  <a:pt x="372" y="160"/>
                  <a:pt x="372" y="160"/>
                  <a:pt x="371" y="160"/>
                </a:cubicBezTo>
                <a:cubicBezTo>
                  <a:pt x="371" y="160"/>
                  <a:pt x="370" y="160"/>
                  <a:pt x="370" y="160"/>
                </a:cubicBezTo>
                <a:cubicBezTo>
                  <a:pt x="369" y="160"/>
                  <a:pt x="368" y="160"/>
                  <a:pt x="367" y="160"/>
                </a:cubicBezTo>
                <a:cubicBezTo>
                  <a:pt x="367" y="161"/>
                  <a:pt x="367" y="161"/>
                  <a:pt x="367" y="161"/>
                </a:cubicBezTo>
                <a:cubicBezTo>
                  <a:pt x="367" y="161"/>
                  <a:pt x="368" y="161"/>
                  <a:pt x="368" y="161"/>
                </a:cubicBezTo>
                <a:cubicBezTo>
                  <a:pt x="369" y="161"/>
                  <a:pt x="369" y="161"/>
                  <a:pt x="369" y="161"/>
                </a:cubicBezTo>
                <a:cubicBezTo>
                  <a:pt x="368" y="161"/>
                  <a:pt x="368" y="161"/>
                  <a:pt x="367" y="162"/>
                </a:cubicBezTo>
                <a:cubicBezTo>
                  <a:pt x="367" y="161"/>
                  <a:pt x="366" y="161"/>
                  <a:pt x="366" y="161"/>
                </a:cubicBezTo>
                <a:cubicBezTo>
                  <a:pt x="365" y="162"/>
                  <a:pt x="364" y="162"/>
                  <a:pt x="364" y="162"/>
                </a:cubicBezTo>
                <a:cubicBezTo>
                  <a:pt x="363" y="162"/>
                  <a:pt x="363" y="163"/>
                  <a:pt x="363" y="163"/>
                </a:cubicBezTo>
                <a:cubicBezTo>
                  <a:pt x="363" y="163"/>
                  <a:pt x="362" y="163"/>
                  <a:pt x="362" y="163"/>
                </a:cubicBezTo>
                <a:cubicBezTo>
                  <a:pt x="362" y="163"/>
                  <a:pt x="362" y="163"/>
                  <a:pt x="361" y="163"/>
                </a:cubicBezTo>
                <a:cubicBezTo>
                  <a:pt x="361" y="163"/>
                  <a:pt x="361" y="163"/>
                  <a:pt x="361" y="163"/>
                </a:cubicBezTo>
                <a:cubicBezTo>
                  <a:pt x="360" y="163"/>
                  <a:pt x="360" y="164"/>
                  <a:pt x="360" y="164"/>
                </a:cubicBezTo>
                <a:cubicBezTo>
                  <a:pt x="359" y="164"/>
                  <a:pt x="358" y="164"/>
                  <a:pt x="357" y="165"/>
                </a:cubicBezTo>
                <a:cubicBezTo>
                  <a:pt x="357" y="165"/>
                  <a:pt x="357" y="165"/>
                  <a:pt x="357" y="165"/>
                </a:cubicBezTo>
                <a:cubicBezTo>
                  <a:pt x="356" y="165"/>
                  <a:pt x="355" y="166"/>
                  <a:pt x="355" y="166"/>
                </a:cubicBezTo>
                <a:cubicBezTo>
                  <a:pt x="355" y="166"/>
                  <a:pt x="354" y="166"/>
                  <a:pt x="354" y="167"/>
                </a:cubicBezTo>
                <a:cubicBezTo>
                  <a:pt x="355" y="167"/>
                  <a:pt x="355" y="168"/>
                  <a:pt x="355" y="169"/>
                </a:cubicBezTo>
                <a:cubicBezTo>
                  <a:pt x="356" y="169"/>
                  <a:pt x="356" y="169"/>
                  <a:pt x="356" y="169"/>
                </a:cubicBezTo>
                <a:cubicBezTo>
                  <a:pt x="356" y="169"/>
                  <a:pt x="356" y="169"/>
                  <a:pt x="356" y="170"/>
                </a:cubicBezTo>
                <a:cubicBezTo>
                  <a:pt x="356" y="170"/>
                  <a:pt x="356" y="170"/>
                  <a:pt x="356" y="170"/>
                </a:cubicBezTo>
                <a:cubicBezTo>
                  <a:pt x="356" y="170"/>
                  <a:pt x="356" y="170"/>
                  <a:pt x="356" y="170"/>
                </a:cubicBezTo>
                <a:cubicBezTo>
                  <a:pt x="356" y="170"/>
                  <a:pt x="356" y="170"/>
                  <a:pt x="357" y="170"/>
                </a:cubicBezTo>
                <a:cubicBezTo>
                  <a:pt x="357" y="170"/>
                  <a:pt x="357" y="170"/>
                  <a:pt x="357" y="170"/>
                </a:cubicBezTo>
                <a:cubicBezTo>
                  <a:pt x="358" y="170"/>
                  <a:pt x="358" y="170"/>
                  <a:pt x="358" y="170"/>
                </a:cubicBezTo>
                <a:cubicBezTo>
                  <a:pt x="358" y="170"/>
                  <a:pt x="359" y="170"/>
                  <a:pt x="359" y="170"/>
                </a:cubicBezTo>
                <a:cubicBezTo>
                  <a:pt x="359" y="170"/>
                  <a:pt x="360" y="170"/>
                  <a:pt x="360" y="170"/>
                </a:cubicBezTo>
                <a:cubicBezTo>
                  <a:pt x="360" y="170"/>
                  <a:pt x="360" y="169"/>
                  <a:pt x="360" y="169"/>
                </a:cubicBezTo>
                <a:cubicBezTo>
                  <a:pt x="360" y="169"/>
                  <a:pt x="360" y="169"/>
                  <a:pt x="360" y="169"/>
                </a:cubicBezTo>
                <a:cubicBezTo>
                  <a:pt x="361" y="169"/>
                  <a:pt x="361" y="169"/>
                  <a:pt x="361" y="169"/>
                </a:cubicBezTo>
                <a:cubicBezTo>
                  <a:pt x="361" y="169"/>
                  <a:pt x="361" y="169"/>
                  <a:pt x="362" y="169"/>
                </a:cubicBezTo>
                <a:cubicBezTo>
                  <a:pt x="362" y="169"/>
                  <a:pt x="362" y="169"/>
                  <a:pt x="362" y="169"/>
                </a:cubicBezTo>
                <a:cubicBezTo>
                  <a:pt x="362" y="169"/>
                  <a:pt x="363" y="169"/>
                  <a:pt x="363" y="169"/>
                </a:cubicBezTo>
                <a:cubicBezTo>
                  <a:pt x="363" y="169"/>
                  <a:pt x="363" y="169"/>
                  <a:pt x="363" y="170"/>
                </a:cubicBezTo>
                <a:cubicBezTo>
                  <a:pt x="363" y="170"/>
                  <a:pt x="364" y="169"/>
                  <a:pt x="364" y="169"/>
                </a:cubicBezTo>
                <a:cubicBezTo>
                  <a:pt x="364" y="169"/>
                  <a:pt x="365" y="169"/>
                  <a:pt x="365" y="169"/>
                </a:cubicBezTo>
                <a:cubicBezTo>
                  <a:pt x="365" y="169"/>
                  <a:pt x="365" y="169"/>
                  <a:pt x="365" y="169"/>
                </a:cubicBezTo>
                <a:cubicBezTo>
                  <a:pt x="366" y="169"/>
                  <a:pt x="366" y="169"/>
                  <a:pt x="366" y="169"/>
                </a:cubicBezTo>
                <a:cubicBezTo>
                  <a:pt x="366" y="169"/>
                  <a:pt x="367" y="169"/>
                  <a:pt x="367" y="169"/>
                </a:cubicBezTo>
                <a:cubicBezTo>
                  <a:pt x="368" y="169"/>
                  <a:pt x="368" y="168"/>
                  <a:pt x="368" y="168"/>
                </a:cubicBezTo>
                <a:cubicBezTo>
                  <a:pt x="368" y="168"/>
                  <a:pt x="369" y="168"/>
                  <a:pt x="369" y="168"/>
                </a:cubicBezTo>
                <a:cubicBezTo>
                  <a:pt x="370" y="168"/>
                  <a:pt x="370" y="168"/>
                  <a:pt x="370" y="168"/>
                </a:cubicBezTo>
                <a:cubicBezTo>
                  <a:pt x="370" y="168"/>
                  <a:pt x="371" y="168"/>
                  <a:pt x="371" y="168"/>
                </a:cubicBezTo>
                <a:cubicBezTo>
                  <a:pt x="371" y="168"/>
                  <a:pt x="372" y="167"/>
                  <a:pt x="372" y="167"/>
                </a:cubicBezTo>
                <a:cubicBezTo>
                  <a:pt x="373" y="167"/>
                  <a:pt x="373" y="167"/>
                  <a:pt x="373" y="167"/>
                </a:cubicBezTo>
                <a:cubicBezTo>
                  <a:pt x="374" y="167"/>
                  <a:pt x="374" y="167"/>
                  <a:pt x="374" y="167"/>
                </a:cubicBezTo>
                <a:cubicBezTo>
                  <a:pt x="375" y="167"/>
                  <a:pt x="375" y="167"/>
                  <a:pt x="375" y="167"/>
                </a:cubicBezTo>
                <a:cubicBezTo>
                  <a:pt x="375" y="167"/>
                  <a:pt x="375" y="167"/>
                  <a:pt x="375" y="167"/>
                </a:cubicBezTo>
                <a:cubicBezTo>
                  <a:pt x="376" y="167"/>
                  <a:pt x="376" y="167"/>
                  <a:pt x="376" y="167"/>
                </a:cubicBezTo>
                <a:cubicBezTo>
                  <a:pt x="376" y="167"/>
                  <a:pt x="377" y="167"/>
                  <a:pt x="377" y="167"/>
                </a:cubicBezTo>
                <a:cubicBezTo>
                  <a:pt x="377" y="168"/>
                  <a:pt x="377" y="168"/>
                  <a:pt x="377" y="168"/>
                </a:cubicBezTo>
                <a:cubicBezTo>
                  <a:pt x="377" y="168"/>
                  <a:pt x="377" y="168"/>
                  <a:pt x="378" y="168"/>
                </a:cubicBezTo>
                <a:cubicBezTo>
                  <a:pt x="378" y="168"/>
                  <a:pt x="378" y="168"/>
                  <a:pt x="379" y="168"/>
                </a:cubicBezTo>
                <a:cubicBezTo>
                  <a:pt x="379" y="168"/>
                  <a:pt x="379" y="168"/>
                  <a:pt x="379" y="168"/>
                </a:cubicBezTo>
                <a:cubicBezTo>
                  <a:pt x="380" y="168"/>
                  <a:pt x="380" y="168"/>
                  <a:pt x="380" y="168"/>
                </a:cubicBezTo>
                <a:cubicBezTo>
                  <a:pt x="380" y="168"/>
                  <a:pt x="380" y="168"/>
                  <a:pt x="380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81" y="169"/>
                  <a:pt x="381" y="169"/>
                  <a:pt x="381" y="169"/>
                </a:cubicBezTo>
                <a:cubicBezTo>
                  <a:pt x="382" y="169"/>
                  <a:pt x="382" y="169"/>
                  <a:pt x="382" y="169"/>
                </a:cubicBezTo>
                <a:cubicBezTo>
                  <a:pt x="383" y="169"/>
                  <a:pt x="384" y="169"/>
                  <a:pt x="384" y="170"/>
                </a:cubicBezTo>
                <a:cubicBezTo>
                  <a:pt x="384" y="170"/>
                  <a:pt x="384" y="170"/>
                  <a:pt x="384" y="170"/>
                </a:cubicBezTo>
                <a:cubicBezTo>
                  <a:pt x="384" y="170"/>
                  <a:pt x="384" y="170"/>
                  <a:pt x="384" y="170"/>
                </a:cubicBezTo>
                <a:cubicBezTo>
                  <a:pt x="384" y="170"/>
                  <a:pt x="384" y="170"/>
                  <a:pt x="384" y="171"/>
                </a:cubicBezTo>
                <a:cubicBezTo>
                  <a:pt x="384" y="171"/>
                  <a:pt x="384" y="171"/>
                  <a:pt x="384" y="170"/>
                </a:cubicBezTo>
                <a:cubicBezTo>
                  <a:pt x="383" y="171"/>
                  <a:pt x="382" y="171"/>
                  <a:pt x="382" y="171"/>
                </a:cubicBezTo>
                <a:cubicBezTo>
                  <a:pt x="381" y="171"/>
                  <a:pt x="381" y="171"/>
                  <a:pt x="380" y="171"/>
                </a:cubicBezTo>
                <a:cubicBezTo>
                  <a:pt x="380" y="171"/>
                  <a:pt x="379" y="171"/>
                  <a:pt x="379" y="171"/>
                </a:cubicBezTo>
                <a:cubicBezTo>
                  <a:pt x="379" y="171"/>
                  <a:pt x="379" y="171"/>
                  <a:pt x="378" y="171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78" y="172"/>
                  <a:pt x="377" y="172"/>
                  <a:pt x="377" y="172"/>
                </a:cubicBezTo>
                <a:cubicBezTo>
                  <a:pt x="377" y="172"/>
                  <a:pt x="377" y="172"/>
                  <a:pt x="376" y="172"/>
                </a:cubicBezTo>
                <a:cubicBezTo>
                  <a:pt x="376" y="172"/>
                  <a:pt x="376" y="172"/>
                  <a:pt x="375" y="172"/>
                </a:cubicBezTo>
                <a:cubicBezTo>
                  <a:pt x="375" y="172"/>
                  <a:pt x="375" y="172"/>
                  <a:pt x="375" y="171"/>
                </a:cubicBezTo>
                <a:cubicBezTo>
                  <a:pt x="374" y="171"/>
                  <a:pt x="374" y="171"/>
                  <a:pt x="374" y="171"/>
                </a:cubicBezTo>
                <a:cubicBezTo>
                  <a:pt x="374" y="172"/>
                  <a:pt x="373" y="172"/>
                  <a:pt x="373" y="172"/>
                </a:cubicBezTo>
                <a:cubicBezTo>
                  <a:pt x="373" y="172"/>
                  <a:pt x="372" y="172"/>
                  <a:pt x="372" y="172"/>
                </a:cubicBezTo>
                <a:cubicBezTo>
                  <a:pt x="372" y="172"/>
                  <a:pt x="372" y="172"/>
                  <a:pt x="372" y="172"/>
                </a:cubicBezTo>
                <a:cubicBezTo>
                  <a:pt x="371" y="172"/>
                  <a:pt x="371" y="172"/>
                  <a:pt x="370" y="172"/>
                </a:cubicBezTo>
                <a:cubicBezTo>
                  <a:pt x="370" y="172"/>
                  <a:pt x="370" y="172"/>
                  <a:pt x="370" y="171"/>
                </a:cubicBezTo>
                <a:cubicBezTo>
                  <a:pt x="370" y="171"/>
                  <a:pt x="370" y="171"/>
                  <a:pt x="369" y="172"/>
                </a:cubicBezTo>
                <a:cubicBezTo>
                  <a:pt x="369" y="172"/>
                  <a:pt x="369" y="172"/>
                  <a:pt x="369" y="172"/>
                </a:cubicBezTo>
                <a:cubicBezTo>
                  <a:pt x="368" y="172"/>
                  <a:pt x="368" y="172"/>
                  <a:pt x="368" y="172"/>
                </a:cubicBezTo>
                <a:cubicBezTo>
                  <a:pt x="367" y="172"/>
                  <a:pt x="367" y="172"/>
                  <a:pt x="367" y="172"/>
                </a:cubicBezTo>
                <a:cubicBezTo>
                  <a:pt x="366" y="172"/>
                  <a:pt x="365" y="173"/>
                  <a:pt x="364" y="173"/>
                </a:cubicBezTo>
                <a:cubicBezTo>
                  <a:pt x="364" y="173"/>
                  <a:pt x="363" y="173"/>
                  <a:pt x="363" y="173"/>
                </a:cubicBezTo>
                <a:cubicBezTo>
                  <a:pt x="362" y="173"/>
                  <a:pt x="362" y="173"/>
                  <a:pt x="362" y="173"/>
                </a:cubicBezTo>
                <a:cubicBezTo>
                  <a:pt x="360" y="174"/>
                  <a:pt x="359" y="174"/>
                  <a:pt x="357" y="175"/>
                </a:cubicBezTo>
                <a:cubicBezTo>
                  <a:pt x="357" y="175"/>
                  <a:pt x="357" y="175"/>
                  <a:pt x="356" y="175"/>
                </a:cubicBezTo>
                <a:cubicBezTo>
                  <a:pt x="356" y="175"/>
                  <a:pt x="356" y="175"/>
                  <a:pt x="355" y="176"/>
                </a:cubicBezTo>
                <a:cubicBezTo>
                  <a:pt x="355" y="176"/>
                  <a:pt x="355" y="176"/>
                  <a:pt x="355" y="176"/>
                </a:cubicBezTo>
                <a:cubicBezTo>
                  <a:pt x="355" y="177"/>
                  <a:pt x="355" y="177"/>
                  <a:pt x="355" y="177"/>
                </a:cubicBezTo>
                <a:cubicBezTo>
                  <a:pt x="355" y="178"/>
                  <a:pt x="354" y="178"/>
                  <a:pt x="354" y="179"/>
                </a:cubicBezTo>
                <a:cubicBezTo>
                  <a:pt x="354" y="179"/>
                  <a:pt x="355" y="179"/>
                  <a:pt x="355" y="180"/>
                </a:cubicBezTo>
                <a:cubicBezTo>
                  <a:pt x="355" y="180"/>
                  <a:pt x="355" y="180"/>
                  <a:pt x="355" y="180"/>
                </a:cubicBezTo>
                <a:cubicBezTo>
                  <a:pt x="355" y="180"/>
                  <a:pt x="355" y="180"/>
                  <a:pt x="355" y="181"/>
                </a:cubicBezTo>
                <a:cubicBezTo>
                  <a:pt x="355" y="181"/>
                  <a:pt x="356" y="181"/>
                  <a:pt x="356" y="181"/>
                </a:cubicBezTo>
                <a:cubicBezTo>
                  <a:pt x="356" y="181"/>
                  <a:pt x="356" y="181"/>
                  <a:pt x="356" y="181"/>
                </a:cubicBezTo>
                <a:cubicBezTo>
                  <a:pt x="356" y="181"/>
                  <a:pt x="356" y="181"/>
                  <a:pt x="355" y="181"/>
                </a:cubicBezTo>
                <a:cubicBezTo>
                  <a:pt x="356" y="182"/>
                  <a:pt x="356" y="182"/>
                  <a:pt x="357" y="182"/>
                </a:cubicBezTo>
                <a:cubicBezTo>
                  <a:pt x="357" y="183"/>
                  <a:pt x="357" y="183"/>
                  <a:pt x="358" y="183"/>
                </a:cubicBezTo>
                <a:cubicBezTo>
                  <a:pt x="358" y="183"/>
                  <a:pt x="358" y="183"/>
                  <a:pt x="358" y="183"/>
                </a:cubicBezTo>
                <a:cubicBezTo>
                  <a:pt x="359" y="183"/>
                  <a:pt x="359" y="183"/>
                  <a:pt x="360" y="183"/>
                </a:cubicBezTo>
                <a:cubicBezTo>
                  <a:pt x="360" y="183"/>
                  <a:pt x="360" y="183"/>
                  <a:pt x="361" y="183"/>
                </a:cubicBezTo>
                <a:cubicBezTo>
                  <a:pt x="361" y="183"/>
                  <a:pt x="361" y="183"/>
                  <a:pt x="361" y="183"/>
                </a:cubicBezTo>
                <a:cubicBezTo>
                  <a:pt x="362" y="183"/>
                  <a:pt x="362" y="183"/>
                  <a:pt x="362" y="183"/>
                </a:cubicBezTo>
                <a:cubicBezTo>
                  <a:pt x="362" y="183"/>
                  <a:pt x="363" y="183"/>
                  <a:pt x="363" y="183"/>
                </a:cubicBezTo>
                <a:cubicBezTo>
                  <a:pt x="363" y="183"/>
                  <a:pt x="364" y="182"/>
                  <a:pt x="364" y="182"/>
                </a:cubicBezTo>
                <a:cubicBezTo>
                  <a:pt x="364" y="182"/>
                  <a:pt x="365" y="182"/>
                  <a:pt x="365" y="182"/>
                </a:cubicBezTo>
                <a:cubicBezTo>
                  <a:pt x="365" y="182"/>
                  <a:pt x="365" y="182"/>
                  <a:pt x="366" y="182"/>
                </a:cubicBezTo>
                <a:cubicBezTo>
                  <a:pt x="366" y="182"/>
                  <a:pt x="367" y="182"/>
                  <a:pt x="367" y="182"/>
                </a:cubicBezTo>
                <a:cubicBezTo>
                  <a:pt x="367" y="182"/>
                  <a:pt x="368" y="182"/>
                  <a:pt x="368" y="182"/>
                </a:cubicBezTo>
                <a:cubicBezTo>
                  <a:pt x="368" y="182"/>
                  <a:pt x="368" y="182"/>
                  <a:pt x="369" y="182"/>
                </a:cubicBezTo>
                <a:cubicBezTo>
                  <a:pt x="369" y="183"/>
                  <a:pt x="369" y="183"/>
                  <a:pt x="369" y="183"/>
                </a:cubicBezTo>
                <a:cubicBezTo>
                  <a:pt x="369" y="183"/>
                  <a:pt x="368" y="183"/>
                  <a:pt x="368" y="183"/>
                </a:cubicBezTo>
                <a:cubicBezTo>
                  <a:pt x="368" y="183"/>
                  <a:pt x="368" y="184"/>
                  <a:pt x="368" y="184"/>
                </a:cubicBezTo>
                <a:cubicBezTo>
                  <a:pt x="368" y="184"/>
                  <a:pt x="368" y="184"/>
                  <a:pt x="368" y="184"/>
                </a:cubicBezTo>
                <a:cubicBezTo>
                  <a:pt x="368" y="184"/>
                  <a:pt x="368" y="184"/>
                  <a:pt x="368" y="185"/>
                </a:cubicBezTo>
                <a:cubicBezTo>
                  <a:pt x="368" y="185"/>
                  <a:pt x="368" y="185"/>
                  <a:pt x="368" y="185"/>
                </a:cubicBezTo>
                <a:cubicBezTo>
                  <a:pt x="367" y="185"/>
                  <a:pt x="367" y="186"/>
                  <a:pt x="366" y="186"/>
                </a:cubicBezTo>
                <a:cubicBezTo>
                  <a:pt x="366" y="186"/>
                  <a:pt x="366" y="186"/>
                  <a:pt x="366" y="186"/>
                </a:cubicBezTo>
                <a:cubicBezTo>
                  <a:pt x="366" y="187"/>
                  <a:pt x="366" y="187"/>
                  <a:pt x="366" y="187"/>
                </a:cubicBezTo>
                <a:cubicBezTo>
                  <a:pt x="366" y="187"/>
                  <a:pt x="367" y="187"/>
                  <a:pt x="367" y="187"/>
                </a:cubicBezTo>
                <a:cubicBezTo>
                  <a:pt x="367" y="187"/>
                  <a:pt x="367" y="188"/>
                  <a:pt x="367" y="188"/>
                </a:cubicBezTo>
                <a:cubicBezTo>
                  <a:pt x="368" y="188"/>
                  <a:pt x="368" y="188"/>
                  <a:pt x="368" y="189"/>
                </a:cubicBezTo>
                <a:cubicBezTo>
                  <a:pt x="368" y="189"/>
                  <a:pt x="368" y="189"/>
                  <a:pt x="368" y="189"/>
                </a:cubicBezTo>
                <a:cubicBezTo>
                  <a:pt x="368" y="189"/>
                  <a:pt x="368" y="189"/>
                  <a:pt x="367" y="190"/>
                </a:cubicBezTo>
                <a:cubicBezTo>
                  <a:pt x="367" y="190"/>
                  <a:pt x="367" y="190"/>
                  <a:pt x="368" y="190"/>
                </a:cubicBezTo>
                <a:cubicBezTo>
                  <a:pt x="368" y="190"/>
                  <a:pt x="369" y="189"/>
                  <a:pt x="370" y="189"/>
                </a:cubicBezTo>
                <a:cubicBezTo>
                  <a:pt x="370" y="189"/>
                  <a:pt x="370" y="189"/>
                  <a:pt x="370" y="189"/>
                </a:cubicBezTo>
                <a:cubicBezTo>
                  <a:pt x="370" y="189"/>
                  <a:pt x="371" y="189"/>
                  <a:pt x="371" y="189"/>
                </a:cubicBezTo>
                <a:cubicBezTo>
                  <a:pt x="371" y="189"/>
                  <a:pt x="371" y="189"/>
                  <a:pt x="371" y="189"/>
                </a:cubicBezTo>
                <a:cubicBezTo>
                  <a:pt x="371" y="189"/>
                  <a:pt x="372" y="189"/>
                  <a:pt x="372" y="189"/>
                </a:cubicBezTo>
                <a:cubicBezTo>
                  <a:pt x="372" y="188"/>
                  <a:pt x="372" y="188"/>
                  <a:pt x="372" y="188"/>
                </a:cubicBezTo>
                <a:cubicBezTo>
                  <a:pt x="372" y="188"/>
                  <a:pt x="373" y="188"/>
                  <a:pt x="373" y="188"/>
                </a:cubicBezTo>
                <a:cubicBezTo>
                  <a:pt x="373" y="188"/>
                  <a:pt x="374" y="188"/>
                  <a:pt x="374" y="188"/>
                </a:cubicBezTo>
                <a:cubicBezTo>
                  <a:pt x="375" y="188"/>
                  <a:pt x="376" y="188"/>
                  <a:pt x="376" y="188"/>
                </a:cubicBezTo>
                <a:cubicBezTo>
                  <a:pt x="376" y="188"/>
                  <a:pt x="377" y="187"/>
                  <a:pt x="377" y="187"/>
                </a:cubicBezTo>
                <a:cubicBezTo>
                  <a:pt x="377" y="187"/>
                  <a:pt x="378" y="187"/>
                  <a:pt x="378" y="187"/>
                </a:cubicBezTo>
                <a:cubicBezTo>
                  <a:pt x="378" y="187"/>
                  <a:pt x="378" y="187"/>
                  <a:pt x="379" y="187"/>
                </a:cubicBezTo>
                <a:cubicBezTo>
                  <a:pt x="379" y="187"/>
                  <a:pt x="379" y="187"/>
                  <a:pt x="379" y="187"/>
                </a:cubicBezTo>
                <a:cubicBezTo>
                  <a:pt x="379" y="187"/>
                  <a:pt x="379" y="187"/>
                  <a:pt x="379" y="187"/>
                </a:cubicBezTo>
                <a:cubicBezTo>
                  <a:pt x="380" y="187"/>
                  <a:pt x="380" y="186"/>
                  <a:pt x="380" y="186"/>
                </a:cubicBezTo>
                <a:cubicBezTo>
                  <a:pt x="380" y="186"/>
                  <a:pt x="380" y="186"/>
                  <a:pt x="381" y="186"/>
                </a:cubicBezTo>
                <a:cubicBezTo>
                  <a:pt x="381" y="186"/>
                  <a:pt x="381" y="187"/>
                  <a:pt x="381" y="187"/>
                </a:cubicBezTo>
                <a:cubicBezTo>
                  <a:pt x="381" y="187"/>
                  <a:pt x="381" y="186"/>
                  <a:pt x="382" y="186"/>
                </a:cubicBezTo>
                <a:cubicBezTo>
                  <a:pt x="382" y="186"/>
                  <a:pt x="382" y="186"/>
                  <a:pt x="382" y="186"/>
                </a:cubicBezTo>
                <a:cubicBezTo>
                  <a:pt x="382" y="186"/>
                  <a:pt x="382" y="186"/>
                  <a:pt x="383" y="186"/>
                </a:cubicBezTo>
                <a:cubicBezTo>
                  <a:pt x="383" y="186"/>
                  <a:pt x="383" y="186"/>
                  <a:pt x="383" y="187"/>
                </a:cubicBezTo>
                <a:cubicBezTo>
                  <a:pt x="383" y="187"/>
                  <a:pt x="383" y="186"/>
                  <a:pt x="383" y="186"/>
                </a:cubicBezTo>
                <a:cubicBezTo>
                  <a:pt x="384" y="186"/>
                  <a:pt x="384" y="186"/>
                  <a:pt x="384" y="186"/>
                </a:cubicBezTo>
                <a:cubicBezTo>
                  <a:pt x="384" y="186"/>
                  <a:pt x="385" y="186"/>
                  <a:pt x="385" y="185"/>
                </a:cubicBezTo>
                <a:cubicBezTo>
                  <a:pt x="385" y="185"/>
                  <a:pt x="386" y="185"/>
                  <a:pt x="386" y="185"/>
                </a:cubicBezTo>
                <a:cubicBezTo>
                  <a:pt x="386" y="185"/>
                  <a:pt x="386" y="185"/>
                  <a:pt x="387" y="184"/>
                </a:cubicBezTo>
                <a:cubicBezTo>
                  <a:pt x="387" y="184"/>
                  <a:pt x="387" y="184"/>
                  <a:pt x="387" y="184"/>
                </a:cubicBezTo>
                <a:cubicBezTo>
                  <a:pt x="388" y="184"/>
                  <a:pt x="388" y="183"/>
                  <a:pt x="388" y="183"/>
                </a:cubicBezTo>
                <a:cubicBezTo>
                  <a:pt x="389" y="183"/>
                  <a:pt x="389" y="183"/>
                  <a:pt x="390" y="182"/>
                </a:cubicBezTo>
                <a:cubicBezTo>
                  <a:pt x="390" y="182"/>
                  <a:pt x="390" y="182"/>
                  <a:pt x="391" y="182"/>
                </a:cubicBezTo>
                <a:cubicBezTo>
                  <a:pt x="391" y="182"/>
                  <a:pt x="391" y="182"/>
                  <a:pt x="391" y="182"/>
                </a:cubicBezTo>
                <a:cubicBezTo>
                  <a:pt x="391" y="181"/>
                  <a:pt x="391" y="181"/>
                  <a:pt x="391" y="181"/>
                </a:cubicBezTo>
                <a:cubicBezTo>
                  <a:pt x="392" y="181"/>
                  <a:pt x="392" y="181"/>
                  <a:pt x="393" y="181"/>
                </a:cubicBezTo>
                <a:cubicBezTo>
                  <a:pt x="393" y="181"/>
                  <a:pt x="393" y="181"/>
                  <a:pt x="393" y="181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395" y="181"/>
                  <a:pt x="396" y="180"/>
                  <a:pt x="397" y="180"/>
                </a:cubicBezTo>
                <a:cubicBezTo>
                  <a:pt x="397" y="180"/>
                  <a:pt x="398" y="179"/>
                  <a:pt x="398" y="179"/>
                </a:cubicBezTo>
                <a:cubicBezTo>
                  <a:pt x="399" y="179"/>
                  <a:pt x="399" y="178"/>
                  <a:pt x="399" y="178"/>
                </a:cubicBezTo>
                <a:cubicBezTo>
                  <a:pt x="399" y="178"/>
                  <a:pt x="399" y="178"/>
                  <a:pt x="399" y="178"/>
                </a:cubicBezTo>
                <a:cubicBezTo>
                  <a:pt x="399" y="178"/>
                  <a:pt x="399" y="178"/>
                  <a:pt x="400" y="178"/>
                </a:cubicBezTo>
                <a:cubicBezTo>
                  <a:pt x="400" y="178"/>
                  <a:pt x="400" y="178"/>
                  <a:pt x="400" y="178"/>
                </a:cubicBezTo>
                <a:cubicBezTo>
                  <a:pt x="400" y="177"/>
                  <a:pt x="400" y="177"/>
                  <a:pt x="401" y="177"/>
                </a:cubicBezTo>
                <a:cubicBezTo>
                  <a:pt x="401" y="177"/>
                  <a:pt x="400" y="177"/>
                  <a:pt x="400" y="177"/>
                </a:cubicBezTo>
                <a:cubicBezTo>
                  <a:pt x="400" y="177"/>
                  <a:pt x="401" y="176"/>
                  <a:pt x="401" y="176"/>
                </a:cubicBezTo>
                <a:cubicBezTo>
                  <a:pt x="401" y="176"/>
                  <a:pt x="401" y="176"/>
                  <a:pt x="401" y="176"/>
                </a:cubicBezTo>
                <a:cubicBezTo>
                  <a:pt x="401" y="176"/>
                  <a:pt x="402" y="176"/>
                  <a:pt x="402" y="176"/>
                </a:cubicBezTo>
                <a:cubicBezTo>
                  <a:pt x="402" y="176"/>
                  <a:pt x="402" y="176"/>
                  <a:pt x="402" y="176"/>
                </a:cubicBezTo>
                <a:cubicBezTo>
                  <a:pt x="402" y="175"/>
                  <a:pt x="402" y="175"/>
                  <a:pt x="402" y="175"/>
                </a:cubicBezTo>
                <a:cubicBezTo>
                  <a:pt x="402" y="175"/>
                  <a:pt x="402" y="175"/>
                  <a:pt x="402" y="175"/>
                </a:cubicBezTo>
                <a:cubicBezTo>
                  <a:pt x="403" y="175"/>
                  <a:pt x="403" y="175"/>
                  <a:pt x="403" y="175"/>
                </a:cubicBezTo>
                <a:cubicBezTo>
                  <a:pt x="403" y="175"/>
                  <a:pt x="403" y="175"/>
                  <a:pt x="403" y="175"/>
                </a:cubicBezTo>
                <a:cubicBezTo>
                  <a:pt x="403" y="175"/>
                  <a:pt x="403" y="176"/>
                  <a:pt x="404" y="176"/>
                </a:cubicBezTo>
                <a:cubicBezTo>
                  <a:pt x="404" y="176"/>
                  <a:pt x="404" y="176"/>
                  <a:pt x="404" y="176"/>
                </a:cubicBezTo>
                <a:cubicBezTo>
                  <a:pt x="404" y="176"/>
                  <a:pt x="404" y="176"/>
                  <a:pt x="403" y="176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3" y="178"/>
                  <a:pt x="403" y="178"/>
                  <a:pt x="403" y="178"/>
                </a:cubicBezTo>
                <a:cubicBezTo>
                  <a:pt x="403" y="178"/>
                  <a:pt x="403" y="178"/>
                  <a:pt x="403" y="178"/>
                </a:cubicBezTo>
                <a:cubicBezTo>
                  <a:pt x="403" y="178"/>
                  <a:pt x="403" y="178"/>
                  <a:pt x="404" y="178"/>
                </a:cubicBezTo>
                <a:cubicBezTo>
                  <a:pt x="404" y="178"/>
                  <a:pt x="404" y="178"/>
                  <a:pt x="405" y="178"/>
                </a:cubicBezTo>
                <a:cubicBezTo>
                  <a:pt x="405" y="178"/>
                  <a:pt x="405" y="178"/>
                  <a:pt x="405" y="178"/>
                </a:cubicBezTo>
                <a:cubicBezTo>
                  <a:pt x="405" y="178"/>
                  <a:pt x="405" y="178"/>
                  <a:pt x="406" y="178"/>
                </a:cubicBezTo>
                <a:cubicBezTo>
                  <a:pt x="406" y="178"/>
                  <a:pt x="406" y="178"/>
                  <a:pt x="407" y="178"/>
                </a:cubicBezTo>
                <a:cubicBezTo>
                  <a:pt x="407" y="178"/>
                  <a:pt x="407" y="178"/>
                  <a:pt x="407" y="178"/>
                </a:cubicBezTo>
                <a:cubicBezTo>
                  <a:pt x="407" y="178"/>
                  <a:pt x="407" y="178"/>
                  <a:pt x="408" y="178"/>
                </a:cubicBezTo>
                <a:cubicBezTo>
                  <a:pt x="408" y="178"/>
                  <a:pt x="408" y="178"/>
                  <a:pt x="408" y="178"/>
                </a:cubicBezTo>
                <a:cubicBezTo>
                  <a:pt x="408" y="178"/>
                  <a:pt x="408" y="178"/>
                  <a:pt x="408" y="178"/>
                </a:cubicBezTo>
                <a:cubicBezTo>
                  <a:pt x="408" y="178"/>
                  <a:pt x="408" y="178"/>
                  <a:pt x="409" y="178"/>
                </a:cubicBezTo>
                <a:cubicBezTo>
                  <a:pt x="409" y="178"/>
                  <a:pt x="409" y="178"/>
                  <a:pt x="409" y="178"/>
                </a:cubicBezTo>
                <a:cubicBezTo>
                  <a:pt x="409" y="178"/>
                  <a:pt x="408" y="179"/>
                  <a:pt x="408" y="179"/>
                </a:cubicBezTo>
                <a:cubicBezTo>
                  <a:pt x="408" y="179"/>
                  <a:pt x="408" y="179"/>
                  <a:pt x="407" y="179"/>
                </a:cubicBezTo>
                <a:cubicBezTo>
                  <a:pt x="407" y="179"/>
                  <a:pt x="407" y="179"/>
                  <a:pt x="407" y="180"/>
                </a:cubicBezTo>
                <a:cubicBezTo>
                  <a:pt x="407" y="180"/>
                  <a:pt x="407" y="180"/>
                  <a:pt x="407" y="180"/>
                </a:cubicBezTo>
                <a:cubicBezTo>
                  <a:pt x="407" y="180"/>
                  <a:pt x="407" y="180"/>
                  <a:pt x="408" y="180"/>
                </a:cubicBezTo>
                <a:cubicBezTo>
                  <a:pt x="408" y="180"/>
                  <a:pt x="408" y="180"/>
                  <a:pt x="408" y="180"/>
                </a:cubicBezTo>
                <a:cubicBezTo>
                  <a:pt x="409" y="180"/>
                  <a:pt x="409" y="180"/>
                  <a:pt x="409" y="180"/>
                </a:cubicBezTo>
                <a:cubicBezTo>
                  <a:pt x="410" y="180"/>
                  <a:pt x="410" y="180"/>
                  <a:pt x="410" y="180"/>
                </a:cubicBezTo>
                <a:cubicBezTo>
                  <a:pt x="410" y="179"/>
                  <a:pt x="411" y="179"/>
                  <a:pt x="411" y="179"/>
                </a:cubicBezTo>
                <a:cubicBezTo>
                  <a:pt x="411" y="179"/>
                  <a:pt x="411" y="179"/>
                  <a:pt x="411" y="179"/>
                </a:cubicBezTo>
                <a:cubicBezTo>
                  <a:pt x="411" y="179"/>
                  <a:pt x="411" y="179"/>
                  <a:pt x="411" y="179"/>
                </a:cubicBezTo>
                <a:cubicBezTo>
                  <a:pt x="411" y="179"/>
                  <a:pt x="412" y="180"/>
                  <a:pt x="412" y="180"/>
                </a:cubicBezTo>
                <a:cubicBezTo>
                  <a:pt x="412" y="180"/>
                  <a:pt x="413" y="180"/>
                  <a:pt x="413" y="180"/>
                </a:cubicBezTo>
                <a:cubicBezTo>
                  <a:pt x="413" y="179"/>
                  <a:pt x="413" y="179"/>
                  <a:pt x="413" y="179"/>
                </a:cubicBezTo>
                <a:cubicBezTo>
                  <a:pt x="414" y="179"/>
                  <a:pt x="414" y="179"/>
                  <a:pt x="414" y="179"/>
                </a:cubicBezTo>
                <a:cubicBezTo>
                  <a:pt x="414" y="179"/>
                  <a:pt x="415" y="179"/>
                  <a:pt x="415" y="179"/>
                </a:cubicBezTo>
                <a:cubicBezTo>
                  <a:pt x="415" y="179"/>
                  <a:pt x="415" y="179"/>
                  <a:pt x="416" y="179"/>
                </a:cubicBezTo>
                <a:cubicBezTo>
                  <a:pt x="416" y="179"/>
                  <a:pt x="416" y="179"/>
                  <a:pt x="416" y="179"/>
                </a:cubicBezTo>
                <a:cubicBezTo>
                  <a:pt x="416" y="179"/>
                  <a:pt x="417" y="179"/>
                  <a:pt x="417" y="179"/>
                </a:cubicBezTo>
                <a:cubicBezTo>
                  <a:pt x="417" y="179"/>
                  <a:pt x="417" y="179"/>
                  <a:pt x="417" y="179"/>
                </a:cubicBezTo>
                <a:cubicBezTo>
                  <a:pt x="417" y="179"/>
                  <a:pt x="417" y="179"/>
                  <a:pt x="417" y="179"/>
                </a:cubicBezTo>
                <a:cubicBezTo>
                  <a:pt x="417" y="178"/>
                  <a:pt x="418" y="178"/>
                  <a:pt x="418" y="178"/>
                </a:cubicBezTo>
                <a:cubicBezTo>
                  <a:pt x="418" y="178"/>
                  <a:pt x="418" y="178"/>
                  <a:pt x="418" y="178"/>
                </a:cubicBezTo>
                <a:cubicBezTo>
                  <a:pt x="418" y="178"/>
                  <a:pt x="418" y="179"/>
                  <a:pt x="418" y="179"/>
                </a:cubicBezTo>
                <a:cubicBezTo>
                  <a:pt x="419" y="179"/>
                  <a:pt x="419" y="179"/>
                  <a:pt x="419" y="179"/>
                </a:cubicBezTo>
                <a:cubicBezTo>
                  <a:pt x="419" y="179"/>
                  <a:pt x="419" y="179"/>
                  <a:pt x="420" y="178"/>
                </a:cubicBezTo>
                <a:cubicBezTo>
                  <a:pt x="420" y="178"/>
                  <a:pt x="420" y="178"/>
                  <a:pt x="420" y="178"/>
                </a:cubicBezTo>
                <a:cubicBezTo>
                  <a:pt x="420" y="178"/>
                  <a:pt x="420" y="178"/>
                  <a:pt x="421" y="178"/>
                </a:cubicBezTo>
                <a:cubicBezTo>
                  <a:pt x="421" y="178"/>
                  <a:pt x="421" y="178"/>
                  <a:pt x="421" y="178"/>
                </a:cubicBezTo>
                <a:cubicBezTo>
                  <a:pt x="421" y="178"/>
                  <a:pt x="421" y="178"/>
                  <a:pt x="421" y="178"/>
                </a:cubicBezTo>
                <a:cubicBezTo>
                  <a:pt x="421" y="178"/>
                  <a:pt x="422" y="178"/>
                  <a:pt x="422" y="178"/>
                </a:cubicBezTo>
                <a:cubicBezTo>
                  <a:pt x="422" y="178"/>
                  <a:pt x="422" y="178"/>
                  <a:pt x="422" y="178"/>
                </a:cubicBezTo>
                <a:cubicBezTo>
                  <a:pt x="422" y="177"/>
                  <a:pt x="422" y="177"/>
                  <a:pt x="422" y="177"/>
                </a:cubicBezTo>
                <a:cubicBezTo>
                  <a:pt x="423" y="177"/>
                  <a:pt x="423" y="177"/>
                  <a:pt x="423" y="177"/>
                </a:cubicBezTo>
                <a:cubicBezTo>
                  <a:pt x="423" y="177"/>
                  <a:pt x="423" y="177"/>
                  <a:pt x="424" y="177"/>
                </a:cubicBezTo>
                <a:cubicBezTo>
                  <a:pt x="424" y="177"/>
                  <a:pt x="424" y="177"/>
                  <a:pt x="424" y="177"/>
                </a:cubicBezTo>
                <a:cubicBezTo>
                  <a:pt x="424" y="177"/>
                  <a:pt x="424" y="177"/>
                  <a:pt x="424" y="177"/>
                </a:cubicBezTo>
                <a:cubicBezTo>
                  <a:pt x="424" y="177"/>
                  <a:pt x="424" y="176"/>
                  <a:pt x="424" y="176"/>
                </a:cubicBezTo>
                <a:cubicBezTo>
                  <a:pt x="424" y="176"/>
                  <a:pt x="424" y="176"/>
                  <a:pt x="424" y="176"/>
                </a:cubicBezTo>
                <a:cubicBezTo>
                  <a:pt x="424" y="176"/>
                  <a:pt x="425" y="176"/>
                  <a:pt x="425" y="175"/>
                </a:cubicBezTo>
                <a:cubicBezTo>
                  <a:pt x="425" y="175"/>
                  <a:pt x="425" y="175"/>
                  <a:pt x="425" y="175"/>
                </a:cubicBezTo>
                <a:cubicBezTo>
                  <a:pt x="425" y="175"/>
                  <a:pt x="425" y="175"/>
                  <a:pt x="425" y="175"/>
                </a:cubicBezTo>
                <a:cubicBezTo>
                  <a:pt x="425" y="174"/>
                  <a:pt x="425" y="174"/>
                  <a:pt x="425" y="174"/>
                </a:cubicBezTo>
                <a:cubicBezTo>
                  <a:pt x="425" y="174"/>
                  <a:pt x="424" y="174"/>
                  <a:pt x="424" y="174"/>
                </a:cubicBezTo>
                <a:cubicBezTo>
                  <a:pt x="424" y="174"/>
                  <a:pt x="424" y="174"/>
                  <a:pt x="424" y="174"/>
                </a:cubicBezTo>
                <a:cubicBezTo>
                  <a:pt x="424" y="174"/>
                  <a:pt x="424" y="173"/>
                  <a:pt x="424" y="173"/>
                </a:cubicBezTo>
                <a:cubicBezTo>
                  <a:pt x="424" y="173"/>
                  <a:pt x="424" y="173"/>
                  <a:pt x="425" y="173"/>
                </a:cubicBezTo>
                <a:cubicBezTo>
                  <a:pt x="425" y="173"/>
                  <a:pt x="425" y="172"/>
                  <a:pt x="425" y="172"/>
                </a:cubicBezTo>
                <a:cubicBezTo>
                  <a:pt x="424" y="172"/>
                  <a:pt x="424" y="172"/>
                  <a:pt x="423" y="172"/>
                </a:cubicBezTo>
                <a:cubicBezTo>
                  <a:pt x="423" y="172"/>
                  <a:pt x="423" y="172"/>
                  <a:pt x="423" y="172"/>
                </a:cubicBezTo>
                <a:cubicBezTo>
                  <a:pt x="423" y="173"/>
                  <a:pt x="423" y="173"/>
                  <a:pt x="423" y="173"/>
                </a:cubicBezTo>
                <a:cubicBezTo>
                  <a:pt x="423" y="173"/>
                  <a:pt x="422" y="173"/>
                  <a:pt x="422" y="173"/>
                </a:cubicBezTo>
                <a:cubicBezTo>
                  <a:pt x="422" y="173"/>
                  <a:pt x="422" y="173"/>
                  <a:pt x="422" y="173"/>
                </a:cubicBezTo>
                <a:cubicBezTo>
                  <a:pt x="421" y="173"/>
                  <a:pt x="421" y="173"/>
                  <a:pt x="420" y="174"/>
                </a:cubicBezTo>
                <a:cubicBezTo>
                  <a:pt x="420" y="174"/>
                  <a:pt x="419" y="174"/>
                  <a:pt x="419" y="175"/>
                </a:cubicBezTo>
                <a:cubicBezTo>
                  <a:pt x="419" y="175"/>
                  <a:pt x="418" y="175"/>
                  <a:pt x="418" y="176"/>
                </a:cubicBezTo>
                <a:cubicBezTo>
                  <a:pt x="418" y="175"/>
                  <a:pt x="418" y="175"/>
                  <a:pt x="418" y="175"/>
                </a:cubicBezTo>
                <a:cubicBezTo>
                  <a:pt x="418" y="175"/>
                  <a:pt x="419" y="175"/>
                  <a:pt x="419" y="174"/>
                </a:cubicBezTo>
                <a:cubicBezTo>
                  <a:pt x="419" y="174"/>
                  <a:pt x="419" y="174"/>
                  <a:pt x="420" y="174"/>
                </a:cubicBezTo>
                <a:cubicBezTo>
                  <a:pt x="420" y="173"/>
                  <a:pt x="419" y="173"/>
                  <a:pt x="419" y="173"/>
                </a:cubicBezTo>
                <a:cubicBezTo>
                  <a:pt x="419" y="173"/>
                  <a:pt x="419" y="173"/>
                  <a:pt x="419" y="174"/>
                </a:cubicBezTo>
                <a:cubicBezTo>
                  <a:pt x="419" y="174"/>
                  <a:pt x="419" y="174"/>
                  <a:pt x="418" y="174"/>
                </a:cubicBezTo>
                <a:cubicBezTo>
                  <a:pt x="418" y="173"/>
                  <a:pt x="418" y="173"/>
                  <a:pt x="418" y="173"/>
                </a:cubicBezTo>
                <a:cubicBezTo>
                  <a:pt x="419" y="173"/>
                  <a:pt x="419" y="172"/>
                  <a:pt x="419" y="172"/>
                </a:cubicBezTo>
                <a:cubicBezTo>
                  <a:pt x="419" y="172"/>
                  <a:pt x="418" y="172"/>
                  <a:pt x="418" y="172"/>
                </a:cubicBezTo>
                <a:cubicBezTo>
                  <a:pt x="418" y="171"/>
                  <a:pt x="418" y="171"/>
                  <a:pt x="419" y="171"/>
                </a:cubicBezTo>
                <a:cubicBezTo>
                  <a:pt x="419" y="171"/>
                  <a:pt x="419" y="171"/>
                  <a:pt x="419" y="171"/>
                </a:cubicBezTo>
                <a:cubicBezTo>
                  <a:pt x="419" y="171"/>
                  <a:pt x="419" y="171"/>
                  <a:pt x="419" y="171"/>
                </a:cubicBezTo>
                <a:cubicBezTo>
                  <a:pt x="420" y="171"/>
                  <a:pt x="420" y="172"/>
                  <a:pt x="420" y="172"/>
                </a:cubicBezTo>
                <a:cubicBezTo>
                  <a:pt x="420" y="172"/>
                  <a:pt x="421" y="172"/>
                  <a:pt x="421" y="172"/>
                </a:cubicBezTo>
                <a:cubicBezTo>
                  <a:pt x="421" y="172"/>
                  <a:pt x="421" y="172"/>
                  <a:pt x="422" y="172"/>
                </a:cubicBezTo>
                <a:cubicBezTo>
                  <a:pt x="422" y="172"/>
                  <a:pt x="422" y="172"/>
                  <a:pt x="423" y="172"/>
                </a:cubicBezTo>
                <a:cubicBezTo>
                  <a:pt x="423" y="171"/>
                  <a:pt x="423" y="171"/>
                  <a:pt x="423" y="171"/>
                </a:cubicBezTo>
                <a:cubicBezTo>
                  <a:pt x="423" y="171"/>
                  <a:pt x="423" y="171"/>
                  <a:pt x="422" y="170"/>
                </a:cubicBezTo>
                <a:cubicBezTo>
                  <a:pt x="422" y="170"/>
                  <a:pt x="422" y="170"/>
                  <a:pt x="422" y="170"/>
                </a:cubicBezTo>
                <a:cubicBezTo>
                  <a:pt x="422" y="170"/>
                  <a:pt x="423" y="170"/>
                  <a:pt x="423" y="170"/>
                </a:cubicBezTo>
                <a:cubicBezTo>
                  <a:pt x="423" y="170"/>
                  <a:pt x="423" y="170"/>
                  <a:pt x="423" y="170"/>
                </a:cubicBezTo>
                <a:cubicBezTo>
                  <a:pt x="424" y="170"/>
                  <a:pt x="424" y="170"/>
                  <a:pt x="424" y="170"/>
                </a:cubicBezTo>
                <a:cubicBezTo>
                  <a:pt x="424" y="170"/>
                  <a:pt x="425" y="169"/>
                  <a:pt x="425" y="169"/>
                </a:cubicBezTo>
                <a:cubicBezTo>
                  <a:pt x="425" y="169"/>
                  <a:pt x="425" y="168"/>
                  <a:pt x="425" y="168"/>
                </a:cubicBezTo>
                <a:cubicBezTo>
                  <a:pt x="425" y="168"/>
                  <a:pt x="425" y="169"/>
                  <a:pt x="425" y="169"/>
                </a:cubicBezTo>
                <a:cubicBezTo>
                  <a:pt x="425" y="169"/>
                  <a:pt x="426" y="169"/>
                  <a:pt x="426" y="169"/>
                </a:cubicBezTo>
                <a:cubicBezTo>
                  <a:pt x="426" y="168"/>
                  <a:pt x="426" y="168"/>
                  <a:pt x="427" y="168"/>
                </a:cubicBezTo>
                <a:cubicBezTo>
                  <a:pt x="426" y="168"/>
                  <a:pt x="426" y="169"/>
                  <a:pt x="426" y="169"/>
                </a:cubicBezTo>
                <a:cubicBezTo>
                  <a:pt x="426" y="170"/>
                  <a:pt x="426" y="170"/>
                  <a:pt x="426" y="170"/>
                </a:cubicBezTo>
                <a:cubicBezTo>
                  <a:pt x="427" y="170"/>
                  <a:pt x="427" y="170"/>
                  <a:pt x="427" y="170"/>
                </a:cubicBezTo>
                <a:cubicBezTo>
                  <a:pt x="427" y="170"/>
                  <a:pt x="427" y="170"/>
                  <a:pt x="427" y="170"/>
                </a:cubicBezTo>
                <a:cubicBezTo>
                  <a:pt x="427" y="170"/>
                  <a:pt x="427" y="170"/>
                  <a:pt x="427" y="171"/>
                </a:cubicBezTo>
                <a:cubicBezTo>
                  <a:pt x="427" y="171"/>
                  <a:pt x="427" y="170"/>
                  <a:pt x="428" y="170"/>
                </a:cubicBezTo>
                <a:close/>
                <a:moveTo>
                  <a:pt x="431" y="178"/>
                </a:moveTo>
                <a:cubicBezTo>
                  <a:pt x="431" y="178"/>
                  <a:pt x="431" y="178"/>
                  <a:pt x="431" y="178"/>
                </a:cubicBezTo>
                <a:cubicBezTo>
                  <a:pt x="431" y="178"/>
                  <a:pt x="431" y="178"/>
                  <a:pt x="431" y="177"/>
                </a:cubicBezTo>
                <a:cubicBezTo>
                  <a:pt x="432" y="177"/>
                  <a:pt x="432" y="177"/>
                  <a:pt x="432" y="177"/>
                </a:cubicBezTo>
                <a:cubicBezTo>
                  <a:pt x="432" y="177"/>
                  <a:pt x="432" y="176"/>
                  <a:pt x="433" y="176"/>
                </a:cubicBezTo>
                <a:cubicBezTo>
                  <a:pt x="432" y="176"/>
                  <a:pt x="432" y="176"/>
                  <a:pt x="432" y="176"/>
                </a:cubicBezTo>
                <a:cubicBezTo>
                  <a:pt x="432" y="175"/>
                  <a:pt x="432" y="175"/>
                  <a:pt x="432" y="175"/>
                </a:cubicBezTo>
                <a:cubicBezTo>
                  <a:pt x="431" y="175"/>
                  <a:pt x="431" y="175"/>
                  <a:pt x="431" y="175"/>
                </a:cubicBezTo>
                <a:cubicBezTo>
                  <a:pt x="431" y="175"/>
                  <a:pt x="431" y="176"/>
                  <a:pt x="430" y="176"/>
                </a:cubicBezTo>
                <a:cubicBezTo>
                  <a:pt x="430" y="176"/>
                  <a:pt x="431" y="176"/>
                  <a:pt x="431" y="176"/>
                </a:cubicBezTo>
                <a:cubicBezTo>
                  <a:pt x="430" y="177"/>
                  <a:pt x="430" y="177"/>
                  <a:pt x="430" y="178"/>
                </a:cubicBezTo>
                <a:cubicBezTo>
                  <a:pt x="430" y="178"/>
                  <a:pt x="430" y="178"/>
                  <a:pt x="430" y="178"/>
                </a:cubicBezTo>
                <a:cubicBezTo>
                  <a:pt x="430" y="178"/>
                  <a:pt x="431" y="178"/>
                  <a:pt x="431" y="178"/>
                </a:cubicBezTo>
                <a:close/>
                <a:moveTo>
                  <a:pt x="430" y="173"/>
                </a:moveTo>
                <a:cubicBezTo>
                  <a:pt x="430" y="173"/>
                  <a:pt x="430" y="173"/>
                  <a:pt x="430" y="172"/>
                </a:cubicBezTo>
                <a:cubicBezTo>
                  <a:pt x="430" y="172"/>
                  <a:pt x="430" y="172"/>
                  <a:pt x="430" y="172"/>
                </a:cubicBezTo>
                <a:cubicBezTo>
                  <a:pt x="430" y="172"/>
                  <a:pt x="431" y="172"/>
                  <a:pt x="431" y="172"/>
                </a:cubicBezTo>
                <a:cubicBezTo>
                  <a:pt x="431" y="172"/>
                  <a:pt x="431" y="172"/>
                  <a:pt x="431" y="171"/>
                </a:cubicBezTo>
                <a:cubicBezTo>
                  <a:pt x="430" y="171"/>
                  <a:pt x="430" y="171"/>
                  <a:pt x="430" y="171"/>
                </a:cubicBezTo>
                <a:cubicBezTo>
                  <a:pt x="430" y="171"/>
                  <a:pt x="430" y="171"/>
                  <a:pt x="430" y="171"/>
                </a:cubicBezTo>
                <a:cubicBezTo>
                  <a:pt x="430" y="171"/>
                  <a:pt x="429" y="171"/>
                  <a:pt x="429" y="171"/>
                </a:cubicBezTo>
                <a:cubicBezTo>
                  <a:pt x="429" y="171"/>
                  <a:pt x="429" y="171"/>
                  <a:pt x="429" y="172"/>
                </a:cubicBezTo>
                <a:cubicBezTo>
                  <a:pt x="429" y="172"/>
                  <a:pt x="429" y="172"/>
                  <a:pt x="430" y="172"/>
                </a:cubicBezTo>
                <a:cubicBezTo>
                  <a:pt x="429" y="172"/>
                  <a:pt x="429" y="172"/>
                  <a:pt x="429" y="172"/>
                </a:cubicBezTo>
                <a:cubicBezTo>
                  <a:pt x="429" y="172"/>
                  <a:pt x="429" y="173"/>
                  <a:pt x="429" y="173"/>
                </a:cubicBezTo>
                <a:cubicBezTo>
                  <a:pt x="429" y="173"/>
                  <a:pt x="429" y="173"/>
                  <a:pt x="429" y="173"/>
                </a:cubicBezTo>
                <a:cubicBezTo>
                  <a:pt x="429" y="173"/>
                  <a:pt x="429" y="173"/>
                  <a:pt x="430" y="173"/>
                </a:cubicBezTo>
                <a:close/>
                <a:moveTo>
                  <a:pt x="433" y="176"/>
                </a:moveTo>
                <a:cubicBezTo>
                  <a:pt x="433" y="176"/>
                  <a:pt x="434" y="175"/>
                  <a:pt x="434" y="175"/>
                </a:cubicBezTo>
                <a:cubicBezTo>
                  <a:pt x="434" y="175"/>
                  <a:pt x="434" y="175"/>
                  <a:pt x="434" y="175"/>
                </a:cubicBezTo>
                <a:cubicBezTo>
                  <a:pt x="434" y="174"/>
                  <a:pt x="434" y="174"/>
                  <a:pt x="434" y="174"/>
                </a:cubicBezTo>
                <a:cubicBezTo>
                  <a:pt x="434" y="174"/>
                  <a:pt x="434" y="174"/>
                  <a:pt x="433" y="174"/>
                </a:cubicBezTo>
                <a:cubicBezTo>
                  <a:pt x="433" y="174"/>
                  <a:pt x="433" y="174"/>
                  <a:pt x="433" y="174"/>
                </a:cubicBezTo>
                <a:cubicBezTo>
                  <a:pt x="433" y="174"/>
                  <a:pt x="433" y="175"/>
                  <a:pt x="433" y="175"/>
                </a:cubicBezTo>
                <a:cubicBezTo>
                  <a:pt x="433" y="175"/>
                  <a:pt x="433" y="175"/>
                  <a:pt x="433" y="175"/>
                </a:cubicBezTo>
                <a:cubicBezTo>
                  <a:pt x="433" y="175"/>
                  <a:pt x="433" y="175"/>
                  <a:pt x="433" y="176"/>
                </a:cubicBezTo>
                <a:close/>
                <a:moveTo>
                  <a:pt x="435" y="184"/>
                </a:moveTo>
                <a:cubicBezTo>
                  <a:pt x="435" y="184"/>
                  <a:pt x="435" y="184"/>
                  <a:pt x="435" y="184"/>
                </a:cubicBezTo>
                <a:cubicBezTo>
                  <a:pt x="435" y="184"/>
                  <a:pt x="435" y="184"/>
                  <a:pt x="436" y="183"/>
                </a:cubicBezTo>
                <a:cubicBezTo>
                  <a:pt x="436" y="183"/>
                  <a:pt x="435" y="183"/>
                  <a:pt x="435" y="183"/>
                </a:cubicBezTo>
                <a:cubicBezTo>
                  <a:pt x="435" y="183"/>
                  <a:pt x="435" y="183"/>
                  <a:pt x="434" y="183"/>
                </a:cubicBezTo>
                <a:cubicBezTo>
                  <a:pt x="434" y="183"/>
                  <a:pt x="435" y="183"/>
                  <a:pt x="435" y="184"/>
                </a:cubicBezTo>
                <a:close/>
                <a:moveTo>
                  <a:pt x="457" y="170"/>
                </a:moveTo>
                <a:cubicBezTo>
                  <a:pt x="457" y="169"/>
                  <a:pt x="457" y="169"/>
                  <a:pt x="458" y="168"/>
                </a:cubicBezTo>
                <a:cubicBezTo>
                  <a:pt x="457" y="168"/>
                  <a:pt x="457" y="168"/>
                  <a:pt x="457" y="168"/>
                </a:cubicBezTo>
                <a:cubicBezTo>
                  <a:pt x="457" y="168"/>
                  <a:pt x="456" y="168"/>
                  <a:pt x="456" y="168"/>
                </a:cubicBezTo>
                <a:cubicBezTo>
                  <a:pt x="456" y="168"/>
                  <a:pt x="455" y="169"/>
                  <a:pt x="455" y="169"/>
                </a:cubicBezTo>
                <a:cubicBezTo>
                  <a:pt x="455" y="169"/>
                  <a:pt x="455" y="170"/>
                  <a:pt x="455" y="170"/>
                </a:cubicBezTo>
                <a:cubicBezTo>
                  <a:pt x="455" y="170"/>
                  <a:pt x="455" y="170"/>
                  <a:pt x="455" y="170"/>
                </a:cubicBezTo>
                <a:cubicBezTo>
                  <a:pt x="455" y="170"/>
                  <a:pt x="455" y="170"/>
                  <a:pt x="455" y="170"/>
                </a:cubicBezTo>
                <a:cubicBezTo>
                  <a:pt x="456" y="169"/>
                  <a:pt x="456" y="169"/>
                  <a:pt x="456" y="169"/>
                </a:cubicBezTo>
                <a:cubicBezTo>
                  <a:pt x="456" y="169"/>
                  <a:pt x="456" y="170"/>
                  <a:pt x="456" y="170"/>
                </a:cubicBezTo>
                <a:cubicBezTo>
                  <a:pt x="456" y="170"/>
                  <a:pt x="456" y="170"/>
                  <a:pt x="456" y="170"/>
                </a:cubicBezTo>
                <a:cubicBezTo>
                  <a:pt x="456" y="170"/>
                  <a:pt x="456" y="170"/>
                  <a:pt x="457" y="170"/>
                </a:cubicBezTo>
                <a:close/>
                <a:moveTo>
                  <a:pt x="492" y="178"/>
                </a:moveTo>
                <a:cubicBezTo>
                  <a:pt x="492" y="178"/>
                  <a:pt x="492" y="178"/>
                  <a:pt x="492" y="178"/>
                </a:cubicBezTo>
                <a:cubicBezTo>
                  <a:pt x="492" y="178"/>
                  <a:pt x="492" y="178"/>
                  <a:pt x="492" y="178"/>
                </a:cubicBezTo>
                <a:cubicBezTo>
                  <a:pt x="493" y="178"/>
                  <a:pt x="493" y="178"/>
                  <a:pt x="494" y="178"/>
                </a:cubicBezTo>
                <a:cubicBezTo>
                  <a:pt x="494" y="178"/>
                  <a:pt x="494" y="178"/>
                  <a:pt x="494" y="177"/>
                </a:cubicBezTo>
                <a:cubicBezTo>
                  <a:pt x="494" y="177"/>
                  <a:pt x="494" y="177"/>
                  <a:pt x="494" y="177"/>
                </a:cubicBezTo>
                <a:cubicBezTo>
                  <a:pt x="494" y="177"/>
                  <a:pt x="493" y="177"/>
                  <a:pt x="493" y="177"/>
                </a:cubicBezTo>
                <a:cubicBezTo>
                  <a:pt x="493" y="177"/>
                  <a:pt x="492" y="177"/>
                  <a:pt x="492" y="178"/>
                </a:cubicBezTo>
                <a:close/>
                <a:moveTo>
                  <a:pt x="481" y="135"/>
                </a:moveTo>
                <a:cubicBezTo>
                  <a:pt x="482" y="135"/>
                  <a:pt x="482" y="135"/>
                  <a:pt x="483" y="136"/>
                </a:cubicBezTo>
                <a:cubicBezTo>
                  <a:pt x="483" y="136"/>
                  <a:pt x="484" y="135"/>
                  <a:pt x="484" y="135"/>
                </a:cubicBezTo>
                <a:cubicBezTo>
                  <a:pt x="484" y="135"/>
                  <a:pt x="484" y="136"/>
                  <a:pt x="484" y="136"/>
                </a:cubicBezTo>
                <a:cubicBezTo>
                  <a:pt x="484" y="136"/>
                  <a:pt x="485" y="136"/>
                  <a:pt x="485" y="136"/>
                </a:cubicBezTo>
                <a:cubicBezTo>
                  <a:pt x="485" y="135"/>
                  <a:pt x="486" y="135"/>
                  <a:pt x="486" y="135"/>
                </a:cubicBezTo>
                <a:cubicBezTo>
                  <a:pt x="487" y="135"/>
                  <a:pt x="487" y="134"/>
                  <a:pt x="488" y="134"/>
                </a:cubicBezTo>
                <a:cubicBezTo>
                  <a:pt x="488" y="133"/>
                  <a:pt x="489" y="133"/>
                  <a:pt x="489" y="132"/>
                </a:cubicBezTo>
                <a:cubicBezTo>
                  <a:pt x="490" y="132"/>
                  <a:pt x="490" y="132"/>
                  <a:pt x="491" y="131"/>
                </a:cubicBezTo>
                <a:cubicBezTo>
                  <a:pt x="491" y="131"/>
                  <a:pt x="491" y="131"/>
                  <a:pt x="491" y="131"/>
                </a:cubicBezTo>
                <a:cubicBezTo>
                  <a:pt x="491" y="130"/>
                  <a:pt x="491" y="130"/>
                  <a:pt x="491" y="130"/>
                </a:cubicBezTo>
                <a:cubicBezTo>
                  <a:pt x="491" y="130"/>
                  <a:pt x="491" y="130"/>
                  <a:pt x="491" y="130"/>
                </a:cubicBezTo>
                <a:cubicBezTo>
                  <a:pt x="491" y="130"/>
                  <a:pt x="492" y="130"/>
                  <a:pt x="492" y="130"/>
                </a:cubicBezTo>
                <a:cubicBezTo>
                  <a:pt x="493" y="129"/>
                  <a:pt x="493" y="129"/>
                  <a:pt x="493" y="128"/>
                </a:cubicBezTo>
                <a:cubicBezTo>
                  <a:pt x="494" y="128"/>
                  <a:pt x="495" y="127"/>
                  <a:pt x="495" y="127"/>
                </a:cubicBezTo>
                <a:cubicBezTo>
                  <a:pt x="495" y="127"/>
                  <a:pt x="495" y="126"/>
                  <a:pt x="495" y="126"/>
                </a:cubicBezTo>
                <a:cubicBezTo>
                  <a:pt x="496" y="126"/>
                  <a:pt x="496" y="126"/>
                  <a:pt x="496" y="126"/>
                </a:cubicBezTo>
                <a:cubicBezTo>
                  <a:pt x="496" y="126"/>
                  <a:pt x="497" y="125"/>
                  <a:pt x="497" y="125"/>
                </a:cubicBezTo>
                <a:cubicBezTo>
                  <a:pt x="497" y="125"/>
                  <a:pt x="498" y="124"/>
                  <a:pt x="498" y="124"/>
                </a:cubicBezTo>
                <a:cubicBezTo>
                  <a:pt x="499" y="123"/>
                  <a:pt x="499" y="123"/>
                  <a:pt x="499" y="123"/>
                </a:cubicBezTo>
                <a:cubicBezTo>
                  <a:pt x="499" y="123"/>
                  <a:pt x="499" y="123"/>
                  <a:pt x="499" y="123"/>
                </a:cubicBezTo>
                <a:cubicBezTo>
                  <a:pt x="499" y="123"/>
                  <a:pt x="500" y="123"/>
                  <a:pt x="500" y="123"/>
                </a:cubicBezTo>
                <a:cubicBezTo>
                  <a:pt x="500" y="122"/>
                  <a:pt x="500" y="122"/>
                  <a:pt x="499" y="122"/>
                </a:cubicBezTo>
                <a:cubicBezTo>
                  <a:pt x="499" y="122"/>
                  <a:pt x="499" y="122"/>
                  <a:pt x="499" y="122"/>
                </a:cubicBezTo>
                <a:cubicBezTo>
                  <a:pt x="499" y="122"/>
                  <a:pt x="498" y="122"/>
                  <a:pt x="498" y="121"/>
                </a:cubicBezTo>
                <a:cubicBezTo>
                  <a:pt x="498" y="121"/>
                  <a:pt x="497" y="121"/>
                  <a:pt x="497" y="121"/>
                </a:cubicBezTo>
                <a:cubicBezTo>
                  <a:pt x="496" y="121"/>
                  <a:pt x="495" y="121"/>
                  <a:pt x="494" y="122"/>
                </a:cubicBezTo>
                <a:cubicBezTo>
                  <a:pt x="493" y="122"/>
                  <a:pt x="493" y="122"/>
                  <a:pt x="492" y="122"/>
                </a:cubicBezTo>
                <a:cubicBezTo>
                  <a:pt x="492" y="122"/>
                  <a:pt x="492" y="122"/>
                  <a:pt x="491" y="122"/>
                </a:cubicBezTo>
                <a:cubicBezTo>
                  <a:pt x="491" y="122"/>
                  <a:pt x="491" y="122"/>
                  <a:pt x="491" y="122"/>
                </a:cubicBezTo>
                <a:cubicBezTo>
                  <a:pt x="491" y="122"/>
                  <a:pt x="491" y="122"/>
                  <a:pt x="491" y="122"/>
                </a:cubicBezTo>
                <a:cubicBezTo>
                  <a:pt x="491" y="121"/>
                  <a:pt x="490" y="121"/>
                  <a:pt x="490" y="121"/>
                </a:cubicBezTo>
                <a:cubicBezTo>
                  <a:pt x="490" y="121"/>
                  <a:pt x="490" y="121"/>
                  <a:pt x="490" y="121"/>
                </a:cubicBezTo>
                <a:cubicBezTo>
                  <a:pt x="489" y="121"/>
                  <a:pt x="489" y="121"/>
                  <a:pt x="489" y="121"/>
                </a:cubicBezTo>
                <a:cubicBezTo>
                  <a:pt x="489" y="121"/>
                  <a:pt x="488" y="121"/>
                  <a:pt x="488" y="121"/>
                </a:cubicBezTo>
                <a:cubicBezTo>
                  <a:pt x="488" y="121"/>
                  <a:pt x="487" y="121"/>
                  <a:pt x="487" y="120"/>
                </a:cubicBezTo>
                <a:cubicBezTo>
                  <a:pt x="487" y="121"/>
                  <a:pt x="486" y="121"/>
                  <a:pt x="486" y="121"/>
                </a:cubicBezTo>
                <a:cubicBezTo>
                  <a:pt x="485" y="121"/>
                  <a:pt x="485" y="121"/>
                  <a:pt x="485" y="121"/>
                </a:cubicBezTo>
                <a:cubicBezTo>
                  <a:pt x="485" y="121"/>
                  <a:pt x="485" y="121"/>
                  <a:pt x="484" y="121"/>
                </a:cubicBezTo>
                <a:cubicBezTo>
                  <a:pt x="484" y="121"/>
                  <a:pt x="484" y="121"/>
                  <a:pt x="483" y="121"/>
                </a:cubicBezTo>
                <a:cubicBezTo>
                  <a:pt x="483" y="121"/>
                  <a:pt x="483" y="121"/>
                  <a:pt x="483" y="121"/>
                </a:cubicBezTo>
                <a:cubicBezTo>
                  <a:pt x="482" y="121"/>
                  <a:pt x="482" y="121"/>
                  <a:pt x="482" y="122"/>
                </a:cubicBezTo>
                <a:cubicBezTo>
                  <a:pt x="481" y="122"/>
                  <a:pt x="481" y="122"/>
                  <a:pt x="480" y="122"/>
                </a:cubicBezTo>
                <a:cubicBezTo>
                  <a:pt x="479" y="122"/>
                  <a:pt x="478" y="123"/>
                  <a:pt x="478" y="123"/>
                </a:cubicBezTo>
                <a:cubicBezTo>
                  <a:pt x="477" y="123"/>
                  <a:pt x="477" y="124"/>
                  <a:pt x="477" y="124"/>
                </a:cubicBezTo>
                <a:cubicBezTo>
                  <a:pt x="477" y="124"/>
                  <a:pt x="478" y="124"/>
                  <a:pt x="478" y="125"/>
                </a:cubicBezTo>
                <a:cubicBezTo>
                  <a:pt x="478" y="125"/>
                  <a:pt x="477" y="125"/>
                  <a:pt x="477" y="125"/>
                </a:cubicBezTo>
                <a:cubicBezTo>
                  <a:pt x="477" y="125"/>
                  <a:pt x="477" y="125"/>
                  <a:pt x="477" y="125"/>
                </a:cubicBezTo>
                <a:cubicBezTo>
                  <a:pt x="477" y="125"/>
                  <a:pt x="478" y="126"/>
                  <a:pt x="478" y="126"/>
                </a:cubicBezTo>
                <a:cubicBezTo>
                  <a:pt x="478" y="126"/>
                  <a:pt x="478" y="126"/>
                  <a:pt x="479" y="126"/>
                </a:cubicBezTo>
                <a:cubicBezTo>
                  <a:pt x="478" y="127"/>
                  <a:pt x="478" y="127"/>
                  <a:pt x="477" y="127"/>
                </a:cubicBezTo>
                <a:cubicBezTo>
                  <a:pt x="477" y="126"/>
                  <a:pt x="477" y="126"/>
                  <a:pt x="477" y="126"/>
                </a:cubicBezTo>
                <a:cubicBezTo>
                  <a:pt x="476" y="126"/>
                  <a:pt x="476" y="126"/>
                  <a:pt x="476" y="125"/>
                </a:cubicBezTo>
                <a:cubicBezTo>
                  <a:pt x="475" y="125"/>
                  <a:pt x="475" y="125"/>
                  <a:pt x="475" y="125"/>
                </a:cubicBezTo>
                <a:cubicBezTo>
                  <a:pt x="475" y="126"/>
                  <a:pt x="474" y="126"/>
                  <a:pt x="474" y="127"/>
                </a:cubicBezTo>
                <a:cubicBezTo>
                  <a:pt x="474" y="127"/>
                  <a:pt x="474" y="127"/>
                  <a:pt x="475" y="127"/>
                </a:cubicBezTo>
                <a:cubicBezTo>
                  <a:pt x="475" y="127"/>
                  <a:pt x="475" y="127"/>
                  <a:pt x="475" y="127"/>
                </a:cubicBezTo>
                <a:cubicBezTo>
                  <a:pt x="474" y="127"/>
                  <a:pt x="474" y="127"/>
                  <a:pt x="474" y="128"/>
                </a:cubicBezTo>
                <a:cubicBezTo>
                  <a:pt x="474" y="128"/>
                  <a:pt x="474" y="128"/>
                  <a:pt x="474" y="129"/>
                </a:cubicBezTo>
                <a:cubicBezTo>
                  <a:pt x="473" y="129"/>
                  <a:pt x="473" y="130"/>
                  <a:pt x="472" y="130"/>
                </a:cubicBezTo>
                <a:cubicBezTo>
                  <a:pt x="472" y="130"/>
                  <a:pt x="472" y="131"/>
                  <a:pt x="472" y="131"/>
                </a:cubicBezTo>
                <a:cubicBezTo>
                  <a:pt x="472" y="131"/>
                  <a:pt x="472" y="131"/>
                  <a:pt x="472" y="131"/>
                </a:cubicBezTo>
                <a:cubicBezTo>
                  <a:pt x="472" y="132"/>
                  <a:pt x="472" y="132"/>
                  <a:pt x="472" y="132"/>
                </a:cubicBezTo>
                <a:cubicBezTo>
                  <a:pt x="471" y="132"/>
                  <a:pt x="471" y="133"/>
                  <a:pt x="471" y="133"/>
                </a:cubicBezTo>
                <a:cubicBezTo>
                  <a:pt x="471" y="133"/>
                  <a:pt x="471" y="133"/>
                  <a:pt x="471" y="134"/>
                </a:cubicBezTo>
                <a:cubicBezTo>
                  <a:pt x="471" y="134"/>
                  <a:pt x="471" y="134"/>
                  <a:pt x="470" y="134"/>
                </a:cubicBezTo>
                <a:cubicBezTo>
                  <a:pt x="470" y="135"/>
                  <a:pt x="470" y="135"/>
                  <a:pt x="470" y="136"/>
                </a:cubicBezTo>
                <a:cubicBezTo>
                  <a:pt x="470" y="136"/>
                  <a:pt x="470" y="136"/>
                  <a:pt x="470" y="137"/>
                </a:cubicBezTo>
                <a:cubicBezTo>
                  <a:pt x="470" y="137"/>
                  <a:pt x="469" y="137"/>
                  <a:pt x="469" y="137"/>
                </a:cubicBezTo>
                <a:cubicBezTo>
                  <a:pt x="470" y="137"/>
                  <a:pt x="470" y="137"/>
                  <a:pt x="470" y="137"/>
                </a:cubicBezTo>
                <a:cubicBezTo>
                  <a:pt x="470" y="138"/>
                  <a:pt x="470" y="138"/>
                  <a:pt x="470" y="138"/>
                </a:cubicBezTo>
                <a:cubicBezTo>
                  <a:pt x="470" y="138"/>
                  <a:pt x="470" y="138"/>
                  <a:pt x="470" y="138"/>
                </a:cubicBezTo>
                <a:cubicBezTo>
                  <a:pt x="470" y="138"/>
                  <a:pt x="470" y="139"/>
                  <a:pt x="470" y="139"/>
                </a:cubicBezTo>
                <a:cubicBezTo>
                  <a:pt x="470" y="139"/>
                  <a:pt x="470" y="140"/>
                  <a:pt x="470" y="140"/>
                </a:cubicBezTo>
                <a:cubicBezTo>
                  <a:pt x="469" y="141"/>
                  <a:pt x="469" y="141"/>
                  <a:pt x="469" y="142"/>
                </a:cubicBezTo>
                <a:cubicBezTo>
                  <a:pt x="469" y="142"/>
                  <a:pt x="469" y="142"/>
                  <a:pt x="469" y="142"/>
                </a:cubicBezTo>
                <a:cubicBezTo>
                  <a:pt x="469" y="142"/>
                  <a:pt x="470" y="142"/>
                  <a:pt x="470" y="142"/>
                </a:cubicBezTo>
                <a:cubicBezTo>
                  <a:pt x="470" y="142"/>
                  <a:pt x="470" y="142"/>
                  <a:pt x="470" y="142"/>
                </a:cubicBezTo>
                <a:cubicBezTo>
                  <a:pt x="470" y="142"/>
                  <a:pt x="470" y="142"/>
                  <a:pt x="470" y="142"/>
                </a:cubicBezTo>
                <a:cubicBezTo>
                  <a:pt x="470" y="142"/>
                  <a:pt x="470" y="142"/>
                  <a:pt x="469" y="142"/>
                </a:cubicBezTo>
                <a:cubicBezTo>
                  <a:pt x="469" y="142"/>
                  <a:pt x="469" y="143"/>
                  <a:pt x="468" y="143"/>
                </a:cubicBezTo>
                <a:cubicBezTo>
                  <a:pt x="468" y="143"/>
                  <a:pt x="468" y="143"/>
                  <a:pt x="468" y="144"/>
                </a:cubicBezTo>
                <a:cubicBezTo>
                  <a:pt x="469" y="144"/>
                  <a:pt x="469" y="143"/>
                  <a:pt x="470" y="143"/>
                </a:cubicBezTo>
                <a:cubicBezTo>
                  <a:pt x="470" y="143"/>
                  <a:pt x="470" y="143"/>
                  <a:pt x="471" y="143"/>
                </a:cubicBezTo>
                <a:cubicBezTo>
                  <a:pt x="471" y="143"/>
                  <a:pt x="472" y="143"/>
                  <a:pt x="473" y="143"/>
                </a:cubicBezTo>
                <a:cubicBezTo>
                  <a:pt x="473" y="143"/>
                  <a:pt x="473" y="143"/>
                  <a:pt x="473" y="143"/>
                </a:cubicBezTo>
                <a:cubicBezTo>
                  <a:pt x="473" y="143"/>
                  <a:pt x="473" y="143"/>
                  <a:pt x="473" y="142"/>
                </a:cubicBezTo>
                <a:cubicBezTo>
                  <a:pt x="473" y="142"/>
                  <a:pt x="473" y="142"/>
                  <a:pt x="474" y="142"/>
                </a:cubicBezTo>
                <a:cubicBezTo>
                  <a:pt x="474" y="142"/>
                  <a:pt x="474" y="142"/>
                  <a:pt x="474" y="142"/>
                </a:cubicBezTo>
                <a:cubicBezTo>
                  <a:pt x="475" y="141"/>
                  <a:pt x="475" y="141"/>
                  <a:pt x="475" y="141"/>
                </a:cubicBezTo>
                <a:cubicBezTo>
                  <a:pt x="475" y="141"/>
                  <a:pt x="475" y="140"/>
                  <a:pt x="475" y="140"/>
                </a:cubicBezTo>
                <a:cubicBezTo>
                  <a:pt x="476" y="140"/>
                  <a:pt x="476" y="140"/>
                  <a:pt x="477" y="140"/>
                </a:cubicBezTo>
                <a:cubicBezTo>
                  <a:pt x="477" y="140"/>
                  <a:pt x="477" y="140"/>
                  <a:pt x="477" y="139"/>
                </a:cubicBezTo>
                <a:cubicBezTo>
                  <a:pt x="477" y="139"/>
                  <a:pt x="478" y="139"/>
                  <a:pt x="478" y="139"/>
                </a:cubicBezTo>
                <a:cubicBezTo>
                  <a:pt x="478" y="139"/>
                  <a:pt x="478" y="138"/>
                  <a:pt x="478" y="138"/>
                </a:cubicBezTo>
                <a:cubicBezTo>
                  <a:pt x="478" y="138"/>
                  <a:pt x="478" y="138"/>
                  <a:pt x="478" y="137"/>
                </a:cubicBezTo>
                <a:cubicBezTo>
                  <a:pt x="478" y="137"/>
                  <a:pt x="477" y="137"/>
                  <a:pt x="477" y="137"/>
                </a:cubicBezTo>
                <a:cubicBezTo>
                  <a:pt x="477" y="137"/>
                  <a:pt x="478" y="137"/>
                  <a:pt x="478" y="136"/>
                </a:cubicBezTo>
                <a:cubicBezTo>
                  <a:pt x="478" y="136"/>
                  <a:pt x="478" y="136"/>
                  <a:pt x="478" y="136"/>
                </a:cubicBezTo>
                <a:cubicBezTo>
                  <a:pt x="477" y="136"/>
                  <a:pt x="477" y="136"/>
                  <a:pt x="476" y="136"/>
                </a:cubicBezTo>
                <a:cubicBezTo>
                  <a:pt x="476" y="136"/>
                  <a:pt x="476" y="136"/>
                  <a:pt x="475" y="136"/>
                </a:cubicBezTo>
                <a:cubicBezTo>
                  <a:pt x="475" y="136"/>
                  <a:pt x="475" y="136"/>
                  <a:pt x="475" y="135"/>
                </a:cubicBezTo>
                <a:cubicBezTo>
                  <a:pt x="476" y="135"/>
                  <a:pt x="476" y="135"/>
                  <a:pt x="476" y="135"/>
                </a:cubicBezTo>
                <a:cubicBezTo>
                  <a:pt x="477" y="135"/>
                  <a:pt x="477" y="135"/>
                  <a:pt x="477" y="135"/>
                </a:cubicBezTo>
                <a:cubicBezTo>
                  <a:pt x="478" y="135"/>
                  <a:pt x="478" y="135"/>
                  <a:pt x="478" y="135"/>
                </a:cubicBezTo>
                <a:cubicBezTo>
                  <a:pt x="479" y="135"/>
                  <a:pt x="479" y="135"/>
                  <a:pt x="479" y="135"/>
                </a:cubicBezTo>
                <a:cubicBezTo>
                  <a:pt x="480" y="135"/>
                  <a:pt x="480" y="135"/>
                  <a:pt x="480" y="135"/>
                </a:cubicBezTo>
                <a:cubicBezTo>
                  <a:pt x="480" y="135"/>
                  <a:pt x="481" y="135"/>
                  <a:pt x="481" y="135"/>
                </a:cubicBezTo>
                <a:cubicBezTo>
                  <a:pt x="481" y="135"/>
                  <a:pt x="481" y="135"/>
                  <a:pt x="481" y="135"/>
                </a:cubicBezTo>
                <a:close/>
                <a:moveTo>
                  <a:pt x="451" y="130"/>
                </a:moveTo>
                <a:cubicBezTo>
                  <a:pt x="451" y="130"/>
                  <a:pt x="451" y="130"/>
                  <a:pt x="452" y="130"/>
                </a:cubicBezTo>
                <a:cubicBezTo>
                  <a:pt x="452" y="130"/>
                  <a:pt x="452" y="131"/>
                  <a:pt x="452" y="131"/>
                </a:cubicBezTo>
                <a:cubicBezTo>
                  <a:pt x="452" y="131"/>
                  <a:pt x="452" y="131"/>
                  <a:pt x="452" y="131"/>
                </a:cubicBezTo>
                <a:cubicBezTo>
                  <a:pt x="451" y="131"/>
                  <a:pt x="451" y="132"/>
                  <a:pt x="451" y="132"/>
                </a:cubicBezTo>
                <a:cubicBezTo>
                  <a:pt x="451" y="132"/>
                  <a:pt x="451" y="132"/>
                  <a:pt x="451" y="132"/>
                </a:cubicBezTo>
                <a:cubicBezTo>
                  <a:pt x="451" y="132"/>
                  <a:pt x="451" y="131"/>
                  <a:pt x="450" y="131"/>
                </a:cubicBezTo>
                <a:cubicBezTo>
                  <a:pt x="450" y="131"/>
                  <a:pt x="450" y="130"/>
                  <a:pt x="450" y="130"/>
                </a:cubicBezTo>
                <a:cubicBezTo>
                  <a:pt x="449" y="130"/>
                  <a:pt x="449" y="130"/>
                  <a:pt x="449" y="130"/>
                </a:cubicBezTo>
                <a:cubicBezTo>
                  <a:pt x="449" y="130"/>
                  <a:pt x="449" y="131"/>
                  <a:pt x="449" y="131"/>
                </a:cubicBezTo>
                <a:cubicBezTo>
                  <a:pt x="448" y="131"/>
                  <a:pt x="448" y="131"/>
                  <a:pt x="448" y="131"/>
                </a:cubicBezTo>
                <a:cubicBezTo>
                  <a:pt x="447" y="131"/>
                  <a:pt x="447" y="131"/>
                  <a:pt x="447" y="132"/>
                </a:cubicBezTo>
                <a:cubicBezTo>
                  <a:pt x="447" y="132"/>
                  <a:pt x="447" y="132"/>
                  <a:pt x="447" y="132"/>
                </a:cubicBezTo>
                <a:cubicBezTo>
                  <a:pt x="448" y="133"/>
                  <a:pt x="448" y="133"/>
                  <a:pt x="448" y="133"/>
                </a:cubicBezTo>
                <a:cubicBezTo>
                  <a:pt x="449" y="133"/>
                  <a:pt x="449" y="133"/>
                  <a:pt x="449" y="133"/>
                </a:cubicBezTo>
                <a:cubicBezTo>
                  <a:pt x="449" y="134"/>
                  <a:pt x="449" y="134"/>
                  <a:pt x="450" y="134"/>
                </a:cubicBezTo>
                <a:cubicBezTo>
                  <a:pt x="450" y="134"/>
                  <a:pt x="451" y="134"/>
                  <a:pt x="451" y="134"/>
                </a:cubicBezTo>
                <a:cubicBezTo>
                  <a:pt x="451" y="133"/>
                  <a:pt x="451" y="133"/>
                  <a:pt x="452" y="133"/>
                </a:cubicBezTo>
                <a:cubicBezTo>
                  <a:pt x="452" y="133"/>
                  <a:pt x="452" y="133"/>
                  <a:pt x="452" y="133"/>
                </a:cubicBezTo>
                <a:cubicBezTo>
                  <a:pt x="452" y="133"/>
                  <a:pt x="452" y="133"/>
                  <a:pt x="452" y="133"/>
                </a:cubicBezTo>
                <a:cubicBezTo>
                  <a:pt x="453" y="134"/>
                  <a:pt x="453" y="134"/>
                  <a:pt x="453" y="134"/>
                </a:cubicBezTo>
                <a:cubicBezTo>
                  <a:pt x="453" y="134"/>
                  <a:pt x="454" y="134"/>
                  <a:pt x="454" y="134"/>
                </a:cubicBezTo>
                <a:cubicBezTo>
                  <a:pt x="453" y="134"/>
                  <a:pt x="453" y="135"/>
                  <a:pt x="453" y="135"/>
                </a:cubicBezTo>
                <a:cubicBezTo>
                  <a:pt x="453" y="134"/>
                  <a:pt x="452" y="134"/>
                  <a:pt x="452" y="134"/>
                </a:cubicBezTo>
                <a:cubicBezTo>
                  <a:pt x="452" y="134"/>
                  <a:pt x="452" y="134"/>
                  <a:pt x="451" y="134"/>
                </a:cubicBezTo>
                <a:cubicBezTo>
                  <a:pt x="451" y="134"/>
                  <a:pt x="451" y="134"/>
                  <a:pt x="450" y="134"/>
                </a:cubicBezTo>
                <a:cubicBezTo>
                  <a:pt x="450" y="135"/>
                  <a:pt x="450" y="135"/>
                  <a:pt x="450" y="135"/>
                </a:cubicBezTo>
                <a:cubicBezTo>
                  <a:pt x="450" y="135"/>
                  <a:pt x="450" y="135"/>
                  <a:pt x="450" y="135"/>
                </a:cubicBezTo>
                <a:cubicBezTo>
                  <a:pt x="450" y="136"/>
                  <a:pt x="450" y="136"/>
                  <a:pt x="450" y="136"/>
                </a:cubicBezTo>
                <a:cubicBezTo>
                  <a:pt x="450" y="136"/>
                  <a:pt x="450" y="136"/>
                  <a:pt x="450" y="137"/>
                </a:cubicBezTo>
                <a:cubicBezTo>
                  <a:pt x="450" y="137"/>
                  <a:pt x="450" y="137"/>
                  <a:pt x="450" y="137"/>
                </a:cubicBezTo>
                <a:cubicBezTo>
                  <a:pt x="450" y="137"/>
                  <a:pt x="450" y="138"/>
                  <a:pt x="450" y="138"/>
                </a:cubicBezTo>
                <a:cubicBezTo>
                  <a:pt x="449" y="138"/>
                  <a:pt x="449" y="138"/>
                  <a:pt x="449" y="138"/>
                </a:cubicBezTo>
                <a:cubicBezTo>
                  <a:pt x="449" y="139"/>
                  <a:pt x="449" y="139"/>
                  <a:pt x="449" y="139"/>
                </a:cubicBezTo>
                <a:cubicBezTo>
                  <a:pt x="449" y="139"/>
                  <a:pt x="449" y="139"/>
                  <a:pt x="449" y="139"/>
                </a:cubicBezTo>
                <a:cubicBezTo>
                  <a:pt x="449" y="139"/>
                  <a:pt x="448" y="139"/>
                  <a:pt x="448" y="139"/>
                </a:cubicBezTo>
                <a:cubicBezTo>
                  <a:pt x="448" y="139"/>
                  <a:pt x="447" y="139"/>
                  <a:pt x="447" y="139"/>
                </a:cubicBezTo>
                <a:cubicBezTo>
                  <a:pt x="447" y="139"/>
                  <a:pt x="447" y="139"/>
                  <a:pt x="447" y="138"/>
                </a:cubicBezTo>
                <a:cubicBezTo>
                  <a:pt x="446" y="138"/>
                  <a:pt x="446" y="138"/>
                  <a:pt x="445" y="138"/>
                </a:cubicBezTo>
                <a:cubicBezTo>
                  <a:pt x="445" y="138"/>
                  <a:pt x="445" y="137"/>
                  <a:pt x="445" y="137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7"/>
                  <a:pt x="444" y="137"/>
                  <a:pt x="444" y="137"/>
                </a:cubicBezTo>
                <a:cubicBezTo>
                  <a:pt x="444" y="137"/>
                  <a:pt x="444" y="137"/>
                  <a:pt x="444" y="137"/>
                </a:cubicBezTo>
                <a:cubicBezTo>
                  <a:pt x="444" y="137"/>
                  <a:pt x="444" y="136"/>
                  <a:pt x="444" y="136"/>
                </a:cubicBezTo>
                <a:cubicBezTo>
                  <a:pt x="444" y="136"/>
                  <a:pt x="444" y="136"/>
                  <a:pt x="444" y="136"/>
                </a:cubicBezTo>
                <a:cubicBezTo>
                  <a:pt x="444" y="136"/>
                  <a:pt x="444" y="136"/>
                  <a:pt x="444" y="136"/>
                </a:cubicBezTo>
                <a:cubicBezTo>
                  <a:pt x="444" y="136"/>
                  <a:pt x="443" y="136"/>
                  <a:pt x="443" y="136"/>
                </a:cubicBezTo>
                <a:cubicBezTo>
                  <a:pt x="442" y="136"/>
                  <a:pt x="442" y="136"/>
                  <a:pt x="441" y="136"/>
                </a:cubicBezTo>
                <a:cubicBezTo>
                  <a:pt x="441" y="136"/>
                  <a:pt x="441" y="136"/>
                  <a:pt x="441" y="136"/>
                </a:cubicBezTo>
                <a:cubicBezTo>
                  <a:pt x="441" y="136"/>
                  <a:pt x="440" y="136"/>
                  <a:pt x="440" y="136"/>
                </a:cubicBezTo>
                <a:cubicBezTo>
                  <a:pt x="440" y="137"/>
                  <a:pt x="440" y="137"/>
                  <a:pt x="440" y="137"/>
                </a:cubicBezTo>
                <a:cubicBezTo>
                  <a:pt x="439" y="137"/>
                  <a:pt x="439" y="137"/>
                  <a:pt x="439" y="138"/>
                </a:cubicBezTo>
                <a:cubicBezTo>
                  <a:pt x="438" y="138"/>
                  <a:pt x="438" y="139"/>
                  <a:pt x="438" y="139"/>
                </a:cubicBezTo>
                <a:cubicBezTo>
                  <a:pt x="438" y="139"/>
                  <a:pt x="438" y="139"/>
                  <a:pt x="438" y="139"/>
                </a:cubicBezTo>
                <a:cubicBezTo>
                  <a:pt x="438" y="140"/>
                  <a:pt x="438" y="140"/>
                  <a:pt x="439" y="141"/>
                </a:cubicBezTo>
                <a:cubicBezTo>
                  <a:pt x="438" y="141"/>
                  <a:pt x="438" y="141"/>
                  <a:pt x="438" y="141"/>
                </a:cubicBezTo>
                <a:cubicBezTo>
                  <a:pt x="439" y="141"/>
                  <a:pt x="439" y="141"/>
                  <a:pt x="439" y="141"/>
                </a:cubicBezTo>
                <a:cubicBezTo>
                  <a:pt x="439" y="142"/>
                  <a:pt x="439" y="142"/>
                  <a:pt x="439" y="143"/>
                </a:cubicBezTo>
                <a:cubicBezTo>
                  <a:pt x="439" y="143"/>
                  <a:pt x="438" y="143"/>
                  <a:pt x="438" y="143"/>
                </a:cubicBezTo>
                <a:cubicBezTo>
                  <a:pt x="438" y="143"/>
                  <a:pt x="438" y="144"/>
                  <a:pt x="438" y="144"/>
                </a:cubicBezTo>
                <a:cubicBezTo>
                  <a:pt x="439" y="144"/>
                  <a:pt x="439" y="144"/>
                  <a:pt x="439" y="144"/>
                </a:cubicBezTo>
                <a:cubicBezTo>
                  <a:pt x="439" y="144"/>
                  <a:pt x="439" y="144"/>
                  <a:pt x="440" y="144"/>
                </a:cubicBezTo>
                <a:cubicBezTo>
                  <a:pt x="440" y="144"/>
                  <a:pt x="440" y="144"/>
                  <a:pt x="440" y="144"/>
                </a:cubicBezTo>
                <a:cubicBezTo>
                  <a:pt x="441" y="144"/>
                  <a:pt x="441" y="144"/>
                  <a:pt x="441" y="143"/>
                </a:cubicBezTo>
                <a:cubicBezTo>
                  <a:pt x="441" y="143"/>
                  <a:pt x="442" y="143"/>
                  <a:pt x="442" y="144"/>
                </a:cubicBezTo>
                <a:cubicBezTo>
                  <a:pt x="442" y="144"/>
                  <a:pt x="442" y="144"/>
                  <a:pt x="442" y="144"/>
                </a:cubicBezTo>
                <a:cubicBezTo>
                  <a:pt x="442" y="144"/>
                  <a:pt x="442" y="144"/>
                  <a:pt x="442" y="145"/>
                </a:cubicBezTo>
                <a:cubicBezTo>
                  <a:pt x="443" y="145"/>
                  <a:pt x="443" y="144"/>
                  <a:pt x="443" y="144"/>
                </a:cubicBezTo>
                <a:cubicBezTo>
                  <a:pt x="443" y="145"/>
                  <a:pt x="444" y="145"/>
                  <a:pt x="444" y="145"/>
                </a:cubicBezTo>
                <a:cubicBezTo>
                  <a:pt x="444" y="145"/>
                  <a:pt x="444" y="146"/>
                  <a:pt x="444" y="146"/>
                </a:cubicBezTo>
                <a:cubicBezTo>
                  <a:pt x="445" y="146"/>
                  <a:pt x="445" y="147"/>
                  <a:pt x="445" y="147"/>
                </a:cubicBezTo>
                <a:cubicBezTo>
                  <a:pt x="445" y="147"/>
                  <a:pt x="445" y="147"/>
                  <a:pt x="446" y="147"/>
                </a:cubicBezTo>
                <a:cubicBezTo>
                  <a:pt x="446" y="147"/>
                  <a:pt x="446" y="148"/>
                  <a:pt x="446" y="148"/>
                </a:cubicBezTo>
                <a:cubicBezTo>
                  <a:pt x="447" y="148"/>
                  <a:pt x="447" y="148"/>
                  <a:pt x="447" y="148"/>
                </a:cubicBezTo>
                <a:cubicBezTo>
                  <a:pt x="447" y="148"/>
                  <a:pt x="447" y="148"/>
                  <a:pt x="447" y="148"/>
                </a:cubicBezTo>
                <a:cubicBezTo>
                  <a:pt x="447" y="149"/>
                  <a:pt x="447" y="149"/>
                  <a:pt x="447" y="149"/>
                </a:cubicBezTo>
                <a:cubicBezTo>
                  <a:pt x="447" y="150"/>
                  <a:pt x="447" y="150"/>
                  <a:pt x="447" y="150"/>
                </a:cubicBezTo>
                <a:cubicBezTo>
                  <a:pt x="447" y="150"/>
                  <a:pt x="448" y="150"/>
                  <a:pt x="448" y="151"/>
                </a:cubicBezTo>
                <a:cubicBezTo>
                  <a:pt x="448" y="151"/>
                  <a:pt x="448" y="151"/>
                  <a:pt x="448" y="151"/>
                </a:cubicBezTo>
                <a:cubicBezTo>
                  <a:pt x="448" y="152"/>
                  <a:pt x="448" y="152"/>
                  <a:pt x="448" y="152"/>
                </a:cubicBezTo>
                <a:cubicBezTo>
                  <a:pt x="448" y="152"/>
                  <a:pt x="448" y="152"/>
                  <a:pt x="449" y="152"/>
                </a:cubicBezTo>
                <a:cubicBezTo>
                  <a:pt x="449" y="152"/>
                  <a:pt x="449" y="152"/>
                  <a:pt x="449" y="152"/>
                </a:cubicBezTo>
                <a:cubicBezTo>
                  <a:pt x="449" y="152"/>
                  <a:pt x="450" y="152"/>
                  <a:pt x="450" y="152"/>
                </a:cubicBezTo>
                <a:cubicBezTo>
                  <a:pt x="450" y="152"/>
                  <a:pt x="450" y="153"/>
                  <a:pt x="450" y="153"/>
                </a:cubicBezTo>
                <a:cubicBezTo>
                  <a:pt x="450" y="153"/>
                  <a:pt x="451" y="153"/>
                  <a:pt x="451" y="153"/>
                </a:cubicBezTo>
                <a:cubicBezTo>
                  <a:pt x="451" y="153"/>
                  <a:pt x="452" y="152"/>
                  <a:pt x="452" y="152"/>
                </a:cubicBezTo>
                <a:cubicBezTo>
                  <a:pt x="452" y="152"/>
                  <a:pt x="453" y="152"/>
                  <a:pt x="453" y="151"/>
                </a:cubicBezTo>
                <a:cubicBezTo>
                  <a:pt x="453" y="151"/>
                  <a:pt x="453" y="151"/>
                  <a:pt x="454" y="151"/>
                </a:cubicBezTo>
                <a:cubicBezTo>
                  <a:pt x="454" y="150"/>
                  <a:pt x="454" y="150"/>
                  <a:pt x="454" y="150"/>
                </a:cubicBezTo>
                <a:cubicBezTo>
                  <a:pt x="454" y="150"/>
                  <a:pt x="454" y="150"/>
                  <a:pt x="453" y="150"/>
                </a:cubicBezTo>
                <a:cubicBezTo>
                  <a:pt x="453" y="149"/>
                  <a:pt x="452" y="149"/>
                  <a:pt x="452" y="148"/>
                </a:cubicBezTo>
                <a:cubicBezTo>
                  <a:pt x="452" y="148"/>
                  <a:pt x="452" y="148"/>
                  <a:pt x="452" y="148"/>
                </a:cubicBezTo>
                <a:cubicBezTo>
                  <a:pt x="453" y="147"/>
                  <a:pt x="453" y="147"/>
                  <a:pt x="454" y="146"/>
                </a:cubicBezTo>
                <a:cubicBezTo>
                  <a:pt x="454" y="146"/>
                  <a:pt x="454" y="147"/>
                  <a:pt x="454" y="147"/>
                </a:cubicBezTo>
                <a:cubicBezTo>
                  <a:pt x="453" y="147"/>
                  <a:pt x="453" y="147"/>
                  <a:pt x="453" y="148"/>
                </a:cubicBezTo>
                <a:cubicBezTo>
                  <a:pt x="453" y="148"/>
                  <a:pt x="454" y="149"/>
                  <a:pt x="454" y="149"/>
                </a:cubicBezTo>
                <a:cubicBezTo>
                  <a:pt x="454" y="149"/>
                  <a:pt x="454" y="149"/>
                  <a:pt x="455" y="149"/>
                </a:cubicBezTo>
                <a:cubicBezTo>
                  <a:pt x="455" y="149"/>
                  <a:pt x="455" y="149"/>
                  <a:pt x="456" y="148"/>
                </a:cubicBezTo>
                <a:cubicBezTo>
                  <a:pt x="456" y="148"/>
                  <a:pt x="457" y="149"/>
                  <a:pt x="457" y="149"/>
                </a:cubicBezTo>
                <a:cubicBezTo>
                  <a:pt x="458" y="148"/>
                  <a:pt x="458" y="148"/>
                  <a:pt x="459" y="148"/>
                </a:cubicBezTo>
                <a:cubicBezTo>
                  <a:pt x="459" y="148"/>
                  <a:pt x="459" y="148"/>
                  <a:pt x="459" y="147"/>
                </a:cubicBezTo>
                <a:cubicBezTo>
                  <a:pt x="459" y="147"/>
                  <a:pt x="459" y="147"/>
                  <a:pt x="460" y="147"/>
                </a:cubicBezTo>
                <a:cubicBezTo>
                  <a:pt x="460" y="147"/>
                  <a:pt x="461" y="146"/>
                  <a:pt x="461" y="146"/>
                </a:cubicBezTo>
                <a:cubicBezTo>
                  <a:pt x="461" y="146"/>
                  <a:pt x="461" y="146"/>
                  <a:pt x="462" y="146"/>
                </a:cubicBezTo>
                <a:cubicBezTo>
                  <a:pt x="462" y="146"/>
                  <a:pt x="462" y="146"/>
                  <a:pt x="462" y="146"/>
                </a:cubicBezTo>
                <a:cubicBezTo>
                  <a:pt x="462" y="146"/>
                  <a:pt x="463" y="145"/>
                  <a:pt x="463" y="145"/>
                </a:cubicBezTo>
                <a:cubicBezTo>
                  <a:pt x="463" y="145"/>
                  <a:pt x="463" y="145"/>
                  <a:pt x="462" y="145"/>
                </a:cubicBezTo>
                <a:cubicBezTo>
                  <a:pt x="463" y="144"/>
                  <a:pt x="463" y="144"/>
                  <a:pt x="463" y="144"/>
                </a:cubicBezTo>
                <a:cubicBezTo>
                  <a:pt x="464" y="144"/>
                  <a:pt x="464" y="144"/>
                  <a:pt x="464" y="144"/>
                </a:cubicBezTo>
                <a:cubicBezTo>
                  <a:pt x="463" y="144"/>
                  <a:pt x="463" y="144"/>
                  <a:pt x="462" y="144"/>
                </a:cubicBezTo>
                <a:cubicBezTo>
                  <a:pt x="462" y="144"/>
                  <a:pt x="462" y="143"/>
                  <a:pt x="462" y="143"/>
                </a:cubicBezTo>
                <a:cubicBezTo>
                  <a:pt x="462" y="143"/>
                  <a:pt x="462" y="143"/>
                  <a:pt x="463" y="143"/>
                </a:cubicBezTo>
                <a:cubicBezTo>
                  <a:pt x="463" y="143"/>
                  <a:pt x="463" y="143"/>
                  <a:pt x="463" y="143"/>
                </a:cubicBezTo>
                <a:cubicBezTo>
                  <a:pt x="463" y="143"/>
                  <a:pt x="463" y="143"/>
                  <a:pt x="464" y="143"/>
                </a:cubicBezTo>
                <a:cubicBezTo>
                  <a:pt x="464" y="143"/>
                  <a:pt x="464" y="142"/>
                  <a:pt x="464" y="142"/>
                </a:cubicBezTo>
                <a:cubicBezTo>
                  <a:pt x="464" y="142"/>
                  <a:pt x="464" y="142"/>
                  <a:pt x="463" y="142"/>
                </a:cubicBezTo>
                <a:cubicBezTo>
                  <a:pt x="463" y="141"/>
                  <a:pt x="464" y="141"/>
                  <a:pt x="464" y="141"/>
                </a:cubicBezTo>
                <a:cubicBezTo>
                  <a:pt x="464" y="141"/>
                  <a:pt x="464" y="141"/>
                  <a:pt x="465" y="141"/>
                </a:cubicBezTo>
                <a:cubicBezTo>
                  <a:pt x="465" y="140"/>
                  <a:pt x="466" y="140"/>
                  <a:pt x="466" y="140"/>
                </a:cubicBezTo>
                <a:cubicBezTo>
                  <a:pt x="466" y="139"/>
                  <a:pt x="466" y="139"/>
                  <a:pt x="466" y="139"/>
                </a:cubicBezTo>
                <a:cubicBezTo>
                  <a:pt x="466" y="139"/>
                  <a:pt x="466" y="138"/>
                  <a:pt x="467" y="138"/>
                </a:cubicBezTo>
                <a:cubicBezTo>
                  <a:pt x="466" y="137"/>
                  <a:pt x="466" y="137"/>
                  <a:pt x="466" y="137"/>
                </a:cubicBezTo>
                <a:cubicBezTo>
                  <a:pt x="466" y="137"/>
                  <a:pt x="467" y="136"/>
                  <a:pt x="467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36"/>
                  <a:pt x="466" y="137"/>
                  <a:pt x="466" y="137"/>
                </a:cubicBezTo>
                <a:cubicBezTo>
                  <a:pt x="465" y="137"/>
                  <a:pt x="465" y="137"/>
                  <a:pt x="464" y="137"/>
                </a:cubicBezTo>
                <a:cubicBezTo>
                  <a:pt x="464" y="138"/>
                  <a:pt x="464" y="138"/>
                  <a:pt x="464" y="138"/>
                </a:cubicBezTo>
                <a:cubicBezTo>
                  <a:pt x="464" y="138"/>
                  <a:pt x="464" y="138"/>
                  <a:pt x="464" y="138"/>
                </a:cubicBezTo>
                <a:cubicBezTo>
                  <a:pt x="464" y="138"/>
                  <a:pt x="463" y="138"/>
                  <a:pt x="463" y="137"/>
                </a:cubicBezTo>
                <a:cubicBezTo>
                  <a:pt x="464" y="137"/>
                  <a:pt x="464" y="137"/>
                  <a:pt x="464" y="137"/>
                </a:cubicBezTo>
                <a:cubicBezTo>
                  <a:pt x="464" y="137"/>
                  <a:pt x="464" y="136"/>
                  <a:pt x="464" y="136"/>
                </a:cubicBezTo>
                <a:cubicBezTo>
                  <a:pt x="464" y="136"/>
                  <a:pt x="464" y="136"/>
                  <a:pt x="464" y="136"/>
                </a:cubicBezTo>
                <a:cubicBezTo>
                  <a:pt x="463" y="136"/>
                  <a:pt x="463" y="136"/>
                  <a:pt x="463" y="136"/>
                </a:cubicBezTo>
                <a:cubicBezTo>
                  <a:pt x="463" y="135"/>
                  <a:pt x="463" y="135"/>
                  <a:pt x="464" y="135"/>
                </a:cubicBezTo>
                <a:cubicBezTo>
                  <a:pt x="464" y="135"/>
                  <a:pt x="464" y="135"/>
                  <a:pt x="464" y="135"/>
                </a:cubicBezTo>
                <a:cubicBezTo>
                  <a:pt x="464" y="135"/>
                  <a:pt x="464" y="134"/>
                  <a:pt x="464" y="134"/>
                </a:cubicBezTo>
                <a:cubicBezTo>
                  <a:pt x="463" y="134"/>
                  <a:pt x="462" y="134"/>
                  <a:pt x="462" y="134"/>
                </a:cubicBezTo>
                <a:cubicBezTo>
                  <a:pt x="461" y="134"/>
                  <a:pt x="461" y="134"/>
                  <a:pt x="461" y="134"/>
                </a:cubicBezTo>
                <a:cubicBezTo>
                  <a:pt x="460" y="135"/>
                  <a:pt x="460" y="135"/>
                  <a:pt x="459" y="135"/>
                </a:cubicBezTo>
                <a:cubicBezTo>
                  <a:pt x="459" y="135"/>
                  <a:pt x="459" y="135"/>
                  <a:pt x="459" y="135"/>
                </a:cubicBezTo>
                <a:cubicBezTo>
                  <a:pt x="459" y="135"/>
                  <a:pt x="459" y="136"/>
                  <a:pt x="458" y="136"/>
                </a:cubicBezTo>
                <a:cubicBezTo>
                  <a:pt x="458" y="135"/>
                  <a:pt x="458" y="135"/>
                  <a:pt x="458" y="135"/>
                </a:cubicBezTo>
                <a:cubicBezTo>
                  <a:pt x="458" y="135"/>
                  <a:pt x="459" y="134"/>
                  <a:pt x="459" y="134"/>
                </a:cubicBezTo>
                <a:cubicBezTo>
                  <a:pt x="459" y="134"/>
                  <a:pt x="459" y="134"/>
                  <a:pt x="460" y="134"/>
                </a:cubicBezTo>
                <a:cubicBezTo>
                  <a:pt x="460" y="134"/>
                  <a:pt x="460" y="133"/>
                  <a:pt x="461" y="133"/>
                </a:cubicBezTo>
                <a:cubicBezTo>
                  <a:pt x="461" y="133"/>
                  <a:pt x="462" y="132"/>
                  <a:pt x="463" y="132"/>
                </a:cubicBezTo>
                <a:cubicBezTo>
                  <a:pt x="463" y="132"/>
                  <a:pt x="463" y="132"/>
                  <a:pt x="463" y="132"/>
                </a:cubicBezTo>
                <a:cubicBezTo>
                  <a:pt x="464" y="131"/>
                  <a:pt x="464" y="131"/>
                  <a:pt x="464" y="131"/>
                </a:cubicBezTo>
                <a:cubicBezTo>
                  <a:pt x="465" y="131"/>
                  <a:pt x="465" y="131"/>
                  <a:pt x="465" y="131"/>
                </a:cubicBezTo>
                <a:cubicBezTo>
                  <a:pt x="465" y="131"/>
                  <a:pt x="466" y="131"/>
                  <a:pt x="466" y="131"/>
                </a:cubicBezTo>
                <a:cubicBezTo>
                  <a:pt x="466" y="131"/>
                  <a:pt x="466" y="131"/>
                  <a:pt x="466" y="131"/>
                </a:cubicBezTo>
                <a:cubicBezTo>
                  <a:pt x="466" y="130"/>
                  <a:pt x="466" y="130"/>
                  <a:pt x="466" y="130"/>
                </a:cubicBezTo>
                <a:cubicBezTo>
                  <a:pt x="466" y="130"/>
                  <a:pt x="466" y="129"/>
                  <a:pt x="467" y="129"/>
                </a:cubicBezTo>
                <a:cubicBezTo>
                  <a:pt x="466" y="129"/>
                  <a:pt x="466" y="129"/>
                  <a:pt x="465" y="129"/>
                </a:cubicBezTo>
                <a:cubicBezTo>
                  <a:pt x="465" y="129"/>
                  <a:pt x="465" y="129"/>
                  <a:pt x="465" y="129"/>
                </a:cubicBezTo>
                <a:cubicBezTo>
                  <a:pt x="465" y="129"/>
                  <a:pt x="465" y="128"/>
                  <a:pt x="466" y="128"/>
                </a:cubicBezTo>
                <a:cubicBezTo>
                  <a:pt x="466" y="128"/>
                  <a:pt x="466" y="128"/>
                  <a:pt x="466" y="128"/>
                </a:cubicBezTo>
                <a:cubicBezTo>
                  <a:pt x="466" y="128"/>
                  <a:pt x="466" y="128"/>
                  <a:pt x="466" y="128"/>
                </a:cubicBezTo>
                <a:cubicBezTo>
                  <a:pt x="467" y="128"/>
                  <a:pt x="467" y="128"/>
                  <a:pt x="467" y="128"/>
                </a:cubicBezTo>
                <a:cubicBezTo>
                  <a:pt x="468" y="128"/>
                  <a:pt x="468" y="127"/>
                  <a:pt x="469" y="127"/>
                </a:cubicBezTo>
                <a:cubicBezTo>
                  <a:pt x="469" y="127"/>
                  <a:pt x="469" y="127"/>
                  <a:pt x="469" y="126"/>
                </a:cubicBezTo>
                <a:cubicBezTo>
                  <a:pt x="469" y="126"/>
                  <a:pt x="469" y="126"/>
                  <a:pt x="469" y="126"/>
                </a:cubicBezTo>
                <a:cubicBezTo>
                  <a:pt x="469" y="126"/>
                  <a:pt x="469" y="126"/>
                  <a:pt x="469" y="126"/>
                </a:cubicBezTo>
                <a:cubicBezTo>
                  <a:pt x="469" y="125"/>
                  <a:pt x="468" y="125"/>
                  <a:pt x="468" y="125"/>
                </a:cubicBezTo>
                <a:cubicBezTo>
                  <a:pt x="468" y="125"/>
                  <a:pt x="468" y="125"/>
                  <a:pt x="468" y="126"/>
                </a:cubicBezTo>
                <a:cubicBezTo>
                  <a:pt x="467" y="125"/>
                  <a:pt x="467" y="125"/>
                  <a:pt x="467" y="125"/>
                </a:cubicBezTo>
                <a:cubicBezTo>
                  <a:pt x="466" y="125"/>
                  <a:pt x="465" y="126"/>
                  <a:pt x="464" y="126"/>
                </a:cubicBezTo>
                <a:cubicBezTo>
                  <a:pt x="463" y="126"/>
                  <a:pt x="463" y="126"/>
                  <a:pt x="463" y="126"/>
                </a:cubicBezTo>
                <a:cubicBezTo>
                  <a:pt x="463" y="126"/>
                  <a:pt x="463" y="126"/>
                  <a:pt x="462" y="126"/>
                </a:cubicBezTo>
                <a:cubicBezTo>
                  <a:pt x="462" y="126"/>
                  <a:pt x="461" y="127"/>
                  <a:pt x="461" y="127"/>
                </a:cubicBezTo>
                <a:cubicBezTo>
                  <a:pt x="460" y="127"/>
                  <a:pt x="460" y="127"/>
                  <a:pt x="460" y="127"/>
                </a:cubicBezTo>
                <a:cubicBezTo>
                  <a:pt x="459" y="127"/>
                  <a:pt x="459" y="127"/>
                  <a:pt x="459" y="127"/>
                </a:cubicBezTo>
                <a:cubicBezTo>
                  <a:pt x="458" y="127"/>
                  <a:pt x="458" y="127"/>
                  <a:pt x="458" y="127"/>
                </a:cubicBezTo>
                <a:cubicBezTo>
                  <a:pt x="457" y="127"/>
                  <a:pt x="457" y="126"/>
                  <a:pt x="457" y="126"/>
                </a:cubicBezTo>
                <a:cubicBezTo>
                  <a:pt x="457" y="126"/>
                  <a:pt x="457" y="126"/>
                  <a:pt x="457" y="126"/>
                </a:cubicBezTo>
                <a:cubicBezTo>
                  <a:pt x="457" y="126"/>
                  <a:pt x="457" y="126"/>
                  <a:pt x="457" y="126"/>
                </a:cubicBezTo>
                <a:cubicBezTo>
                  <a:pt x="457" y="126"/>
                  <a:pt x="457" y="125"/>
                  <a:pt x="457" y="125"/>
                </a:cubicBezTo>
                <a:cubicBezTo>
                  <a:pt x="456" y="125"/>
                  <a:pt x="456" y="126"/>
                  <a:pt x="455" y="126"/>
                </a:cubicBezTo>
                <a:cubicBezTo>
                  <a:pt x="455" y="126"/>
                  <a:pt x="455" y="126"/>
                  <a:pt x="454" y="126"/>
                </a:cubicBezTo>
                <a:cubicBezTo>
                  <a:pt x="454" y="126"/>
                  <a:pt x="454" y="126"/>
                  <a:pt x="454" y="127"/>
                </a:cubicBezTo>
                <a:cubicBezTo>
                  <a:pt x="454" y="127"/>
                  <a:pt x="454" y="127"/>
                  <a:pt x="454" y="127"/>
                </a:cubicBezTo>
                <a:cubicBezTo>
                  <a:pt x="455" y="127"/>
                  <a:pt x="455" y="127"/>
                  <a:pt x="456" y="127"/>
                </a:cubicBezTo>
                <a:cubicBezTo>
                  <a:pt x="455" y="127"/>
                  <a:pt x="455" y="127"/>
                  <a:pt x="455" y="127"/>
                </a:cubicBezTo>
                <a:cubicBezTo>
                  <a:pt x="455" y="127"/>
                  <a:pt x="454" y="127"/>
                  <a:pt x="454" y="127"/>
                </a:cubicBezTo>
                <a:cubicBezTo>
                  <a:pt x="453" y="127"/>
                  <a:pt x="453" y="127"/>
                  <a:pt x="453" y="127"/>
                </a:cubicBezTo>
                <a:cubicBezTo>
                  <a:pt x="452" y="127"/>
                  <a:pt x="452" y="127"/>
                  <a:pt x="452" y="127"/>
                </a:cubicBezTo>
                <a:cubicBezTo>
                  <a:pt x="452" y="127"/>
                  <a:pt x="452" y="127"/>
                  <a:pt x="452" y="127"/>
                </a:cubicBezTo>
                <a:cubicBezTo>
                  <a:pt x="451" y="127"/>
                  <a:pt x="451" y="127"/>
                  <a:pt x="451" y="128"/>
                </a:cubicBezTo>
                <a:cubicBezTo>
                  <a:pt x="450" y="128"/>
                  <a:pt x="450" y="128"/>
                  <a:pt x="450" y="128"/>
                </a:cubicBezTo>
                <a:cubicBezTo>
                  <a:pt x="450" y="128"/>
                  <a:pt x="450" y="129"/>
                  <a:pt x="450" y="129"/>
                </a:cubicBezTo>
                <a:cubicBezTo>
                  <a:pt x="450" y="129"/>
                  <a:pt x="450" y="129"/>
                  <a:pt x="450" y="129"/>
                </a:cubicBezTo>
                <a:cubicBezTo>
                  <a:pt x="450" y="130"/>
                  <a:pt x="451" y="130"/>
                  <a:pt x="451" y="130"/>
                </a:cubicBezTo>
                <a:close/>
                <a:moveTo>
                  <a:pt x="457" y="152"/>
                </a:moveTo>
                <a:cubicBezTo>
                  <a:pt x="458" y="152"/>
                  <a:pt x="458" y="152"/>
                  <a:pt x="458" y="152"/>
                </a:cubicBezTo>
                <a:cubicBezTo>
                  <a:pt x="458" y="152"/>
                  <a:pt x="458" y="152"/>
                  <a:pt x="458" y="152"/>
                </a:cubicBezTo>
                <a:cubicBezTo>
                  <a:pt x="458" y="152"/>
                  <a:pt x="458" y="151"/>
                  <a:pt x="458" y="151"/>
                </a:cubicBezTo>
                <a:cubicBezTo>
                  <a:pt x="458" y="151"/>
                  <a:pt x="458" y="151"/>
                  <a:pt x="458" y="151"/>
                </a:cubicBezTo>
                <a:cubicBezTo>
                  <a:pt x="458" y="151"/>
                  <a:pt x="458" y="152"/>
                  <a:pt x="457" y="152"/>
                </a:cubicBezTo>
                <a:close/>
                <a:moveTo>
                  <a:pt x="494" y="176"/>
                </a:moveTo>
                <a:cubicBezTo>
                  <a:pt x="494" y="176"/>
                  <a:pt x="494" y="175"/>
                  <a:pt x="494" y="175"/>
                </a:cubicBezTo>
                <a:cubicBezTo>
                  <a:pt x="494" y="175"/>
                  <a:pt x="494" y="175"/>
                  <a:pt x="494" y="174"/>
                </a:cubicBezTo>
                <a:cubicBezTo>
                  <a:pt x="494" y="174"/>
                  <a:pt x="494" y="174"/>
                  <a:pt x="494" y="174"/>
                </a:cubicBezTo>
                <a:cubicBezTo>
                  <a:pt x="494" y="174"/>
                  <a:pt x="494" y="175"/>
                  <a:pt x="493" y="175"/>
                </a:cubicBezTo>
                <a:cubicBezTo>
                  <a:pt x="493" y="175"/>
                  <a:pt x="493" y="175"/>
                  <a:pt x="492" y="176"/>
                </a:cubicBezTo>
                <a:cubicBezTo>
                  <a:pt x="492" y="176"/>
                  <a:pt x="492" y="176"/>
                  <a:pt x="493" y="176"/>
                </a:cubicBezTo>
                <a:cubicBezTo>
                  <a:pt x="492" y="177"/>
                  <a:pt x="492" y="177"/>
                  <a:pt x="492" y="177"/>
                </a:cubicBezTo>
                <a:cubicBezTo>
                  <a:pt x="493" y="177"/>
                  <a:pt x="493" y="177"/>
                  <a:pt x="494" y="177"/>
                </a:cubicBezTo>
                <a:cubicBezTo>
                  <a:pt x="494" y="177"/>
                  <a:pt x="494" y="177"/>
                  <a:pt x="495" y="176"/>
                </a:cubicBezTo>
                <a:cubicBezTo>
                  <a:pt x="495" y="176"/>
                  <a:pt x="494" y="176"/>
                  <a:pt x="494" y="176"/>
                </a:cubicBezTo>
                <a:close/>
                <a:moveTo>
                  <a:pt x="562" y="229"/>
                </a:moveTo>
                <a:cubicBezTo>
                  <a:pt x="562" y="229"/>
                  <a:pt x="563" y="229"/>
                  <a:pt x="563" y="230"/>
                </a:cubicBezTo>
                <a:cubicBezTo>
                  <a:pt x="563" y="230"/>
                  <a:pt x="563" y="230"/>
                  <a:pt x="563" y="230"/>
                </a:cubicBezTo>
                <a:cubicBezTo>
                  <a:pt x="563" y="230"/>
                  <a:pt x="563" y="230"/>
                  <a:pt x="563" y="230"/>
                </a:cubicBezTo>
                <a:cubicBezTo>
                  <a:pt x="563" y="230"/>
                  <a:pt x="563" y="229"/>
                  <a:pt x="563" y="229"/>
                </a:cubicBezTo>
                <a:cubicBezTo>
                  <a:pt x="563" y="229"/>
                  <a:pt x="563" y="229"/>
                  <a:pt x="563" y="229"/>
                </a:cubicBezTo>
                <a:cubicBezTo>
                  <a:pt x="562" y="229"/>
                  <a:pt x="562" y="229"/>
                  <a:pt x="562" y="229"/>
                </a:cubicBezTo>
                <a:close/>
                <a:moveTo>
                  <a:pt x="504" y="273"/>
                </a:moveTo>
                <a:cubicBezTo>
                  <a:pt x="504" y="273"/>
                  <a:pt x="504" y="273"/>
                  <a:pt x="503" y="273"/>
                </a:cubicBezTo>
                <a:cubicBezTo>
                  <a:pt x="503" y="274"/>
                  <a:pt x="504" y="274"/>
                  <a:pt x="504" y="274"/>
                </a:cubicBezTo>
                <a:cubicBezTo>
                  <a:pt x="504" y="274"/>
                  <a:pt x="504" y="274"/>
                  <a:pt x="504" y="274"/>
                </a:cubicBezTo>
                <a:cubicBezTo>
                  <a:pt x="504" y="274"/>
                  <a:pt x="504" y="274"/>
                  <a:pt x="504" y="274"/>
                </a:cubicBezTo>
                <a:cubicBezTo>
                  <a:pt x="504" y="274"/>
                  <a:pt x="504" y="273"/>
                  <a:pt x="504" y="273"/>
                </a:cubicBezTo>
                <a:cubicBezTo>
                  <a:pt x="504" y="273"/>
                  <a:pt x="504" y="273"/>
                  <a:pt x="504" y="273"/>
                </a:cubicBezTo>
                <a:close/>
                <a:moveTo>
                  <a:pt x="497" y="191"/>
                </a:moveTo>
                <a:cubicBezTo>
                  <a:pt x="497" y="191"/>
                  <a:pt x="497" y="191"/>
                  <a:pt x="496" y="191"/>
                </a:cubicBezTo>
                <a:cubicBezTo>
                  <a:pt x="496" y="192"/>
                  <a:pt x="496" y="192"/>
                  <a:pt x="496" y="192"/>
                </a:cubicBezTo>
                <a:cubicBezTo>
                  <a:pt x="496" y="192"/>
                  <a:pt x="496" y="193"/>
                  <a:pt x="496" y="193"/>
                </a:cubicBezTo>
                <a:cubicBezTo>
                  <a:pt x="496" y="193"/>
                  <a:pt x="496" y="193"/>
                  <a:pt x="496" y="193"/>
                </a:cubicBezTo>
                <a:cubicBezTo>
                  <a:pt x="496" y="194"/>
                  <a:pt x="497" y="194"/>
                  <a:pt x="497" y="194"/>
                </a:cubicBezTo>
                <a:cubicBezTo>
                  <a:pt x="497" y="194"/>
                  <a:pt x="497" y="194"/>
                  <a:pt x="497" y="194"/>
                </a:cubicBezTo>
                <a:cubicBezTo>
                  <a:pt x="497" y="194"/>
                  <a:pt x="497" y="194"/>
                  <a:pt x="497" y="194"/>
                </a:cubicBezTo>
                <a:cubicBezTo>
                  <a:pt x="497" y="194"/>
                  <a:pt x="498" y="193"/>
                  <a:pt x="498" y="193"/>
                </a:cubicBezTo>
                <a:cubicBezTo>
                  <a:pt x="498" y="193"/>
                  <a:pt x="497" y="193"/>
                  <a:pt x="497" y="192"/>
                </a:cubicBezTo>
                <a:cubicBezTo>
                  <a:pt x="497" y="192"/>
                  <a:pt x="497" y="192"/>
                  <a:pt x="497" y="192"/>
                </a:cubicBezTo>
                <a:cubicBezTo>
                  <a:pt x="497" y="192"/>
                  <a:pt x="497" y="192"/>
                  <a:pt x="497" y="192"/>
                </a:cubicBezTo>
                <a:cubicBezTo>
                  <a:pt x="497" y="192"/>
                  <a:pt x="497" y="191"/>
                  <a:pt x="497" y="191"/>
                </a:cubicBezTo>
                <a:close/>
                <a:moveTo>
                  <a:pt x="506" y="282"/>
                </a:moveTo>
                <a:cubicBezTo>
                  <a:pt x="506" y="281"/>
                  <a:pt x="507" y="281"/>
                  <a:pt x="507" y="281"/>
                </a:cubicBezTo>
                <a:cubicBezTo>
                  <a:pt x="507" y="281"/>
                  <a:pt x="507" y="280"/>
                  <a:pt x="507" y="280"/>
                </a:cubicBezTo>
                <a:cubicBezTo>
                  <a:pt x="506" y="280"/>
                  <a:pt x="506" y="281"/>
                  <a:pt x="506" y="281"/>
                </a:cubicBezTo>
                <a:cubicBezTo>
                  <a:pt x="506" y="281"/>
                  <a:pt x="506" y="281"/>
                  <a:pt x="505" y="281"/>
                </a:cubicBezTo>
                <a:cubicBezTo>
                  <a:pt x="505" y="281"/>
                  <a:pt x="505" y="281"/>
                  <a:pt x="505" y="282"/>
                </a:cubicBezTo>
                <a:cubicBezTo>
                  <a:pt x="505" y="282"/>
                  <a:pt x="506" y="282"/>
                  <a:pt x="506" y="282"/>
                </a:cubicBezTo>
                <a:close/>
                <a:moveTo>
                  <a:pt x="513" y="255"/>
                </a:moveTo>
                <a:cubicBezTo>
                  <a:pt x="513" y="255"/>
                  <a:pt x="513" y="255"/>
                  <a:pt x="513" y="255"/>
                </a:cubicBezTo>
                <a:cubicBezTo>
                  <a:pt x="513" y="255"/>
                  <a:pt x="512" y="255"/>
                  <a:pt x="512" y="255"/>
                </a:cubicBezTo>
                <a:cubicBezTo>
                  <a:pt x="512" y="255"/>
                  <a:pt x="512" y="255"/>
                  <a:pt x="512" y="255"/>
                </a:cubicBezTo>
                <a:cubicBezTo>
                  <a:pt x="512" y="256"/>
                  <a:pt x="512" y="256"/>
                  <a:pt x="512" y="256"/>
                </a:cubicBezTo>
                <a:cubicBezTo>
                  <a:pt x="512" y="256"/>
                  <a:pt x="512" y="256"/>
                  <a:pt x="512" y="256"/>
                </a:cubicBezTo>
                <a:cubicBezTo>
                  <a:pt x="512" y="256"/>
                  <a:pt x="513" y="256"/>
                  <a:pt x="513" y="255"/>
                </a:cubicBezTo>
                <a:close/>
                <a:moveTo>
                  <a:pt x="511" y="253"/>
                </a:moveTo>
                <a:cubicBezTo>
                  <a:pt x="511" y="253"/>
                  <a:pt x="511" y="253"/>
                  <a:pt x="511" y="253"/>
                </a:cubicBezTo>
                <a:cubicBezTo>
                  <a:pt x="511" y="253"/>
                  <a:pt x="511" y="253"/>
                  <a:pt x="511" y="253"/>
                </a:cubicBezTo>
                <a:cubicBezTo>
                  <a:pt x="510" y="253"/>
                  <a:pt x="510" y="253"/>
                  <a:pt x="510" y="253"/>
                </a:cubicBezTo>
                <a:cubicBezTo>
                  <a:pt x="510" y="253"/>
                  <a:pt x="510" y="253"/>
                  <a:pt x="511" y="253"/>
                </a:cubicBezTo>
                <a:close/>
                <a:moveTo>
                  <a:pt x="503" y="192"/>
                </a:moveTo>
                <a:cubicBezTo>
                  <a:pt x="503" y="192"/>
                  <a:pt x="503" y="193"/>
                  <a:pt x="503" y="193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4" y="193"/>
                  <a:pt x="504" y="193"/>
                  <a:pt x="504" y="193"/>
                </a:cubicBezTo>
                <a:cubicBezTo>
                  <a:pt x="505" y="193"/>
                  <a:pt x="505" y="193"/>
                  <a:pt x="505" y="193"/>
                </a:cubicBezTo>
                <a:cubicBezTo>
                  <a:pt x="505" y="192"/>
                  <a:pt x="505" y="192"/>
                  <a:pt x="505" y="192"/>
                </a:cubicBezTo>
                <a:cubicBezTo>
                  <a:pt x="505" y="192"/>
                  <a:pt x="505" y="192"/>
                  <a:pt x="504" y="192"/>
                </a:cubicBezTo>
                <a:cubicBezTo>
                  <a:pt x="504" y="192"/>
                  <a:pt x="504" y="192"/>
                  <a:pt x="503" y="192"/>
                </a:cubicBezTo>
                <a:cubicBezTo>
                  <a:pt x="503" y="192"/>
                  <a:pt x="503" y="191"/>
                  <a:pt x="503" y="191"/>
                </a:cubicBezTo>
                <a:cubicBezTo>
                  <a:pt x="503" y="191"/>
                  <a:pt x="502" y="191"/>
                  <a:pt x="502" y="191"/>
                </a:cubicBezTo>
                <a:cubicBezTo>
                  <a:pt x="502" y="191"/>
                  <a:pt x="502" y="191"/>
                  <a:pt x="502" y="190"/>
                </a:cubicBezTo>
                <a:cubicBezTo>
                  <a:pt x="502" y="190"/>
                  <a:pt x="501" y="190"/>
                  <a:pt x="501" y="190"/>
                </a:cubicBezTo>
                <a:cubicBezTo>
                  <a:pt x="501" y="190"/>
                  <a:pt x="500" y="190"/>
                  <a:pt x="500" y="190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500" y="190"/>
                  <a:pt x="500" y="191"/>
                  <a:pt x="500" y="191"/>
                </a:cubicBezTo>
                <a:cubicBezTo>
                  <a:pt x="500" y="191"/>
                  <a:pt x="501" y="191"/>
                  <a:pt x="501" y="191"/>
                </a:cubicBezTo>
                <a:cubicBezTo>
                  <a:pt x="501" y="191"/>
                  <a:pt x="501" y="192"/>
                  <a:pt x="501" y="192"/>
                </a:cubicBezTo>
                <a:cubicBezTo>
                  <a:pt x="501" y="192"/>
                  <a:pt x="501" y="192"/>
                  <a:pt x="501" y="192"/>
                </a:cubicBezTo>
                <a:cubicBezTo>
                  <a:pt x="502" y="192"/>
                  <a:pt x="502" y="192"/>
                  <a:pt x="503" y="192"/>
                </a:cubicBezTo>
                <a:close/>
                <a:moveTo>
                  <a:pt x="505" y="214"/>
                </a:moveTo>
                <a:cubicBezTo>
                  <a:pt x="505" y="213"/>
                  <a:pt x="506" y="213"/>
                  <a:pt x="506" y="213"/>
                </a:cubicBezTo>
                <a:cubicBezTo>
                  <a:pt x="506" y="213"/>
                  <a:pt x="506" y="213"/>
                  <a:pt x="505" y="213"/>
                </a:cubicBezTo>
                <a:cubicBezTo>
                  <a:pt x="505" y="213"/>
                  <a:pt x="505" y="213"/>
                  <a:pt x="504" y="213"/>
                </a:cubicBezTo>
                <a:cubicBezTo>
                  <a:pt x="504" y="213"/>
                  <a:pt x="504" y="213"/>
                  <a:pt x="504" y="213"/>
                </a:cubicBezTo>
                <a:cubicBezTo>
                  <a:pt x="504" y="213"/>
                  <a:pt x="503" y="213"/>
                  <a:pt x="503" y="213"/>
                </a:cubicBezTo>
                <a:cubicBezTo>
                  <a:pt x="503" y="213"/>
                  <a:pt x="503" y="213"/>
                  <a:pt x="502" y="214"/>
                </a:cubicBezTo>
                <a:cubicBezTo>
                  <a:pt x="502" y="213"/>
                  <a:pt x="502" y="213"/>
                  <a:pt x="502" y="213"/>
                </a:cubicBezTo>
                <a:cubicBezTo>
                  <a:pt x="502" y="214"/>
                  <a:pt x="501" y="214"/>
                  <a:pt x="501" y="214"/>
                </a:cubicBezTo>
                <a:cubicBezTo>
                  <a:pt x="501" y="214"/>
                  <a:pt x="501" y="214"/>
                  <a:pt x="501" y="214"/>
                </a:cubicBezTo>
                <a:cubicBezTo>
                  <a:pt x="500" y="214"/>
                  <a:pt x="500" y="214"/>
                  <a:pt x="500" y="214"/>
                </a:cubicBezTo>
                <a:cubicBezTo>
                  <a:pt x="500" y="214"/>
                  <a:pt x="499" y="214"/>
                  <a:pt x="499" y="214"/>
                </a:cubicBezTo>
                <a:cubicBezTo>
                  <a:pt x="499" y="214"/>
                  <a:pt x="499" y="214"/>
                  <a:pt x="499" y="214"/>
                </a:cubicBezTo>
                <a:cubicBezTo>
                  <a:pt x="499" y="214"/>
                  <a:pt x="498" y="214"/>
                  <a:pt x="498" y="214"/>
                </a:cubicBezTo>
                <a:cubicBezTo>
                  <a:pt x="498" y="215"/>
                  <a:pt x="497" y="215"/>
                  <a:pt x="497" y="216"/>
                </a:cubicBezTo>
                <a:cubicBezTo>
                  <a:pt x="497" y="216"/>
                  <a:pt x="497" y="216"/>
                  <a:pt x="497" y="216"/>
                </a:cubicBezTo>
                <a:cubicBezTo>
                  <a:pt x="497" y="216"/>
                  <a:pt x="497" y="216"/>
                  <a:pt x="497" y="216"/>
                </a:cubicBezTo>
                <a:cubicBezTo>
                  <a:pt x="496" y="217"/>
                  <a:pt x="495" y="217"/>
                  <a:pt x="495" y="217"/>
                </a:cubicBezTo>
                <a:cubicBezTo>
                  <a:pt x="495" y="217"/>
                  <a:pt x="495" y="218"/>
                  <a:pt x="495" y="218"/>
                </a:cubicBezTo>
                <a:cubicBezTo>
                  <a:pt x="495" y="218"/>
                  <a:pt x="495" y="218"/>
                  <a:pt x="495" y="218"/>
                </a:cubicBezTo>
                <a:cubicBezTo>
                  <a:pt x="495" y="218"/>
                  <a:pt x="496" y="218"/>
                  <a:pt x="496" y="219"/>
                </a:cubicBezTo>
                <a:cubicBezTo>
                  <a:pt x="496" y="219"/>
                  <a:pt x="496" y="219"/>
                  <a:pt x="496" y="219"/>
                </a:cubicBezTo>
                <a:cubicBezTo>
                  <a:pt x="496" y="219"/>
                  <a:pt x="496" y="220"/>
                  <a:pt x="496" y="220"/>
                </a:cubicBezTo>
                <a:cubicBezTo>
                  <a:pt x="496" y="220"/>
                  <a:pt x="496" y="220"/>
                  <a:pt x="496" y="220"/>
                </a:cubicBezTo>
                <a:cubicBezTo>
                  <a:pt x="496" y="220"/>
                  <a:pt x="496" y="220"/>
                  <a:pt x="496" y="220"/>
                </a:cubicBezTo>
                <a:cubicBezTo>
                  <a:pt x="497" y="219"/>
                  <a:pt x="497" y="219"/>
                  <a:pt x="497" y="219"/>
                </a:cubicBezTo>
                <a:cubicBezTo>
                  <a:pt x="497" y="219"/>
                  <a:pt x="498" y="218"/>
                  <a:pt x="498" y="218"/>
                </a:cubicBezTo>
                <a:cubicBezTo>
                  <a:pt x="498" y="218"/>
                  <a:pt x="498" y="218"/>
                  <a:pt x="498" y="218"/>
                </a:cubicBezTo>
                <a:cubicBezTo>
                  <a:pt x="499" y="219"/>
                  <a:pt x="499" y="219"/>
                  <a:pt x="499" y="219"/>
                </a:cubicBezTo>
                <a:cubicBezTo>
                  <a:pt x="499" y="219"/>
                  <a:pt x="499" y="219"/>
                  <a:pt x="500" y="219"/>
                </a:cubicBezTo>
                <a:cubicBezTo>
                  <a:pt x="500" y="218"/>
                  <a:pt x="500" y="218"/>
                  <a:pt x="501" y="217"/>
                </a:cubicBezTo>
                <a:cubicBezTo>
                  <a:pt x="501" y="217"/>
                  <a:pt x="501" y="217"/>
                  <a:pt x="502" y="217"/>
                </a:cubicBezTo>
                <a:cubicBezTo>
                  <a:pt x="502" y="217"/>
                  <a:pt x="502" y="217"/>
                  <a:pt x="502" y="216"/>
                </a:cubicBezTo>
                <a:cubicBezTo>
                  <a:pt x="503" y="216"/>
                  <a:pt x="503" y="216"/>
                  <a:pt x="503" y="215"/>
                </a:cubicBezTo>
                <a:cubicBezTo>
                  <a:pt x="503" y="215"/>
                  <a:pt x="504" y="215"/>
                  <a:pt x="504" y="215"/>
                </a:cubicBezTo>
                <a:cubicBezTo>
                  <a:pt x="504" y="215"/>
                  <a:pt x="505" y="215"/>
                  <a:pt x="505" y="214"/>
                </a:cubicBezTo>
                <a:cubicBezTo>
                  <a:pt x="505" y="214"/>
                  <a:pt x="505" y="214"/>
                  <a:pt x="505" y="214"/>
                </a:cubicBezTo>
                <a:close/>
                <a:moveTo>
                  <a:pt x="561" y="229"/>
                </a:moveTo>
                <a:cubicBezTo>
                  <a:pt x="561" y="229"/>
                  <a:pt x="561" y="229"/>
                  <a:pt x="561" y="229"/>
                </a:cubicBezTo>
                <a:cubicBezTo>
                  <a:pt x="561" y="229"/>
                  <a:pt x="561" y="229"/>
                  <a:pt x="561" y="229"/>
                </a:cubicBezTo>
                <a:cubicBezTo>
                  <a:pt x="561" y="229"/>
                  <a:pt x="561" y="229"/>
                  <a:pt x="561" y="229"/>
                </a:cubicBezTo>
                <a:close/>
                <a:moveTo>
                  <a:pt x="507" y="255"/>
                </a:moveTo>
                <a:cubicBezTo>
                  <a:pt x="508" y="255"/>
                  <a:pt x="508" y="255"/>
                  <a:pt x="508" y="254"/>
                </a:cubicBezTo>
                <a:cubicBezTo>
                  <a:pt x="508" y="255"/>
                  <a:pt x="508" y="255"/>
                  <a:pt x="507" y="255"/>
                </a:cubicBezTo>
                <a:cubicBezTo>
                  <a:pt x="507" y="255"/>
                  <a:pt x="507" y="255"/>
                  <a:pt x="507" y="255"/>
                </a:cubicBezTo>
                <a:cubicBezTo>
                  <a:pt x="507" y="255"/>
                  <a:pt x="506" y="255"/>
                  <a:pt x="506" y="255"/>
                </a:cubicBezTo>
                <a:cubicBezTo>
                  <a:pt x="506" y="255"/>
                  <a:pt x="506" y="256"/>
                  <a:pt x="506" y="256"/>
                </a:cubicBezTo>
                <a:cubicBezTo>
                  <a:pt x="506" y="256"/>
                  <a:pt x="506" y="256"/>
                  <a:pt x="505" y="256"/>
                </a:cubicBezTo>
                <a:cubicBezTo>
                  <a:pt x="505" y="256"/>
                  <a:pt x="505" y="256"/>
                  <a:pt x="505" y="257"/>
                </a:cubicBezTo>
                <a:cubicBezTo>
                  <a:pt x="505" y="257"/>
                  <a:pt x="505" y="257"/>
                  <a:pt x="505" y="257"/>
                </a:cubicBezTo>
                <a:cubicBezTo>
                  <a:pt x="506" y="257"/>
                  <a:pt x="506" y="256"/>
                  <a:pt x="506" y="256"/>
                </a:cubicBezTo>
                <a:cubicBezTo>
                  <a:pt x="507" y="256"/>
                  <a:pt x="507" y="256"/>
                  <a:pt x="507" y="255"/>
                </a:cubicBezTo>
                <a:close/>
                <a:moveTo>
                  <a:pt x="562" y="229"/>
                </a:moveTo>
                <a:cubicBezTo>
                  <a:pt x="562" y="229"/>
                  <a:pt x="562" y="229"/>
                  <a:pt x="562" y="229"/>
                </a:cubicBezTo>
                <a:cubicBezTo>
                  <a:pt x="562" y="229"/>
                  <a:pt x="562" y="229"/>
                  <a:pt x="562" y="229"/>
                </a:cubicBezTo>
                <a:cubicBezTo>
                  <a:pt x="562" y="229"/>
                  <a:pt x="562" y="229"/>
                  <a:pt x="562" y="229"/>
                </a:cubicBezTo>
                <a:close/>
                <a:moveTo>
                  <a:pt x="594" y="281"/>
                </a:moveTo>
                <a:cubicBezTo>
                  <a:pt x="594" y="281"/>
                  <a:pt x="594" y="281"/>
                  <a:pt x="594" y="281"/>
                </a:cubicBezTo>
                <a:cubicBezTo>
                  <a:pt x="594" y="281"/>
                  <a:pt x="594" y="281"/>
                  <a:pt x="593" y="281"/>
                </a:cubicBezTo>
                <a:cubicBezTo>
                  <a:pt x="593" y="280"/>
                  <a:pt x="593" y="280"/>
                  <a:pt x="593" y="280"/>
                </a:cubicBezTo>
                <a:cubicBezTo>
                  <a:pt x="593" y="280"/>
                  <a:pt x="592" y="280"/>
                  <a:pt x="592" y="280"/>
                </a:cubicBezTo>
                <a:cubicBezTo>
                  <a:pt x="592" y="280"/>
                  <a:pt x="591" y="280"/>
                  <a:pt x="591" y="280"/>
                </a:cubicBezTo>
                <a:cubicBezTo>
                  <a:pt x="591" y="280"/>
                  <a:pt x="590" y="280"/>
                  <a:pt x="590" y="279"/>
                </a:cubicBezTo>
                <a:cubicBezTo>
                  <a:pt x="590" y="279"/>
                  <a:pt x="589" y="279"/>
                  <a:pt x="589" y="279"/>
                </a:cubicBezTo>
                <a:cubicBezTo>
                  <a:pt x="589" y="279"/>
                  <a:pt x="588" y="279"/>
                  <a:pt x="588" y="279"/>
                </a:cubicBezTo>
                <a:cubicBezTo>
                  <a:pt x="588" y="279"/>
                  <a:pt x="587" y="279"/>
                  <a:pt x="587" y="279"/>
                </a:cubicBezTo>
                <a:cubicBezTo>
                  <a:pt x="586" y="279"/>
                  <a:pt x="586" y="279"/>
                  <a:pt x="585" y="279"/>
                </a:cubicBezTo>
                <a:cubicBezTo>
                  <a:pt x="584" y="279"/>
                  <a:pt x="583" y="279"/>
                  <a:pt x="583" y="279"/>
                </a:cubicBezTo>
                <a:cubicBezTo>
                  <a:pt x="582" y="279"/>
                  <a:pt x="582" y="279"/>
                  <a:pt x="582" y="279"/>
                </a:cubicBezTo>
                <a:cubicBezTo>
                  <a:pt x="581" y="279"/>
                  <a:pt x="581" y="279"/>
                  <a:pt x="581" y="279"/>
                </a:cubicBezTo>
                <a:cubicBezTo>
                  <a:pt x="581" y="280"/>
                  <a:pt x="581" y="280"/>
                  <a:pt x="581" y="280"/>
                </a:cubicBezTo>
                <a:cubicBezTo>
                  <a:pt x="582" y="280"/>
                  <a:pt x="582" y="280"/>
                  <a:pt x="582" y="280"/>
                </a:cubicBezTo>
                <a:cubicBezTo>
                  <a:pt x="583" y="280"/>
                  <a:pt x="584" y="281"/>
                  <a:pt x="584" y="281"/>
                </a:cubicBezTo>
                <a:cubicBezTo>
                  <a:pt x="584" y="281"/>
                  <a:pt x="585" y="281"/>
                  <a:pt x="585" y="281"/>
                </a:cubicBezTo>
                <a:cubicBezTo>
                  <a:pt x="585" y="281"/>
                  <a:pt x="585" y="281"/>
                  <a:pt x="585" y="282"/>
                </a:cubicBezTo>
                <a:cubicBezTo>
                  <a:pt x="585" y="282"/>
                  <a:pt x="585" y="282"/>
                  <a:pt x="586" y="281"/>
                </a:cubicBezTo>
                <a:cubicBezTo>
                  <a:pt x="586" y="282"/>
                  <a:pt x="587" y="282"/>
                  <a:pt x="588" y="282"/>
                </a:cubicBezTo>
                <a:cubicBezTo>
                  <a:pt x="588" y="282"/>
                  <a:pt x="589" y="282"/>
                  <a:pt x="589" y="282"/>
                </a:cubicBezTo>
                <a:cubicBezTo>
                  <a:pt x="590" y="282"/>
                  <a:pt x="590" y="282"/>
                  <a:pt x="590" y="282"/>
                </a:cubicBezTo>
                <a:cubicBezTo>
                  <a:pt x="591" y="282"/>
                  <a:pt x="591" y="282"/>
                  <a:pt x="591" y="282"/>
                </a:cubicBezTo>
                <a:cubicBezTo>
                  <a:pt x="592" y="282"/>
                  <a:pt x="592" y="282"/>
                  <a:pt x="592" y="282"/>
                </a:cubicBezTo>
                <a:cubicBezTo>
                  <a:pt x="592" y="282"/>
                  <a:pt x="593" y="282"/>
                  <a:pt x="593" y="282"/>
                </a:cubicBezTo>
                <a:cubicBezTo>
                  <a:pt x="594" y="282"/>
                  <a:pt x="594" y="282"/>
                  <a:pt x="594" y="282"/>
                </a:cubicBezTo>
                <a:cubicBezTo>
                  <a:pt x="594" y="281"/>
                  <a:pt x="594" y="281"/>
                  <a:pt x="594" y="281"/>
                </a:cubicBezTo>
                <a:close/>
                <a:moveTo>
                  <a:pt x="498" y="278"/>
                </a:moveTo>
                <a:cubicBezTo>
                  <a:pt x="499" y="278"/>
                  <a:pt x="499" y="278"/>
                  <a:pt x="500" y="278"/>
                </a:cubicBezTo>
                <a:cubicBezTo>
                  <a:pt x="500" y="278"/>
                  <a:pt x="500" y="277"/>
                  <a:pt x="500" y="277"/>
                </a:cubicBezTo>
                <a:cubicBezTo>
                  <a:pt x="500" y="277"/>
                  <a:pt x="500" y="277"/>
                  <a:pt x="500" y="277"/>
                </a:cubicBezTo>
                <a:cubicBezTo>
                  <a:pt x="500" y="277"/>
                  <a:pt x="500" y="276"/>
                  <a:pt x="500" y="276"/>
                </a:cubicBezTo>
                <a:cubicBezTo>
                  <a:pt x="499" y="276"/>
                  <a:pt x="499" y="276"/>
                  <a:pt x="498" y="276"/>
                </a:cubicBezTo>
                <a:cubicBezTo>
                  <a:pt x="498" y="276"/>
                  <a:pt x="498" y="276"/>
                  <a:pt x="497" y="276"/>
                </a:cubicBezTo>
                <a:cubicBezTo>
                  <a:pt x="497" y="276"/>
                  <a:pt x="497" y="276"/>
                  <a:pt x="497" y="276"/>
                </a:cubicBezTo>
                <a:cubicBezTo>
                  <a:pt x="497" y="276"/>
                  <a:pt x="496" y="276"/>
                  <a:pt x="496" y="276"/>
                </a:cubicBezTo>
                <a:cubicBezTo>
                  <a:pt x="496" y="276"/>
                  <a:pt x="496" y="276"/>
                  <a:pt x="495" y="277"/>
                </a:cubicBezTo>
                <a:cubicBezTo>
                  <a:pt x="495" y="277"/>
                  <a:pt x="496" y="277"/>
                  <a:pt x="496" y="277"/>
                </a:cubicBezTo>
                <a:cubicBezTo>
                  <a:pt x="495" y="277"/>
                  <a:pt x="495" y="277"/>
                  <a:pt x="495" y="277"/>
                </a:cubicBezTo>
                <a:cubicBezTo>
                  <a:pt x="494" y="278"/>
                  <a:pt x="494" y="278"/>
                  <a:pt x="494" y="278"/>
                </a:cubicBezTo>
                <a:cubicBezTo>
                  <a:pt x="494" y="278"/>
                  <a:pt x="494" y="278"/>
                  <a:pt x="494" y="279"/>
                </a:cubicBezTo>
                <a:cubicBezTo>
                  <a:pt x="494" y="278"/>
                  <a:pt x="495" y="278"/>
                  <a:pt x="495" y="278"/>
                </a:cubicBezTo>
                <a:cubicBezTo>
                  <a:pt x="495" y="278"/>
                  <a:pt x="495" y="278"/>
                  <a:pt x="495" y="279"/>
                </a:cubicBezTo>
                <a:cubicBezTo>
                  <a:pt x="496" y="279"/>
                  <a:pt x="496" y="279"/>
                  <a:pt x="496" y="279"/>
                </a:cubicBezTo>
                <a:cubicBezTo>
                  <a:pt x="496" y="279"/>
                  <a:pt x="496" y="279"/>
                  <a:pt x="496" y="279"/>
                </a:cubicBezTo>
                <a:cubicBezTo>
                  <a:pt x="496" y="278"/>
                  <a:pt x="496" y="278"/>
                  <a:pt x="496" y="278"/>
                </a:cubicBezTo>
                <a:cubicBezTo>
                  <a:pt x="496" y="278"/>
                  <a:pt x="496" y="278"/>
                  <a:pt x="497" y="278"/>
                </a:cubicBezTo>
                <a:cubicBezTo>
                  <a:pt x="497" y="278"/>
                  <a:pt x="497" y="278"/>
                  <a:pt x="498" y="278"/>
                </a:cubicBezTo>
                <a:close/>
                <a:moveTo>
                  <a:pt x="508" y="188"/>
                </a:moveTo>
                <a:cubicBezTo>
                  <a:pt x="508" y="188"/>
                  <a:pt x="508" y="188"/>
                  <a:pt x="508" y="188"/>
                </a:cubicBezTo>
                <a:cubicBezTo>
                  <a:pt x="507" y="188"/>
                  <a:pt x="507" y="188"/>
                  <a:pt x="507" y="188"/>
                </a:cubicBezTo>
                <a:cubicBezTo>
                  <a:pt x="507" y="188"/>
                  <a:pt x="507" y="188"/>
                  <a:pt x="506" y="188"/>
                </a:cubicBezTo>
                <a:cubicBezTo>
                  <a:pt x="506" y="188"/>
                  <a:pt x="506" y="188"/>
                  <a:pt x="506" y="188"/>
                </a:cubicBezTo>
                <a:cubicBezTo>
                  <a:pt x="506" y="188"/>
                  <a:pt x="507" y="188"/>
                  <a:pt x="507" y="188"/>
                </a:cubicBezTo>
                <a:cubicBezTo>
                  <a:pt x="507" y="188"/>
                  <a:pt x="507" y="188"/>
                  <a:pt x="508" y="188"/>
                </a:cubicBezTo>
                <a:close/>
                <a:moveTo>
                  <a:pt x="593" y="290"/>
                </a:moveTo>
                <a:cubicBezTo>
                  <a:pt x="593" y="290"/>
                  <a:pt x="594" y="290"/>
                  <a:pt x="594" y="289"/>
                </a:cubicBezTo>
                <a:cubicBezTo>
                  <a:pt x="594" y="289"/>
                  <a:pt x="594" y="290"/>
                  <a:pt x="594" y="290"/>
                </a:cubicBezTo>
                <a:cubicBezTo>
                  <a:pt x="594" y="289"/>
                  <a:pt x="594" y="289"/>
                  <a:pt x="594" y="289"/>
                </a:cubicBezTo>
                <a:cubicBezTo>
                  <a:pt x="594" y="289"/>
                  <a:pt x="594" y="289"/>
                  <a:pt x="594" y="289"/>
                </a:cubicBezTo>
                <a:cubicBezTo>
                  <a:pt x="594" y="290"/>
                  <a:pt x="593" y="290"/>
                  <a:pt x="593" y="290"/>
                </a:cubicBezTo>
                <a:cubicBezTo>
                  <a:pt x="593" y="290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0"/>
                  <a:pt x="593" y="290"/>
                  <a:pt x="593" y="290"/>
                </a:cubicBezTo>
                <a:close/>
                <a:moveTo>
                  <a:pt x="591" y="295"/>
                </a:moveTo>
                <a:cubicBezTo>
                  <a:pt x="591" y="295"/>
                  <a:pt x="591" y="295"/>
                  <a:pt x="591" y="295"/>
                </a:cubicBezTo>
                <a:cubicBezTo>
                  <a:pt x="591" y="295"/>
                  <a:pt x="590" y="295"/>
                  <a:pt x="590" y="295"/>
                </a:cubicBezTo>
                <a:cubicBezTo>
                  <a:pt x="589" y="295"/>
                  <a:pt x="589" y="295"/>
                  <a:pt x="589" y="295"/>
                </a:cubicBezTo>
                <a:cubicBezTo>
                  <a:pt x="589" y="295"/>
                  <a:pt x="589" y="296"/>
                  <a:pt x="589" y="296"/>
                </a:cubicBezTo>
                <a:cubicBezTo>
                  <a:pt x="588" y="296"/>
                  <a:pt x="587" y="296"/>
                  <a:pt x="587" y="296"/>
                </a:cubicBezTo>
                <a:cubicBezTo>
                  <a:pt x="587" y="296"/>
                  <a:pt x="587" y="296"/>
                  <a:pt x="586" y="296"/>
                </a:cubicBezTo>
                <a:cubicBezTo>
                  <a:pt x="586" y="296"/>
                  <a:pt x="586" y="296"/>
                  <a:pt x="586" y="296"/>
                </a:cubicBezTo>
                <a:cubicBezTo>
                  <a:pt x="585" y="296"/>
                  <a:pt x="585" y="296"/>
                  <a:pt x="584" y="295"/>
                </a:cubicBezTo>
                <a:cubicBezTo>
                  <a:pt x="584" y="296"/>
                  <a:pt x="584" y="296"/>
                  <a:pt x="584" y="296"/>
                </a:cubicBezTo>
                <a:cubicBezTo>
                  <a:pt x="583" y="296"/>
                  <a:pt x="583" y="296"/>
                  <a:pt x="583" y="296"/>
                </a:cubicBezTo>
                <a:cubicBezTo>
                  <a:pt x="583" y="296"/>
                  <a:pt x="583" y="296"/>
                  <a:pt x="583" y="296"/>
                </a:cubicBezTo>
                <a:cubicBezTo>
                  <a:pt x="583" y="296"/>
                  <a:pt x="582" y="296"/>
                  <a:pt x="582" y="295"/>
                </a:cubicBezTo>
                <a:cubicBezTo>
                  <a:pt x="582" y="295"/>
                  <a:pt x="582" y="295"/>
                  <a:pt x="582" y="295"/>
                </a:cubicBezTo>
                <a:cubicBezTo>
                  <a:pt x="582" y="295"/>
                  <a:pt x="582" y="295"/>
                  <a:pt x="582" y="295"/>
                </a:cubicBezTo>
                <a:cubicBezTo>
                  <a:pt x="582" y="295"/>
                  <a:pt x="582" y="294"/>
                  <a:pt x="582" y="294"/>
                </a:cubicBezTo>
                <a:cubicBezTo>
                  <a:pt x="582" y="294"/>
                  <a:pt x="582" y="294"/>
                  <a:pt x="582" y="294"/>
                </a:cubicBezTo>
                <a:cubicBezTo>
                  <a:pt x="582" y="294"/>
                  <a:pt x="581" y="295"/>
                  <a:pt x="580" y="295"/>
                </a:cubicBezTo>
                <a:cubicBezTo>
                  <a:pt x="580" y="295"/>
                  <a:pt x="580" y="295"/>
                  <a:pt x="580" y="296"/>
                </a:cubicBezTo>
                <a:cubicBezTo>
                  <a:pt x="580" y="296"/>
                  <a:pt x="580" y="296"/>
                  <a:pt x="580" y="296"/>
                </a:cubicBezTo>
                <a:cubicBezTo>
                  <a:pt x="581" y="296"/>
                  <a:pt x="581" y="296"/>
                  <a:pt x="581" y="296"/>
                </a:cubicBezTo>
                <a:cubicBezTo>
                  <a:pt x="581" y="296"/>
                  <a:pt x="581" y="296"/>
                  <a:pt x="582" y="296"/>
                </a:cubicBezTo>
                <a:cubicBezTo>
                  <a:pt x="582" y="296"/>
                  <a:pt x="582" y="296"/>
                  <a:pt x="582" y="296"/>
                </a:cubicBezTo>
                <a:cubicBezTo>
                  <a:pt x="582" y="296"/>
                  <a:pt x="582" y="296"/>
                  <a:pt x="582" y="296"/>
                </a:cubicBezTo>
                <a:cubicBezTo>
                  <a:pt x="582" y="297"/>
                  <a:pt x="583" y="297"/>
                  <a:pt x="583" y="297"/>
                </a:cubicBezTo>
                <a:cubicBezTo>
                  <a:pt x="583" y="297"/>
                  <a:pt x="583" y="297"/>
                  <a:pt x="583" y="297"/>
                </a:cubicBezTo>
                <a:cubicBezTo>
                  <a:pt x="583" y="297"/>
                  <a:pt x="584" y="297"/>
                  <a:pt x="584" y="297"/>
                </a:cubicBezTo>
                <a:cubicBezTo>
                  <a:pt x="584" y="297"/>
                  <a:pt x="584" y="297"/>
                  <a:pt x="584" y="297"/>
                </a:cubicBezTo>
                <a:cubicBezTo>
                  <a:pt x="584" y="297"/>
                  <a:pt x="584" y="297"/>
                  <a:pt x="585" y="297"/>
                </a:cubicBezTo>
                <a:cubicBezTo>
                  <a:pt x="585" y="297"/>
                  <a:pt x="586" y="297"/>
                  <a:pt x="587" y="297"/>
                </a:cubicBezTo>
                <a:cubicBezTo>
                  <a:pt x="587" y="297"/>
                  <a:pt x="587" y="298"/>
                  <a:pt x="588" y="298"/>
                </a:cubicBezTo>
                <a:cubicBezTo>
                  <a:pt x="588" y="298"/>
                  <a:pt x="588" y="298"/>
                  <a:pt x="589" y="298"/>
                </a:cubicBezTo>
                <a:cubicBezTo>
                  <a:pt x="589" y="298"/>
                  <a:pt x="589" y="298"/>
                  <a:pt x="590" y="298"/>
                </a:cubicBezTo>
                <a:cubicBezTo>
                  <a:pt x="590" y="297"/>
                  <a:pt x="590" y="297"/>
                  <a:pt x="590" y="297"/>
                </a:cubicBezTo>
                <a:cubicBezTo>
                  <a:pt x="590" y="297"/>
                  <a:pt x="590" y="297"/>
                  <a:pt x="590" y="296"/>
                </a:cubicBezTo>
                <a:cubicBezTo>
                  <a:pt x="590" y="296"/>
                  <a:pt x="590" y="296"/>
                  <a:pt x="590" y="296"/>
                </a:cubicBezTo>
                <a:cubicBezTo>
                  <a:pt x="590" y="296"/>
                  <a:pt x="591" y="295"/>
                  <a:pt x="591" y="295"/>
                </a:cubicBezTo>
                <a:close/>
                <a:moveTo>
                  <a:pt x="524" y="212"/>
                </a:moveTo>
                <a:cubicBezTo>
                  <a:pt x="524" y="212"/>
                  <a:pt x="524" y="212"/>
                  <a:pt x="524" y="212"/>
                </a:cubicBezTo>
                <a:cubicBezTo>
                  <a:pt x="524" y="212"/>
                  <a:pt x="525" y="212"/>
                  <a:pt x="525" y="212"/>
                </a:cubicBezTo>
                <a:cubicBezTo>
                  <a:pt x="525" y="212"/>
                  <a:pt x="525" y="212"/>
                  <a:pt x="525" y="212"/>
                </a:cubicBezTo>
                <a:cubicBezTo>
                  <a:pt x="525" y="212"/>
                  <a:pt x="524" y="212"/>
                  <a:pt x="524" y="212"/>
                </a:cubicBezTo>
                <a:cubicBezTo>
                  <a:pt x="524" y="212"/>
                  <a:pt x="524" y="212"/>
                  <a:pt x="524" y="212"/>
                </a:cubicBezTo>
                <a:close/>
                <a:moveTo>
                  <a:pt x="517" y="215"/>
                </a:moveTo>
                <a:cubicBezTo>
                  <a:pt x="517" y="215"/>
                  <a:pt x="517" y="215"/>
                  <a:pt x="517" y="215"/>
                </a:cubicBezTo>
                <a:cubicBezTo>
                  <a:pt x="517" y="215"/>
                  <a:pt x="517" y="214"/>
                  <a:pt x="517" y="214"/>
                </a:cubicBezTo>
                <a:cubicBezTo>
                  <a:pt x="517" y="214"/>
                  <a:pt x="516" y="214"/>
                  <a:pt x="516" y="214"/>
                </a:cubicBezTo>
                <a:cubicBezTo>
                  <a:pt x="516" y="214"/>
                  <a:pt x="516" y="214"/>
                  <a:pt x="516" y="214"/>
                </a:cubicBezTo>
                <a:cubicBezTo>
                  <a:pt x="516" y="214"/>
                  <a:pt x="516" y="214"/>
                  <a:pt x="515" y="214"/>
                </a:cubicBezTo>
                <a:cubicBezTo>
                  <a:pt x="515" y="214"/>
                  <a:pt x="515" y="214"/>
                  <a:pt x="515" y="214"/>
                </a:cubicBezTo>
                <a:cubicBezTo>
                  <a:pt x="515" y="214"/>
                  <a:pt x="514" y="214"/>
                  <a:pt x="514" y="214"/>
                </a:cubicBezTo>
                <a:cubicBezTo>
                  <a:pt x="514" y="214"/>
                  <a:pt x="514" y="214"/>
                  <a:pt x="514" y="215"/>
                </a:cubicBezTo>
                <a:cubicBezTo>
                  <a:pt x="514" y="215"/>
                  <a:pt x="513" y="215"/>
                  <a:pt x="513" y="216"/>
                </a:cubicBezTo>
                <a:cubicBezTo>
                  <a:pt x="513" y="216"/>
                  <a:pt x="513" y="216"/>
                  <a:pt x="513" y="216"/>
                </a:cubicBezTo>
                <a:cubicBezTo>
                  <a:pt x="512" y="216"/>
                  <a:pt x="512" y="216"/>
                  <a:pt x="512" y="216"/>
                </a:cubicBezTo>
                <a:cubicBezTo>
                  <a:pt x="512" y="217"/>
                  <a:pt x="512" y="217"/>
                  <a:pt x="512" y="217"/>
                </a:cubicBezTo>
                <a:cubicBezTo>
                  <a:pt x="512" y="217"/>
                  <a:pt x="512" y="217"/>
                  <a:pt x="512" y="217"/>
                </a:cubicBezTo>
                <a:cubicBezTo>
                  <a:pt x="512" y="218"/>
                  <a:pt x="512" y="218"/>
                  <a:pt x="512" y="218"/>
                </a:cubicBezTo>
                <a:cubicBezTo>
                  <a:pt x="512" y="218"/>
                  <a:pt x="512" y="218"/>
                  <a:pt x="512" y="218"/>
                </a:cubicBezTo>
                <a:cubicBezTo>
                  <a:pt x="512" y="219"/>
                  <a:pt x="512" y="219"/>
                  <a:pt x="512" y="219"/>
                </a:cubicBezTo>
                <a:cubicBezTo>
                  <a:pt x="512" y="219"/>
                  <a:pt x="512" y="219"/>
                  <a:pt x="512" y="219"/>
                </a:cubicBezTo>
                <a:cubicBezTo>
                  <a:pt x="512" y="220"/>
                  <a:pt x="512" y="220"/>
                  <a:pt x="512" y="220"/>
                </a:cubicBezTo>
                <a:cubicBezTo>
                  <a:pt x="512" y="220"/>
                  <a:pt x="512" y="220"/>
                  <a:pt x="513" y="220"/>
                </a:cubicBezTo>
                <a:cubicBezTo>
                  <a:pt x="513" y="220"/>
                  <a:pt x="513" y="220"/>
                  <a:pt x="513" y="220"/>
                </a:cubicBezTo>
                <a:cubicBezTo>
                  <a:pt x="513" y="220"/>
                  <a:pt x="513" y="220"/>
                  <a:pt x="514" y="220"/>
                </a:cubicBezTo>
                <a:cubicBezTo>
                  <a:pt x="514" y="220"/>
                  <a:pt x="514" y="220"/>
                  <a:pt x="514" y="221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220"/>
                  <a:pt x="515" y="220"/>
                  <a:pt x="515" y="220"/>
                </a:cubicBezTo>
                <a:cubicBezTo>
                  <a:pt x="515" y="220"/>
                  <a:pt x="515" y="220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8"/>
                  <a:pt x="515" y="218"/>
                  <a:pt x="515" y="218"/>
                </a:cubicBezTo>
                <a:cubicBezTo>
                  <a:pt x="516" y="218"/>
                  <a:pt x="516" y="217"/>
                  <a:pt x="516" y="217"/>
                </a:cubicBezTo>
                <a:cubicBezTo>
                  <a:pt x="516" y="217"/>
                  <a:pt x="516" y="217"/>
                  <a:pt x="517" y="217"/>
                </a:cubicBezTo>
                <a:cubicBezTo>
                  <a:pt x="517" y="217"/>
                  <a:pt x="517" y="217"/>
                  <a:pt x="517" y="217"/>
                </a:cubicBezTo>
                <a:cubicBezTo>
                  <a:pt x="517" y="217"/>
                  <a:pt x="517" y="216"/>
                  <a:pt x="517" y="216"/>
                </a:cubicBezTo>
                <a:cubicBezTo>
                  <a:pt x="517" y="216"/>
                  <a:pt x="516" y="216"/>
                  <a:pt x="516" y="216"/>
                </a:cubicBezTo>
                <a:cubicBezTo>
                  <a:pt x="517" y="216"/>
                  <a:pt x="517" y="216"/>
                  <a:pt x="517" y="216"/>
                </a:cubicBezTo>
                <a:cubicBezTo>
                  <a:pt x="517" y="215"/>
                  <a:pt x="517" y="215"/>
                  <a:pt x="517" y="215"/>
                </a:cubicBezTo>
                <a:close/>
                <a:moveTo>
                  <a:pt x="488" y="214"/>
                </a:moveTo>
                <a:cubicBezTo>
                  <a:pt x="488" y="214"/>
                  <a:pt x="489" y="214"/>
                  <a:pt x="489" y="214"/>
                </a:cubicBezTo>
                <a:cubicBezTo>
                  <a:pt x="489" y="214"/>
                  <a:pt x="489" y="214"/>
                  <a:pt x="489" y="214"/>
                </a:cubicBezTo>
                <a:cubicBezTo>
                  <a:pt x="489" y="214"/>
                  <a:pt x="490" y="214"/>
                  <a:pt x="490" y="214"/>
                </a:cubicBezTo>
                <a:cubicBezTo>
                  <a:pt x="490" y="214"/>
                  <a:pt x="490" y="213"/>
                  <a:pt x="490" y="213"/>
                </a:cubicBezTo>
                <a:cubicBezTo>
                  <a:pt x="491" y="213"/>
                  <a:pt x="491" y="213"/>
                  <a:pt x="491" y="213"/>
                </a:cubicBezTo>
                <a:cubicBezTo>
                  <a:pt x="491" y="213"/>
                  <a:pt x="492" y="213"/>
                  <a:pt x="492" y="213"/>
                </a:cubicBezTo>
                <a:cubicBezTo>
                  <a:pt x="492" y="213"/>
                  <a:pt x="492" y="213"/>
                  <a:pt x="492" y="212"/>
                </a:cubicBezTo>
                <a:cubicBezTo>
                  <a:pt x="492" y="212"/>
                  <a:pt x="493" y="212"/>
                  <a:pt x="493" y="212"/>
                </a:cubicBezTo>
                <a:cubicBezTo>
                  <a:pt x="493" y="212"/>
                  <a:pt x="493" y="212"/>
                  <a:pt x="494" y="212"/>
                </a:cubicBezTo>
                <a:cubicBezTo>
                  <a:pt x="494" y="212"/>
                  <a:pt x="494" y="211"/>
                  <a:pt x="494" y="211"/>
                </a:cubicBezTo>
                <a:cubicBezTo>
                  <a:pt x="494" y="211"/>
                  <a:pt x="495" y="210"/>
                  <a:pt x="495" y="210"/>
                </a:cubicBezTo>
                <a:cubicBezTo>
                  <a:pt x="495" y="210"/>
                  <a:pt x="495" y="210"/>
                  <a:pt x="495" y="210"/>
                </a:cubicBezTo>
                <a:cubicBezTo>
                  <a:pt x="495" y="209"/>
                  <a:pt x="495" y="209"/>
                  <a:pt x="496" y="209"/>
                </a:cubicBezTo>
                <a:cubicBezTo>
                  <a:pt x="496" y="209"/>
                  <a:pt x="496" y="209"/>
                  <a:pt x="496" y="209"/>
                </a:cubicBezTo>
                <a:cubicBezTo>
                  <a:pt x="496" y="209"/>
                  <a:pt x="496" y="209"/>
                  <a:pt x="497" y="209"/>
                </a:cubicBezTo>
                <a:cubicBezTo>
                  <a:pt x="497" y="209"/>
                  <a:pt x="497" y="209"/>
                  <a:pt x="497" y="208"/>
                </a:cubicBezTo>
                <a:cubicBezTo>
                  <a:pt x="498" y="208"/>
                  <a:pt x="498" y="208"/>
                  <a:pt x="498" y="208"/>
                </a:cubicBezTo>
                <a:cubicBezTo>
                  <a:pt x="498" y="208"/>
                  <a:pt x="498" y="208"/>
                  <a:pt x="499" y="208"/>
                </a:cubicBezTo>
                <a:cubicBezTo>
                  <a:pt x="499" y="208"/>
                  <a:pt x="499" y="207"/>
                  <a:pt x="499" y="207"/>
                </a:cubicBezTo>
                <a:cubicBezTo>
                  <a:pt x="499" y="207"/>
                  <a:pt x="499" y="206"/>
                  <a:pt x="498" y="206"/>
                </a:cubicBezTo>
                <a:cubicBezTo>
                  <a:pt x="499" y="206"/>
                  <a:pt x="499" y="206"/>
                  <a:pt x="499" y="205"/>
                </a:cubicBezTo>
                <a:cubicBezTo>
                  <a:pt x="499" y="205"/>
                  <a:pt x="499" y="205"/>
                  <a:pt x="500" y="205"/>
                </a:cubicBezTo>
                <a:cubicBezTo>
                  <a:pt x="500" y="205"/>
                  <a:pt x="500" y="205"/>
                  <a:pt x="500" y="205"/>
                </a:cubicBezTo>
                <a:cubicBezTo>
                  <a:pt x="500" y="205"/>
                  <a:pt x="501" y="205"/>
                  <a:pt x="501" y="205"/>
                </a:cubicBezTo>
                <a:cubicBezTo>
                  <a:pt x="501" y="205"/>
                  <a:pt x="501" y="205"/>
                  <a:pt x="501" y="204"/>
                </a:cubicBezTo>
                <a:cubicBezTo>
                  <a:pt x="501" y="204"/>
                  <a:pt x="502" y="204"/>
                  <a:pt x="502" y="204"/>
                </a:cubicBezTo>
                <a:cubicBezTo>
                  <a:pt x="502" y="204"/>
                  <a:pt x="502" y="204"/>
                  <a:pt x="502" y="204"/>
                </a:cubicBezTo>
                <a:cubicBezTo>
                  <a:pt x="503" y="204"/>
                  <a:pt x="503" y="205"/>
                  <a:pt x="503" y="205"/>
                </a:cubicBezTo>
                <a:cubicBezTo>
                  <a:pt x="503" y="205"/>
                  <a:pt x="502" y="205"/>
                  <a:pt x="502" y="205"/>
                </a:cubicBezTo>
                <a:cubicBezTo>
                  <a:pt x="502" y="205"/>
                  <a:pt x="502" y="206"/>
                  <a:pt x="502" y="206"/>
                </a:cubicBezTo>
                <a:cubicBezTo>
                  <a:pt x="502" y="206"/>
                  <a:pt x="502" y="206"/>
                  <a:pt x="503" y="206"/>
                </a:cubicBezTo>
                <a:cubicBezTo>
                  <a:pt x="503" y="206"/>
                  <a:pt x="504" y="206"/>
                  <a:pt x="504" y="206"/>
                </a:cubicBezTo>
                <a:cubicBezTo>
                  <a:pt x="505" y="206"/>
                  <a:pt x="505" y="206"/>
                  <a:pt x="505" y="206"/>
                </a:cubicBezTo>
                <a:cubicBezTo>
                  <a:pt x="505" y="206"/>
                  <a:pt x="505" y="206"/>
                  <a:pt x="505" y="206"/>
                </a:cubicBezTo>
                <a:cubicBezTo>
                  <a:pt x="505" y="206"/>
                  <a:pt x="505" y="207"/>
                  <a:pt x="505" y="207"/>
                </a:cubicBezTo>
                <a:cubicBezTo>
                  <a:pt x="505" y="207"/>
                  <a:pt x="505" y="207"/>
                  <a:pt x="504" y="207"/>
                </a:cubicBezTo>
                <a:cubicBezTo>
                  <a:pt x="504" y="207"/>
                  <a:pt x="504" y="208"/>
                  <a:pt x="504" y="208"/>
                </a:cubicBezTo>
                <a:cubicBezTo>
                  <a:pt x="505" y="208"/>
                  <a:pt x="505" y="208"/>
                  <a:pt x="505" y="208"/>
                </a:cubicBezTo>
                <a:cubicBezTo>
                  <a:pt x="505" y="208"/>
                  <a:pt x="505" y="208"/>
                  <a:pt x="506" y="208"/>
                </a:cubicBezTo>
                <a:cubicBezTo>
                  <a:pt x="506" y="208"/>
                  <a:pt x="506" y="208"/>
                  <a:pt x="506" y="208"/>
                </a:cubicBezTo>
                <a:cubicBezTo>
                  <a:pt x="506" y="208"/>
                  <a:pt x="507" y="208"/>
                  <a:pt x="507" y="208"/>
                </a:cubicBezTo>
                <a:cubicBezTo>
                  <a:pt x="507" y="208"/>
                  <a:pt x="507" y="208"/>
                  <a:pt x="507" y="207"/>
                </a:cubicBezTo>
                <a:cubicBezTo>
                  <a:pt x="508" y="208"/>
                  <a:pt x="508" y="208"/>
                  <a:pt x="508" y="208"/>
                </a:cubicBezTo>
                <a:cubicBezTo>
                  <a:pt x="508" y="208"/>
                  <a:pt x="509" y="208"/>
                  <a:pt x="509" y="208"/>
                </a:cubicBezTo>
                <a:cubicBezTo>
                  <a:pt x="509" y="208"/>
                  <a:pt x="509" y="208"/>
                  <a:pt x="510" y="208"/>
                </a:cubicBezTo>
                <a:cubicBezTo>
                  <a:pt x="510" y="208"/>
                  <a:pt x="510" y="208"/>
                  <a:pt x="510" y="208"/>
                </a:cubicBezTo>
                <a:cubicBezTo>
                  <a:pt x="511" y="208"/>
                  <a:pt x="511" y="208"/>
                  <a:pt x="512" y="208"/>
                </a:cubicBezTo>
                <a:cubicBezTo>
                  <a:pt x="512" y="208"/>
                  <a:pt x="512" y="208"/>
                  <a:pt x="512" y="208"/>
                </a:cubicBezTo>
                <a:cubicBezTo>
                  <a:pt x="512" y="207"/>
                  <a:pt x="512" y="207"/>
                  <a:pt x="513" y="207"/>
                </a:cubicBezTo>
                <a:cubicBezTo>
                  <a:pt x="513" y="207"/>
                  <a:pt x="513" y="206"/>
                  <a:pt x="513" y="206"/>
                </a:cubicBezTo>
                <a:cubicBezTo>
                  <a:pt x="513" y="206"/>
                  <a:pt x="514" y="206"/>
                  <a:pt x="514" y="206"/>
                </a:cubicBezTo>
                <a:cubicBezTo>
                  <a:pt x="514" y="206"/>
                  <a:pt x="514" y="205"/>
                  <a:pt x="515" y="205"/>
                </a:cubicBezTo>
                <a:cubicBezTo>
                  <a:pt x="515" y="205"/>
                  <a:pt x="515" y="205"/>
                  <a:pt x="515" y="205"/>
                </a:cubicBezTo>
                <a:cubicBezTo>
                  <a:pt x="515" y="205"/>
                  <a:pt x="514" y="205"/>
                  <a:pt x="514" y="205"/>
                </a:cubicBezTo>
                <a:cubicBezTo>
                  <a:pt x="514" y="205"/>
                  <a:pt x="514" y="205"/>
                  <a:pt x="514" y="205"/>
                </a:cubicBezTo>
                <a:cubicBezTo>
                  <a:pt x="514" y="205"/>
                  <a:pt x="514" y="204"/>
                  <a:pt x="514" y="204"/>
                </a:cubicBezTo>
                <a:cubicBezTo>
                  <a:pt x="514" y="204"/>
                  <a:pt x="514" y="204"/>
                  <a:pt x="514" y="204"/>
                </a:cubicBezTo>
                <a:cubicBezTo>
                  <a:pt x="514" y="204"/>
                  <a:pt x="514" y="204"/>
                  <a:pt x="514" y="204"/>
                </a:cubicBezTo>
                <a:cubicBezTo>
                  <a:pt x="514" y="204"/>
                  <a:pt x="513" y="203"/>
                  <a:pt x="513" y="203"/>
                </a:cubicBezTo>
                <a:cubicBezTo>
                  <a:pt x="513" y="203"/>
                  <a:pt x="513" y="203"/>
                  <a:pt x="513" y="204"/>
                </a:cubicBezTo>
                <a:cubicBezTo>
                  <a:pt x="513" y="204"/>
                  <a:pt x="513" y="204"/>
                  <a:pt x="513" y="204"/>
                </a:cubicBezTo>
                <a:cubicBezTo>
                  <a:pt x="513" y="204"/>
                  <a:pt x="513" y="204"/>
                  <a:pt x="513" y="204"/>
                </a:cubicBezTo>
                <a:cubicBezTo>
                  <a:pt x="512" y="204"/>
                  <a:pt x="512" y="204"/>
                  <a:pt x="512" y="204"/>
                </a:cubicBezTo>
                <a:cubicBezTo>
                  <a:pt x="512" y="204"/>
                  <a:pt x="511" y="204"/>
                  <a:pt x="511" y="204"/>
                </a:cubicBezTo>
                <a:cubicBezTo>
                  <a:pt x="511" y="204"/>
                  <a:pt x="511" y="204"/>
                  <a:pt x="511" y="204"/>
                </a:cubicBezTo>
                <a:cubicBezTo>
                  <a:pt x="511" y="204"/>
                  <a:pt x="511" y="204"/>
                  <a:pt x="510" y="204"/>
                </a:cubicBezTo>
                <a:cubicBezTo>
                  <a:pt x="510" y="204"/>
                  <a:pt x="510" y="204"/>
                  <a:pt x="510" y="205"/>
                </a:cubicBezTo>
                <a:cubicBezTo>
                  <a:pt x="509" y="205"/>
                  <a:pt x="509" y="205"/>
                  <a:pt x="508" y="205"/>
                </a:cubicBezTo>
                <a:cubicBezTo>
                  <a:pt x="508" y="205"/>
                  <a:pt x="508" y="205"/>
                  <a:pt x="507" y="205"/>
                </a:cubicBezTo>
                <a:cubicBezTo>
                  <a:pt x="508" y="204"/>
                  <a:pt x="508" y="204"/>
                  <a:pt x="508" y="204"/>
                </a:cubicBezTo>
                <a:cubicBezTo>
                  <a:pt x="508" y="204"/>
                  <a:pt x="509" y="204"/>
                  <a:pt x="509" y="204"/>
                </a:cubicBezTo>
                <a:cubicBezTo>
                  <a:pt x="509" y="204"/>
                  <a:pt x="509" y="204"/>
                  <a:pt x="510" y="203"/>
                </a:cubicBezTo>
                <a:cubicBezTo>
                  <a:pt x="510" y="203"/>
                  <a:pt x="510" y="203"/>
                  <a:pt x="510" y="203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09" y="202"/>
                  <a:pt x="509" y="202"/>
                  <a:pt x="509" y="202"/>
                </a:cubicBezTo>
                <a:cubicBezTo>
                  <a:pt x="509" y="202"/>
                  <a:pt x="509" y="202"/>
                  <a:pt x="509" y="201"/>
                </a:cubicBezTo>
                <a:cubicBezTo>
                  <a:pt x="509" y="201"/>
                  <a:pt x="509" y="201"/>
                  <a:pt x="509" y="201"/>
                </a:cubicBezTo>
                <a:cubicBezTo>
                  <a:pt x="509" y="201"/>
                  <a:pt x="509" y="201"/>
                  <a:pt x="508" y="201"/>
                </a:cubicBezTo>
                <a:cubicBezTo>
                  <a:pt x="508" y="201"/>
                  <a:pt x="508" y="201"/>
                  <a:pt x="508" y="200"/>
                </a:cubicBezTo>
                <a:cubicBezTo>
                  <a:pt x="508" y="200"/>
                  <a:pt x="507" y="200"/>
                  <a:pt x="506" y="200"/>
                </a:cubicBezTo>
                <a:cubicBezTo>
                  <a:pt x="506" y="200"/>
                  <a:pt x="505" y="200"/>
                  <a:pt x="505" y="200"/>
                </a:cubicBezTo>
                <a:cubicBezTo>
                  <a:pt x="505" y="200"/>
                  <a:pt x="505" y="199"/>
                  <a:pt x="505" y="199"/>
                </a:cubicBezTo>
                <a:cubicBezTo>
                  <a:pt x="505" y="199"/>
                  <a:pt x="504" y="199"/>
                  <a:pt x="504" y="199"/>
                </a:cubicBezTo>
                <a:cubicBezTo>
                  <a:pt x="504" y="199"/>
                  <a:pt x="504" y="199"/>
                  <a:pt x="503" y="199"/>
                </a:cubicBezTo>
                <a:cubicBezTo>
                  <a:pt x="503" y="199"/>
                  <a:pt x="503" y="199"/>
                  <a:pt x="503" y="198"/>
                </a:cubicBezTo>
                <a:cubicBezTo>
                  <a:pt x="503" y="198"/>
                  <a:pt x="503" y="198"/>
                  <a:pt x="503" y="198"/>
                </a:cubicBezTo>
                <a:cubicBezTo>
                  <a:pt x="503" y="197"/>
                  <a:pt x="503" y="197"/>
                  <a:pt x="503" y="197"/>
                </a:cubicBezTo>
                <a:cubicBezTo>
                  <a:pt x="502" y="197"/>
                  <a:pt x="502" y="197"/>
                  <a:pt x="501" y="197"/>
                </a:cubicBezTo>
                <a:cubicBezTo>
                  <a:pt x="500" y="197"/>
                  <a:pt x="500" y="197"/>
                  <a:pt x="499" y="197"/>
                </a:cubicBezTo>
                <a:cubicBezTo>
                  <a:pt x="499" y="197"/>
                  <a:pt x="499" y="197"/>
                  <a:pt x="498" y="197"/>
                </a:cubicBezTo>
                <a:cubicBezTo>
                  <a:pt x="499" y="197"/>
                  <a:pt x="499" y="197"/>
                  <a:pt x="499" y="196"/>
                </a:cubicBezTo>
                <a:cubicBezTo>
                  <a:pt x="499" y="196"/>
                  <a:pt x="499" y="196"/>
                  <a:pt x="499" y="196"/>
                </a:cubicBezTo>
                <a:cubicBezTo>
                  <a:pt x="498" y="196"/>
                  <a:pt x="498" y="196"/>
                  <a:pt x="498" y="196"/>
                </a:cubicBezTo>
                <a:cubicBezTo>
                  <a:pt x="498" y="196"/>
                  <a:pt x="498" y="195"/>
                  <a:pt x="497" y="195"/>
                </a:cubicBezTo>
                <a:cubicBezTo>
                  <a:pt x="497" y="195"/>
                  <a:pt x="497" y="195"/>
                  <a:pt x="497" y="195"/>
                </a:cubicBezTo>
                <a:cubicBezTo>
                  <a:pt x="497" y="196"/>
                  <a:pt x="496" y="196"/>
                  <a:pt x="496" y="196"/>
                </a:cubicBezTo>
                <a:cubicBezTo>
                  <a:pt x="496" y="197"/>
                  <a:pt x="496" y="197"/>
                  <a:pt x="496" y="197"/>
                </a:cubicBezTo>
                <a:cubicBezTo>
                  <a:pt x="496" y="197"/>
                  <a:pt x="496" y="197"/>
                  <a:pt x="496" y="198"/>
                </a:cubicBezTo>
                <a:cubicBezTo>
                  <a:pt x="495" y="197"/>
                  <a:pt x="495" y="197"/>
                  <a:pt x="495" y="197"/>
                </a:cubicBezTo>
                <a:cubicBezTo>
                  <a:pt x="495" y="197"/>
                  <a:pt x="495" y="197"/>
                  <a:pt x="495" y="196"/>
                </a:cubicBezTo>
                <a:cubicBezTo>
                  <a:pt x="495" y="196"/>
                  <a:pt x="494" y="196"/>
                  <a:pt x="494" y="196"/>
                </a:cubicBezTo>
                <a:cubicBezTo>
                  <a:pt x="494" y="196"/>
                  <a:pt x="494" y="196"/>
                  <a:pt x="494" y="195"/>
                </a:cubicBezTo>
                <a:cubicBezTo>
                  <a:pt x="495" y="195"/>
                  <a:pt x="495" y="195"/>
                  <a:pt x="495" y="195"/>
                </a:cubicBezTo>
                <a:cubicBezTo>
                  <a:pt x="495" y="195"/>
                  <a:pt x="495" y="195"/>
                  <a:pt x="496" y="195"/>
                </a:cubicBezTo>
                <a:cubicBezTo>
                  <a:pt x="496" y="195"/>
                  <a:pt x="495" y="195"/>
                  <a:pt x="495" y="195"/>
                </a:cubicBezTo>
                <a:cubicBezTo>
                  <a:pt x="495" y="195"/>
                  <a:pt x="495" y="194"/>
                  <a:pt x="495" y="194"/>
                </a:cubicBezTo>
                <a:cubicBezTo>
                  <a:pt x="495" y="194"/>
                  <a:pt x="495" y="194"/>
                  <a:pt x="495" y="194"/>
                </a:cubicBezTo>
                <a:cubicBezTo>
                  <a:pt x="495" y="194"/>
                  <a:pt x="494" y="194"/>
                  <a:pt x="494" y="194"/>
                </a:cubicBezTo>
                <a:cubicBezTo>
                  <a:pt x="494" y="194"/>
                  <a:pt x="494" y="194"/>
                  <a:pt x="494" y="194"/>
                </a:cubicBezTo>
                <a:cubicBezTo>
                  <a:pt x="494" y="193"/>
                  <a:pt x="494" y="193"/>
                  <a:pt x="495" y="193"/>
                </a:cubicBezTo>
                <a:cubicBezTo>
                  <a:pt x="494" y="193"/>
                  <a:pt x="494" y="193"/>
                  <a:pt x="494" y="193"/>
                </a:cubicBezTo>
                <a:cubicBezTo>
                  <a:pt x="493" y="193"/>
                  <a:pt x="493" y="193"/>
                  <a:pt x="492" y="194"/>
                </a:cubicBezTo>
                <a:cubicBezTo>
                  <a:pt x="492" y="194"/>
                  <a:pt x="491" y="194"/>
                  <a:pt x="491" y="195"/>
                </a:cubicBezTo>
                <a:cubicBezTo>
                  <a:pt x="491" y="195"/>
                  <a:pt x="491" y="196"/>
                  <a:pt x="490" y="196"/>
                </a:cubicBezTo>
                <a:cubicBezTo>
                  <a:pt x="490" y="197"/>
                  <a:pt x="490" y="197"/>
                  <a:pt x="490" y="197"/>
                </a:cubicBezTo>
                <a:cubicBezTo>
                  <a:pt x="490" y="198"/>
                  <a:pt x="490" y="198"/>
                  <a:pt x="490" y="198"/>
                </a:cubicBezTo>
                <a:cubicBezTo>
                  <a:pt x="490" y="198"/>
                  <a:pt x="489" y="198"/>
                  <a:pt x="489" y="199"/>
                </a:cubicBezTo>
                <a:cubicBezTo>
                  <a:pt x="489" y="199"/>
                  <a:pt x="489" y="199"/>
                  <a:pt x="489" y="199"/>
                </a:cubicBezTo>
                <a:cubicBezTo>
                  <a:pt x="489" y="200"/>
                  <a:pt x="489" y="200"/>
                  <a:pt x="488" y="201"/>
                </a:cubicBezTo>
                <a:cubicBezTo>
                  <a:pt x="489" y="201"/>
                  <a:pt x="489" y="201"/>
                  <a:pt x="489" y="201"/>
                </a:cubicBezTo>
                <a:cubicBezTo>
                  <a:pt x="489" y="201"/>
                  <a:pt x="489" y="201"/>
                  <a:pt x="488" y="201"/>
                </a:cubicBezTo>
                <a:cubicBezTo>
                  <a:pt x="488" y="201"/>
                  <a:pt x="488" y="202"/>
                  <a:pt x="488" y="202"/>
                </a:cubicBezTo>
                <a:cubicBezTo>
                  <a:pt x="488" y="202"/>
                  <a:pt x="488" y="202"/>
                  <a:pt x="488" y="203"/>
                </a:cubicBezTo>
                <a:cubicBezTo>
                  <a:pt x="488" y="203"/>
                  <a:pt x="488" y="203"/>
                  <a:pt x="487" y="204"/>
                </a:cubicBezTo>
                <a:cubicBezTo>
                  <a:pt x="487" y="204"/>
                  <a:pt x="487" y="204"/>
                  <a:pt x="487" y="204"/>
                </a:cubicBezTo>
                <a:cubicBezTo>
                  <a:pt x="487" y="205"/>
                  <a:pt x="487" y="205"/>
                  <a:pt x="487" y="205"/>
                </a:cubicBezTo>
                <a:cubicBezTo>
                  <a:pt x="487" y="206"/>
                  <a:pt x="487" y="206"/>
                  <a:pt x="487" y="206"/>
                </a:cubicBezTo>
                <a:cubicBezTo>
                  <a:pt x="487" y="206"/>
                  <a:pt x="487" y="207"/>
                  <a:pt x="487" y="207"/>
                </a:cubicBezTo>
                <a:cubicBezTo>
                  <a:pt x="487" y="207"/>
                  <a:pt x="487" y="207"/>
                  <a:pt x="487" y="207"/>
                </a:cubicBezTo>
                <a:cubicBezTo>
                  <a:pt x="486" y="208"/>
                  <a:pt x="486" y="208"/>
                  <a:pt x="485" y="208"/>
                </a:cubicBezTo>
                <a:cubicBezTo>
                  <a:pt x="485" y="208"/>
                  <a:pt x="484" y="208"/>
                  <a:pt x="484" y="209"/>
                </a:cubicBezTo>
                <a:cubicBezTo>
                  <a:pt x="484" y="209"/>
                  <a:pt x="484" y="209"/>
                  <a:pt x="484" y="209"/>
                </a:cubicBezTo>
                <a:cubicBezTo>
                  <a:pt x="484" y="210"/>
                  <a:pt x="484" y="210"/>
                  <a:pt x="483" y="211"/>
                </a:cubicBezTo>
                <a:cubicBezTo>
                  <a:pt x="484" y="211"/>
                  <a:pt x="484" y="211"/>
                  <a:pt x="484" y="211"/>
                </a:cubicBezTo>
                <a:cubicBezTo>
                  <a:pt x="484" y="212"/>
                  <a:pt x="484" y="211"/>
                  <a:pt x="484" y="211"/>
                </a:cubicBezTo>
                <a:cubicBezTo>
                  <a:pt x="484" y="211"/>
                  <a:pt x="484" y="211"/>
                  <a:pt x="484" y="211"/>
                </a:cubicBezTo>
                <a:cubicBezTo>
                  <a:pt x="485" y="211"/>
                  <a:pt x="485" y="211"/>
                  <a:pt x="485" y="210"/>
                </a:cubicBezTo>
                <a:cubicBezTo>
                  <a:pt x="485" y="210"/>
                  <a:pt x="485" y="210"/>
                  <a:pt x="485" y="211"/>
                </a:cubicBezTo>
                <a:cubicBezTo>
                  <a:pt x="486" y="211"/>
                  <a:pt x="486" y="211"/>
                  <a:pt x="486" y="211"/>
                </a:cubicBezTo>
                <a:cubicBezTo>
                  <a:pt x="486" y="211"/>
                  <a:pt x="487" y="210"/>
                  <a:pt x="487" y="210"/>
                </a:cubicBezTo>
                <a:cubicBezTo>
                  <a:pt x="487" y="210"/>
                  <a:pt x="487" y="210"/>
                  <a:pt x="487" y="210"/>
                </a:cubicBezTo>
                <a:cubicBezTo>
                  <a:pt x="488" y="210"/>
                  <a:pt x="488" y="210"/>
                  <a:pt x="488" y="210"/>
                </a:cubicBezTo>
                <a:cubicBezTo>
                  <a:pt x="488" y="210"/>
                  <a:pt x="488" y="210"/>
                  <a:pt x="489" y="210"/>
                </a:cubicBezTo>
                <a:cubicBezTo>
                  <a:pt x="489" y="210"/>
                  <a:pt x="489" y="210"/>
                  <a:pt x="489" y="211"/>
                </a:cubicBezTo>
                <a:cubicBezTo>
                  <a:pt x="489" y="211"/>
                  <a:pt x="488" y="211"/>
                  <a:pt x="488" y="211"/>
                </a:cubicBezTo>
                <a:cubicBezTo>
                  <a:pt x="488" y="212"/>
                  <a:pt x="488" y="212"/>
                  <a:pt x="489" y="212"/>
                </a:cubicBezTo>
                <a:cubicBezTo>
                  <a:pt x="488" y="212"/>
                  <a:pt x="488" y="212"/>
                  <a:pt x="488" y="213"/>
                </a:cubicBezTo>
                <a:cubicBezTo>
                  <a:pt x="488" y="213"/>
                  <a:pt x="488" y="213"/>
                  <a:pt x="488" y="214"/>
                </a:cubicBezTo>
                <a:close/>
                <a:moveTo>
                  <a:pt x="510" y="257"/>
                </a:moveTo>
                <a:cubicBezTo>
                  <a:pt x="510" y="257"/>
                  <a:pt x="510" y="257"/>
                  <a:pt x="510" y="257"/>
                </a:cubicBezTo>
                <a:cubicBezTo>
                  <a:pt x="511" y="256"/>
                  <a:pt x="511" y="256"/>
                  <a:pt x="511" y="256"/>
                </a:cubicBezTo>
                <a:cubicBezTo>
                  <a:pt x="512" y="255"/>
                  <a:pt x="512" y="255"/>
                  <a:pt x="512" y="255"/>
                </a:cubicBezTo>
                <a:cubicBezTo>
                  <a:pt x="512" y="255"/>
                  <a:pt x="512" y="255"/>
                  <a:pt x="512" y="254"/>
                </a:cubicBezTo>
                <a:cubicBezTo>
                  <a:pt x="512" y="254"/>
                  <a:pt x="511" y="254"/>
                  <a:pt x="511" y="254"/>
                </a:cubicBezTo>
                <a:cubicBezTo>
                  <a:pt x="511" y="254"/>
                  <a:pt x="511" y="254"/>
                  <a:pt x="511" y="254"/>
                </a:cubicBezTo>
                <a:cubicBezTo>
                  <a:pt x="511" y="254"/>
                  <a:pt x="511" y="254"/>
                  <a:pt x="511" y="254"/>
                </a:cubicBezTo>
                <a:cubicBezTo>
                  <a:pt x="511" y="254"/>
                  <a:pt x="510" y="254"/>
                  <a:pt x="510" y="254"/>
                </a:cubicBezTo>
                <a:cubicBezTo>
                  <a:pt x="510" y="254"/>
                  <a:pt x="510" y="254"/>
                  <a:pt x="510" y="254"/>
                </a:cubicBezTo>
                <a:cubicBezTo>
                  <a:pt x="510" y="254"/>
                  <a:pt x="510" y="255"/>
                  <a:pt x="510" y="255"/>
                </a:cubicBezTo>
                <a:cubicBezTo>
                  <a:pt x="509" y="255"/>
                  <a:pt x="509" y="256"/>
                  <a:pt x="509" y="256"/>
                </a:cubicBezTo>
                <a:cubicBezTo>
                  <a:pt x="509" y="256"/>
                  <a:pt x="508" y="256"/>
                  <a:pt x="508" y="256"/>
                </a:cubicBezTo>
                <a:cubicBezTo>
                  <a:pt x="508" y="256"/>
                  <a:pt x="508" y="256"/>
                  <a:pt x="508" y="256"/>
                </a:cubicBezTo>
                <a:cubicBezTo>
                  <a:pt x="508" y="256"/>
                  <a:pt x="509" y="255"/>
                  <a:pt x="509" y="255"/>
                </a:cubicBezTo>
                <a:cubicBezTo>
                  <a:pt x="509" y="255"/>
                  <a:pt x="509" y="255"/>
                  <a:pt x="509" y="255"/>
                </a:cubicBezTo>
                <a:cubicBezTo>
                  <a:pt x="509" y="254"/>
                  <a:pt x="509" y="254"/>
                  <a:pt x="509" y="254"/>
                </a:cubicBezTo>
                <a:cubicBezTo>
                  <a:pt x="509" y="255"/>
                  <a:pt x="508" y="255"/>
                  <a:pt x="508" y="255"/>
                </a:cubicBezTo>
                <a:cubicBezTo>
                  <a:pt x="508" y="255"/>
                  <a:pt x="508" y="256"/>
                  <a:pt x="508" y="256"/>
                </a:cubicBezTo>
                <a:cubicBezTo>
                  <a:pt x="507" y="256"/>
                  <a:pt x="507" y="257"/>
                  <a:pt x="507" y="257"/>
                </a:cubicBezTo>
                <a:cubicBezTo>
                  <a:pt x="507" y="257"/>
                  <a:pt x="507" y="257"/>
                  <a:pt x="507" y="257"/>
                </a:cubicBezTo>
                <a:cubicBezTo>
                  <a:pt x="507" y="258"/>
                  <a:pt x="506" y="258"/>
                  <a:pt x="506" y="258"/>
                </a:cubicBezTo>
                <a:cubicBezTo>
                  <a:pt x="506" y="258"/>
                  <a:pt x="506" y="258"/>
                  <a:pt x="506" y="259"/>
                </a:cubicBezTo>
                <a:cubicBezTo>
                  <a:pt x="507" y="259"/>
                  <a:pt x="507" y="258"/>
                  <a:pt x="507" y="258"/>
                </a:cubicBezTo>
                <a:cubicBezTo>
                  <a:pt x="507" y="258"/>
                  <a:pt x="507" y="258"/>
                  <a:pt x="508" y="257"/>
                </a:cubicBezTo>
                <a:cubicBezTo>
                  <a:pt x="508" y="257"/>
                  <a:pt x="508" y="257"/>
                  <a:pt x="508" y="257"/>
                </a:cubicBezTo>
                <a:cubicBezTo>
                  <a:pt x="508" y="257"/>
                  <a:pt x="508" y="257"/>
                  <a:pt x="508" y="257"/>
                </a:cubicBezTo>
                <a:cubicBezTo>
                  <a:pt x="508" y="258"/>
                  <a:pt x="508" y="258"/>
                  <a:pt x="507" y="258"/>
                </a:cubicBezTo>
                <a:cubicBezTo>
                  <a:pt x="508" y="258"/>
                  <a:pt x="508" y="258"/>
                  <a:pt x="508" y="258"/>
                </a:cubicBezTo>
                <a:cubicBezTo>
                  <a:pt x="508" y="258"/>
                  <a:pt x="508" y="258"/>
                  <a:pt x="509" y="258"/>
                </a:cubicBezTo>
                <a:cubicBezTo>
                  <a:pt x="509" y="258"/>
                  <a:pt x="509" y="258"/>
                  <a:pt x="509" y="258"/>
                </a:cubicBezTo>
                <a:cubicBezTo>
                  <a:pt x="509" y="258"/>
                  <a:pt x="510" y="257"/>
                  <a:pt x="510" y="257"/>
                </a:cubicBezTo>
                <a:cubicBezTo>
                  <a:pt x="510" y="256"/>
                  <a:pt x="510" y="256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6"/>
                  <a:pt x="511" y="256"/>
                  <a:pt x="510" y="257"/>
                </a:cubicBezTo>
                <a:cubicBezTo>
                  <a:pt x="510" y="257"/>
                  <a:pt x="510" y="257"/>
                  <a:pt x="510" y="257"/>
                </a:cubicBezTo>
                <a:close/>
                <a:moveTo>
                  <a:pt x="503" y="437"/>
                </a:moveTo>
                <a:cubicBezTo>
                  <a:pt x="504" y="437"/>
                  <a:pt x="504" y="437"/>
                  <a:pt x="504" y="437"/>
                </a:cubicBezTo>
                <a:cubicBezTo>
                  <a:pt x="504" y="436"/>
                  <a:pt x="504" y="436"/>
                  <a:pt x="504" y="436"/>
                </a:cubicBezTo>
                <a:cubicBezTo>
                  <a:pt x="504" y="436"/>
                  <a:pt x="504" y="436"/>
                  <a:pt x="503" y="436"/>
                </a:cubicBezTo>
                <a:cubicBezTo>
                  <a:pt x="503" y="437"/>
                  <a:pt x="503" y="437"/>
                  <a:pt x="503" y="437"/>
                </a:cubicBezTo>
                <a:close/>
                <a:moveTo>
                  <a:pt x="527" y="437"/>
                </a:moveTo>
                <a:cubicBezTo>
                  <a:pt x="527" y="436"/>
                  <a:pt x="528" y="436"/>
                  <a:pt x="528" y="436"/>
                </a:cubicBezTo>
                <a:cubicBezTo>
                  <a:pt x="528" y="436"/>
                  <a:pt x="528" y="436"/>
                  <a:pt x="528" y="436"/>
                </a:cubicBezTo>
                <a:cubicBezTo>
                  <a:pt x="528" y="436"/>
                  <a:pt x="528" y="436"/>
                  <a:pt x="529" y="436"/>
                </a:cubicBezTo>
                <a:cubicBezTo>
                  <a:pt x="529" y="436"/>
                  <a:pt x="530" y="435"/>
                  <a:pt x="530" y="435"/>
                </a:cubicBezTo>
                <a:cubicBezTo>
                  <a:pt x="530" y="435"/>
                  <a:pt x="530" y="435"/>
                  <a:pt x="530" y="435"/>
                </a:cubicBezTo>
                <a:cubicBezTo>
                  <a:pt x="530" y="435"/>
                  <a:pt x="530" y="435"/>
                  <a:pt x="529" y="435"/>
                </a:cubicBezTo>
                <a:cubicBezTo>
                  <a:pt x="529" y="435"/>
                  <a:pt x="529" y="435"/>
                  <a:pt x="528" y="435"/>
                </a:cubicBezTo>
                <a:cubicBezTo>
                  <a:pt x="528" y="434"/>
                  <a:pt x="527" y="434"/>
                  <a:pt x="527" y="434"/>
                </a:cubicBezTo>
                <a:cubicBezTo>
                  <a:pt x="526" y="434"/>
                  <a:pt x="524" y="434"/>
                  <a:pt x="523" y="435"/>
                </a:cubicBezTo>
                <a:cubicBezTo>
                  <a:pt x="522" y="435"/>
                  <a:pt x="522" y="435"/>
                  <a:pt x="521" y="435"/>
                </a:cubicBezTo>
                <a:cubicBezTo>
                  <a:pt x="521" y="435"/>
                  <a:pt x="521" y="435"/>
                  <a:pt x="520" y="436"/>
                </a:cubicBezTo>
                <a:cubicBezTo>
                  <a:pt x="520" y="436"/>
                  <a:pt x="520" y="436"/>
                  <a:pt x="519" y="436"/>
                </a:cubicBezTo>
                <a:cubicBezTo>
                  <a:pt x="519" y="436"/>
                  <a:pt x="519" y="436"/>
                  <a:pt x="519" y="437"/>
                </a:cubicBezTo>
                <a:cubicBezTo>
                  <a:pt x="519" y="437"/>
                  <a:pt x="520" y="437"/>
                  <a:pt x="520" y="437"/>
                </a:cubicBezTo>
                <a:cubicBezTo>
                  <a:pt x="520" y="437"/>
                  <a:pt x="520" y="437"/>
                  <a:pt x="521" y="437"/>
                </a:cubicBezTo>
                <a:cubicBezTo>
                  <a:pt x="521" y="437"/>
                  <a:pt x="521" y="437"/>
                  <a:pt x="521" y="437"/>
                </a:cubicBezTo>
                <a:cubicBezTo>
                  <a:pt x="522" y="437"/>
                  <a:pt x="522" y="437"/>
                  <a:pt x="522" y="437"/>
                </a:cubicBezTo>
                <a:cubicBezTo>
                  <a:pt x="522" y="438"/>
                  <a:pt x="523" y="438"/>
                  <a:pt x="523" y="438"/>
                </a:cubicBezTo>
                <a:cubicBezTo>
                  <a:pt x="523" y="438"/>
                  <a:pt x="524" y="437"/>
                  <a:pt x="524" y="437"/>
                </a:cubicBezTo>
                <a:cubicBezTo>
                  <a:pt x="524" y="437"/>
                  <a:pt x="525" y="437"/>
                  <a:pt x="525" y="438"/>
                </a:cubicBezTo>
                <a:cubicBezTo>
                  <a:pt x="525" y="437"/>
                  <a:pt x="526" y="437"/>
                  <a:pt x="526" y="437"/>
                </a:cubicBezTo>
                <a:cubicBezTo>
                  <a:pt x="526" y="437"/>
                  <a:pt x="526" y="437"/>
                  <a:pt x="526" y="437"/>
                </a:cubicBezTo>
                <a:cubicBezTo>
                  <a:pt x="526" y="436"/>
                  <a:pt x="527" y="436"/>
                  <a:pt x="527" y="436"/>
                </a:cubicBezTo>
                <a:cubicBezTo>
                  <a:pt x="527" y="436"/>
                  <a:pt x="527" y="436"/>
                  <a:pt x="527" y="437"/>
                </a:cubicBezTo>
                <a:close/>
                <a:moveTo>
                  <a:pt x="546" y="427"/>
                </a:moveTo>
                <a:cubicBezTo>
                  <a:pt x="545" y="427"/>
                  <a:pt x="545" y="427"/>
                  <a:pt x="545" y="427"/>
                </a:cubicBezTo>
                <a:cubicBezTo>
                  <a:pt x="544" y="427"/>
                  <a:pt x="544" y="428"/>
                  <a:pt x="544" y="428"/>
                </a:cubicBezTo>
                <a:cubicBezTo>
                  <a:pt x="544" y="428"/>
                  <a:pt x="544" y="428"/>
                  <a:pt x="545" y="428"/>
                </a:cubicBezTo>
                <a:cubicBezTo>
                  <a:pt x="545" y="428"/>
                  <a:pt x="546" y="428"/>
                  <a:pt x="546" y="428"/>
                </a:cubicBezTo>
                <a:cubicBezTo>
                  <a:pt x="546" y="428"/>
                  <a:pt x="546" y="428"/>
                  <a:pt x="546" y="427"/>
                </a:cubicBezTo>
                <a:close/>
                <a:moveTo>
                  <a:pt x="547" y="423"/>
                </a:moveTo>
                <a:cubicBezTo>
                  <a:pt x="547" y="422"/>
                  <a:pt x="546" y="422"/>
                  <a:pt x="545" y="422"/>
                </a:cubicBezTo>
                <a:cubicBezTo>
                  <a:pt x="545" y="422"/>
                  <a:pt x="545" y="423"/>
                  <a:pt x="545" y="423"/>
                </a:cubicBezTo>
                <a:cubicBezTo>
                  <a:pt x="545" y="423"/>
                  <a:pt x="545" y="423"/>
                  <a:pt x="545" y="423"/>
                </a:cubicBezTo>
                <a:cubicBezTo>
                  <a:pt x="546" y="423"/>
                  <a:pt x="547" y="423"/>
                  <a:pt x="547" y="423"/>
                </a:cubicBezTo>
                <a:close/>
                <a:moveTo>
                  <a:pt x="534" y="426"/>
                </a:moveTo>
                <a:cubicBezTo>
                  <a:pt x="534" y="426"/>
                  <a:pt x="534" y="426"/>
                  <a:pt x="534" y="426"/>
                </a:cubicBezTo>
                <a:cubicBezTo>
                  <a:pt x="534" y="426"/>
                  <a:pt x="534" y="426"/>
                  <a:pt x="534" y="426"/>
                </a:cubicBezTo>
                <a:cubicBezTo>
                  <a:pt x="535" y="426"/>
                  <a:pt x="535" y="426"/>
                  <a:pt x="535" y="425"/>
                </a:cubicBezTo>
                <a:cubicBezTo>
                  <a:pt x="536" y="425"/>
                  <a:pt x="536" y="425"/>
                  <a:pt x="537" y="425"/>
                </a:cubicBezTo>
                <a:cubicBezTo>
                  <a:pt x="537" y="425"/>
                  <a:pt x="538" y="425"/>
                  <a:pt x="538" y="425"/>
                </a:cubicBezTo>
                <a:cubicBezTo>
                  <a:pt x="538" y="424"/>
                  <a:pt x="538" y="424"/>
                  <a:pt x="538" y="424"/>
                </a:cubicBezTo>
                <a:cubicBezTo>
                  <a:pt x="538" y="424"/>
                  <a:pt x="538" y="424"/>
                  <a:pt x="538" y="423"/>
                </a:cubicBezTo>
                <a:cubicBezTo>
                  <a:pt x="537" y="423"/>
                  <a:pt x="537" y="424"/>
                  <a:pt x="537" y="424"/>
                </a:cubicBezTo>
                <a:cubicBezTo>
                  <a:pt x="537" y="423"/>
                  <a:pt x="536" y="423"/>
                  <a:pt x="536" y="423"/>
                </a:cubicBezTo>
                <a:cubicBezTo>
                  <a:pt x="535" y="423"/>
                  <a:pt x="534" y="423"/>
                  <a:pt x="534" y="423"/>
                </a:cubicBezTo>
                <a:cubicBezTo>
                  <a:pt x="533" y="423"/>
                  <a:pt x="532" y="423"/>
                  <a:pt x="531" y="423"/>
                </a:cubicBezTo>
                <a:cubicBezTo>
                  <a:pt x="531" y="423"/>
                  <a:pt x="531" y="423"/>
                  <a:pt x="530" y="423"/>
                </a:cubicBezTo>
                <a:cubicBezTo>
                  <a:pt x="531" y="423"/>
                  <a:pt x="531" y="423"/>
                  <a:pt x="531" y="423"/>
                </a:cubicBezTo>
                <a:cubicBezTo>
                  <a:pt x="531" y="422"/>
                  <a:pt x="531" y="422"/>
                  <a:pt x="531" y="422"/>
                </a:cubicBezTo>
                <a:cubicBezTo>
                  <a:pt x="531" y="422"/>
                  <a:pt x="530" y="422"/>
                  <a:pt x="530" y="422"/>
                </a:cubicBezTo>
                <a:cubicBezTo>
                  <a:pt x="530" y="422"/>
                  <a:pt x="530" y="422"/>
                  <a:pt x="530" y="422"/>
                </a:cubicBezTo>
                <a:cubicBezTo>
                  <a:pt x="529" y="422"/>
                  <a:pt x="529" y="422"/>
                  <a:pt x="529" y="422"/>
                </a:cubicBezTo>
                <a:cubicBezTo>
                  <a:pt x="528" y="422"/>
                  <a:pt x="527" y="422"/>
                  <a:pt x="527" y="422"/>
                </a:cubicBezTo>
                <a:cubicBezTo>
                  <a:pt x="526" y="422"/>
                  <a:pt x="526" y="422"/>
                  <a:pt x="526" y="422"/>
                </a:cubicBezTo>
                <a:cubicBezTo>
                  <a:pt x="526" y="422"/>
                  <a:pt x="525" y="422"/>
                  <a:pt x="525" y="422"/>
                </a:cubicBezTo>
                <a:cubicBezTo>
                  <a:pt x="525" y="422"/>
                  <a:pt x="524" y="422"/>
                  <a:pt x="524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2" y="422"/>
                  <a:pt x="522" y="422"/>
                  <a:pt x="522" y="422"/>
                </a:cubicBezTo>
                <a:cubicBezTo>
                  <a:pt x="522" y="422"/>
                  <a:pt x="522" y="422"/>
                  <a:pt x="522" y="422"/>
                </a:cubicBezTo>
                <a:cubicBezTo>
                  <a:pt x="522" y="422"/>
                  <a:pt x="521" y="422"/>
                  <a:pt x="521" y="422"/>
                </a:cubicBezTo>
                <a:cubicBezTo>
                  <a:pt x="520" y="422"/>
                  <a:pt x="520" y="422"/>
                  <a:pt x="519" y="422"/>
                </a:cubicBezTo>
                <a:cubicBezTo>
                  <a:pt x="519" y="422"/>
                  <a:pt x="518" y="422"/>
                  <a:pt x="518" y="422"/>
                </a:cubicBezTo>
                <a:cubicBezTo>
                  <a:pt x="517" y="421"/>
                  <a:pt x="517" y="421"/>
                  <a:pt x="516" y="421"/>
                </a:cubicBezTo>
                <a:cubicBezTo>
                  <a:pt x="516" y="421"/>
                  <a:pt x="515" y="421"/>
                  <a:pt x="515" y="421"/>
                </a:cubicBezTo>
                <a:cubicBezTo>
                  <a:pt x="514" y="421"/>
                  <a:pt x="513" y="421"/>
                  <a:pt x="512" y="422"/>
                </a:cubicBezTo>
                <a:cubicBezTo>
                  <a:pt x="512" y="422"/>
                  <a:pt x="511" y="422"/>
                  <a:pt x="511" y="422"/>
                </a:cubicBezTo>
                <a:cubicBezTo>
                  <a:pt x="511" y="421"/>
                  <a:pt x="511" y="421"/>
                  <a:pt x="510" y="421"/>
                </a:cubicBezTo>
                <a:cubicBezTo>
                  <a:pt x="510" y="421"/>
                  <a:pt x="510" y="420"/>
                  <a:pt x="509" y="420"/>
                </a:cubicBezTo>
                <a:cubicBezTo>
                  <a:pt x="509" y="420"/>
                  <a:pt x="508" y="420"/>
                  <a:pt x="508" y="421"/>
                </a:cubicBezTo>
                <a:cubicBezTo>
                  <a:pt x="508" y="421"/>
                  <a:pt x="508" y="420"/>
                  <a:pt x="508" y="420"/>
                </a:cubicBezTo>
                <a:cubicBezTo>
                  <a:pt x="506" y="421"/>
                  <a:pt x="505" y="421"/>
                  <a:pt x="504" y="421"/>
                </a:cubicBezTo>
                <a:cubicBezTo>
                  <a:pt x="503" y="421"/>
                  <a:pt x="503" y="421"/>
                  <a:pt x="503" y="422"/>
                </a:cubicBezTo>
                <a:cubicBezTo>
                  <a:pt x="502" y="422"/>
                  <a:pt x="502" y="422"/>
                  <a:pt x="501" y="422"/>
                </a:cubicBezTo>
                <a:cubicBezTo>
                  <a:pt x="501" y="422"/>
                  <a:pt x="500" y="421"/>
                  <a:pt x="500" y="421"/>
                </a:cubicBezTo>
                <a:cubicBezTo>
                  <a:pt x="499" y="421"/>
                  <a:pt x="498" y="421"/>
                  <a:pt x="498" y="422"/>
                </a:cubicBezTo>
                <a:cubicBezTo>
                  <a:pt x="497" y="422"/>
                  <a:pt x="496" y="422"/>
                  <a:pt x="496" y="422"/>
                </a:cubicBezTo>
                <a:cubicBezTo>
                  <a:pt x="495" y="422"/>
                  <a:pt x="495" y="423"/>
                  <a:pt x="495" y="423"/>
                </a:cubicBezTo>
                <a:cubicBezTo>
                  <a:pt x="494" y="423"/>
                  <a:pt x="493" y="424"/>
                  <a:pt x="492" y="424"/>
                </a:cubicBezTo>
                <a:cubicBezTo>
                  <a:pt x="491" y="424"/>
                  <a:pt x="491" y="424"/>
                  <a:pt x="490" y="425"/>
                </a:cubicBezTo>
                <a:cubicBezTo>
                  <a:pt x="490" y="425"/>
                  <a:pt x="490" y="425"/>
                  <a:pt x="490" y="425"/>
                </a:cubicBezTo>
                <a:cubicBezTo>
                  <a:pt x="489" y="426"/>
                  <a:pt x="488" y="426"/>
                  <a:pt x="488" y="426"/>
                </a:cubicBezTo>
                <a:cubicBezTo>
                  <a:pt x="487" y="427"/>
                  <a:pt x="487" y="427"/>
                  <a:pt x="487" y="427"/>
                </a:cubicBezTo>
                <a:cubicBezTo>
                  <a:pt x="487" y="427"/>
                  <a:pt x="486" y="428"/>
                  <a:pt x="486" y="428"/>
                </a:cubicBezTo>
                <a:cubicBezTo>
                  <a:pt x="486" y="428"/>
                  <a:pt x="486" y="428"/>
                  <a:pt x="486" y="429"/>
                </a:cubicBezTo>
                <a:cubicBezTo>
                  <a:pt x="487" y="429"/>
                  <a:pt x="487" y="429"/>
                  <a:pt x="487" y="429"/>
                </a:cubicBezTo>
                <a:cubicBezTo>
                  <a:pt x="487" y="429"/>
                  <a:pt x="487" y="429"/>
                  <a:pt x="487" y="430"/>
                </a:cubicBezTo>
                <a:cubicBezTo>
                  <a:pt x="487" y="429"/>
                  <a:pt x="486" y="429"/>
                  <a:pt x="486" y="429"/>
                </a:cubicBezTo>
                <a:cubicBezTo>
                  <a:pt x="485" y="430"/>
                  <a:pt x="485" y="430"/>
                  <a:pt x="484" y="431"/>
                </a:cubicBezTo>
                <a:cubicBezTo>
                  <a:pt x="484" y="431"/>
                  <a:pt x="484" y="431"/>
                  <a:pt x="484" y="431"/>
                </a:cubicBezTo>
                <a:cubicBezTo>
                  <a:pt x="484" y="431"/>
                  <a:pt x="484" y="431"/>
                  <a:pt x="484" y="431"/>
                </a:cubicBezTo>
                <a:cubicBezTo>
                  <a:pt x="484" y="431"/>
                  <a:pt x="484" y="431"/>
                  <a:pt x="485" y="431"/>
                </a:cubicBezTo>
                <a:cubicBezTo>
                  <a:pt x="485" y="431"/>
                  <a:pt x="485" y="430"/>
                  <a:pt x="486" y="430"/>
                </a:cubicBezTo>
                <a:cubicBezTo>
                  <a:pt x="486" y="430"/>
                  <a:pt x="486" y="430"/>
                  <a:pt x="486" y="430"/>
                </a:cubicBezTo>
                <a:cubicBezTo>
                  <a:pt x="486" y="430"/>
                  <a:pt x="486" y="431"/>
                  <a:pt x="486" y="431"/>
                </a:cubicBezTo>
                <a:cubicBezTo>
                  <a:pt x="487" y="430"/>
                  <a:pt x="487" y="430"/>
                  <a:pt x="487" y="430"/>
                </a:cubicBezTo>
                <a:cubicBezTo>
                  <a:pt x="488" y="430"/>
                  <a:pt x="488" y="430"/>
                  <a:pt x="488" y="430"/>
                </a:cubicBezTo>
                <a:cubicBezTo>
                  <a:pt x="488" y="429"/>
                  <a:pt x="489" y="429"/>
                  <a:pt x="489" y="428"/>
                </a:cubicBezTo>
                <a:cubicBezTo>
                  <a:pt x="489" y="428"/>
                  <a:pt x="490" y="428"/>
                  <a:pt x="490" y="428"/>
                </a:cubicBezTo>
                <a:cubicBezTo>
                  <a:pt x="490" y="428"/>
                  <a:pt x="490" y="428"/>
                  <a:pt x="490" y="428"/>
                </a:cubicBezTo>
                <a:cubicBezTo>
                  <a:pt x="491" y="428"/>
                  <a:pt x="491" y="428"/>
                  <a:pt x="491" y="428"/>
                </a:cubicBezTo>
                <a:cubicBezTo>
                  <a:pt x="492" y="428"/>
                  <a:pt x="492" y="428"/>
                  <a:pt x="492" y="427"/>
                </a:cubicBezTo>
                <a:cubicBezTo>
                  <a:pt x="493" y="427"/>
                  <a:pt x="493" y="426"/>
                  <a:pt x="493" y="426"/>
                </a:cubicBezTo>
                <a:cubicBezTo>
                  <a:pt x="494" y="426"/>
                  <a:pt x="494" y="425"/>
                  <a:pt x="494" y="425"/>
                </a:cubicBezTo>
                <a:cubicBezTo>
                  <a:pt x="494" y="425"/>
                  <a:pt x="494" y="425"/>
                  <a:pt x="495" y="425"/>
                </a:cubicBezTo>
                <a:cubicBezTo>
                  <a:pt x="495" y="425"/>
                  <a:pt x="496" y="425"/>
                  <a:pt x="496" y="424"/>
                </a:cubicBezTo>
                <a:cubicBezTo>
                  <a:pt x="496" y="424"/>
                  <a:pt x="497" y="424"/>
                  <a:pt x="497" y="424"/>
                </a:cubicBezTo>
                <a:cubicBezTo>
                  <a:pt x="498" y="424"/>
                  <a:pt x="498" y="424"/>
                  <a:pt x="499" y="424"/>
                </a:cubicBezTo>
                <a:cubicBezTo>
                  <a:pt x="499" y="424"/>
                  <a:pt x="500" y="424"/>
                  <a:pt x="500" y="424"/>
                </a:cubicBezTo>
                <a:cubicBezTo>
                  <a:pt x="500" y="424"/>
                  <a:pt x="500" y="424"/>
                  <a:pt x="499" y="425"/>
                </a:cubicBezTo>
                <a:cubicBezTo>
                  <a:pt x="499" y="425"/>
                  <a:pt x="499" y="425"/>
                  <a:pt x="498" y="425"/>
                </a:cubicBezTo>
                <a:cubicBezTo>
                  <a:pt x="498" y="425"/>
                  <a:pt x="498" y="425"/>
                  <a:pt x="498" y="425"/>
                </a:cubicBezTo>
                <a:cubicBezTo>
                  <a:pt x="498" y="425"/>
                  <a:pt x="498" y="425"/>
                  <a:pt x="498" y="426"/>
                </a:cubicBezTo>
                <a:cubicBezTo>
                  <a:pt x="499" y="425"/>
                  <a:pt x="501" y="425"/>
                  <a:pt x="502" y="425"/>
                </a:cubicBezTo>
                <a:cubicBezTo>
                  <a:pt x="502" y="425"/>
                  <a:pt x="502" y="425"/>
                  <a:pt x="502" y="425"/>
                </a:cubicBezTo>
                <a:cubicBezTo>
                  <a:pt x="502" y="425"/>
                  <a:pt x="503" y="425"/>
                  <a:pt x="503" y="425"/>
                </a:cubicBezTo>
                <a:cubicBezTo>
                  <a:pt x="503" y="425"/>
                  <a:pt x="504" y="425"/>
                  <a:pt x="504" y="425"/>
                </a:cubicBezTo>
                <a:cubicBezTo>
                  <a:pt x="504" y="425"/>
                  <a:pt x="505" y="425"/>
                  <a:pt x="505" y="425"/>
                </a:cubicBezTo>
                <a:cubicBezTo>
                  <a:pt x="506" y="425"/>
                  <a:pt x="506" y="424"/>
                  <a:pt x="506" y="424"/>
                </a:cubicBezTo>
                <a:cubicBezTo>
                  <a:pt x="506" y="424"/>
                  <a:pt x="506" y="424"/>
                  <a:pt x="506" y="424"/>
                </a:cubicBezTo>
                <a:cubicBezTo>
                  <a:pt x="507" y="424"/>
                  <a:pt x="507" y="424"/>
                  <a:pt x="507" y="424"/>
                </a:cubicBezTo>
                <a:cubicBezTo>
                  <a:pt x="507" y="424"/>
                  <a:pt x="507" y="424"/>
                  <a:pt x="507" y="424"/>
                </a:cubicBezTo>
                <a:cubicBezTo>
                  <a:pt x="508" y="425"/>
                  <a:pt x="508" y="425"/>
                  <a:pt x="509" y="425"/>
                </a:cubicBezTo>
                <a:cubicBezTo>
                  <a:pt x="509" y="425"/>
                  <a:pt x="510" y="425"/>
                  <a:pt x="510" y="425"/>
                </a:cubicBezTo>
                <a:cubicBezTo>
                  <a:pt x="511" y="425"/>
                  <a:pt x="511" y="424"/>
                  <a:pt x="511" y="424"/>
                </a:cubicBezTo>
                <a:cubicBezTo>
                  <a:pt x="511" y="424"/>
                  <a:pt x="512" y="425"/>
                  <a:pt x="512" y="425"/>
                </a:cubicBezTo>
                <a:cubicBezTo>
                  <a:pt x="512" y="425"/>
                  <a:pt x="512" y="424"/>
                  <a:pt x="513" y="424"/>
                </a:cubicBezTo>
                <a:cubicBezTo>
                  <a:pt x="513" y="424"/>
                  <a:pt x="513" y="424"/>
                  <a:pt x="514" y="424"/>
                </a:cubicBezTo>
                <a:cubicBezTo>
                  <a:pt x="514" y="424"/>
                  <a:pt x="514" y="424"/>
                  <a:pt x="515" y="424"/>
                </a:cubicBezTo>
                <a:cubicBezTo>
                  <a:pt x="515" y="424"/>
                  <a:pt x="515" y="424"/>
                  <a:pt x="515" y="424"/>
                </a:cubicBezTo>
                <a:cubicBezTo>
                  <a:pt x="516" y="424"/>
                  <a:pt x="516" y="425"/>
                  <a:pt x="517" y="426"/>
                </a:cubicBezTo>
                <a:cubicBezTo>
                  <a:pt x="518" y="426"/>
                  <a:pt x="518" y="426"/>
                  <a:pt x="519" y="427"/>
                </a:cubicBezTo>
                <a:cubicBezTo>
                  <a:pt x="519" y="426"/>
                  <a:pt x="519" y="426"/>
                  <a:pt x="520" y="426"/>
                </a:cubicBezTo>
                <a:cubicBezTo>
                  <a:pt x="520" y="426"/>
                  <a:pt x="520" y="426"/>
                  <a:pt x="520" y="426"/>
                </a:cubicBezTo>
                <a:cubicBezTo>
                  <a:pt x="520" y="426"/>
                  <a:pt x="521" y="426"/>
                  <a:pt x="521" y="426"/>
                </a:cubicBezTo>
                <a:cubicBezTo>
                  <a:pt x="522" y="426"/>
                  <a:pt x="522" y="426"/>
                  <a:pt x="523" y="426"/>
                </a:cubicBezTo>
                <a:cubicBezTo>
                  <a:pt x="523" y="426"/>
                  <a:pt x="523" y="426"/>
                  <a:pt x="523" y="426"/>
                </a:cubicBezTo>
                <a:cubicBezTo>
                  <a:pt x="524" y="426"/>
                  <a:pt x="524" y="426"/>
                  <a:pt x="524" y="426"/>
                </a:cubicBezTo>
                <a:cubicBezTo>
                  <a:pt x="524" y="426"/>
                  <a:pt x="524" y="427"/>
                  <a:pt x="524" y="427"/>
                </a:cubicBezTo>
                <a:cubicBezTo>
                  <a:pt x="524" y="427"/>
                  <a:pt x="523" y="427"/>
                  <a:pt x="523" y="427"/>
                </a:cubicBezTo>
                <a:cubicBezTo>
                  <a:pt x="523" y="428"/>
                  <a:pt x="522" y="428"/>
                  <a:pt x="522" y="429"/>
                </a:cubicBezTo>
                <a:cubicBezTo>
                  <a:pt x="522" y="429"/>
                  <a:pt x="522" y="429"/>
                  <a:pt x="522" y="430"/>
                </a:cubicBezTo>
                <a:cubicBezTo>
                  <a:pt x="522" y="429"/>
                  <a:pt x="523" y="429"/>
                  <a:pt x="524" y="429"/>
                </a:cubicBezTo>
                <a:cubicBezTo>
                  <a:pt x="524" y="429"/>
                  <a:pt x="524" y="429"/>
                  <a:pt x="525" y="429"/>
                </a:cubicBezTo>
                <a:cubicBezTo>
                  <a:pt x="525" y="429"/>
                  <a:pt x="525" y="429"/>
                  <a:pt x="526" y="429"/>
                </a:cubicBezTo>
                <a:cubicBezTo>
                  <a:pt x="526" y="428"/>
                  <a:pt x="527" y="428"/>
                  <a:pt x="528" y="428"/>
                </a:cubicBezTo>
                <a:cubicBezTo>
                  <a:pt x="528" y="428"/>
                  <a:pt x="529" y="427"/>
                  <a:pt x="529" y="427"/>
                </a:cubicBezTo>
                <a:cubicBezTo>
                  <a:pt x="530" y="427"/>
                  <a:pt x="531" y="427"/>
                  <a:pt x="531" y="428"/>
                </a:cubicBezTo>
                <a:cubicBezTo>
                  <a:pt x="532" y="427"/>
                  <a:pt x="533" y="427"/>
                  <a:pt x="534" y="426"/>
                </a:cubicBezTo>
                <a:close/>
                <a:moveTo>
                  <a:pt x="494" y="429"/>
                </a:moveTo>
                <a:cubicBezTo>
                  <a:pt x="494" y="429"/>
                  <a:pt x="493" y="429"/>
                  <a:pt x="493" y="429"/>
                </a:cubicBezTo>
                <a:cubicBezTo>
                  <a:pt x="493" y="429"/>
                  <a:pt x="493" y="430"/>
                  <a:pt x="494" y="430"/>
                </a:cubicBezTo>
                <a:cubicBezTo>
                  <a:pt x="494" y="430"/>
                  <a:pt x="494" y="430"/>
                  <a:pt x="495" y="430"/>
                </a:cubicBezTo>
                <a:cubicBezTo>
                  <a:pt x="495" y="430"/>
                  <a:pt x="496" y="429"/>
                  <a:pt x="496" y="429"/>
                </a:cubicBezTo>
                <a:cubicBezTo>
                  <a:pt x="496" y="429"/>
                  <a:pt x="496" y="429"/>
                  <a:pt x="496" y="428"/>
                </a:cubicBezTo>
                <a:cubicBezTo>
                  <a:pt x="496" y="428"/>
                  <a:pt x="495" y="428"/>
                  <a:pt x="495" y="428"/>
                </a:cubicBezTo>
                <a:cubicBezTo>
                  <a:pt x="495" y="428"/>
                  <a:pt x="494" y="428"/>
                  <a:pt x="494" y="428"/>
                </a:cubicBezTo>
                <a:cubicBezTo>
                  <a:pt x="494" y="428"/>
                  <a:pt x="494" y="428"/>
                  <a:pt x="494" y="429"/>
                </a:cubicBezTo>
                <a:cubicBezTo>
                  <a:pt x="494" y="429"/>
                  <a:pt x="494" y="429"/>
                  <a:pt x="494" y="429"/>
                </a:cubicBezTo>
                <a:cubicBezTo>
                  <a:pt x="494" y="429"/>
                  <a:pt x="495" y="429"/>
                  <a:pt x="495" y="429"/>
                </a:cubicBezTo>
                <a:cubicBezTo>
                  <a:pt x="495" y="429"/>
                  <a:pt x="494" y="429"/>
                  <a:pt x="494" y="429"/>
                </a:cubicBezTo>
                <a:cubicBezTo>
                  <a:pt x="494" y="429"/>
                  <a:pt x="494" y="429"/>
                  <a:pt x="494" y="429"/>
                </a:cubicBezTo>
                <a:close/>
                <a:moveTo>
                  <a:pt x="539" y="414"/>
                </a:moveTo>
                <a:cubicBezTo>
                  <a:pt x="539" y="414"/>
                  <a:pt x="539" y="414"/>
                  <a:pt x="539" y="413"/>
                </a:cubicBezTo>
                <a:cubicBezTo>
                  <a:pt x="539" y="413"/>
                  <a:pt x="539" y="413"/>
                  <a:pt x="539" y="413"/>
                </a:cubicBezTo>
                <a:cubicBezTo>
                  <a:pt x="538" y="413"/>
                  <a:pt x="538" y="413"/>
                  <a:pt x="538" y="413"/>
                </a:cubicBezTo>
                <a:cubicBezTo>
                  <a:pt x="538" y="414"/>
                  <a:pt x="538" y="414"/>
                  <a:pt x="538" y="414"/>
                </a:cubicBezTo>
                <a:cubicBezTo>
                  <a:pt x="538" y="414"/>
                  <a:pt x="537" y="415"/>
                  <a:pt x="537" y="415"/>
                </a:cubicBezTo>
                <a:cubicBezTo>
                  <a:pt x="537" y="415"/>
                  <a:pt x="537" y="415"/>
                  <a:pt x="537" y="415"/>
                </a:cubicBezTo>
                <a:cubicBezTo>
                  <a:pt x="536" y="415"/>
                  <a:pt x="536" y="416"/>
                  <a:pt x="536" y="416"/>
                </a:cubicBezTo>
                <a:cubicBezTo>
                  <a:pt x="537" y="416"/>
                  <a:pt x="537" y="416"/>
                  <a:pt x="537" y="416"/>
                </a:cubicBezTo>
                <a:cubicBezTo>
                  <a:pt x="538" y="415"/>
                  <a:pt x="538" y="415"/>
                  <a:pt x="539" y="414"/>
                </a:cubicBezTo>
                <a:close/>
                <a:moveTo>
                  <a:pt x="544" y="417"/>
                </a:moveTo>
                <a:cubicBezTo>
                  <a:pt x="543" y="417"/>
                  <a:pt x="543" y="417"/>
                  <a:pt x="543" y="417"/>
                </a:cubicBezTo>
                <a:cubicBezTo>
                  <a:pt x="543" y="417"/>
                  <a:pt x="544" y="418"/>
                  <a:pt x="544" y="418"/>
                </a:cubicBezTo>
                <a:cubicBezTo>
                  <a:pt x="544" y="417"/>
                  <a:pt x="544" y="417"/>
                  <a:pt x="544" y="417"/>
                </a:cubicBezTo>
                <a:close/>
                <a:moveTo>
                  <a:pt x="531" y="412"/>
                </a:moveTo>
                <a:cubicBezTo>
                  <a:pt x="531" y="412"/>
                  <a:pt x="531" y="412"/>
                  <a:pt x="532" y="412"/>
                </a:cubicBezTo>
                <a:cubicBezTo>
                  <a:pt x="532" y="413"/>
                  <a:pt x="531" y="413"/>
                  <a:pt x="531" y="413"/>
                </a:cubicBezTo>
                <a:cubicBezTo>
                  <a:pt x="532" y="413"/>
                  <a:pt x="532" y="413"/>
                  <a:pt x="532" y="414"/>
                </a:cubicBezTo>
                <a:cubicBezTo>
                  <a:pt x="533" y="414"/>
                  <a:pt x="533" y="414"/>
                  <a:pt x="533" y="414"/>
                </a:cubicBezTo>
                <a:cubicBezTo>
                  <a:pt x="533" y="414"/>
                  <a:pt x="533" y="414"/>
                  <a:pt x="534" y="414"/>
                </a:cubicBezTo>
                <a:cubicBezTo>
                  <a:pt x="533" y="414"/>
                  <a:pt x="533" y="413"/>
                  <a:pt x="533" y="413"/>
                </a:cubicBezTo>
                <a:cubicBezTo>
                  <a:pt x="532" y="413"/>
                  <a:pt x="532" y="412"/>
                  <a:pt x="532" y="412"/>
                </a:cubicBezTo>
                <a:cubicBezTo>
                  <a:pt x="532" y="412"/>
                  <a:pt x="531" y="412"/>
                  <a:pt x="531" y="411"/>
                </a:cubicBezTo>
                <a:cubicBezTo>
                  <a:pt x="531" y="411"/>
                  <a:pt x="531" y="412"/>
                  <a:pt x="531" y="412"/>
                </a:cubicBezTo>
                <a:close/>
                <a:moveTo>
                  <a:pt x="530" y="409"/>
                </a:moveTo>
                <a:cubicBezTo>
                  <a:pt x="530" y="409"/>
                  <a:pt x="530" y="408"/>
                  <a:pt x="530" y="408"/>
                </a:cubicBezTo>
                <a:cubicBezTo>
                  <a:pt x="529" y="408"/>
                  <a:pt x="529" y="408"/>
                  <a:pt x="529" y="408"/>
                </a:cubicBezTo>
                <a:cubicBezTo>
                  <a:pt x="529" y="408"/>
                  <a:pt x="529" y="408"/>
                  <a:pt x="529" y="408"/>
                </a:cubicBezTo>
                <a:cubicBezTo>
                  <a:pt x="529" y="408"/>
                  <a:pt x="529" y="409"/>
                  <a:pt x="529" y="409"/>
                </a:cubicBezTo>
                <a:cubicBezTo>
                  <a:pt x="530" y="409"/>
                  <a:pt x="530" y="409"/>
                  <a:pt x="530" y="410"/>
                </a:cubicBezTo>
                <a:cubicBezTo>
                  <a:pt x="530" y="410"/>
                  <a:pt x="530" y="410"/>
                  <a:pt x="530" y="410"/>
                </a:cubicBezTo>
                <a:cubicBezTo>
                  <a:pt x="530" y="410"/>
                  <a:pt x="530" y="410"/>
                  <a:pt x="530" y="410"/>
                </a:cubicBezTo>
                <a:cubicBezTo>
                  <a:pt x="531" y="410"/>
                  <a:pt x="531" y="410"/>
                  <a:pt x="531" y="410"/>
                </a:cubicBezTo>
                <a:cubicBezTo>
                  <a:pt x="531" y="410"/>
                  <a:pt x="531" y="410"/>
                  <a:pt x="531" y="410"/>
                </a:cubicBezTo>
                <a:cubicBezTo>
                  <a:pt x="531" y="409"/>
                  <a:pt x="531" y="409"/>
                  <a:pt x="530" y="409"/>
                </a:cubicBezTo>
                <a:close/>
                <a:moveTo>
                  <a:pt x="527" y="412"/>
                </a:moveTo>
                <a:cubicBezTo>
                  <a:pt x="527" y="412"/>
                  <a:pt x="528" y="412"/>
                  <a:pt x="528" y="412"/>
                </a:cubicBezTo>
                <a:cubicBezTo>
                  <a:pt x="528" y="412"/>
                  <a:pt x="527" y="412"/>
                  <a:pt x="527" y="412"/>
                </a:cubicBezTo>
                <a:cubicBezTo>
                  <a:pt x="527" y="412"/>
                  <a:pt x="527" y="412"/>
                  <a:pt x="527" y="412"/>
                </a:cubicBezTo>
                <a:close/>
                <a:moveTo>
                  <a:pt x="544" y="414"/>
                </a:moveTo>
                <a:cubicBezTo>
                  <a:pt x="544" y="414"/>
                  <a:pt x="543" y="414"/>
                  <a:pt x="543" y="414"/>
                </a:cubicBezTo>
                <a:cubicBezTo>
                  <a:pt x="542" y="414"/>
                  <a:pt x="542" y="414"/>
                  <a:pt x="542" y="414"/>
                </a:cubicBezTo>
                <a:cubicBezTo>
                  <a:pt x="542" y="414"/>
                  <a:pt x="542" y="414"/>
                  <a:pt x="542" y="414"/>
                </a:cubicBezTo>
                <a:cubicBezTo>
                  <a:pt x="543" y="414"/>
                  <a:pt x="543" y="414"/>
                  <a:pt x="543" y="414"/>
                </a:cubicBezTo>
                <a:cubicBezTo>
                  <a:pt x="543" y="414"/>
                  <a:pt x="544" y="414"/>
                  <a:pt x="544" y="414"/>
                </a:cubicBezTo>
                <a:cubicBezTo>
                  <a:pt x="544" y="414"/>
                  <a:pt x="544" y="414"/>
                  <a:pt x="544" y="414"/>
                </a:cubicBezTo>
                <a:close/>
                <a:moveTo>
                  <a:pt x="535" y="409"/>
                </a:moveTo>
                <a:cubicBezTo>
                  <a:pt x="535" y="409"/>
                  <a:pt x="535" y="409"/>
                  <a:pt x="535" y="409"/>
                </a:cubicBezTo>
                <a:cubicBezTo>
                  <a:pt x="535" y="409"/>
                  <a:pt x="535" y="409"/>
                  <a:pt x="535" y="408"/>
                </a:cubicBezTo>
                <a:cubicBezTo>
                  <a:pt x="534" y="409"/>
                  <a:pt x="534" y="409"/>
                  <a:pt x="534" y="409"/>
                </a:cubicBezTo>
                <a:cubicBezTo>
                  <a:pt x="534" y="409"/>
                  <a:pt x="535" y="409"/>
                  <a:pt x="535" y="409"/>
                </a:cubicBezTo>
                <a:close/>
                <a:moveTo>
                  <a:pt x="537" y="413"/>
                </a:moveTo>
                <a:cubicBezTo>
                  <a:pt x="536" y="413"/>
                  <a:pt x="536" y="413"/>
                  <a:pt x="535" y="413"/>
                </a:cubicBezTo>
                <a:cubicBezTo>
                  <a:pt x="535" y="413"/>
                  <a:pt x="536" y="413"/>
                  <a:pt x="536" y="414"/>
                </a:cubicBezTo>
                <a:cubicBezTo>
                  <a:pt x="536" y="414"/>
                  <a:pt x="536" y="414"/>
                  <a:pt x="536" y="414"/>
                </a:cubicBezTo>
                <a:cubicBezTo>
                  <a:pt x="537" y="414"/>
                  <a:pt x="537" y="414"/>
                  <a:pt x="537" y="414"/>
                </a:cubicBezTo>
                <a:cubicBezTo>
                  <a:pt x="537" y="414"/>
                  <a:pt x="537" y="413"/>
                  <a:pt x="537" y="413"/>
                </a:cubicBezTo>
                <a:close/>
                <a:moveTo>
                  <a:pt x="543" y="419"/>
                </a:moveTo>
                <a:cubicBezTo>
                  <a:pt x="542" y="419"/>
                  <a:pt x="542" y="419"/>
                  <a:pt x="541" y="419"/>
                </a:cubicBezTo>
                <a:cubicBezTo>
                  <a:pt x="541" y="419"/>
                  <a:pt x="541" y="419"/>
                  <a:pt x="540" y="420"/>
                </a:cubicBezTo>
                <a:cubicBezTo>
                  <a:pt x="540" y="420"/>
                  <a:pt x="540" y="420"/>
                  <a:pt x="540" y="421"/>
                </a:cubicBezTo>
                <a:cubicBezTo>
                  <a:pt x="541" y="420"/>
                  <a:pt x="542" y="420"/>
                  <a:pt x="543" y="420"/>
                </a:cubicBezTo>
                <a:cubicBezTo>
                  <a:pt x="543" y="420"/>
                  <a:pt x="543" y="419"/>
                  <a:pt x="544" y="419"/>
                </a:cubicBezTo>
                <a:cubicBezTo>
                  <a:pt x="543" y="419"/>
                  <a:pt x="543" y="418"/>
                  <a:pt x="543" y="418"/>
                </a:cubicBezTo>
                <a:cubicBezTo>
                  <a:pt x="543" y="418"/>
                  <a:pt x="543" y="418"/>
                  <a:pt x="543" y="418"/>
                </a:cubicBezTo>
                <a:cubicBezTo>
                  <a:pt x="543" y="419"/>
                  <a:pt x="543" y="419"/>
                  <a:pt x="543" y="419"/>
                </a:cubicBezTo>
                <a:close/>
                <a:moveTo>
                  <a:pt x="525" y="408"/>
                </a:moveTo>
                <a:cubicBezTo>
                  <a:pt x="525" y="408"/>
                  <a:pt x="526" y="408"/>
                  <a:pt x="526" y="408"/>
                </a:cubicBezTo>
                <a:cubicBezTo>
                  <a:pt x="526" y="408"/>
                  <a:pt x="526" y="408"/>
                  <a:pt x="526" y="408"/>
                </a:cubicBezTo>
                <a:cubicBezTo>
                  <a:pt x="526" y="407"/>
                  <a:pt x="526" y="407"/>
                  <a:pt x="526" y="407"/>
                </a:cubicBezTo>
                <a:cubicBezTo>
                  <a:pt x="526" y="406"/>
                  <a:pt x="526" y="406"/>
                  <a:pt x="525" y="406"/>
                </a:cubicBezTo>
                <a:cubicBezTo>
                  <a:pt x="525" y="406"/>
                  <a:pt x="524" y="406"/>
                  <a:pt x="524" y="406"/>
                </a:cubicBezTo>
                <a:cubicBezTo>
                  <a:pt x="524" y="406"/>
                  <a:pt x="524" y="406"/>
                  <a:pt x="524" y="406"/>
                </a:cubicBezTo>
                <a:cubicBezTo>
                  <a:pt x="524" y="406"/>
                  <a:pt x="525" y="406"/>
                  <a:pt x="525" y="406"/>
                </a:cubicBezTo>
                <a:cubicBezTo>
                  <a:pt x="525" y="406"/>
                  <a:pt x="526" y="407"/>
                  <a:pt x="526" y="407"/>
                </a:cubicBezTo>
                <a:cubicBezTo>
                  <a:pt x="526" y="407"/>
                  <a:pt x="526" y="407"/>
                  <a:pt x="526" y="407"/>
                </a:cubicBezTo>
                <a:cubicBezTo>
                  <a:pt x="526" y="408"/>
                  <a:pt x="525" y="408"/>
                  <a:pt x="525" y="408"/>
                </a:cubicBezTo>
                <a:close/>
                <a:moveTo>
                  <a:pt x="519" y="411"/>
                </a:moveTo>
                <a:cubicBezTo>
                  <a:pt x="519" y="412"/>
                  <a:pt x="518" y="412"/>
                  <a:pt x="518" y="412"/>
                </a:cubicBezTo>
                <a:cubicBezTo>
                  <a:pt x="518" y="412"/>
                  <a:pt x="518" y="412"/>
                  <a:pt x="519" y="412"/>
                </a:cubicBezTo>
                <a:cubicBezTo>
                  <a:pt x="519" y="412"/>
                  <a:pt x="519" y="412"/>
                  <a:pt x="519" y="411"/>
                </a:cubicBezTo>
                <a:close/>
                <a:moveTo>
                  <a:pt x="518" y="412"/>
                </a:moveTo>
                <a:cubicBezTo>
                  <a:pt x="518" y="412"/>
                  <a:pt x="518" y="412"/>
                  <a:pt x="518" y="413"/>
                </a:cubicBezTo>
                <a:cubicBezTo>
                  <a:pt x="518" y="413"/>
                  <a:pt x="518" y="413"/>
                  <a:pt x="518" y="413"/>
                </a:cubicBezTo>
                <a:cubicBezTo>
                  <a:pt x="518" y="412"/>
                  <a:pt x="518" y="412"/>
                  <a:pt x="518" y="412"/>
                </a:cubicBezTo>
                <a:close/>
                <a:moveTo>
                  <a:pt x="517" y="409"/>
                </a:moveTo>
                <a:cubicBezTo>
                  <a:pt x="517" y="409"/>
                  <a:pt x="516" y="409"/>
                  <a:pt x="516" y="409"/>
                </a:cubicBezTo>
                <a:cubicBezTo>
                  <a:pt x="516" y="409"/>
                  <a:pt x="516" y="410"/>
                  <a:pt x="516" y="410"/>
                </a:cubicBezTo>
                <a:cubicBezTo>
                  <a:pt x="516" y="410"/>
                  <a:pt x="516" y="411"/>
                  <a:pt x="516" y="411"/>
                </a:cubicBezTo>
                <a:cubicBezTo>
                  <a:pt x="516" y="411"/>
                  <a:pt x="516" y="411"/>
                  <a:pt x="516" y="411"/>
                </a:cubicBezTo>
                <a:cubicBezTo>
                  <a:pt x="517" y="411"/>
                  <a:pt x="517" y="411"/>
                  <a:pt x="517" y="411"/>
                </a:cubicBezTo>
                <a:cubicBezTo>
                  <a:pt x="517" y="411"/>
                  <a:pt x="517" y="411"/>
                  <a:pt x="518" y="411"/>
                </a:cubicBezTo>
                <a:cubicBezTo>
                  <a:pt x="518" y="411"/>
                  <a:pt x="518" y="411"/>
                  <a:pt x="519" y="411"/>
                </a:cubicBezTo>
                <a:cubicBezTo>
                  <a:pt x="518" y="410"/>
                  <a:pt x="518" y="410"/>
                  <a:pt x="517" y="410"/>
                </a:cubicBezTo>
                <a:cubicBezTo>
                  <a:pt x="517" y="409"/>
                  <a:pt x="517" y="409"/>
                  <a:pt x="517" y="409"/>
                </a:cubicBezTo>
                <a:close/>
                <a:moveTo>
                  <a:pt x="519" y="414"/>
                </a:moveTo>
                <a:cubicBezTo>
                  <a:pt x="519" y="414"/>
                  <a:pt x="520" y="414"/>
                  <a:pt x="520" y="414"/>
                </a:cubicBezTo>
                <a:cubicBezTo>
                  <a:pt x="520" y="414"/>
                  <a:pt x="520" y="413"/>
                  <a:pt x="520" y="413"/>
                </a:cubicBezTo>
                <a:cubicBezTo>
                  <a:pt x="520" y="413"/>
                  <a:pt x="520" y="413"/>
                  <a:pt x="520" y="413"/>
                </a:cubicBezTo>
                <a:cubicBezTo>
                  <a:pt x="520" y="413"/>
                  <a:pt x="520" y="412"/>
                  <a:pt x="520" y="412"/>
                </a:cubicBezTo>
                <a:cubicBezTo>
                  <a:pt x="520" y="412"/>
                  <a:pt x="519" y="412"/>
                  <a:pt x="519" y="412"/>
                </a:cubicBezTo>
                <a:cubicBezTo>
                  <a:pt x="519" y="412"/>
                  <a:pt x="518" y="413"/>
                  <a:pt x="518" y="413"/>
                </a:cubicBezTo>
                <a:cubicBezTo>
                  <a:pt x="518" y="413"/>
                  <a:pt x="518" y="413"/>
                  <a:pt x="518" y="414"/>
                </a:cubicBezTo>
                <a:cubicBezTo>
                  <a:pt x="519" y="414"/>
                  <a:pt x="519" y="414"/>
                  <a:pt x="519" y="414"/>
                </a:cubicBezTo>
                <a:close/>
                <a:moveTo>
                  <a:pt x="521" y="407"/>
                </a:moveTo>
                <a:cubicBezTo>
                  <a:pt x="521" y="407"/>
                  <a:pt x="521" y="407"/>
                  <a:pt x="520" y="408"/>
                </a:cubicBezTo>
                <a:cubicBezTo>
                  <a:pt x="520" y="408"/>
                  <a:pt x="519" y="408"/>
                  <a:pt x="519" y="408"/>
                </a:cubicBezTo>
                <a:cubicBezTo>
                  <a:pt x="519" y="408"/>
                  <a:pt x="519" y="408"/>
                  <a:pt x="520" y="408"/>
                </a:cubicBezTo>
                <a:cubicBezTo>
                  <a:pt x="520" y="408"/>
                  <a:pt x="521" y="408"/>
                  <a:pt x="521" y="408"/>
                </a:cubicBezTo>
                <a:cubicBezTo>
                  <a:pt x="521" y="408"/>
                  <a:pt x="521" y="408"/>
                  <a:pt x="521" y="407"/>
                </a:cubicBezTo>
                <a:close/>
                <a:moveTo>
                  <a:pt x="521" y="402"/>
                </a:moveTo>
                <a:cubicBezTo>
                  <a:pt x="521" y="402"/>
                  <a:pt x="521" y="401"/>
                  <a:pt x="520" y="401"/>
                </a:cubicBezTo>
                <a:cubicBezTo>
                  <a:pt x="520" y="401"/>
                  <a:pt x="520" y="401"/>
                  <a:pt x="520" y="401"/>
                </a:cubicBezTo>
                <a:cubicBezTo>
                  <a:pt x="519" y="401"/>
                  <a:pt x="519" y="401"/>
                  <a:pt x="518" y="400"/>
                </a:cubicBezTo>
                <a:cubicBezTo>
                  <a:pt x="518" y="401"/>
                  <a:pt x="517" y="401"/>
                  <a:pt x="517" y="401"/>
                </a:cubicBezTo>
                <a:cubicBezTo>
                  <a:pt x="517" y="401"/>
                  <a:pt x="518" y="401"/>
                  <a:pt x="518" y="401"/>
                </a:cubicBezTo>
                <a:cubicBezTo>
                  <a:pt x="519" y="401"/>
                  <a:pt x="519" y="401"/>
                  <a:pt x="519" y="401"/>
                </a:cubicBezTo>
                <a:cubicBezTo>
                  <a:pt x="519" y="402"/>
                  <a:pt x="520" y="402"/>
                  <a:pt x="520" y="402"/>
                </a:cubicBezTo>
                <a:cubicBezTo>
                  <a:pt x="520" y="402"/>
                  <a:pt x="520" y="403"/>
                  <a:pt x="520" y="403"/>
                </a:cubicBezTo>
                <a:cubicBezTo>
                  <a:pt x="520" y="403"/>
                  <a:pt x="520" y="403"/>
                  <a:pt x="520" y="403"/>
                </a:cubicBezTo>
                <a:cubicBezTo>
                  <a:pt x="520" y="404"/>
                  <a:pt x="520" y="404"/>
                  <a:pt x="520" y="405"/>
                </a:cubicBezTo>
                <a:cubicBezTo>
                  <a:pt x="520" y="404"/>
                  <a:pt x="521" y="404"/>
                  <a:pt x="521" y="404"/>
                </a:cubicBezTo>
                <a:cubicBezTo>
                  <a:pt x="521" y="404"/>
                  <a:pt x="521" y="403"/>
                  <a:pt x="521" y="403"/>
                </a:cubicBezTo>
                <a:cubicBezTo>
                  <a:pt x="521" y="403"/>
                  <a:pt x="521" y="403"/>
                  <a:pt x="521" y="403"/>
                </a:cubicBezTo>
                <a:cubicBezTo>
                  <a:pt x="521" y="402"/>
                  <a:pt x="521" y="402"/>
                  <a:pt x="521" y="402"/>
                </a:cubicBezTo>
                <a:close/>
                <a:moveTo>
                  <a:pt x="514" y="402"/>
                </a:moveTo>
                <a:cubicBezTo>
                  <a:pt x="514" y="402"/>
                  <a:pt x="513" y="403"/>
                  <a:pt x="513" y="403"/>
                </a:cubicBezTo>
                <a:cubicBezTo>
                  <a:pt x="513" y="403"/>
                  <a:pt x="512" y="403"/>
                  <a:pt x="512" y="403"/>
                </a:cubicBezTo>
                <a:cubicBezTo>
                  <a:pt x="512" y="403"/>
                  <a:pt x="511" y="403"/>
                  <a:pt x="511" y="403"/>
                </a:cubicBezTo>
                <a:cubicBezTo>
                  <a:pt x="511" y="403"/>
                  <a:pt x="512" y="404"/>
                  <a:pt x="512" y="404"/>
                </a:cubicBezTo>
                <a:cubicBezTo>
                  <a:pt x="513" y="404"/>
                  <a:pt x="513" y="404"/>
                  <a:pt x="514" y="404"/>
                </a:cubicBezTo>
                <a:cubicBezTo>
                  <a:pt x="514" y="403"/>
                  <a:pt x="515" y="403"/>
                  <a:pt x="515" y="402"/>
                </a:cubicBezTo>
                <a:cubicBezTo>
                  <a:pt x="516" y="402"/>
                  <a:pt x="516" y="402"/>
                  <a:pt x="516" y="402"/>
                </a:cubicBezTo>
                <a:cubicBezTo>
                  <a:pt x="516" y="402"/>
                  <a:pt x="517" y="402"/>
                  <a:pt x="517" y="402"/>
                </a:cubicBezTo>
                <a:cubicBezTo>
                  <a:pt x="517" y="402"/>
                  <a:pt x="516" y="402"/>
                  <a:pt x="516" y="402"/>
                </a:cubicBezTo>
                <a:cubicBezTo>
                  <a:pt x="515" y="402"/>
                  <a:pt x="515" y="402"/>
                  <a:pt x="514" y="402"/>
                </a:cubicBezTo>
                <a:close/>
                <a:moveTo>
                  <a:pt x="540" y="331"/>
                </a:moveTo>
                <a:cubicBezTo>
                  <a:pt x="540" y="331"/>
                  <a:pt x="540" y="331"/>
                  <a:pt x="540" y="331"/>
                </a:cubicBezTo>
                <a:cubicBezTo>
                  <a:pt x="540" y="331"/>
                  <a:pt x="539" y="331"/>
                  <a:pt x="539" y="332"/>
                </a:cubicBezTo>
                <a:cubicBezTo>
                  <a:pt x="538" y="332"/>
                  <a:pt x="538" y="332"/>
                  <a:pt x="537" y="332"/>
                </a:cubicBezTo>
                <a:cubicBezTo>
                  <a:pt x="537" y="332"/>
                  <a:pt x="536" y="332"/>
                  <a:pt x="536" y="333"/>
                </a:cubicBezTo>
                <a:cubicBezTo>
                  <a:pt x="535" y="333"/>
                  <a:pt x="535" y="333"/>
                  <a:pt x="535" y="333"/>
                </a:cubicBezTo>
                <a:cubicBezTo>
                  <a:pt x="534" y="333"/>
                  <a:pt x="534" y="333"/>
                  <a:pt x="533" y="333"/>
                </a:cubicBezTo>
                <a:cubicBezTo>
                  <a:pt x="533" y="334"/>
                  <a:pt x="532" y="334"/>
                  <a:pt x="532" y="334"/>
                </a:cubicBezTo>
                <a:cubicBezTo>
                  <a:pt x="532" y="334"/>
                  <a:pt x="532" y="334"/>
                  <a:pt x="532" y="334"/>
                </a:cubicBezTo>
                <a:cubicBezTo>
                  <a:pt x="532" y="334"/>
                  <a:pt x="532" y="335"/>
                  <a:pt x="532" y="335"/>
                </a:cubicBezTo>
                <a:cubicBezTo>
                  <a:pt x="532" y="335"/>
                  <a:pt x="532" y="335"/>
                  <a:pt x="533" y="335"/>
                </a:cubicBezTo>
                <a:cubicBezTo>
                  <a:pt x="532" y="335"/>
                  <a:pt x="532" y="335"/>
                  <a:pt x="532" y="335"/>
                </a:cubicBezTo>
                <a:cubicBezTo>
                  <a:pt x="532" y="335"/>
                  <a:pt x="533" y="335"/>
                  <a:pt x="533" y="335"/>
                </a:cubicBezTo>
                <a:cubicBezTo>
                  <a:pt x="533" y="334"/>
                  <a:pt x="533" y="334"/>
                  <a:pt x="533" y="334"/>
                </a:cubicBezTo>
                <a:cubicBezTo>
                  <a:pt x="534" y="334"/>
                  <a:pt x="534" y="334"/>
                  <a:pt x="534" y="334"/>
                </a:cubicBezTo>
                <a:cubicBezTo>
                  <a:pt x="535" y="334"/>
                  <a:pt x="535" y="334"/>
                  <a:pt x="535" y="334"/>
                </a:cubicBezTo>
                <a:cubicBezTo>
                  <a:pt x="536" y="333"/>
                  <a:pt x="536" y="333"/>
                  <a:pt x="537" y="333"/>
                </a:cubicBezTo>
                <a:cubicBezTo>
                  <a:pt x="537" y="333"/>
                  <a:pt x="538" y="333"/>
                  <a:pt x="538" y="333"/>
                </a:cubicBezTo>
                <a:cubicBezTo>
                  <a:pt x="538" y="332"/>
                  <a:pt x="539" y="332"/>
                  <a:pt x="539" y="332"/>
                </a:cubicBezTo>
                <a:cubicBezTo>
                  <a:pt x="539" y="332"/>
                  <a:pt x="540" y="332"/>
                  <a:pt x="540" y="332"/>
                </a:cubicBezTo>
                <a:cubicBezTo>
                  <a:pt x="540" y="332"/>
                  <a:pt x="540" y="332"/>
                  <a:pt x="540" y="332"/>
                </a:cubicBezTo>
                <a:cubicBezTo>
                  <a:pt x="541" y="332"/>
                  <a:pt x="541" y="331"/>
                  <a:pt x="541" y="331"/>
                </a:cubicBezTo>
                <a:cubicBezTo>
                  <a:pt x="542" y="331"/>
                  <a:pt x="542" y="331"/>
                  <a:pt x="542" y="331"/>
                </a:cubicBezTo>
                <a:cubicBezTo>
                  <a:pt x="542" y="331"/>
                  <a:pt x="541" y="331"/>
                  <a:pt x="541" y="331"/>
                </a:cubicBezTo>
                <a:cubicBezTo>
                  <a:pt x="541" y="331"/>
                  <a:pt x="541" y="331"/>
                  <a:pt x="540" y="331"/>
                </a:cubicBezTo>
                <a:cubicBezTo>
                  <a:pt x="540" y="331"/>
                  <a:pt x="540" y="332"/>
                  <a:pt x="540" y="332"/>
                </a:cubicBezTo>
                <a:cubicBezTo>
                  <a:pt x="540" y="332"/>
                  <a:pt x="540" y="331"/>
                  <a:pt x="540" y="331"/>
                </a:cubicBezTo>
                <a:cubicBezTo>
                  <a:pt x="540" y="331"/>
                  <a:pt x="540" y="331"/>
                  <a:pt x="540" y="331"/>
                </a:cubicBezTo>
                <a:close/>
                <a:moveTo>
                  <a:pt x="420" y="424"/>
                </a:moveTo>
                <a:cubicBezTo>
                  <a:pt x="420" y="424"/>
                  <a:pt x="420" y="425"/>
                  <a:pt x="420" y="426"/>
                </a:cubicBezTo>
                <a:cubicBezTo>
                  <a:pt x="420" y="425"/>
                  <a:pt x="420" y="425"/>
                  <a:pt x="420" y="425"/>
                </a:cubicBezTo>
                <a:cubicBezTo>
                  <a:pt x="420" y="425"/>
                  <a:pt x="420" y="425"/>
                  <a:pt x="420" y="424"/>
                </a:cubicBezTo>
                <a:cubicBezTo>
                  <a:pt x="420" y="424"/>
                  <a:pt x="420" y="424"/>
                  <a:pt x="420" y="424"/>
                </a:cubicBezTo>
                <a:close/>
                <a:moveTo>
                  <a:pt x="419" y="428"/>
                </a:moveTo>
                <a:cubicBezTo>
                  <a:pt x="420" y="428"/>
                  <a:pt x="420" y="429"/>
                  <a:pt x="420" y="429"/>
                </a:cubicBezTo>
                <a:cubicBezTo>
                  <a:pt x="420" y="429"/>
                  <a:pt x="421" y="430"/>
                  <a:pt x="421" y="430"/>
                </a:cubicBezTo>
                <a:cubicBezTo>
                  <a:pt x="421" y="430"/>
                  <a:pt x="420" y="430"/>
                  <a:pt x="420" y="429"/>
                </a:cubicBezTo>
                <a:cubicBezTo>
                  <a:pt x="420" y="429"/>
                  <a:pt x="420" y="428"/>
                  <a:pt x="420" y="428"/>
                </a:cubicBezTo>
                <a:cubicBezTo>
                  <a:pt x="420" y="427"/>
                  <a:pt x="420" y="427"/>
                  <a:pt x="420" y="426"/>
                </a:cubicBezTo>
                <a:cubicBezTo>
                  <a:pt x="420" y="427"/>
                  <a:pt x="420" y="427"/>
                  <a:pt x="419" y="428"/>
                </a:cubicBezTo>
                <a:close/>
                <a:moveTo>
                  <a:pt x="422" y="421"/>
                </a:moveTo>
                <a:cubicBezTo>
                  <a:pt x="422" y="421"/>
                  <a:pt x="421" y="421"/>
                  <a:pt x="421" y="422"/>
                </a:cubicBezTo>
                <a:cubicBezTo>
                  <a:pt x="421" y="422"/>
                  <a:pt x="421" y="423"/>
                  <a:pt x="420" y="423"/>
                </a:cubicBezTo>
                <a:cubicBezTo>
                  <a:pt x="420" y="423"/>
                  <a:pt x="421" y="423"/>
                  <a:pt x="421" y="423"/>
                </a:cubicBezTo>
                <a:cubicBezTo>
                  <a:pt x="421" y="423"/>
                  <a:pt x="421" y="422"/>
                  <a:pt x="421" y="422"/>
                </a:cubicBezTo>
                <a:cubicBezTo>
                  <a:pt x="422" y="421"/>
                  <a:pt x="422" y="421"/>
                  <a:pt x="422" y="421"/>
                </a:cubicBezTo>
                <a:close/>
                <a:moveTo>
                  <a:pt x="549" y="328"/>
                </a:moveTo>
                <a:cubicBezTo>
                  <a:pt x="549" y="328"/>
                  <a:pt x="549" y="328"/>
                  <a:pt x="549" y="328"/>
                </a:cubicBezTo>
                <a:cubicBezTo>
                  <a:pt x="549" y="328"/>
                  <a:pt x="549" y="328"/>
                  <a:pt x="550" y="327"/>
                </a:cubicBezTo>
                <a:cubicBezTo>
                  <a:pt x="550" y="327"/>
                  <a:pt x="549" y="327"/>
                  <a:pt x="549" y="327"/>
                </a:cubicBezTo>
                <a:cubicBezTo>
                  <a:pt x="549" y="327"/>
                  <a:pt x="549" y="327"/>
                  <a:pt x="548" y="327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9" y="328"/>
                </a:cubicBezTo>
                <a:close/>
                <a:moveTo>
                  <a:pt x="286" y="355"/>
                </a:moveTo>
                <a:cubicBezTo>
                  <a:pt x="285" y="356"/>
                  <a:pt x="285" y="356"/>
                  <a:pt x="285" y="356"/>
                </a:cubicBezTo>
                <a:cubicBezTo>
                  <a:pt x="285" y="357"/>
                  <a:pt x="285" y="357"/>
                  <a:pt x="285" y="357"/>
                </a:cubicBezTo>
                <a:cubicBezTo>
                  <a:pt x="286" y="357"/>
                  <a:pt x="286" y="358"/>
                  <a:pt x="286" y="358"/>
                </a:cubicBezTo>
                <a:cubicBezTo>
                  <a:pt x="286" y="358"/>
                  <a:pt x="287" y="358"/>
                  <a:pt x="287" y="358"/>
                </a:cubicBezTo>
                <a:cubicBezTo>
                  <a:pt x="286" y="357"/>
                  <a:pt x="286" y="357"/>
                  <a:pt x="286" y="357"/>
                </a:cubicBezTo>
                <a:cubicBezTo>
                  <a:pt x="286" y="356"/>
                  <a:pt x="286" y="356"/>
                  <a:pt x="286" y="356"/>
                </a:cubicBezTo>
                <a:cubicBezTo>
                  <a:pt x="286" y="356"/>
                  <a:pt x="286" y="356"/>
                  <a:pt x="286" y="356"/>
                </a:cubicBezTo>
                <a:cubicBezTo>
                  <a:pt x="286" y="355"/>
                  <a:pt x="286" y="355"/>
                  <a:pt x="286" y="355"/>
                </a:cubicBezTo>
                <a:close/>
                <a:moveTo>
                  <a:pt x="687" y="695"/>
                </a:moveTo>
                <a:cubicBezTo>
                  <a:pt x="687" y="695"/>
                  <a:pt x="687" y="695"/>
                  <a:pt x="686" y="695"/>
                </a:cubicBezTo>
                <a:cubicBezTo>
                  <a:pt x="686" y="695"/>
                  <a:pt x="686" y="695"/>
                  <a:pt x="686" y="695"/>
                </a:cubicBezTo>
                <a:cubicBezTo>
                  <a:pt x="686" y="695"/>
                  <a:pt x="686" y="695"/>
                  <a:pt x="687" y="696"/>
                </a:cubicBezTo>
                <a:cubicBezTo>
                  <a:pt x="687" y="695"/>
                  <a:pt x="687" y="695"/>
                  <a:pt x="688" y="695"/>
                </a:cubicBezTo>
                <a:cubicBezTo>
                  <a:pt x="687" y="695"/>
                  <a:pt x="687" y="695"/>
                  <a:pt x="687" y="695"/>
                </a:cubicBezTo>
                <a:close/>
                <a:moveTo>
                  <a:pt x="691" y="691"/>
                </a:moveTo>
                <a:cubicBezTo>
                  <a:pt x="690" y="691"/>
                  <a:pt x="690" y="691"/>
                  <a:pt x="690" y="691"/>
                </a:cubicBezTo>
                <a:cubicBezTo>
                  <a:pt x="690" y="691"/>
                  <a:pt x="691" y="691"/>
                  <a:pt x="691" y="691"/>
                </a:cubicBezTo>
                <a:cubicBezTo>
                  <a:pt x="691" y="691"/>
                  <a:pt x="691" y="691"/>
                  <a:pt x="691" y="691"/>
                </a:cubicBezTo>
                <a:close/>
                <a:moveTo>
                  <a:pt x="692" y="693"/>
                </a:moveTo>
                <a:cubicBezTo>
                  <a:pt x="693" y="692"/>
                  <a:pt x="693" y="692"/>
                  <a:pt x="693" y="692"/>
                </a:cubicBezTo>
                <a:cubicBezTo>
                  <a:pt x="693" y="692"/>
                  <a:pt x="692" y="691"/>
                  <a:pt x="692" y="691"/>
                </a:cubicBezTo>
                <a:cubicBezTo>
                  <a:pt x="692" y="691"/>
                  <a:pt x="692" y="691"/>
                  <a:pt x="692" y="692"/>
                </a:cubicBezTo>
                <a:cubicBezTo>
                  <a:pt x="692" y="692"/>
                  <a:pt x="692" y="692"/>
                  <a:pt x="692" y="692"/>
                </a:cubicBezTo>
                <a:cubicBezTo>
                  <a:pt x="691" y="692"/>
                  <a:pt x="691" y="692"/>
                  <a:pt x="691" y="692"/>
                </a:cubicBezTo>
                <a:cubicBezTo>
                  <a:pt x="691" y="692"/>
                  <a:pt x="691" y="692"/>
                  <a:pt x="690" y="692"/>
                </a:cubicBezTo>
                <a:cubicBezTo>
                  <a:pt x="690" y="692"/>
                  <a:pt x="690" y="692"/>
                  <a:pt x="690" y="692"/>
                </a:cubicBezTo>
                <a:cubicBezTo>
                  <a:pt x="690" y="692"/>
                  <a:pt x="690" y="692"/>
                  <a:pt x="690" y="693"/>
                </a:cubicBezTo>
                <a:cubicBezTo>
                  <a:pt x="689" y="693"/>
                  <a:pt x="689" y="693"/>
                  <a:pt x="689" y="693"/>
                </a:cubicBezTo>
                <a:cubicBezTo>
                  <a:pt x="688" y="693"/>
                  <a:pt x="688" y="692"/>
                  <a:pt x="688" y="692"/>
                </a:cubicBezTo>
                <a:cubicBezTo>
                  <a:pt x="688" y="692"/>
                  <a:pt x="688" y="693"/>
                  <a:pt x="688" y="693"/>
                </a:cubicBezTo>
                <a:cubicBezTo>
                  <a:pt x="688" y="693"/>
                  <a:pt x="688" y="693"/>
                  <a:pt x="689" y="694"/>
                </a:cubicBezTo>
                <a:cubicBezTo>
                  <a:pt x="689" y="694"/>
                  <a:pt x="689" y="694"/>
                  <a:pt x="690" y="694"/>
                </a:cubicBezTo>
                <a:cubicBezTo>
                  <a:pt x="690" y="694"/>
                  <a:pt x="690" y="694"/>
                  <a:pt x="690" y="694"/>
                </a:cubicBezTo>
                <a:cubicBezTo>
                  <a:pt x="689" y="694"/>
                  <a:pt x="689" y="694"/>
                  <a:pt x="689" y="694"/>
                </a:cubicBezTo>
                <a:cubicBezTo>
                  <a:pt x="689" y="694"/>
                  <a:pt x="689" y="694"/>
                  <a:pt x="688" y="695"/>
                </a:cubicBezTo>
                <a:cubicBezTo>
                  <a:pt x="688" y="695"/>
                  <a:pt x="689" y="695"/>
                  <a:pt x="689" y="695"/>
                </a:cubicBezTo>
                <a:cubicBezTo>
                  <a:pt x="688" y="695"/>
                  <a:pt x="688" y="696"/>
                  <a:pt x="688" y="696"/>
                </a:cubicBezTo>
                <a:cubicBezTo>
                  <a:pt x="688" y="696"/>
                  <a:pt x="688" y="696"/>
                  <a:pt x="687" y="696"/>
                </a:cubicBezTo>
                <a:cubicBezTo>
                  <a:pt x="687" y="696"/>
                  <a:pt x="687" y="696"/>
                  <a:pt x="687" y="696"/>
                </a:cubicBezTo>
                <a:cubicBezTo>
                  <a:pt x="688" y="696"/>
                  <a:pt x="688" y="696"/>
                  <a:pt x="688" y="697"/>
                </a:cubicBezTo>
                <a:cubicBezTo>
                  <a:pt x="689" y="696"/>
                  <a:pt x="689" y="696"/>
                  <a:pt x="689" y="696"/>
                </a:cubicBezTo>
                <a:cubicBezTo>
                  <a:pt x="689" y="696"/>
                  <a:pt x="689" y="696"/>
                  <a:pt x="690" y="696"/>
                </a:cubicBezTo>
                <a:cubicBezTo>
                  <a:pt x="690" y="696"/>
                  <a:pt x="690" y="696"/>
                  <a:pt x="690" y="696"/>
                </a:cubicBezTo>
                <a:cubicBezTo>
                  <a:pt x="690" y="696"/>
                  <a:pt x="689" y="696"/>
                  <a:pt x="689" y="695"/>
                </a:cubicBezTo>
                <a:cubicBezTo>
                  <a:pt x="689" y="695"/>
                  <a:pt x="689" y="695"/>
                  <a:pt x="690" y="695"/>
                </a:cubicBezTo>
                <a:cubicBezTo>
                  <a:pt x="690" y="695"/>
                  <a:pt x="691" y="695"/>
                  <a:pt x="691" y="695"/>
                </a:cubicBezTo>
                <a:cubicBezTo>
                  <a:pt x="691" y="695"/>
                  <a:pt x="691" y="694"/>
                  <a:pt x="692" y="694"/>
                </a:cubicBezTo>
                <a:cubicBezTo>
                  <a:pt x="692" y="694"/>
                  <a:pt x="692" y="694"/>
                  <a:pt x="692" y="693"/>
                </a:cubicBezTo>
                <a:cubicBezTo>
                  <a:pt x="692" y="693"/>
                  <a:pt x="692" y="693"/>
                  <a:pt x="692" y="693"/>
                </a:cubicBezTo>
                <a:close/>
                <a:moveTo>
                  <a:pt x="689" y="692"/>
                </a:moveTo>
                <a:cubicBezTo>
                  <a:pt x="689" y="692"/>
                  <a:pt x="689" y="692"/>
                  <a:pt x="688" y="691"/>
                </a:cubicBezTo>
                <a:cubicBezTo>
                  <a:pt x="689" y="692"/>
                  <a:pt x="689" y="692"/>
                  <a:pt x="689" y="692"/>
                </a:cubicBezTo>
                <a:cubicBezTo>
                  <a:pt x="689" y="692"/>
                  <a:pt x="689" y="692"/>
                  <a:pt x="689" y="692"/>
                </a:cubicBezTo>
                <a:close/>
                <a:moveTo>
                  <a:pt x="781" y="692"/>
                </a:moveTo>
                <a:cubicBezTo>
                  <a:pt x="781" y="691"/>
                  <a:pt x="781" y="691"/>
                  <a:pt x="781" y="691"/>
                </a:cubicBezTo>
                <a:cubicBezTo>
                  <a:pt x="781" y="691"/>
                  <a:pt x="780" y="691"/>
                  <a:pt x="780" y="691"/>
                </a:cubicBezTo>
                <a:cubicBezTo>
                  <a:pt x="780" y="691"/>
                  <a:pt x="780" y="690"/>
                  <a:pt x="780" y="690"/>
                </a:cubicBezTo>
                <a:cubicBezTo>
                  <a:pt x="779" y="690"/>
                  <a:pt x="779" y="690"/>
                  <a:pt x="779" y="690"/>
                </a:cubicBezTo>
                <a:cubicBezTo>
                  <a:pt x="779" y="690"/>
                  <a:pt x="779" y="690"/>
                  <a:pt x="779" y="690"/>
                </a:cubicBezTo>
                <a:cubicBezTo>
                  <a:pt x="779" y="690"/>
                  <a:pt x="778" y="690"/>
                  <a:pt x="778" y="690"/>
                </a:cubicBezTo>
                <a:cubicBezTo>
                  <a:pt x="778" y="690"/>
                  <a:pt x="777" y="690"/>
                  <a:pt x="777" y="690"/>
                </a:cubicBezTo>
                <a:cubicBezTo>
                  <a:pt x="777" y="690"/>
                  <a:pt x="777" y="690"/>
                  <a:pt x="777" y="690"/>
                </a:cubicBezTo>
                <a:cubicBezTo>
                  <a:pt x="777" y="690"/>
                  <a:pt x="778" y="690"/>
                  <a:pt x="778" y="690"/>
                </a:cubicBezTo>
                <a:cubicBezTo>
                  <a:pt x="778" y="690"/>
                  <a:pt x="778" y="690"/>
                  <a:pt x="778" y="691"/>
                </a:cubicBezTo>
                <a:cubicBezTo>
                  <a:pt x="779" y="691"/>
                  <a:pt x="779" y="691"/>
                  <a:pt x="779" y="691"/>
                </a:cubicBezTo>
                <a:cubicBezTo>
                  <a:pt x="779" y="691"/>
                  <a:pt x="779" y="691"/>
                  <a:pt x="779" y="691"/>
                </a:cubicBezTo>
                <a:cubicBezTo>
                  <a:pt x="779" y="691"/>
                  <a:pt x="780" y="692"/>
                  <a:pt x="780" y="692"/>
                </a:cubicBezTo>
                <a:cubicBezTo>
                  <a:pt x="780" y="692"/>
                  <a:pt x="780" y="692"/>
                  <a:pt x="780" y="693"/>
                </a:cubicBezTo>
                <a:cubicBezTo>
                  <a:pt x="780" y="693"/>
                  <a:pt x="780" y="693"/>
                  <a:pt x="781" y="693"/>
                </a:cubicBezTo>
                <a:cubicBezTo>
                  <a:pt x="781" y="693"/>
                  <a:pt x="781" y="693"/>
                  <a:pt x="781" y="693"/>
                </a:cubicBezTo>
                <a:cubicBezTo>
                  <a:pt x="781" y="692"/>
                  <a:pt x="781" y="692"/>
                  <a:pt x="781" y="692"/>
                </a:cubicBezTo>
                <a:cubicBezTo>
                  <a:pt x="781" y="692"/>
                  <a:pt x="782" y="692"/>
                  <a:pt x="782" y="692"/>
                </a:cubicBezTo>
                <a:cubicBezTo>
                  <a:pt x="782" y="692"/>
                  <a:pt x="782" y="692"/>
                  <a:pt x="782" y="692"/>
                </a:cubicBezTo>
                <a:cubicBezTo>
                  <a:pt x="782" y="692"/>
                  <a:pt x="782" y="692"/>
                  <a:pt x="782" y="692"/>
                </a:cubicBezTo>
                <a:cubicBezTo>
                  <a:pt x="781" y="692"/>
                  <a:pt x="781" y="692"/>
                  <a:pt x="781" y="692"/>
                </a:cubicBezTo>
                <a:close/>
                <a:moveTo>
                  <a:pt x="698" y="691"/>
                </a:moveTo>
                <a:cubicBezTo>
                  <a:pt x="698" y="691"/>
                  <a:pt x="698" y="691"/>
                  <a:pt x="698" y="691"/>
                </a:cubicBezTo>
                <a:cubicBezTo>
                  <a:pt x="697" y="691"/>
                  <a:pt x="697" y="691"/>
                  <a:pt x="697" y="690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5" y="691"/>
                  <a:pt x="695" y="691"/>
                </a:cubicBezTo>
                <a:cubicBezTo>
                  <a:pt x="695" y="691"/>
                  <a:pt x="695" y="691"/>
                  <a:pt x="695" y="690"/>
                </a:cubicBezTo>
                <a:cubicBezTo>
                  <a:pt x="695" y="690"/>
                  <a:pt x="694" y="690"/>
                  <a:pt x="694" y="690"/>
                </a:cubicBezTo>
                <a:cubicBezTo>
                  <a:pt x="694" y="691"/>
                  <a:pt x="694" y="691"/>
                  <a:pt x="694" y="691"/>
                </a:cubicBezTo>
                <a:cubicBezTo>
                  <a:pt x="694" y="691"/>
                  <a:pt x="694" y="691"/>
                  <a:pt x="693" y="691"/>
                </a:cubicBezTo>
                <a:cubicBezTo>
                  <a:pt x="693" y="691"/>
                  <a:pt x="694" y="692"/>
                  <a:pt x="694" y="692"/>
                </a:cubicBezTo>
                <a:cubicBezTo>
                  <a:pt x="694" y="692"/>
                  <a:pt x="694" y="692"/>
                  <a:pt x="693" y="692"/>
                </a:cubicBezTo>
                <a:cubicBezTo>
                  <a:pt x="694" y="692"/>
                  <a:pt x="694" y="693"/>
                  <a:pt x="694" y="693"/>
                </a:cubicBezTo>
                <a:cubicBezTo>
                  <a:pt x="694" y="693"/>
                  <a:pt x="694" y="693"/>
                  <a:pt x="694" y="693"/>
                </a:cubicBezTo>
                <a:cubicBezTo>
                  <a:pt x="694" y="693"/>
                  <a:pt x="694" y="693"/>
                  <a:pt x="694" y="693"/>
                </a:cubicBezTo>
                <a:cubicBezTo>
                  <a:pt x="694" y="693"/>
                  <a:pt x="693" y="693"/>
                  <a:pt x="693" y="693"/>
                </a:cubicBezTo>
                <a:cubicBezTo>
                  <a:pt x="693" y="694"/>
                  <a:pt x="693" y="695"/>
                  <a:pt x="692" y="695"/>
                </a:cubicBezTo>
                <a:cubicBezTo>
                  <a:pt x="692" y="695"/>
                  <a:pt x="693" y="695"/>
                  <a:pt x="693" y="695"/>
                </a:cubicBezTo>
                <a:cubicBezTo>
                  <a:pt x="693" y="695"/>
                  <a:pt x="693" y="696"/>
                  <a:pt x="694" y="696"/>
                </a:cubicBezTo>
                <a:cubicBezTo>
                  <a:pt x="694" y="696"/>
                  <a:pt x="694" y="696"/>
                  <a:pt x="694" y="696"/>
                </a:cubicBezTo>
                <a:cubicBezTo>
                  <a:pt x="694" y="696"/>
                  <a:pt x="694" y="696"/>
                  <a:pt x="694" y="696"/>
                </a:cubicBezTo>
                <a:cubicBezTo>
                  <a:pt x="694" y="696"/>
                  <a:pt x="694" y="695"/>
                  <a:pt x="693" y="695"/>
                </a:cubicBezTo>
                <a:cubicBezTo>
                  <a:pt x="694" y="695"/>
                  <a:pt x="694" y="695"/>
                  <a:pt x="694" y="695"/>
                </a:cubicBezTo>
                <a:cubicBezTo>
                  <a:pt x="694" y="695"/>
                  <a:pt x="694" y="695"/>
                  <a:pt x="694" y="695"/>
                </a:cubicBezTo>
                <a:cubicBezTo>
                  <a:pt x="695" y="695"/>
                  <a:pt x="695" y="695"/>
                  <a:pt x="695" y="695"/>
                </a:cubicBezTo>
                <a:cubicBezTo>
                  <a:pt x="695" y="695"/>
                  <a:pt x="694" y="695"/>
                  <a:pt x="694" y="695"/>
                </a:cubicBezTo>
                <a:cubicBezTo>
                  <a:pt x="694" y="694"/>
                  <a:pt x="694" y="694"/>
                  <a:pt x="694" y="694"/>
                </a:cubicBezTo>
                <a:cubicBezTo>
                  <a:pt x="694" y="694"/>
                  <a:pt x="695" y="694"/>
                  <a:pt x="695" y="694"/>
                </a:cubicBezTo>
                <a:cubicBezTo>
                  <a:pt x="695" y="694"/>
                  <a:pt x="696" y="694"/>
                  <a:pt x="696" y="694"/>
                </a:cubicBezTo>
                <a:cubicBezTo>
                  <a:pt x="696" y="694"/>
                  <a:pt x="696" y="694"/>
                  <a:pt x="696" y="694"/>
                </a:cubicBezTo>
                <a:cubicBezTo>
                  <a:pt x="696" y="694"/>
                  <a:pt x="695" y="694"/>
                  <a:pt x="695" y="694"/>
                </a:cubicBezTo>
                <a:cubicBezTo>
                  <a:pt x="695" y="694"/>
                  <a:pt x="695" y="694"/>
                  <a:pt x="695" y="693"/>
                </a:cubicBezTo>
                <a:cubicBezTo>
                  <a:pt x="695" y="693"/>
                  <a:pt x="695" y="693"/>
                  <a:pt x="695" y="693"/>
                </a:cubicBezTo>
                <a:cubicBezTo>
                  <a:pt x="695" y="693"/>
                  <a:pt x="695" y="693"/>
                  <a:pt x="696" y="693"/>
                </a:cubicBezTo>
                <a:cubicBezTo>
                  <a:pt x="696" y="693"/>
                  <a:pt x="696" y="693"/>
                  <a:pt x="697" y="693"/>
                </a:cubicBezTo>
                <a:cubicBezTo>
                  <a:pt x="697" y="693"/>
                  <a:pt x="697" y="692"/>
                  <a:pt x="697" y="692"/>
                </a:cubicBezTo>
                <a:cubicBezTo>
                  <a:pt x="697" y="692"/>
                  <a:pt x="698" y="692"/>
                  <a:pt x="698" y="692"/>
                </a:cubicBezTo>
                <a:cubicBezTo>
                  <a:pt x="698" y="692"/>
                  <a:pt x="698" y="692"/>
                  <a:pt x="698" y="692"/>
                </a:cubicBezTo>
                <a:cubicBezTo>
                  <a:pt x="698" y="692"/>
                  <a:pt x="697" y="691"/>
                  <a:pt x="697" y="691"/>
                </a:cubicBezTo>
                <a:cubicBezTo>
                  <a:pt x="697" y="691"/>
                  <a:pt x="697" y="691"/>
                  <a:pt x="697" y="691"/>
                </a:cubicBezTo>
                <a:cubicBezTo>
                  <a:pt x="697" y="691"/>
                  <a:pt x="697" y="691"/>
                  <a:pt x="697" y="691"/>
                </a:cubicBezTo>
                <a:cubicBezTo>
                  <a:pt x="698" y="691"/>
                  <a:pt x="698" y="691"/>
                  <a:pt x="698" y="691"/>
                </a:cubicBezTo>
                <a:close/>
                <a:moveTo>
                  <a:pt x="355" y="457"/>
                </a:moveTo>
                <a:cubicBezTo>
                  <a:pt x="355" y="457"/>
                  <a:pt x="355" y="457"/>
                  <a:pt x="355" y="457"/>
                </a:cubicBezTo>
                <a:cubicBezTo>
                  <a:pt x="355" y="457"/>
                  <a:pt x="356" y="457"/>
                  <a:pt x="356" y="457"/>
                </a:cubicBezTo>
                <a:cubicBezTo>
                  <a:pt x="356" y="457"/>
                  <a:pt x="356" y="457"/>
                  <a:pt x="356" y="457"/>
                </a:cubicBezTo>
                <a:cubicBezTo>
                  <a:pt x="356" y="457"/>
                  <a:pt x="356" y="457"/>
                  <a:pt x="356" y="457"/>
                </a:cubicBezTo>
                <a:cubicBezTo>
                  <a:pt x="356" y="456"/>
                  <a:pt x="355" y="456"/>
                  <a:pt x="355" y="456"/>
                </a:cubicBezTo>
                <a:cubicBezTo>
                  <a:pt x="355" y="456"/>
                  <a:pt x="355" y="457"/>
                  <a:pt x="355" y="457"/>
                </a:cubicBezTo>
                <a:close/>
                <a:moveTo>
                  <a:pt x="420" y="436"/>
                </a:move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lose/>
                <a:moveTo>
                  <a:pt x="420" y="439"/>
                </a:moveTo>
                <a:cubicBezTo>
                  <a:pt x="420" y="439"/>
                  <a:pt x="420" y="439"/>
                  <a:pt x="420" y="438"/>
                </a:cubicBezTo>
                <a:cubicBezTo>
                  <a:pt x="420" y="438"/>
                  <a:pt x="420" y="438"/>
                  <a:pt x="420" y="438"/>
                </a:cubicBezTo>
                <a:cubicBezTo>
                  <a:pt x="420" y="438"/>
                  <a:pt x="420" y="439"/>
                  <a:pt x="420" y="439"/>
                </a:cubicBezTo>
                <a:close/>
                <a:moveTo>
                  <a:pt x="420" y="437"/>
                </a:move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lose/>
                <a:moveTo>
                  <a:pt x="357" y="459"/>
                </a:move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7" y="459"/>
                  <a:pt x="357" y="459"/>
                </a:cubicBezTo>
                <a:cubicBezTo>
                  <a:pt x="357" y="459"/>
                  <a:pt x="357" y="459"/>
                  <a:pt x="357" y="459"/>
                </a:cubicBezTo>
                <a:close/>
                <a:moveTo>
                  <a:pt x="667" y="468"/>
                </a:moveTo>
                <a:cubicBezTo>
                  <a:pt x="667" y="468"/>
                  <a:pt x="667" y="468"/>
                  <a:pt x="667" y="468"/>
                </a:cubicBezTo>
                <a:cubicBezTo>
                  <a:pt x="667" y="469"/>
                  <a:pt x="668" y="469"/>
                  <a:pt x="668" y="469"/>
                </a:cubicBezTo>
                <a:cubicBezTo>
                  <a:pt x="668" y="469"/>
                  <a:pt x="668" y="469"/>
                  <a:pt x="668" y="469"/>
                </a:cubicBezTo>
                <a:cubicBezTo>
                  <a:pt x="668" y="469"/>
                  <a:pt x="668" y="469"/>
                  <a:pt x="668" y="468"/>
                </a:cubicBezTo>
                <a:cubicBezTo>
                  <a:pt x="668" y="468"/>
                  <a:pt x="668" y="468"/>
                  <a:pt x="667" y="468"/>
                </a:cubicBezTo>
                <a:cubicBezTo>
                  <a:pt x="667" y="467"/>
                  <a:pt x="667" y="467"/>
                  <a:pt x="667" y="467"/>
                </a:cubicBezTo>
                <a:cubicBezTo>
                  <a:pt x="667" y="467"/>
                  <a:pt x="667" y="467"/>
                  <a:pt x="667" y="468"/>
                </a:cubicBezTo>
                <a:close/>
                <a:moveTo>
                  <a:pt x="668" y="477"/>
                </a:moveTo>
                <a:cubicBezTo>
                  <a:pt x="667" y="477"/>
                  <a:pt x="667" y="477"/>
                  <a:pt x="667" y="477"/>
                </a:cubicBezTo>
                <a:cubicBezTo>
                  <a:pt x="667" y="477"/>
                  <a:pt x="667" y="477"/>
                  <a:pt x="667" y="477"/>
                </a:cubicBezTo>
                <a:cubicBezTo>
                  <a:pt x="667" y="477"/>
                  <a:pt x="667" y="477"/>
                  <a:pt x="666" y="477"/>
                </a:cubicBezTo>
                <a:cubicBezTo>
                  <a:pt x="666" y="477"/>
                  <a:pt x="666" y="478"/>
                  <a:pt x="666" y="478"/>
                </a:cubicBezTo>
                <a:cubicBezTo>
                  <a:pt x="666" y="478"/>
                  <a:pt x="665" y="479"/>
                  <a:pt x="665" y="479"/>
                </a:cubicBezTo>
                <a:cubicBezTo>
                  <a:pt x="665" y="479"/>
                  <a:pt x="666" y="479"/>
                  <a:pt x="666" y="479"/>
                </a:cubicBezTo>
                <a:cubicBezTo>
                  <a:pt x="666" y="479"/>
                  <a:pt x="666" y="479"/>
                  <a:pt x="666" y="479"/>
                </a:cubicBezTo>
                <a:cubicBezTo>
                  <a:pt x="666" y="478"/>
                  <a:pt x="666" y="478"/>
                  <a:pt x="667" y="478"/>
                </a:cubicBezTo>
                <a:cubicBezTo>
                  <a:pt x="667" y="478"/>
                  <a:pt x="667" y="478"/>
                  <a:pt x="667" y="478"/>
                </a:cubicBezTo>
                <a:cubicBezTo>
                  <a:pt x="667" y="477"/>
                  <a:pt x="668" y="477"/>
                  <a:pt x="668" y="477"/>
                </a:cubicBezTo>
                <a:cubicBezTo>
                  <a:pt x="668" y="477"/>
                  <a:pt x="668" y="477"/>
                  <a:pt x="668" y="477"/>
                </a:cubicBezTo>
                <a:close/>
                <a:moveTo>
                  <a:pt x="673" y="476"/>
                </a:moveTo>
                <a:cubicBezTo>
                  <a:pt x="673" y="476"/>
                  <a:pt x="672" y="476"/>
                  <a:pt x="672" y="476"/>
                </a:cubicBezTo>
                <a:cubicBezTo>
                  <a:pt x="672" y="476"/>
                  <a:pt x="673" y="476"/>
                  <a:pt x="673" y="476"/>
                </a:cubicBezTo>
                <a:cubicBezTo>
                  <a:pt x="673" y="476"/>
                  <a:pt x="674" y="476"/>
                  <a:pt x="674" y="476"/>
                </a:cubicBezTo>
                <a:cubicBezTo>
                  <a:pt x="674" y="476"/>
                  <a:pt x="674" y="475"/>
                  <a:pt x="674" y="475"/>
                </a:cubicBezTo>
                <a:cubicBezTo>
                  <a:pt x="674" y="475"/>
                  <a:pt x="674" y="475"/>
                  <a:pt x="674" y="475"/>
                </a:cubicBezTo>
                <a:cubicBezTo>
                  <a:pt x="673" y="475"/>
                  <a:pt x="673" y="475"/>
                  <a:pt x="673" y="475"/>
                </a:cubicBezTo>
                <a:cubicBezTo>
                  <a:pt x="673" y="475"/>
                  <a:pt x="673" y="475"/>
                  <a:pt x="673" y="476"/>
                </a:cubicBezTo>
                <a:close/>
                <a:moveTo>
                  <a:pt x="666" y="479"/>
                </a:moveTo>
                <a:cubicBezTo>
                  <a:pt x="666" y="479"/>
                  <a:pt x="666" y="479"/>
                  <a:pt x="666" y="479"/>
                </a:cubicBezTo>
                <a:cubicBezTo>
                  <a:pt x="666" y="479"/>
                  <a:pt x="666" y="479"/>
                  <a:pt x="666" y="479"/>
                </a:cubicBezTo>
                <a:cubicBezTo>
                  <a:pt x="667" y="479"/>
                  <a:pt x="667" y="479"/>
                  <a:pt x="667" y="479"/>
                </a:cubicBezTo>
                <a:cubicBezTo>
                  <a:pt x="667" y="479"/>
                  <a:pt x="667" y="478"/>
                  <a:pt x="667" y="478"/>
                </a:cubicBezTo>
                <a:cubicBezTo>
                  <a:pt x="667" y="478"/>
                  <a:pt x="667" y="478"/>
                  <a:pt x="667" y="478"/>
                </a:cubicBezTo>
                <a:cubicBezTo>
                  <a:pt x="667" y="478"/>
                  <a:pt x="667" y="478"/>
                  <a:pt x="666" y="479"/>
                </a:cubicBezTo>
                <a:close/>
                <a:moveTo>
                  <a:pt x="669" y="475"/>
                </a:moveTo>
                <a:cubicBezTo>
                  <a:pt x="669" y="475"/>
                  <a:pt x="669" y="475"/>
                  <a:pt x="669" y="476"/>
                </a:cubicBezTo>
                <a:cubicBezTo>
                  <a:pt x="669" y="476"/>
                  <a:pt x="670" y="476"/>
                  <a:pt x="670" y="476"/>
                </a:cubicBezTo>
                <a:cubicBezTo>
                  <a:pt x="670" y="476"/>
                  <a:pt x="671" y="476"/>
                  <a:pt x="671" y="475"/>
                </a:cubicBezTo>
                <a:cubicBezTo>
                  <a:pt x="671" y="476"/>
                  <a:pt x="671" y="476"/>
                  <a:pt x="671" y="476"/>
                </a:cubicBezTo>
                <a:cubicBezTo>
                  <a:pt x="671" y="475"/>
                  <a:pt x="672" y="475"/>
                  <a:pt x="672" y="475"/>
                </a:cubicBezTo>
                <a:cubicBezTo>
                  <a:pt x="672" y="475"/>
                  <a:pt x="672" y="475"/>
                  <a:pt x="672" y="475"/>
                </a:cubicBezTo>
                <a:cubicBezTo>
                  <a:pt x="672" y="475"/>
                  <a:pt x="672" y="475"/>
                  <a:pt x="671" y="475"/>
                </a:cubicBezTo>
                <a:cubicBezTo>
                  <a:pt x="671" y="475"/>
                  <a:pt x="671" y="475"/>
                  <a:pt x="670" y="475"/>
                </a:cubicBezTo>
                <a:cubicBezTo>
                  <a:pt x="670" y="475"/>
                  <a:pt x="670" y="475"/>
                  <a:pt x="669" y="475"/>
                </a:cubicBezTo>
                <a:close/>
                <a:moveTo>
                  <a:pt x="669" y="474"/>
                </a:moveTo>
                <a:cubicBezTo>
                  <a:pt x="669" y="474"/>
                  <a:pt x="669" y="474"/>
                  <a:pt x="669" y="474"/>
                </a:cubicBezTo>
                <a:cubicBezTo>
                  <a:pt x="669" y="474"/>
                  <a:pt x="669" y="474"/>
                  <a:pt x="669" y="475"/>
                </a:cubicBezTo>
                <a:cubicBezTo>
                  <a:pt x="669" y="475"/>
                  <a:pt x="669" y="475"/>
                  <a:pt x="669" y="475"/>
                </a:cubicBezTo>
                <a:cubicBezTo>
                  <a:pt x="669" y="475"/>
                  <a:pt x="669" y="475"/>
                  <a:pt x="669" y="475"/>
                </a:cubicBezTo>
                <a:cubicBezTo>
                  <a:pt x="669" y="474"/>
                  <a:pt x="670" y="474"/>
                  <a:pt x="670" y="474"/>
                </a:cubicBezTo>
                <a:cubicBezTo>
                  <a:pt x="670" y="474"/>
                  <a:pt x="670" y="474"/>
                  <a:pt x="670" y="474"/>
                </a:cubicBezTo>
                <a:cubicBezTo>
                  <a:pt x="670" y="474"/>
                  <a:pt x="670" y="473"/>
                  <a:pt x="670" y="473"/>
                </a:cubicBezTo>
                <a:cubicBezTo>
                  <a:pt x="670" y="473"/>
                  <a:pt x="670" y="473"/>
                  <a:pt x="670" y="473"/>
                </a:cubicBezTo>
                <a:cubicBezTo>
                  <a:pt x="670" y="473"/>
                  <a:pt x="670" y="474"/>
                  <a:pt x="669" y="474"/>
                </a:cubicBezTo>
                <a:close/>
                <a:moveTo>
                  <a:pt x="747" y="494"/>
                </a:moveTo>
                <a:cubicBezTo>
                  <a:pt x="747" y="494"/>
                  <a:pt x="747" y="494"/>
                  <a:pt x="747" y="493"/>
                </a:cubicBezTo>
                <a:cubicBezTo>
                  <a:pt x="747" y="493"/>
                  <a:pt x="747" y="493"/>
                  <a:pt x="747" y="493"/>
                </a:cubicBezTo>
                <a:cubicBezTo>
                  <a:pt x="747" y="492"/>
                  <a:pt x="747" y="492"/>
                  <a:pt x="747" y="491"/>
                </a:cubicBezTo>
                <a:cubicBezTo>
                  <a:pt x="747" y="491"/>
                  <a:pt x="747" y="491"/>
                  <a:pt x="746" y="491"/>
                </a:cubicBezTo>
                <a:cubicBezTo>
                  <a:pt x="746" y="491"/>
                  <a:pt x="746" y="490"/>
                  <a:pt x="746" y="490"/>
                </a:cubicBezTo>
                <a:cubicBezTo>
                  <a:pt x="745" y="489"/>
                  <a:pt x="745" y="488"/>
                  <a:pt x="744" y="487"/>
                </a:cubicBezTo>
                <a:cubicBezTo>
                  <a:pt x="744" y="487"/>
                  <a:pt x="744" y="487"/>
                  <a:pt x="744" y="486"/>
                </a:cubicBezTo>
                <a:cubicBezTo>
                  <a:pt x="744" y="486"/>
                  <a:pt x="744" y="486"/>
                  <a:pt x="744" y="485"/>
                </a:cubicBezTo>
                <a:cubicBezTo>
                  <a:pt x="742" y="485"/>
                  <a:pt x="741" y="485"/>
                  <a:pt x="740" y="485"/>
                </a:cubicBezTo>
                <a:cubicBezTo>
                  <a:pt x="740" y="485"/>
                  <a:pt x="739" y="485"/>
                  <a:pt x="739" y="485"/>
                </a:cubicBezTo>
                <a:cubicBezTo>
                  <a:pt x="738" y="485"/>
                  <a:pt x="738" y="485"/>
                  <a:pt x="737" y="486"/>
                </a:cubicBezTo>
                <a:cubicBezTo>
                  <a:pt x="737" y="485"/>
                  <a:pt x="737" y="485"/>
                  <a:pt x="736" y="485"/>
                </a:cubicBezTo>
                <a:cubicBezTo>
                  <a:pt x="736" y="485"/>
                  <a:pt x="736" y="485"/>
                  <a:pt x="735" y="485"/>
                </a:cubicBezTo>
                <a:cubicBezTo>
                  <a:pt x="735" y="484"/>
                  <a:pt x="734" y="484"/>
                  <a:pt x="734" y="484"/>
                </a:cubicBezTo>
                <a:cubicBezTo>
                  <a:pt x="734" y="484"/>
                  <a:pt x="733" y="484"/>
                  <a:pt x="733" y="484"/>
                </a:cubicBezTo>
                <a:cubicBezTo>
                  <a:pt x="732" y="484"/>
                  <a:pt x="732" y="484"/>
                  <a:pt x="732" y="484"/>
                </a:cubicBezTo>
                <a:cubicBezTo>
                  <a:pt x="731" y="483"/>
                  <a:pt x="730" y="483"/>
                  <a:pt x="729" y="482"/>
                </a:cubicBezTo>
                <a:cubicBezTo>
                  <a:pt x="729" y="482"/>
                  <a:pt x="728" y="481"/>
                  <a:pt x="727" y="481"/>
                </a:cubicBezTo>
                <a:cubicBezTo>
                  <a:pt x="727" y="480"/>
                  <a:pt x="727" y="480"/>
                  <a:pt x="726" y="480"/>
                </a:cubicBezTo>
                <a:cubicBezTo>
                  <a:pt x="726" y="480"/>
                  <a:pt x="726" y="480"/>
                  <a:pt x="725" y="480"/>
                </a:cubicBezTo>
                <a:cubicBezTo>
                  <a:pt x="725" y="480"/>
                  <a:pt x="724" y="480"/>
                  <a:pt x="724" y="480"/>
                </a:cubicBezTo>
                <a:cubicBezTo>
                  <a:pt x="723" y="480"/>
                  <a:pt x="722" y="479"/>
                  <a:pt x="721" y="479"/>
                </a:cubicBezTo>
                <a:cubicBezTo>
                  <a:pt x="721" y="479"/>
                  <a:pt x="720" y="479"/>
                  <a:pt x="720" y="479"/>
                </a:cubicBezTo>
                <a:cubicBezTo>
                  <a:pt x="719" y="479"/>
                  <a:pt x="719" y="479"/>
                  <a:pt x="718" y="479"/>
                </a:cubicBezTo>
                <a:cubicBezTo>
                  <a:pt x="718" y="479"/>
                  <a:pt x="718" y="479"/>
                  <a:pt x="717" y="479"/>
                </a:cubicBezTo>
                <a:cubicBezTo>
                  <a:pt x="717" y="479"/>
                  <a:pt x="716" y="479"/>
                  <a:pt x="716" y="479"/>
                </a:cubicBezTo>
                <a:cubicBezTo>
                  <a:pt x="716" y="479"/>
                  <a:pt x="715" y="479"/>
                  <a:pt x="715" y="479"/>
                </a:cubicBezTo>
                <a:cubicBezTo>
                  <a:pt x="715" y="479"/>
                  <a:pt x="715" y="479"/>
                  <a:pt x="714" y="480"/>
                </a:cubicBezTo>
                <a:cubicBezTo>
                  <a:pt x="714" y="480"/>
                  <a:pt x="714" y="480"/>
                  <a:pt x="714" y="480"/>
                </a:cubicBezTo>
                <a:cubicBezTo>
                  <a:pt x="714" y="480"/>
                  <a:pt x="713" y="480"/>
                  <a:pt x="713" y="480"/>
                </a:cubicBezTo>
                <a:cubicBezTo>
                  <a:pt x="713" y="480"/>
                  <a:pt x="712" y="479"/>
                  <a:pt x="712" y="479"/>
                </a:cubicBezTo>
                <a:cubicBezTo>
                  <a:pt x="712" y="479"/>
                  <a:pt x="712" y="479"/>
                  <a:pt x="712" y="480"/>
                </a:cubicBezTo>
                <a:cubicBezTo>
                  <a:pt x="712" y="480"/>
                  <a:pt x="711" y="479"/>
                  <a:pt x="711" y="479"/>
                </a:cubicBezTo>
                <a:cubicBezTo>
                  <a:pt x="711" y="479"/>
                  <a:pt x="711" y="480"/>
                  <a:pt x="711" y="480"/>
                </a:cubicBezTo>
                <a:cubicBezTo>
                  <a:pt x="711" y="480"/>
                  <a:pt x="711" y="480"/>
                  <a:pt x="711" y="480"/>
                </a:cubicBezTo>
                <a:cubicBezTo>
                  <a:pt x="711" y="480"/>
                  <a:pt x="710" y="480"/>
                  <a:pt x="710" y="480"/>
                </a:cubicBezTo>
                <a:cubicBezTo>
                  <a:pt x="710" y="480"/>
                  <a:pt x="710" y="480"/>
                  <a:pt x="710" y="479"/>
                </a:cubicBezTo>
                <a:cubicBezTo>
                  <a:pt x="710" y="479"/>
                  <a:pt x="710" y="479"/>
                  <a:pt x="709" y="479"/>
                </a:cubicBezTo>
                <a:cubicBezTo>
                  <a:pt x="709" y="480"/>
                  <a:pt x="710" y="480"/>
                  <a:pt x="710" y="480"/>
                </a:cubicBezTo>
                <a:cubicBezTo>
                  <a:pt x="710" y="480"/>
                  <a:pt x="709" y="480"/>
                  <a:pt x="709" y="480"/>
                </a:cubicBezTo>
                <a:cubicBezTo>
                  <a:pt x="709" y="480"/>
                  <a:pt x="708" y="480"/>
                  <a:pt x="708" y="480"/>
                </a:cubicBezTo>
                <a:cubicBezTo>
                  <a:pt x="708" y="480"/>
                  <a:pt x="708" y="480"/>
                  <a:pt x="707" y="480"/>
                </a:cubicBezTo>
                <a:cubicBezTo>
                  <a:pt x="707" y="480"/>
                  <a:pt x="707" y="480"/>
                  <a:pt x="706" y="480"/>
                </a:cubicBezTo>
                <a:cubicBezTo>
                  <a:pt x="705" y="480"/>
                  <a:pt x="704" y="480"/>
                  <a:pt x="703" y="479"/>
                </a:cubicBezTo>
                <a:cubicBezTo>
                  <a:pt x="703" y="479"/>
                  <a:pt x="703" y="479"/>
                  <a:pt x="702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3" y="480"/>
                  <a:pt x="703" y="480"/>
                  <a:pt x="703" y="480"/>
                </a:cubicBezTo>
                <a:cubicBezTo>
                  <a:pt x="703" y="480"/>
                  <a:pt x="703" y="480"/>
                  <a:pt x="703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80"/>
                  <a:pt x="702" y="481"/>
                  <a:pt x="702" y="481"/>
                </a:cubicBezTo>
                <a:cubicBezTo>
                  <a:pt x="701" y="481"/>
                  <a:pt x="701" y="481"/>
                  <a:pt x="701" y="481"/>
                </a:cubicBezTo>
                <a:cubicBezTo>
                  <a:pt x="701" y="481"/>
                  <a:pt x="701" y="481"/>
                  <a:pt x="701" y="482"/>
                </a:cubicBezTo>
                <a:cubicBezTo>
                  <a:pt x="701" y="482"/>
                  <a:pt x="701" y="482"/>
                  <a:pt x="701" y="482"/>
                </a:cubicBezTo>
                <a:cubicBezTo>
                  <a:pt x="700" y="482"/>
                  <a:pt x="700" y="482"/>
                  <a:pt x="700" y="482"/>
                </a:cubicBezTo>
                <a:cubicBezTo>
                  <a:pt x="700" y="482"/>
                  <a:pt x="700" y="482"/>
                  <a:pt x="700" y="481"/>
                </a:cubicBezTo>
                <a:cubicBezTo>
                  <a:pt x="699" y="481"/>
                  <a:pt x="699" y="482"/>
                  <a:pt x="699" y="482"/>
                </a:cubicBezTo>
                <a:cubicBezTo>
                  <a:pt x="699" y="482"/>
                  <a:pt x="699" y="482"/>
                  <a:pt x="699" y="482"/>
                </a:cubicBezTo>
                <a:cubicBezTo>
                  <a:pt x="699" y="483"/>
                  <a:pt x="699" y="483"/>
                  <a:pt x="699" y="484"/>
                </a:cubicBezTo>
                <a:cubicBezTo>
                  <a:pt x="699" y="484"/>
                  <a:pt x="699" y="484"/>
                  <a:pt x="699" y="485"/>
                </a:cubicBezTo>
                <a:cubicBezTo>
                  <a:pt x="699" y="484"/>
                  <a:pt x="699" y="484"/>
                  <a:pt x="698" y="484"/>
                </a:cubicBezTo>
                <a:cubicBezTo>
                  <a:pt x="698" y="483"/>
                  <a:pt x="699" y="483"/>
                  <a:pt x="699" y="483"/>
                </a:cubicBezTo>
                <a:cubicBezTo>
                  <a:pt x="698" y="482"/>
                  <a:pt x="698" y="482"/>
                  <a:pt x="698" y="482"/>
                </a:cubicBezTo>
                <a:cubicBezTo>
                  <a:pt x="698" y="481"/>
                  <a:pt x="698" y="481"/>
                  <a:pt x="699" y="481"/>
                </a:cubicBezTo>
                <a:cubicBezTo>
                  <a:pt x="699" y="481"/>
                  <a:pt x="699" y="480"/>
                  <a:pt x="699" y="480"/>
                </a:cubicBezTo>
                <a:cubicBezTo>
                  <a:pt x="699" y="480"/>
                  <a:pt x="699" y="480"/>
                  <a:pt x="699" y="480"/>
                </a:cubicBezTo>
                <a:cubicBezTo>
                  <a:pt x="698" y="480"/>
                  <a:pt x="698" y="480"/>
                  <a:pt x="698" y="480"/>
                </a:cubicBezTo>
                <a:cubicBezTo>
                  <a:pt x="698" y="480"/>
                  <a:pt x="698" y="480"/>
                  <a:pt x="699" y="479"/>
                </a:cubicBezTo>
                <a:cubicBezTo>
                  <a:pt x="698" y="479"/>
                  <a:pt x="698" y="479"/>
                  <a:pt x="697" y="478"/>
                </a:cubicBezTo>
                <a:cubicBezTo>
                  <a:pt x="697" y="478"/>
                  <a:pt x="697" y="478"/>
                  <a:pt x="696" y="478"/>
                </a:cubicBezTo>
                <a:cubicBezTo>
                  <a:pt x="696" y="478"/>
                  <a:pt x="696" y="478"/>
                  <a:pt x="696" y="478"/>
                </a:cubicBezTo>
                <a:cubicBezTo>
                  <a:pt x="695" y="478"/>
                  <a:pt x="695" y="478"/>
                  <a:pt x="694" y="478"/>
                </a:cubicBezTo>
                <a:cubicBezTo>
                  <a:pt x="694" y="478"/>
                  <a:pt x="694" y="478"/>
                  <a:pt x="694" y="478"/>
                </a:cubicBezTo>
                <a:cubicBezTo>
                  <a:pt x="694" y="479"/>
                  <a:pt x="694" y="479"/>
                  <a:pt x="693" y="479"/>
                </a:cubicBezTo>
                <a:cubicBezTo>
                  <a:pt x="693" y="479"/>
                  <a:pt x="693" y="478"/>
                  <a:pt x="693" y="478"/>
                </a:cubicBezTo>
                <a:cubicBezTo>
                  <a:pt x="693" y="478"/>
                  <a:pt x="693" y="478"/>
                  <a:pt x="692" y="478"/>
                </a:cubicBezTo>
                <a:cubicBezTo>
                  <a:pt x="692" y="478"/>
                  <a:pt x="692" y="478"/>
                  <a:pt x="692" y="478"/>
                </a:cubicBezTo>
                <a:cubicBezTo>
                  <a:pt x="692" y="478"/>
                  <a:pt x="692" y="477"/>
                  <a:pt x="692" y="477"/>
                </a:cubicBezTo>
                <a:cubicBezTo>
                  <a:pt x="691" y="477"/>
                  <a:pt x="691" y="477"/>
                  <a:pt x="691" y="478"/>
                </a:cubicBezTo>
                <a:cubicBezTo>
                  <a:pt x="691" y="477"/>
                  <a:pt x="691" y="477"/>
                  <a:pt x="690" y="477"/>
                </a:cubicBezTo>
                <a:cubicBezTo>
                  <a:pt x="690" y="477"/>
                  <a:pt x="690" y="477"/>
                  <a:pt x="690" y="477"/>
                </a:cubicBezTo>
                <a:cubicBezTo>
                  <a:pt x="690" y="477"/>
                  <a:pt x="689" y="477"/>
                  <a:pt x="689" y="478"/>
                </a:cubicBezTo>
                <a:cubicBezTo>
                  <a:pt x="689" y="477"/>
                  <a:pt x="689" y="477"/>
                  <a:pt x="689" y="477"/>
                </a:cubicBezTo>
                <a:cubicBezTo>
                  <a:pt x="689" y="477"/>
                  <a:pt x="689" y="477"/>
                  <a:pt x="689" y="477"/>
                </a:cubicBezTo>
                <a:cubicBezTo>
                  <a:pt x="689" y="477"/>
                  <a:pt x="688" y="477"/>
                  <a:pt x="688" y="477"/>
                </a:cubicBezTo>
                <a:cubicBezTo>
                  <a:pt x="688" y="477"/>
                  <a:pt x="688" y="477"/>
                  <a:pt x="688" y="477"/>
                </a:cubicBezTo>
                <a:cubicBezTo>
                  <a:pt x="687" y="477"/>
                  <a:pt x="687" y="477"/>
                  <a:pt x="687" y="477"/>
                </a:cubicBezTo>
                <a:cubicBezTo>
                  <a:pt x="686" y="477"/>
                  <a:pt x="686" y="477"/>
                  <a:pt x="685" y="476"/>
                </a:cubicBezTo>
                <a:cubicBezTo>
                  <a:pt x="685" y="476"/>
                  <a:pt x="685" y="476"/>
                  <a:pt x="685" y="476"/>
                </a:cubicBezTo>
                <a:cubicBezTo>
                  <a:pt x="685" y="477"/>
                  <a:pt x="685" y="477"/>
                  <a:pt x="685" y="477"/>
                </a:cubicBezTo>
                <a:cubicBezTo>
                  <a:pt x="684" y="477"/>
                  <a:pt x="684" y="477"/>
                  <a:pt x="684" y="476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2" y="477"/>
                  <a:pt x="682" y="477"/>
                  <a:pt x="682" y="477"/>
                </a:cubicBezTo>
                <a:cubicBezTo>
                  <a:pt x="682" y="477"/>
                  <a:pt x="681" y="477"/>
                  <a:pt x="681" y="477"/>
                </a:cubicBezTo>
                <a:cubicBezTo>
                  <a:pt x="681" y="477"/>
                  <a:pt x="681" y="477"/>
                  <a:pt x="680" y="477"/>
                </a:cubicBezTo>
                <a:cubicBezTo>
                  <a:pt x="680" y="478"/>
                  <a:pt x="680" y="478"/>
                  <a:pt x="680" y="478"/>
                </a:cubicBezTo>
                <a:cubicBezTo>
                  <a:pt x="680" y="478"/>
                  <a:pt x="680" y="478"/>
                  <a:pt x="680" y="479"/>
                </a:cubicBezTo>
                <a:cubicBezTo>
                  <a:pt x="680" y="479"/>
                  <a:pt x="679" y="479"/>
                  <a:pt x="679" y="480"/>
                </a:cubicBezTo>
                <a:cubicBezTo>
                  <a:pt x="679" y="480"/>
                  <a:pt x="678" y="480"/>
                  <a:pt x="678" y="480"/>
                </a:cubicBezTo>
                <a:cubicBezTo>
                  <a:pt x="677" y="481"/>
                  <a:pt x="677" y="481"/>
                  <a:pt x="676" y="481"/>
                </a:cubicBezTo>
                <a:cubicBezTo>
                  <a:pt x="676" y="482"/>
                  <a:pt x="676" y="482"/>
                  <a:pt x="676" y="482"/>
                </a:cubicBezTo>
                <a:cubicBezTo>
                  <a:pt x="675" y="483"/>
                  <a:pt x="675" y="483"/>
                  <a:pt x="675" y="483"/>
                </a:cubicBezTo>
                <a:cubicBezTo>
                  <a:pt x="675" y="484"/>
                  <a:pt x="675" y="484"/>
                  <a:pt x="675" y="485"/>
                </a:cubicBezTo>
                <a:cubicBezTo>
                  <a:pt x="675" y="485"/>
                  <a:pt x="675" y="485"/>
                  <a:pt x="675" y="485"/>
                </a:cubicBezTo>
                <a:cubicBezTo>
                  <a:pt x="675" y="485"/>
                  <a:pt x="674" y="486"/>
                  <a:pt x="674" y="486"/>
                </a:cubicBezTo>
                <a:cubicBezTo>
                  <a:pt x="674" y="486"/>
                  <a:pt x="674" y="486"/>
                  <a:pt x="674" y="486"/>
                </a:cubicBezTo>
                <a:cubicBezTo>
                  <a:pt x="674" y="487"/>
                  <a:pt x="675" y="487"/>
                  <a:pt x="675" y="487"/>
                </a:cubicBezTo>
                <a:cubicBezTo>
                  <a:pt x="675" y="488"/>
                  <a:pt x="675" y="488"/>
                  <a:pt x="675" y="488"/>
                </a:cubicBezTo>
                <a:cubicBezTo>
                  <a:pt x="675" y="488"/>
                  <a:pt x="674" y="488"/>
                  <a:pt x="674" y="488"/>
                </a:cubicBezTo>
                <a:cubicBezTo>
                  <a:pt x="674" y="487"/>
                  <a:pt x="674" y="487"/>
                  <a:pt x="673" y="487"/>
                </a:cubicBezTo>
                <a:cubicBezTo>
                  <a:pt x="673" y="487"/>
                  <a:pt x="673" y="487"/>
                  <a:pt x="673" y="486"/>
                </a:cubicBezTo>
                <a:cubicBezTo>
                  <a:pt x="674" y="486"/>
                  <a:pt x="674" y="486"/>
                  <a:pt x="674" y="486"/>
                </a:cubicBezTo>
                <a:cubicBezTo>
                  <a:pt x="674" y="485"/>
                  <a:pt x="674" y="485"/>
                  <a:pt x="675" y="485"/>
                </a:cubicBezTo>
                <a:cubicBezTo>
                  <a:pt x="675" y="485"/>
                  <a:pt x="674" y="484"/>
                  <a:pt x="674" y="484"/>
                </a:cubicBezTo>
                <a:cubicBezTo>
                  <a:pt x="674" y="484"/>
                  <a:pt x="674" y="483"/>
                  <a:pt x="675" y="483"/>
                </a:cubicBezTo>
                <a:cubicBezTo>
                  <a:pt x="675" y="483"/>
                  <a:pt x="674" y="483"/>
                  <a:pt x="674" y="483"/>
                </a:cubicBezTo>
                <a:cubicBezTo>
                  <a:pt x="674" y="483"/>
                  <a:pt x="674" y="483"/>
                  <a:pt x="674" y="483"/>
                </a:cubicBezTo>
                <a:cubicBezTo>
                  <a:pt x="673" y="483"/>
                  <a:pt x="673" y="483"/>
                  <a:pt x="673" y="483"/>
                </a:cubicBezTo>
                <a:cubicBezTo>
                  <a:pt x="672" y="483"/>
                  <a:pt x="672" y="483"/>
                  <a:pt x="671" y="483"/>
                </a:cubicBezTo>
                <a:cubicBezTo>
                  <a:pt x="671" y="483"/>
                  <a:pt x="671" y="483"/>
                  <a:pt x="670" y="483"/>
                </a:cubicBezTo>
                <a:cubicBezTo>
                  <a:pt x="670" y="483"/>
                  <a:pt x="670" y="484"/>
                  <a:pt x="670" y="484"/>
                </a:cubicBezTo>
                <a:cubicBezTo>
                  <a:pt x="669" y="484"/>
                  <a:pt x="669" y="484"/>
                  <a:pt x="669" y="483"/>
                </a:cubicBezTo>
                <a:cubicBezTo>
                  <a:pt x="669" y="483"/>
                  <a:pt x="669" y="483"/>
                  <a:pt x="670" y="483"/>
                </a:cubicBezTo>
                <a:cubicBezTo>
                  <a:pt x="670" y="483"/>
                  <a:pt x="670" y="483"/>
                  <a:pt x="670" y="483"/>
                </a:cubicBezTo>
                <a:cubicBezTo>
                  <a:pt x="671" y="483"/>
                  <a:pt x="671" y="483"/>
                  <a:pt x="671" y="482"/>
                </a:cubicBezTo>
                <a:cubicBezTo>
                  <a:pt x="672" y="482"/>
                  <a:pt x="672" y="482"/>
                  <a:pt x="673" y="482"/>
                </a:cubicBezTo>
                <a:cubicBezTo>
                  <a:pt x="673" y="482"/>
                  <a:pt x="673" y="482"/>
                  <a:pt x="673" y="482"/>
                </a:cubicBezTo>
                <a:cubicBezTo>
                  <a:pt x="674" y="482"/>
                  <a:pt x="674" y="482"/>
                  <a:pt x="674" y="481"/>
                </a:cubicBezTo>
                <a:cubicBezTo>
                  <a:pt x="674" y="481"/>
                  <a:pt x="674" y="481"/>
                  <a:pt x="674" y="481"/>
                </a:cubicBezTo>
                <a:cubicBezTo>
                  <a:pt x="675" y="481"/>
                  <a:pt x="675" y="481"/>
                  <a:pt x="675" y="481"/>
                </a:cubicBezTo>
                <a:cubicBezTo>
                  <a:pt x="675" y="481"/>
                  <a:pt x="675" y="481"/>
                  <a:pt x="675" y="481"/>
                </a:cubicBezTo>
                <a:cubicBezTo>
                  <a:pt x="676" y="481"/>
                  <a:pt x="676" y="481"/>
                  <a:pt x="676" y="481"/>
                </a:cubicBezTo>
                <a:cubicBezTo>
                  <a:pt x="677" y="481"/>
                  <a:pt x="677" y="480"/>
                  <a:pt x="677" y="480"/>
                </a:cubicBezTo>
                <a:cubicBezTo>
                  <a:pt x="677" y="480"/>
                  <a:pt x="677" y="480"/>
                  <a:pt x="677" y="479"/>
                </a:cubicBezTo>
                <a:cubicBezTo>
                  <a:pt x="678" y="479"/>
                  <a:pt x="678" y="478"/>
                  <a:pt x="678" y="478"/>
                </a:cubicBezTo>
                <a:cubicBezTo>
                  <a:pt x="678" y="478"/>
                  <a:pt x="678" y="477"/>
                  <a:pt x="678" y="477"/>
                </a:cubicBezTo>
                <a:cubicBezTo>
                  <a:pt x="678" y="477"/>
                  <a:pt x="678" y="477"/>
                  <a:pt x="679" y="477"/>
                </a:cubicBezTo>
                <a:cubicBezTo>
                  <a:pt x="679" y="476"/>
                  <a:pt x="679" y="476"/>
                  <a:pt x="679" y="476"/>
                </a:cubicBezTo>
                <a:cubicBezTo>
                  <a:pt x="678" y="476"/>
                  <a:pt x="678" y="476"/>
                  <a:pt x="677" y="476"/>
                </a:cubicBezTo>
                <a:cubicBezTo>
                  <a:pt x="677" y="476"/>
                  <a:pt x="676" y="476"/>
                  <a:pt x="676" y="475"/>
                </a:cubicBezTo>
                <a:cubicBezTo>
                  <a:pt x="676" y="476"/>
                  <a:pt x="675" y="476"/>
                  <a:pt x="675" y="476"/>
                </a:cubicBezTo>
                <a:cubicBezTo>
                  <a:pt x="675" y="476"/>
                  <a:pt x="674" y="476"/>
                  <a:pt x="674" y="476"/>
                </a:cubicBezTo>
                <a:cubicBezTo>
                  <a:pt x="673" y="477"/>
                  <a:pt x="673" y="477"/>
                  <a:pt x="673" y="477"/>
                </a:cubicBezTo>
                <a:cubicBezTo>
                  <a:pt x="672" y="477"/>
                  <a:pt x="671" y="477"/>
                  <a:pt x="671" y="476"/>
                </a:cubicBezTo>
                <a:cubicBezTo>
                  <a:pt x="670" y="477"/>
                  <a:pt x="670" y="477"/>
                  <a:pt x="669" y="477"/>
                </a:cubicBezTo>
                <a:cubicBezTo>
                  <a:pt x="669" y="477"/>
                  <a:pt x="668" y="478"/>
                  <a:pt x="668" y="478"/>
                </a:cubicBezTo>
                <a:cubicBezTo>
                  <a:pt x="668" y="478"/>
                  <a:pt x="668" y="478"/>
                  <a:pt x="668" y="478"/>
                </a:cubicBezTo>
                <a:cubicBezTo>
                  <a:pt x="668" y="478"/>
                  <a:pt x="668" y="478"/>
                  <a:pt x="669" y="479"/>
                </a:cubicBezTo>
                <a:cubicBezTo>
                  <a:pt x="669" y="479"/>
                  <a:pt x="669" y="479"/>
                  <a:pt x="669" y="479"/>
                </a:cubicBezTo>
                <a:cubicBezTo>
                  <a:pt x="669" y="479"/>
                  <a:pt x="669" y="479"/>
                  <a:pt x="668" y="479"/>
                </a:cubicBezTo>
                <a:cubicBezTo>
                  <a:pt x="668" y="479"/>
                  <a:pt x="668" y="479"/>
                  <a:pt x="668" y="479"/>
                </a:cubicBezTo>
                <a:cubicBezTo>
                  <a:pt x="668" y="479"/>
                  <a:pt x="668" y="480"/>
                  <a:pt x="668" y="480"/>
                </a:cubicBezTo>
                <a:cubicBezTo>
                  <a:pt x="668" y="480"/>
                  <a:pt x="667" y="480"/>
                  <a:pt x="667" y="479"/>
                </a:cubicBezTo>
                <a:cubicBezTo>
                  <a:pt x="667" y="479"/>
                  <a:pt x="667" y="479"/>
                  <a:pt x="667" y="479"/>
                </a:cubicBezTo>
                <a:cubicBezTo>
                  <a:pt x="667" y="480"/>
                  <a:pt x="666" y="480"/>
                  <a:pt x="666" y="480"/>
                </a:cubicBezTo>
                <a:cubicBezTo>
                  <a:pt x="666" y="480"/>
                  <a:pt x="665" y="481"/>
                  <a:pt x="665" y="481"/>
                </a:cubicBezTo>
                <a:cubicBezTo>
                  <a:pt x="665" y="482"/>
                  <a:pt x="664" y="482"/>
                  <a:pt x="664" y="483"/>
                </a:cubicBezTo>
                <a:cubicBezTo>
                  <a:pt x="664" y="482"/>
                  <a:pt x="664" y="482"/>
                  <a:pt x="665" y="481"/>
                </a:cubicBezTo>
                <a:cubicBezTo>
                  <a:pt x="665" y="481"/>
                  <a:pt x="665" y="481"/>
                  <a:pt x="665" y="481"/>
                </a:cubicBezTo>
                <a:cubicBezTo>
                  <a:pt x="665" y="480"/>
                  <a:pt x="665" y="480"/>
                  <a:pt x="665" y="480"/>
                </a:cubicBezTo>
                <a:cubicBezTo>
                  <a:pt x="665" y="480"/>
                  <a:pt x="665" y="480"/>
                  <a:pt x="665" y="480"/>
                </a:cubicBezTo>
                <a:cubicBezTo>
                  <a:pt x="665" y="480"/>
                  <a:pt x="664" y="480"/>
                  <a:pt x="664" y="480"/>
                </a:cubicBezTo>
                <a:cubicBezTo>
                  <a:pt x="664" y="480"/>
                  <a:pt x="664" y="480"/>
                  <a:pt x="663" y="480"/>
                </a:cubicBezTo>
                <a:cubicBezTo>
                  <a:pt x="663" y="481"/>
                  <a:pt x="663" y="481"/>
                  <a:pt x="663" y="481"/>
                </a:cubicBezTo>
                <a:cubicBezTo>
                  <a:pt x="663" y="482"/>
                  <a:pt x="663" y="482"/>
                  <a:pt x="663" y="482"/>
                </a:cubicBezTo>
                <a:cubicBezTo>
                  <a:pt x="663" y="483"/>
                  <a:pt x="662" y="483"/>
                  <a:pt x="662" y="483"/>
                </a:cubicBezTo>
                <a:cubicBezTo>
                  <a:pt x="662" y="483"/>
                  <a:pt x="662" y="482"/>
                  <a:pt x="663" y="482"/>
                </a:cubicBezTo>
                <a:cubicBezTo>
                  <a:pt x="663" y="481"/>
                  <a:pt x="663" y="481"/>
                  <a:pt x="663" y="481"/>
                </a:cubicBezTo>
                <a:cubicBezTo>
                  <a:pt x="663" y="480"/>
                  <a:pt x="663" y="480"/>
                  <a:pt x="664" y="479"/>
                </a:cubicBezTo>
                <a:cubicBezTo>
                  <a:pt x="664" y="479"/>
                  <a:pt x="664" y="478"/>
                  <a:pt x="664" y="478"/>
                </a:cubicBezTo>
                <a:cubicBezTo>
                  <a:pt x="664" y="478"/>
                  <a:pt x="664" y="477"/>
                  <a:pt x="665" y="477"/>
                </a:cubicBezTo>
                <a:cubicBezTo>
                  <a:pt x="665" y="477"/>
                  <a:pt x="665" y="477"/>
                  <a:pt x="665" y="477"/>
                </a:cubicBezTo>
                <a:cubicBezTo>
                  <a:pt x="666" y="476"/>
                  <a:pt x="666" y="476"/>
                  <a:pt x="666" y="476"/>
                </a:cubicBezTo>
                <a:cubicBezTo>
                  <a:pt x="667" y="476"/>
                  <a:pt x="667" y="476"/>
                  <a:pt x="667" y="475"/>
                </a:cubicBezTo>
                <a:cubicBezTo>
                  <a:pt x="667" y="475"/>
                  <a:pt x="668" y="475"/>
                  <a:pt x="668" y="474"/>
                </a:cubicBezTo>
                <a:cubicBezTo>
                  <a:pt x="668" y="474"/>
                  <a:pt x="669" y="473"/>
                  <a:pt x="670" y="472"/>
                </a:cubicBezTo>
                <a:cubicBezTo>
                  <a:pt x="670" y="472"/>
                  <a:pt x="670" y="472"/>
                  <a:pt x="670" y="472"/>
                </a:cubicBezTo>
                <a:cubicBezTo>
                  <a:pt x="670" y="472"/>
                  <a:pt x="670" y="471"/>
                  <a:pt x="670" y="471"/>
                </a:cubicBezTo>
                <a:cubicBezTo>
                  <a:pt x="670" y="471"/>
                  <a:pt x="670" y="471"/>
                  <a:pt x="670" y="471"/>
                </a:cubicBezTo>
                <a:cubicBezTo>
                  <a:pt x="670" y="471"/>
                  <a:pt x="670" y="471"/>
                  <a:pt x="670" y="470"/>
                </a:cubicBezTo>
                <a:cubicBezTo>
                  <a:pt x="670" y="470"/>
                  <a:pt x="670" y="470"/>
                  <a:pt x="670" y="470"/>
                </a:cubicBezTo>
                <a:cubicBezTo>
                  <a:pt x="670" y="470"/>
                  <a:pt x="670" y="470"/>
                  <a:pt x="670" y="469"/>
                </a:cubicBezTo>
                <a:cubicBezTo>
                  <a:pt x="670" y="469"/>
                  <a:pt x="669" y="469"/>
                  <a:pt x="669" y="469"/>
                </a:cubicBezTo>
                <a:cubicBezTo>
                  <a:pt x="669" y="469"/>
                  <a:pt x="668" y="469"/>
                  <a:pt x="668" y="469"/>
                </a:cubicBezTo>
                <a:cubicBezTo>
                  <a:pt x="668" y="469"/>
                  <a:pt x="668" y="470"/>
                  <a:pt x="668" y="470"/>
                </a:cubicBezTo>
                <a:cubicBezTo>
                  <a:pt x="667" y="469"/>
                  <a:pt x="667" y="469"/>
                  <a:pt x="667" y="469"/>
                </a:cubicBezTo>
                <a:cubicBezTo>
                  <a:pt x="667" y="469"/>
                  <a:pt x="666" y="468"/>
                  <a:pt x="666" y="468"/>
                </a:cubicBezTo>
                <a:cubicBezTo>
                  <a:pt x="666" y="467"/>
                  <a:pt x="665" y="467"/>
                  <a:pt x="665" y="466"/>
                </a:cubicBezTo>
                <a:cubicBezTo>
                  <a:pt x="664" y="466"/>
                  <a:pt x="664" y="465"/>
                  <a:pt x="664" y="465"/>
                </a:cubicBezTo>
                <a:cubicBezTo>
                  <a:pt x="663" y="465"/>
                  <a:pt x="663" y="464"/>
                  <a:pt x="663" y="464"/>
                </a:cubicBezTo>
                <a:cubicBezTo>
                  <a:pt x="663" y="464"/>
                  <a:pt x="663" y="463"/>
                  <a:pt x="663" y="463"/>
                </a:cubicBezTo>
                <a:cubicBezTo>
                  <a:pt x="662" y="463"/>
                  <a:pt x="662" y="463"/>
                  <a:pt x="662" y="462"/>
                </a:cubicBezTo>
                <a:cubicBezTo>
                  <a:pt x="662" y="462"/>
                  <a:pt x="662" y="462"/>
                  <a:pt x="662" y="462"/>
                </a:cubicBezTo>
                <a:cubicBezTo>
                  <a:pt x="662" y="462"/>
                  <a:pt x="661" y="462"/>
                  <a:pt x="661" y="462"/>
                </a:cubicBezTo>
                <a:cubicBezTo>
                  <a:pt x="661" y="461"/>
                  <a:pt x="661" y="461"/>
                  <a:pt x="661" y="461"/>
                </a:cubicBezTo>
                <a:cubicBezTo>
                  <a:pt x="661" y="461"/>
                  <a:pt x="660" y="461"/>
                  <a:pt x="660" y="461"/>
                </a:cubicBezTo>
                <a:cubicBezTo>
                  <a:pt x="660" y="461"/>
                  <a:pt x="661" y="461"/>
                  <a:pt x="661" y="461"/>
                </a:cubicBezTo>
                <a:cubicBezTo>
                  <a:pt x="660" y="462"/>
                  <a:pt x="660" y="462"/>
                  <a:pt x="660" y="462"/>
                </a:cubicBezTo>
                <a:cubicBezTo>
                  <a:pt x="660" y="462"/>
                  <a:pt x="660" y="462"/>
                  <a:pt x="659" y="463"/>
                </a:cubicBezTo>
                <a:cubicBezTo>
                  <a:pt x="659" y="462"/>
                  <a:pt x="660" y="462"/>
                  <a:pt x="660" y="462"/>
                </a:cubicBezTo>
                <a:cubicBezTo>
                  <a:pt x="660" y="461"/>
                  <a:pt x="660" y="461"/>
                  <a:pt x="660" y="461"/>
                </a:cubicBezTo>
                <a:cubicBezTo>
                  <a:pt x="659" y="461"/>
                  <a:pt x="659" y="460"/>
                  <a:pt x="659" y="460"/>
                </a:cubicBezTo>
                <a:cubicBezTo>
                  <a:pt x="659" y="460"/>
                  <a:pt x="658" y="461"/>
                  <a:pt x="658" y="461"/>
                </a:cubicBezTo>
                <a:cubicBezTo>
                  <a:pt x="658" y="461"/>
                  <a:pt x="658" y="460"/>
                  <a:pt x="658" y="460"/>
                </a:cubicBezTo>
                <a:cubicBezTo>
                  <a:pt x="658" y="460"/>
                  <a:pt x="658" y="460"/>
                  <a:pt x="657" y="460"/>
                </a:cubicBezTo>
                <a:cubicBezTo>
                  <a:pt x="657" y="459"/>
                  <a:pt x="656" y="459"/>
                  <a:pt x="656" y="459"/>
                </a:cubicBezTo>
                <a:cubicBezTo>
                  <a:pt x="655" y="459"/>
                  <a:pt x="655" y="459"/>
                  <a:pt x="655" y="459"/>
                </a:cubicBezTo>
                <a:cubicBezTo>
                  <a:pt x="655" y="459"/>
                  <a:pt x="654" y="458"/>
                  <a:pt x="654" y="458"/>
                </a:cubicBezTo>
                <a:cubicBezTo>
                  <a:pt x="653" y="458"/>
                  <a:pt x="652" y="458"/>
                  <a:pt x="651" y="458"/>
                </a:cubicBezTo>
                <a:cubicBezTo>
                  <a:pt x="650" y="458"/>
                  <a:pt x="650" y="458"/>
                  <a:pt x="650" y="458"/>
                </a:cubicBezTo>
                <a:cubicBezTo>
                  <a:pt x="649" y="458"/>
                  <a:pt x="649" y="458"/>
                  <a:pt x="648" y="458"/>
                </a:cubicBezTo>
                <a:cubicBezTo>
                  <a:pt x="648" y="458"/>
                  <a:pt x="648" y="458"/>
                  <a:pt x="647" y="459"/>
                </a:cubicBezTo>
                <a:cubicBezTo>
                  <a:pt x="647" y="459"/>
                  <a:pt x="647" y="459"/>
                  <a:pt x="647" y="459"/>
                </a:cubicBezTo>
                <a:cubicBezTo>
                  <a:pt x="647" y="459"/>
                  <a:pt x="647" y="459"/>
                  <a:pt x="647" y="459"/>
                </a:cubicBezTo>
                <a:cubicBezTo>
                  <a:pt x="647" y="459"/>
                  <a:pt x="647" y="458"/>
                  <a:pt x="647" y="458"/>
                </a:cubicBezTo>
                <a:cubicBezTo>
                  <a:pt x="647" y="458"/>
                  <a:pt x="647" y="458"/>
                  <a:pt x="647" y="458"/>
                </a:cubicBezTo>
                <a:cubicBezTo>
                  <a:pt x="647" y="457"/>
                  <a:pt x="646" y="457"/>
                  <a:pt x="646" y="457"/>
                </a:cubicBezTo>
                <a:cubicBezTo>
                  <a:pt x="646" y="457"/>
                  <a:pt x="645" y="457"/>
                  <a:pt x="644" y="457"/>
                </a:cubicBezTo>
                <a:cubicBezTo>
                  <a:pt x="644" y="457"/>
                  <a:pt x="643" y="457"/>
                  <a:pt x="642" y="457"/>
                </a:cubicBezTo>
                <a:cubicBezTo>
                  <a:pt x="642" y="457"/>
                  <a:pt x="642" y="457"/>
                  <a:pt x="642" y="457"/>
                </a:cubicBezTo>
                <a:cubicBezTo>
                  <a:pt x="641" y="458"/>
                  <a:pt x="641" y="458"/>
                  <a:pt x="641" y="458"/>
                </a:cubicBezTo>
                <a:cubicBezTo>
                  <a:pt x="640" y="458"/>
                  <a:pt x="640" y="458"/>
                  <a:pt x="639" y="458"/>
                </a:cubicBezTo>
                <a:cubicBezTo>
                  <a:pt x="639" y="458"/>
                  <a:pt x="638" y="458"/>
                  <a:pt x="638" y="459"/>
                </a:cubicBezTo>
                <a:cubicBezTo>
                  <a:pt x="637" y="459"/>
                  <a:pt x="636" y="459"/>
                  <a:pt x="636" y="459"/>
                </a:cubicBezTo>
                <a:cubicBezTo>
                  <a:pt x="635" y="459"/>
                  <a:pt x="635" y="459"/>
                  <a:pt x="634" y="459"/>
                </a:cubicBezTo>
                <a:cubicBezTo>
                  <a:pt x="633" y="459"/>
                  <a:pt x="633" y="459"/>
                  <a:pt x="633" y="460"/>
                </a:cubicBezTo>
                <a:cubicBezTo>
                  <a:pt x="633" y="460"/>
                  <a:pt x="633" y="460"/>
                  <a:pt x="633" y="461"/>
                </a:cubicBezTo>
                <a:cubicBezTo>
                  <a:pt x="633" y="461"/>
                  <a:pt x="633" y="461"/>
                  <a:pt x="633" y="461"/>
                </a:cubicBezTo>
                <a:cubicBezTo>
                  <a:pt x="632" y="460"/>
                  <a:pt x="632" y="460"/>
                  <a:pt x="632" y="460"/>
                </a:cubicBezTo>
                <a:cubicBezTo>
                  <a:pt x="632" y="460"/>
                  <a:pt x="632" y="459"/>
                  <a:pt x="632" y="459"/>
                </a:cubicBezTo>
                <a:cubicBezTo>
                  <a:pt x="632" y="459"/>
                  <a:pt x="632" y="459"/>
                  <a:pt x="632" y="458"/>
                </a:cubicBezTo>
                <a:cubicBezTo>
                  <a:pt x="631" y="458"/>
                  <a:pt x="630" y="458"/>
                  <a:pt x="630" y="458"/>
                </a:cubicBezTo>
                <a:cubicBezTo>
                  <a:pt x="629" y="458"/>
                  <a:pt x="628" y="458"/>
                  <a:pt x="628" y="458"/>
                </a:cubicBezTo>
                <a:cubicBezTo>
                  <a:pt x="628" y="457"/>
                  <a:pt x="627" y="457"/>
                  <a:pt x="627" y="457"/>
                </a:cubicBezTo>
                <a:cubicBezTo>
                  <a:pt x="627" y="457"/>
                  <a:pt x="627" y="457"/>
                  <a:pt x="626" y="458"/>
                </a:cubicBezTo>
                <a:cubicBezTo>
                  <a:pt x="626" y="458"/>
                  <a:pt x="626" y="458"/>
                  <a:pt x="625" y="458"/>
                </a:cubicBezTo>
                <a:cubicBezTo>
                  <a:pt x="625" y="458"/>
                  <a:pt x="625" y="458"/>
                  <a:pt x="625" y="459"/>
                </a:cubicBezTo>
                <a:cubicBezTo>
                  <a:pt x="625" y="459"/>
                  <a:pt x="625" y="459"/>
                  <a:pt x="625" y="459"/>
                </a:cubicBezTo>
                <a:cubicBezTo>
                  <a:pt x="625" y="459"/>
                  <a:pt x="625" y="459"/>
                  <a:pt x="624" y="459"/>
                </a:cubicBezTo>
                <a:cubicBezTo>
                  <a:pt x="624" y="458"/>
                  <a:pt x="624" y="458"/>
                  <a:pt x="624" y="457"/>
                </a:cubicBezTo>
                <a:cubicBezTo>
                  <a:pt x="624" y="457"/>
                  <a:pt x="625" y="457"/>
                  <a:pt x="625" y="457"/>
                </a:cubicBezTo>
                <a:cubicBezTo>
                  <a:pt x="624" y="456"/>
                  <a:pt x="624" y="456"/>
                  <a:pt x="624" y="456"/>
                </a:cubicBezTo>
                <a:cubicBezTo>
                  <a:pt x="624" y="455"/>
                  <a:pt x="623" y="455"/>
                  <a:pt x="623" y="455"/>
                </a:cubicBezTo>
                <a:cubicBezTo>
                  <a:pt x="622" y="455"/>
                  <a:pt x="622" y="455"/>
                  <a:pt x="621" y="455"/>
                </a:cubicBezTo>
                <a:cubicBezTo>
                  <a:pt x="620" y="455"/>
                  <a:pt x="620" y="454"/>
                  <a:pt x="619" y="454"/>
                </a:cubicBezTo>
                <a:cubicBezTo>
                  <a:pt x="619" y="454"/>
                  <a:pt x="619" y="454"/>
                  <a:pt x="619" y="453"/>
                </a:cubicBezTo>
                <a:cubicBezTo>
                  <a:pt x="619" y="453"/>
                  <a:pt x="618" y="453"/>
                  <a:pt x="618" y="453"/>
                </a:cubicBezTo>
                <a:cubicBezTo>
                  <a:pt x="618" y="453"/>
                  <a:pt x="617" y="453"/>
                  <a:pt x="617" y="453"/>
                </a:cubicBezTo>
                <a:cubicBezTo>
                  <a:pt x="617" y="453"/>
                  <a:pt x="617" y="453"/>
                  <a:pt x="617" y="453"/>
                </a:cubicBezTo>
                <a:cubicBezTo>
                  <a:pt x="617" y="453"/>
                  <a:pt x="617" y="453"/>
                  <a:pt x="617" y="453"/>
                </a:cubicBezTo>
                <a:cubicBezTo>
                  <a:pt x="616" y="453"/>
                  <a:pt x="615" y="453"/>
                  <a:pt x="615" y="453"/>
                </a:cubicBezTo>
                <a:cubicBezTo>
                  <a:pt x="614" y="453"/>
                  <a:pt x="614" y="453"/>
                  <a:pt x="614" y="453"/>
                </a:cubicBezTo>
                <a:cubicBezTo>
                  <a:pt x="614" y="453"/>
                  <a:pt x="614" y="453"/>
                  <a:pt x="613" y="453"/>
                </a:cubicBezTo>
                <a:cubicBezTo>
                  <a:pt x="613" y="453"/>
                  <a:pt x="613" y="453"/>
                  <a:pt x="612" y="453"/>
                </a:cubicBezTo>
                <a:cubicBezTo>
                  <a:pt x="612" y="453"/>
                  <a:pt x="612" y="453"/>
                  <a:pt x="612" y="453"/>
                </a:cubicBezTo>
                <a:cubicBezTo>
                  <a:pt x="612" y="453"/>
                  <a:pt x="611" y="453"/>
                  <a:pt x="611" y="454"/>
                </a:cubicBezTo>
                <a:cubicBezTo>
                  <a:pt x="611" y="454"/>
                  <a:pt x="610" y="454"/>
                  <a:pt x="610" y="454"/>
                </a:cubicBezTo>
                <a:cubicBezTo>
                  <a:pt x="609" y="454"/>
                  <a:pt x="609" y="454"/>
                  <a:pt x="608" y="454"/>
                </a:cubicBezTo>
                <a:cubicBezTo>
                  <a:pt x="608" y="454"/>
                  <a:pt x="608" y="454"/>
                  <a:pt x="608" y="454"/>
                </a:cubicBezTo>
                <a:cubicBezTo>
                  <a:pt x="608" y="454"/>
                  <a:pt x="608" y="454"/>
                  <a:pt x="609" y="454"/>
                </a:cubicBezTo>
                <a:cubicBezTo>
                  <a:pt x="609" y="454"/>
                  <a:pt x="609" y="454"/>
                  <a:pt x="609" y="454"/>
                </a:cubicBezTo>
                <a:cubicBezTo>
                  <a:pt x="610" y="454"/>
                  <a:pt x="610" y="454"/>
                  <a:pt x="610" y="453"/>
                </a:cubicBezTo>
                <a:cubicBezTo>
                  <a:pt x="610" y="453"/>
                  <a:pt x="610" y="453"/>
                  <a:pt x="610" y="453"/>
                </a:cubicBezTo>
                <a:cubicBezTo>
                  <a:pt x="611" y="453"/>
                  <a:pt x="611" y="452"/>
                  <a:pt x="611" y="452"/>
                </a:cubicBezTo>
                <a:cubicBezTo>
                  <a:pt x="611" y="452"/>
                  <a:pt x="611" y="452"/>
                  <a:pt x="611" y="452"/>
                </a:cubicBezTo>
                <a:cubicBezTo>
                  <a:pt x="611" y="452"/>
                  <a:pt x="611" y="451"/>
                  <a:pt x="611" y="451"/>
                </a:cubicBezTo>
                <a:cubicBezTo>
                  <a:pt x="611" y="451"/>
                  <a:pt x="611" y="451"/>
                  <a:pt x="611" y="451"/>
                </a:cubicBezTo>
                <a:cubicBezTo>
                  <a:pt x="610" y="451"/>
                  <a:pt x="610" y="451"/>
                  <a:pt x="610" y="451"/>
                </a:cubicBezTo>
                <a:cubicBezTo>
                  <a:pt x="610" y="451"/>
                  <a:pt x="609" y="450"/>
                  <a:pt x="609" y="450"/>
                </a:cubicBezTo>
                <a:cubicBezTo>
                  <a:pt x="608" y="450"/>
                  <a:pt x="608" y="450"/>
                  <a:pt x="607" y="450"/>
                </a:cubicBezTo>
                <a:cubicBezTo>
                  <a:pt x="607" y="450"/>
                  <a:pt x="607" y="450"/>
                  <a:pt x="606" y="450"/>
                </a:cubicBezTo>
                <a:cubicBezTo>
                  <a:pt x="606" y="450"/>
                  <a:pt x="606" y="450"/>
                  <a:pt x="606" y="450"/>
                </a:cubicBezTo>
                <a:cubicBezTo>
                  <a:pt x="605" y="450"/>
                  <a:pt x="605" y="450"/>
                  <a:pt x="605" y="450"/>
                </a:cubicBezTo>
                <a:cubicBezTo>
                  <a:pt x="605" y="450"/>
                  <a:pt x="605" y="450"/>
                  <a:pt x="604" y="450"/>
                </a:cubicBezTo>
                <a:cubicBezTo>
                  <a:pt x="604" y="450"/>
                  <a:pt x="604" y="450"/>
                  <a:pt x="603" y="450"/>
                </a:cubicBezTo>
                <a:cubicBezTo>
                  <a:pt x="603" y="450"/>
                  <a:pt x="603" y="450"/>
                  <a:pt x="603" y="450"/>
                </a:cubicBezTo>
                <a:cubicBezTo>
                  <a:pt x="603" y="450"/>
                  <a:pt x="603" y="450"/>
                  <a:pt x="603" y="450"/>
                </a:cubicBezTo>
                <a:cubicBezTo>
                  <a:pt x="603" y="450"/>
                  <a:pt x="602" y="450"/>
                  <a:pt x="602" y="450"/>
                </a:cubicBezTo>
                <a:cubicBezTo>
                  <a:pt x="602" y="450"/>
                  <a:pt x="602" y="450"/>
                  <a:pt x="602" y="449"/>
                </a:cubicBezTo>
                <a:cubicBezTo>
                  <a:pt x="601" y="449"/>
                  <a:pt x="601" y="449"/>
                  <a:pt x="601" y="449"/>
                </a:cubicBezTo>
                <a:cubicBezTo>
                  <a:pt x="601" y="449"/>
                  <a:pt x="600" y="449"/>
                  <a:pt x="600" y="449"/>
                </a:cubicBezTo>
                <a:cubicBezTo>
                  <a:pt x="600" y="449"/>
                  <a:pt x="601" y="449"/>
                  <a:pt x="601" y="448"/>
                </a:cubicBezTo>
                <a:cubicBezTo>
                  <a:pt x="601" y="448"/>
                  <a:pt x="602" y="448"/>
                  <a:pt x="603" y="448"/>
                </a:cubicBezTo>
                <a:cubicBezTo>
                  <a:pt x="603" y="448"/>
                  <a:pt x="603" y="448"/>
                  <a:pt x="604" y="447"/>
                </a:cubicBezTo>
                <a:cubicBezTo>
                  <a:pt x="604" y="447"/>
                  <a:pt x="605" y="447"/>
                  <a:pt x="605" y="447"/>
                </a:cubicBezTo>
                <a:cubicBezTo>
                  <a:pt x="605" y="447"/>
                  <a:pt x="605" y="447"/>
                  <a:pt x="605" y="446"/>
                </a:cubicBezTo>
                <a:cubicBezTo>
                  <a:pt x="605" y="447"/>
                  <a:pt x="604" y="447"/>
                  <a:pt x="604" y="447"/>
                </a:cubicBezTo>
                <a:cubicBezTo>
                  <a:pt x="603" y="447"/>
                  <a:pt x="602" y="447"/>
                  <a:pt x="602" y="447"/>
                </a:cubicBezTo>
                <a:cubicBezTo>
                  <a:pt x="601" y="447"/>
                  <a:pt x="600" y="447"/>
                  <a:pt x="600" y="448"/>
                </a:cubicBezTo>
                <a:cubicBezTo>
                  <a:pt x="600" y="448"/>
                  <a:pt x="599" y="448"/>
                  <a:pt x="599" y="448"/>
                </a:cubicBezTo>
                <a:cubicBezTo>
                  <a:pt x="598" y="448"/>
                  <a:pt x="598" y="448"/>
                  <a:pt x="597" y="449"/>
                </a:cubicBezTo>
                <a:cubicBezTo>
                  <a:pt x="597" y="449"/>
                  <a:pt x="596" y="449"/>
                  <a:pt x="596" y="449"/>
                </a:cubicBezTo>
                <a:cubicBezTo>
                  <a:pt x="596" y="449"/>
                  <a:pt x="596" y="449"/>
                  <a:pt x="595" y="449"/>
                </a:cubicBezTo>
                <a:cubicBezTo>
                  <a:pt x="595" y="449"/>
                  <a:pt x="594" y="450"/>
                  <a:pt x="594" y="450"/>
                </a:cubicBezTo>
                <a:cubicBezTo>
                  <a:pt x="593" y="450"/>
                  <a:pt x="593" y="450"/>
                  <a:pt x="593" y="451"/>
                </a:cubicBezTo>
                <a:cubicBezTo>
                  <a:pt x="592" y="451"/>
                  <a:pt x="592" y="451"/>
                  <a:pt x="592" y="451"/>
                </a:cubicBezTo>
                <a:cubicBezTo>
                  <a:pt x="592" y="451"/>
                  <a:pt x="592" y="452"/>
                  <a:pt x="591" y="452"/>
                </a:cubicBezTo>
                <a:cubicBezTo>
                  <a:pt x="591" y="452"/>
                  <a:pt x="591" y="452"/>
                  <a:pt x="590" y="452"/>
                </a:cubicBezTo>
                <a:cubicBezTo>
                  <a:pt x="590" y="452"/>
                  <a:pt x="590" y="452"/>
                  <a:pt x="590" y="452"/>
                </a:cubicBezTo>
                <a:cubicBezTo>
                  <a:pt x="589" y="452"/>
                  <a:pt x="589" y="452"/>
                  <a:pt x="589" y="452"/>
                </a:cubicBezTo>
                <a:cubicBezTo>
                  <a:pt x="588" y="452"/>
                  <a:pt x="587" y="452"/>
                  <a:pt x="586" y="452"/>
                </a:cubicBezTo>
                <a:cubicBezTo>
                  <a:pt x="586" y="452"/>
                  <a:pt x="586" y="451"/>
                  <a:pt x="586" y="451"/>
                </a:cubicBezTo>
                <a:cubicBezTo>
                  <a:pt x="586" y="451"/>
                  <a:pt x="585" y="451"/>
                  <a:pt x="585" y="451"/>
                </a:cubicBezTo>
                <a:cubicBezTo>
                  <a:pt x="584" y="452"/>
                  <a:pt x="584" y="452"/>
                  <a:pt x="583" y="452"/>
                </a:cubicBezTo>
                <a:cubicBezTo>
                  <a:pt x="581" y="452"/>
                  <a:pt x="580" y="453"/>
                  <a:pt x="578" y="454"/>
                </a:cubicBezTo>
                <a:cubicBezTo>
                  <a:pt x="578" y="454"/>
                  <a:pt x="577" y="454"/>
                  <a:pt x="576" y="454"/>
                </a:cubicBezTo>
                <a:cubicBezTo>
                  <a:pt x="576" y="454"/>
                  <a:pt x="576" y="454"/>
                  <a:pt x="575" y="454"/>
                </a:cubicBezTo>
                <a:cubicBezTo>
                  <a:pt x="575" y="454"/>
                  <a:pt x="575" y="454"/>
                  <a:pt x="575" y="453"/>
                </a:cubicBezTo>
                <a:cubicBezTo>
                  <a:pt x="575" y="453"/>
                  <a:pt x="575" y="453"/>
                  <a:pt x="575" y="453"/>
                </a:cubicBezTo>
                <a:cubicBezTo>
                  <a:pt x="575" y="453"/>
                  <a:pt x="575" y="453"/>
                  <a:pt x="575" y="453"/>
                </a:cubicBezTo>
                <a:cubicBezTo>
                  <a:pt x="575" y="452"/>
                  <a:pt x="575" y="452"/>
                  <a:pt x="575" y="452"/>
                </a:cubicBezTo>
                <a:cubicBezTo>
                  <a:pt x="574" y="452"/>
                  <a:pt x="574" y="451"/>
                  <a:pt x="574" y="451"/>
                </a:cubicBezTo>
                <a:cubicBezTo>
                  <a:pt x="573" y="451"/>
                  <a:pt x="573" y="451"/>
                  <a:pt x="573" y="451"/>
                </a:cubicBezTo>
                <a:cubicBezTo>
                  <a:pt x="572" y="451"/>
                  <a:pt x="571" y="452"/>
                  <a:pt x="570" y="452"/>
                </a:cubicBezTo>
                <a:cubicBezTo>
                  <a:pt x="570" y="452"/>
                  <a:pt x="570" y="452"/>
                  <a:pt x="569" y="452"/>
                </a:cubicBezTo>
                <a:cubicBezTo>
                  <a:pt x="569" y="452"/>
                  <a:pt x="569" y="452"/>
                  <a:pt x="568" y="452"/>
                </a:cubicBezTo>
                <a:cubicBezTo>
                  <a:pt x="568" y="452"/>
                  <a:pt x="568" y="452"/>
                  <a:pt x="568" y="452"/>
                </a:cubicBezTo>
                <a:cubicBezTo>
                  <a:pt x="568" y="452"/>
                  <a:pt x="567" y="452"/>
                  <a:pt x="567" y="451"/>
                </a:cubicBezTo>
                <a:cubicBezTo>
                  <a:pt x="567" y="451"/>
                  <a:pt x="567" y="451"/>
                  <a:pt x="567" y="450"/>
                </a:cubicBezTo>
                <a:cubicBezTo>
                  <a:pt x="566" y="450"/>
                  <a:pt x="566" y="450"/>
                  <a:pt x="566" y="449"/>
                </a:cubicBezTo>
                <a:cubicBezTo>
                  <a:pt x="566" y="449"/>
                  <a:pt x="566" y="449"/>
                  <a:pt x="565" y="449"/>
                </a:cubicBezTo>
                <a:cubicBezTo>
                  <a:pt x="565" y="450"/>
                  <a:pt x="565" y="450"/>
                  <a:pt x="564" y="450"/>
                </a:cubicBezTo>
                <a:cubicBezTo>
                  <a:pt x="564" y="451"/>
                  <a:pt x="563" y="451"/>
                  <a:pt x="563" y="452"/>
                </a:cubicBezTo>
                <a:cubicBezTo>
                  <a:pt x="563" y="452"/>
                  <a:pt x="563" y="452"/>
                  <a:pt x="564" y="452"/>
                </a:cubicBezTo>
                <a:cubicBezTo>
                  <a:pt x="564" y="452"/>
                  <a:pt x="564" y="452"/>
                  <a:pt x="564" y="452"/>
                </a:cubicBezTo>
                <a:cubicBezTo>
                  <a:pt x="564" y="452"/>
                  <a:pt x="565" y="452"/>
                  <a:pt x="565" y="452"/>
                </a:cubicBezTo>
                <a:cubicBezTo>
                  <a:pt x="565" y="452"/>
                  <a:pt x="566" y="452"/>
                  <a:pt x="566" y="452"/>
                </a:cubicBezTo>
                <a:cubicBezTo>
                  <a:pt x="566" y="452"/>
                  <a:pt x="567" y="452"/>
                  <a:pt x="567" y="452"/>
                </a:cubicBezTo>
                <a:cubicBezTo>
                  <a:pt x="567" y="452"/>
                  <a:pt x="567" y="452"/>
                  <a:pt x="567" y="453"/>
                </a:cubicBezTo>
                <a:cubicBezTo>
                  <a:pt x="567" y="453"/>
                  <a:pt x="566" y="453"/>
                  <a:pt x="566" y="453"/>
                </a:cubicBezTo>
                <a:cubicBezTo>
                  <a:pt x="566" y="453"/>
                  <a:pt x="565" y="453"/>
                  <a:pt x="565" y="453"/>
                </a:cubicBezTo>
                <a:cubicBezTo>
                  <a:pt x="565" y="453"/>
                  <a:pt x="565" y="453"/>
                  <a:pt x="564" y="453"/>
                </a:cubicBezTo>
                <a:cubicBezTo>
                  <a:pt x="564" y="453"/>
                  <a:pt x="564" y="453"/>
                  <a:pt x="564" y="453"/>
                </a:cubicBezTo>
                <a:cubicBezTo>
                  <a:pt x="564" y="453"/>
                  <a:pt x="564" y="453"/>
                  <a:pt x="564" y="453"/>
                </a:cubicBezTo>
                <a:cubicBezTo>
                  <a:pt x="564" y="454"/>
                  <a:pt x="564" y="454"/>
                  <a:pt x="563" y="454"/>
                </a:cubicBezTo>
                <a:cubicBezTo>
                  <a:pt x="563" y="454"/>
                  <a:pt x="562" y="455"/>
                  <a:pt x="561" y="455"/>
                </a:cubicBezTo>
                <a:cubicBezTo>
                  <a:pt x="561" y="455"/>
                  <a:pt x="560" y="456"/>
                  <a:pt x="559" y="456"/>
                </a:cubicBezTo>
                <a:cubicBezTo>
                  <a:pt x="559" y="456"/>
                  <a:pt x="559" y="456"/>
                  <a:pt x="559" y="457"/>
                </a:cubicBezTo>
                <a:cubicBezTo>
                  <a:pt x="559" y="457"/>
                  <a:pt x="559" y="457"/>
                  <a:pt x="559" y="457"/>
                </a:cubicBezTo>
                <a:cubicBezTo>
                  <a:pt x="559" y="458"/>
                  <a:pt x="559" y="458"/>
                  <a:pt x="560" y="458"/>
                </a:cubicBezTo>
                <a:cubicBezTo>
                  <a:pt x="560" y="458"/>
                  <a:pt x="560" y="459"/>
                  <a:pt x="560" y="459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61" y="461"/>
                  <a:pt x="561" y="461"/>
                  <a:pt x="561" y="461"/>
                </a:cubicBezTo>
                <a:cubicBezTo>
                  <a:pt x="561" y="461"/>
                  <a:pt x="561" y="462"/>
                  <a:pt x="561" y="462"/>
                </a:cubicBezTo>
                <a:cubicBezTo>
                  <a:pt x="560" y="463"/>
                  <a:pt x="560" y="463"/>
                  <a:pt x="559" y="463"/>
                </a:cubicBezTo>
                <a:cubicBezTo>
                  <a:pt x="559" y="463"/>
                  <a:pt x="559" y="464"/>
                  <a:pt x="558" y="464"/>
                </a:cubicBezTo>
                <a:cubicBezTo>
                  <a:pt x="558" y="463"/>
                  <a:pt x="558" y="463"/>
                  <a:pt x="558" y="463"/>
                </a:cubicBezTo>
                <a:cubicBezTo>
                  <a:pt x="558" y="462"/>
                  <a:pt x="557" y="462"/>
                  <a:pt x="557" y="462"/>
                </a:cubicBezTo>
                <a:cubicBezTo>
                  <a:pt x="557" y="462"/>
                  <a:pt x="557" y="461"/>
                  <a:pt x="556" y="461"/>
                </a:cubicBezTo>
                <a:cubicBezTo>
                  <a:pt x="557" y="461"/>
                  <a:pt x="557" y="461"/>
                  <a:pt x="557" y="460"/>
                </a:cubicBezTo>
                <a:cubicBezTo>
                  <a:pt x="557" y="460"/>
                  <a:pt x="557" y="460"/>
                  <a:pt x="557" y="460"/>
                </a:cubicBezTo>
                <a:cubicBezTo>
                  <a:pt x="558" y="459"/>
                  <a:pt x="558" y="459"/>
                  <a:pt x="559" y="458"/>
                </a:cubicBezTo>
                <a:cubicBezTo>
                  <a:pt x="559" y="458"/>
                  <a:pt x="558" y="457"/>
                  <a:pt x="558" y="457"/>
                </a:cubicBezTo>
                <a:cubicBezTo>
                  <a:pt x="558" y="457"/>
                  <a:pt x="558" y="457"/>
                  <a:pt x="558" y="457"/>
                </a:cubicBezTo>
                <a:cubicBezTo>
                  <a:pt x="558" y="456"/>
                  <a:pt x="558" y="456"/>
                  <a:pt x="558" y="456"/>
                </a:cubicBezTo>
                <a:cubicBezTo>
                  <a:pt x="557" y="456"/>
                  <a:pt x="557" y="456"/>
                  <a:pt x="557" y="456"/>
                </a:cubicBezTo>
                <a:cubicBezTo>
                  <a:pt x="557" y="456"/>
                  <a:pt x="557" y="456"/>
                  <a:pt x="557" y="455"/>
                </a:cubicBezTo>
                <a:cubicBezTo>
                  <a:pt x="556" y="455"/>
                  <a:pt x="556" y="455"/>
                  <a:pt x="556" y="455"/>
                </a:cubicBezTo>
                <a:cubicBezTo>
                  <a:pt x="556" y="455"/>
                  <a:pt x="556" y="455"/>
                  <a:pt x="556" y="454"/>
                </a:cubicBezTo>
                <a:cubicBezTo>
                  <a:pt x="556" y="454"/>
                  <a:pt x="557" y="454"/>
                  <a:pt x="557" y="454"/>
                </a:cubicBezTo>
                <a:cubicBezTo>
                  <a:pt x="557" y="454"/>
                  <a:pt x="558" y="453"/>
                  <a:pt x="558" y="453"/>
                </a:cubicBezTo>
                <a:cubicBezTo>
                  <a:pt x="558" y="453"/>
                  <a:pt x="559" y="453"/>
                  <a:pt x="559" y="452"/>
                </a:cubicBezTo>
                <a:cubicBezTo>
                  <a:pt x="559" y="452"/>
                  <a:pt x="559" y="452"/>
                  <a:pt x="559" y="452"/>
                </a:cubicBezTo>
                <a:cubicBezTo>
                  <a:pt x="559" y="452"/>
                  <a:pt x="559" y="452"/>
                  <a:pt x="560" y="452"/>
                </a:cubicBezTo>
                <a:cubicBezTo>
                  <a:pt x="560" y="451"/>
                  <a:pt x="560" y="451"/>
                  <a:pt x="560" y="451"/>
                </a:cubicBezTo>
                <a:cubicBezTo>
                  <a:pt x="559" y="451"/>
                  <a:pt x="559" y="451"/>
                  <a:pt x="559" y="451"/>
                </a:cubicBezTo>
                <a:cubicBezTo>
                  <a:pt x="558" y="451"/>
                  <a:pt x="558" y="451"/>
                  <a:pt x="557" y="450"/>
                </a:cubicBezTo>
                <a:cubicBezTo>
                  <a:pt x="557" y="451"/>
                  <a:pt x="557" y="451"/>
                  <a:pt x="556" y="451"/>
                </a:cubicBezTo>
                <a:cubicBezTo>
                  <a:pt x="556" y="451"/>
                  <a:pt x="556" y="451"/>
                  <a:pt x="556" y="451"/>
                </a:cubicBezTo>
                <a:cubicBezTo>
                  <a:pt x="556" y="451"/>
                  <a:pt x="556" y="451"/>
                  <a:pt x="556" y="451"/>
                </a:cubicBezTo>
                <a:cubicBezTo>
                  <a:pt x="556" y="451"/>
                  <a:pt x="556" y="451"/>
                  <a:pt x="556" y="452"/>
                </a:cubicBezTo>
                <a:cubicBezTo>
                  <a:pt x="555" y="452"/>
                  <a:pt x="555" y="452"/>
                  <a:pt x="555" y="452"/>
                </a:cubicBezTo>
                <a:cubicBezTo>
                  <a:pt x="555" y="452"/>
                  <a:pt x="555" y="452"/>
                  <a:pt x="554" y="452"/>
                </a:cubicBezTo>
                <a:cubicBezTo>
                  <a:pt x="554" y="452"/>
                  <a:pt x="554" y="452"/>
                  <a:pt x="554" y="452"/>
                </a:cubicBezTo>
                <a:cubicBezTo>
                  <a:pt x="554" y="453"/>
                  <a:pt x="554" y="453"/>
                  <a:pt x="553" y="453"/>
                </a:cubicBezTo>
                <a:cubicBezTo>
                  <a:pt x="554" y="453"/>
                  <a:pt x="554" y="453"/>
                  <a:pt x="554" y="453"/>
                </a:cubicBezTo>
                <a:cubicBezTo>
                  <a:pt x="554" y="453"/>
                  <a:pt x="554" y="453"/>
                  <a:pt x="554" y="453"/>
                </a:cubicBezTo>
                <a:cubicBezTo>
                  <a:pt x="553" y="454"/>
                  <a:pt x="553" y="454"/>
                  <a:pt x="553" y="454"/>
                </a:cubicBezTo>
                <a:cubicBezTo>
                  <a:pt x="552" y="455"/>
                  <a:pt x="552" y="455"/>
                  <a:pt x="551" y="455"/>
                </a:cubicBezTo>
                <a:cubicBezTo>
                  <a:pt x="551" y="456"/>
                  <a:pt x="550" y="456"/>
                  <a:pt x="550" y="456"/>
                </a:cubicBezTo>
                <a:cubicBezTo>
                  <a:pt x="550" y="456"/>
                  <a:pt x="549" y="457"/>
                  <a:pt x="549" y="457"/>
                </a:cubicBezTo>
                <a:cubicBezTo>
                  <a:pt x="548" y="457"/>
                  <a:pt x="548" y="457"/>
                  <a:pt x="547" y="457"/>
                </a:cubicBezTo>
                <a:cubicBezTo>
                  <a:pt x="547" y="457"/>
                  <a:pt x="546" y="457"/>
                  <a:pt x="546" y="457"/>
                </a:cubicBezTo>
                <a:cubicBezTo>
                  <a:pt x="546" y="458"/>
                  <a:pt x="545" y="458"/>
                  <a:pt x="545" y="458"/>
                </a:cubicBezTo>
                <a:cubicBezTo>
                  <a:pt x="545" y="458"/>
                  <a:pt x="545" y="458"/>
                  <a:pt x="545" y="459"/>
                </a:cubicBezTo>
                <a:cubicBezTo>
                  <a:pt x="545" y="459"/>
                  <a:pt x="545" y="459"/>
                  <a:pt x="546" y="459"/>
                </a:cubicBezTo>
                <a:cubicBezTo>
                  <a:pt x="546" y="459"/>
                  <a:pt x="546" y="459"/>
                  <a:pt x="546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4" y="460"/>
                  <a:pt x="544" y="460"/>
                  <a:pt x="544" y="459"/>
                </a:cubicBezTo>
                <a:cubicBezTo>
                  <a:pt x="545" y="459"/>
                  <a:pt x="545" y="459"/>
                  <a:pt x="545" y="459"/>
                </a:cubicBezTo>
                <a:cubicBezTo>
                  <a:pt x="545" y="459"/>
                  <a:pt x="544" y="459"/>
                  <a:pt x="544" y="459"/>
                </a:cubicBezTo>
                <a:cubicBezTo>
                  <a:pt x="544" y="459"/>
                  <a:pt x="543" y="459"/>
                  <a:pt x="543" y="459"/>
                </a:cubicBezTo>
                <a:cubicBezTo>
                  <a:pt x="542" y="459"/>
                  <a:pt x="542" y="459"/>
                  <a:pt x="542" y="459"/>
                </a:cubicBezTo>
                <a:cubicBezTo>
                  <a:pt x="542" y="460"/>
                  <a:pt x="541" y="460"/>
                  <a:pt x="541" y="461"/>
                </a:cubicBezTo>
                <a:cubicBezTo>
                  <a:pt x="541" y="461"/>
                  <a:pt x="540" y="461"/>
                  <a:pt x="540" y="461"/>
                </a:cubicBezTo>
                <a:cubicBezTo>
                  <a:pt x="540" y="461"/>
                  <a:pt x="540" y="462"/>
                  <a:pt x="540" y="462"/>
                </a:cubicBezTo>
                <a:cubicBezTo>
                  <a:pt x="539" y="463"/>
                  <a:pt x="539" y="464"/>
                  <a:pt x="539" y="464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40" y="465"/>
                  <a:pt x="540" y="465"/>
                  <a:pt x="540" y="466"/>
                </a:cubicBezTo>
                <a:cubicBezTo>
                  <a:pt x="540" y="466"/>
                  <a:pt x="540" y="466"/>
                  <a:pt x="540" y="466"/>
                </a:cubicBezTo>
                <a:cubicBezTo>
                  <a:pt x="539" y="466"/>
                  <a:pt x="539" y="467"/>
                  <a:pt x="539" y="467"/>
                </a:cubicBezTo>
                <a:cubicBezTo>
                  <a:pt x="539" y="467"/>
                  <a:pt x="538" y="467"/>
                  <a:pt x="538" y="467"/>
                </a:cubicBezTo>
                <a:cubicBezTo>
                  <a:pt x="538" y="467"/>
                  <a:pt x="538" y="467"/>
                  <a:pt x="538" y="467"/>
                </a:cubicBezTo>
                <a:cubicBezTo>
                  <a:pt x="537" y="468"/>
                  <a:pt x="537" y="468"/>
                  <a:pt x="537" y="469"/>
                </a:cubicBezTo>
                <a:cubicBezTo>
                  <a:pt x="536" y="469"/>
                  <a:pt x="536" y="469"/>
                  <a:pt x="536" y="469"/>
                </a:cubicBezTo>
                <a:cubicBezTo>
                  <a:pt x="536" y="469"/>
                  <a:pt x="536" y="470"/>
                  <a:pt x="535" y="470"/>
                </a:cubicBezTo>
                <a:cubicBezTo>
                  <a:pt x="535" y="470"/>
                  <a:pt x="535" y="470"/>
                  <a:pt x="535" y="470"/>
                </a:cubicBezTo>
                <a:cubicBezTo>
                  <a:pt x="535" y="470"/>
                  <a:pt x="534" y="471"/>
                  <a:pt x="534" y="471"/>
                </a:cubicBezTo>
                <a:cubicBezTo>
                  <a:pt x="534" y="471"/>
                  <a:pt x="534" y="471"/>
                  <a:pt x="535" y="471"/>
                </a:cubicBezTo>
                <a:cubicBezTo>
                  <a:pt x="535" y="471"/>
                  <a:pt x="535" y="472"/>
                  <a:pt x="536" y="472"/>
                </a:cubicBezTo>
                <a:cubicBezTo>
                  <a:pt x="536" y="472"/>
                  <a:pt x="536" y="472"/>
                  <a:pt x="536" y="473"/>
                </a:cubicBezTo>
                <a:cubicBezTo>
                  <a:pt x="536" y="473"/>
                  <a:pt x="536" y="473"/>
                  <a:pt x="536" y="473"/>
                </a:cubicBezTo>
                <a:cubicBezTo>
                  <a:pt x="535" y="474"/>
                  <a:pt x="535" y="474"/>
                  <a:pt x="535" y="474"/>
                </a:cubicBezTo>
                <a:cubicBezTo>
                  <a:pt x="535" y="473"/>
                  <a:pt x="534" y="473"/>
                  <a:pt x="534" y="473"/>
                </a:cubicBezTo>
                <a:cubicBezTo>
                  <a:pt x="534" y="473"/>
                  <a:pt x="534" y="473"/>
                  <a:pt x="534" y="473"/>
                </a:cubicBezTo>
                <a:cubicBezTo>
                  <a:pt x="534" y="473"/>
                  <a:pt x="534" y="473"/>
                  <a:pt x="534" y="473"/>
                </a:cubicBezTo>
                <a:cubicBezTo>
                  <a:pt x="534" y="472"/>
                  <a:pt x="534" y="472"/>
                  <a:pt x="533" y="472"/>
                </a:cubicBezTo>
                <a:cubicBezTo>
                  <a:pt x="533" y="472"/>
                  <a:pt x="533" y="472"/>
                  <a:pt x="533" y="472"/>
                </a:cubicBezTo>
                <a:cubicBezTo>
                  <a:pt x="533" y="472"/>
                  <a:pt x="532" y="472"/>
                  <a:pt x="532" y="471"/>
                </a:cubicBezTo>
                <a:cubicBezTo>
                  <a:pt x="532" y="471"/>
                  <a:pt x="531" y="471"/>
                  <a:pt x="531" y="471"/>
                </a:cubicBezTo>
                <a:cubicBezTo>
                  <a:pt x="531" y="471"/>
                  <a:pt x="531" y="471"/>
                  <a:pt x="530" y="471"/>
                </a:cubicBezTo>
                <a:cubicBezTo>
                  <a:pt x="530" y="471"/>
                  <a:pt x="530" y="471"/>
                  <a:pt x="530" y="471"/>
                </a:cubicBezTo>
                <a:cubicBezTo>
                  <a:pt x="530" y="471"/>
                  <a:pt x="529" y="470"/>
                  <a:pt x="529" y="470"/>
                </a:cubicBezTo>
                <a:cubicBezTo>
                  <a:pt x="528" y="470"/>
                  <a:pt x="528" y="470"/>
                  <a:pt x="527" y="470"/>
                </a:cubicBezTo>
                <a:cubicBezTo>
                  <a:pt x="526" y="470"/>
                  <a:pt x="526" y="470"/>
                  <a:pt x="526" y="470"/>
                </a:cubicBezTo>
                <a:cubicBezTo>
                  <a:pt x="525" y="470"/>
                  <a:pt x="524" y="470"/>
                  <a:pt x="523" y="471"/>
                </a:cubicBezTo>
                <a:cubicBezTo>
                  <a:pt x="523" y="471"/>
                  <a:pt x="523" y="471"/>
                  <a:pt x="523" y="471"/>
                </a:cubicBezTo>
                <a:cubicBezTo>
                  <a:pt x="523" y="471"/>
                  <a:pt x="523" y="470"/>
                  <a:pt x="522" y="470"/>
                </a:cubicBezTo>
                <a:cubicBezTo>
                  <a:pt x="522" y="470"/>
                  <a:pt x="522" y="470"/>
                  <a:pt x="522" y="470"/>
                </a:cubicBezTo>
                <a:cubicBezTo>
                  <a:pt x="521" y="470"/>
                  <a:pt x="521" y="470"/>
                  <a:pt x="521" y="471"/>
                </a:cubicBezTo>
                <a:cubicBezTo>
                  <a:pt x="521" y="471"/>
                  <a:pt x="520" y="471"/>
                  <a:pt x="520" y="472"/>
                </a:cubicBezTo>
                <a:cubicBezTo>
                  <a:pt x="520" y="472"/>
                  <a:pt x="519" y="472"/>
                  <a:pt x="519" y="472"/>
                </a:cubicBezTo>
                <a:cubicBezTo>
                  <a:pt x="518" y="473"/>
                  <a:pt x="517" y="473"/>
                  <a:pt x="516" y="474"/>
                </a:cubicBezTo>
                <a:cubicBezTo>
                  <a:pt x="516" y="474"/>
                  <a:pt x="516" y="475"/>
                  <a:pt x="515" y="475"/>
                </a:cubicBezTo>
                <a:cubicBezTo>
                  <a:pt x="515" y="475"/>
                  <a:pt x="515" y="475"/>
                  <a:pt x="514" y="475"/>
                </a:cubicBezTo>
                <a:cubicBezTo>
                  <a:pt x="514" y="475"/>
                  <a:pt x="513" y="476"/>
                  <a:pt x="513" y="476"/>
                </a:cubicBezTo>
                <a:cubicBezTo>
                  <a:pt x="512" y="475"/>
                  <a:pt x="512" y="475"/>
                  <a:pt x="511" y="475"/>
                </a:cubicBezTo>
                <a:cubicBezTo>
                  <a:pt x="511" y="475"/>
                  <a:pt x="510" y="475"/>
                  <a:pt x="510" y="475"/>
                </a:cubicBezTo>
                <a:cubicBezTo>
                  <a:pt x="510" y="475"/>
                  <a:pt x="510" y="475"/>
                  <a:pt x="510" y="475"/>
                </a:cubicBezTo>
                <a:cubicBezTo>
                  <a:pt x="510" y="475"/>
                  <a:pt x="510" y="475"/>
                  <a:pt x="510" y="476"/>
                </a:cubicBezTo>
                <a:cubicBezTo>
                  <a:pt x="510" y="476"/>
                  <a:pt x="510" y="476"/>
                  <a:pt x="510" y="476"/>
                </a:cubicBezTo>
                <a:cubicBezTo>
                  <a:pt x="510" y="476"/>
                  <a:pt x="510" y="476"/>
                  <a:pt x="510" y="476"/>
                </a:cubicBezTo>
                <a:cubicBezTo>
                  <a:pt x="509" y="476"/>
                  <a:pt x="509" y="476"/>
                  <a:pt x="509" y="476"/>
                </a:cubicBezTo>
                <a:cubicBezTo>
                  <a:pt x="509" y="476"/>
                  <a:pt x="508" y="476"/>
                  <a:pt x="508" y="476"/>
                </a:cubicBezTo>
                <a:cubicBezTo>
                  <a:pt x="508" y="476"/>
                  <a:pt x="508" y="476"/>
                  <a:pt x="508" y="476"/>
                </a:cubicBezTo>
                <a:cubicBezTo>
                  <a:pt x="509" y="476"/>
                  <a:pt x="509" y="476"/>
                  <a:pt x="509" y="476"/>
                </a:cubicBezTo>
                <a:cubicBezTo>
                  <a:pt x="509" y="475"/>
                  <a:pt x="509" y="475"/>
                  <a:pt x="508" y="475"/>
                </a:cubicBezTo>
                <a:cubicBezTo>
                  <a:pt x="508" y="475"/>
                  <a:pt x="508" y="475"/>
                  <a:pt x="508" y="475"/>
                </a:cubicBezTo>
                <a:cubicBezTo>
                  <a:pt x="508" y="475"/>
                  <a:pt x="508" y="475"/>
                  <a:pt x="507" y="475"/>
                </a:cubicBezTo>
                <a:cubicBezTo>
                  <a:pt x="507" y="475"/>
                  <a:pt x="507" y="475"/>
                  <a:pt x="507" y="475"/>
                </a:cubicBezTo>
                <a:cubicBezTo>
                  <a:pt x="507" y="475"/>
                  <a:pt x="507" y="475"/>
                  <a:pt x="507" y="475"/>
                </a:cubicBezTo>
                <a:cubicBezTo>
                  <a:pt x="506" y="475"/>
                  <a:pt x="506" y="475"/>
                  <a:pt x="506" y="475"/>
                </a:cubicBezTo>
                <a:cubicBezTo>
                  <a:pt x="506" y="475"/>
                  <a:pt x="506" y="475"/>
                  <a:pt x="506" y="475"/>
                </a:cubicBezTo>
                <a:cubicBezTo>
                  <a:pt x="505" y="475"/>
                  <a:pt x="505" y="475"/>
                  <a:pt x="505" y="475"/>
                </a:cubicBezTo>
                <a:cubicBezTo>
                  <a:pt x="505" y="474"/>
                  <a:pt x="504" y="474"/>
                  <a:pt x="504" y="474"/>
                </a:cubicBezTo>
                <a:cubicBezTo>
                  <a:pt x="504" y="474"/>
                  <a:pt x="504" y="474"/>
                  <a:pt x="504" y="474"/>
                </a:cubicBezTo>
                <a:cubicBezTo>
                  <a:pt x="503" y="474"/>
                  <a:pt x="503" y="473"/>
                  <a:pt x="502" y="473"/>
                </a:cubicBezTo>
                <a:cubicBezTo>
                  <a:pt x="502" y="473"/>
                  <a:pt x="502" y="473"/>
                  <a:pt x="502" y="473"/>
                </a:cubicBezTo>
                <a:cubicBezTo>
                  <a:pt x="502" y="473"/>
                  <a:pt x="501" y="472"/>
                  <a:pt x="501" y="472"/>
                </a:cubicBezTo>
                <a:cubicBezTo>
                  <a:pt x="501" y="472"/>
                  <a:pt x="501" y="472"/>
                  <a:pt x="501" y="471"/>
                </a:cubicBezTo>
                <a:cubicBezTo>
                  <a:pt x="501" y="472"/>
                  <a:pt x="500" y="472"/>
                  <a:pt x="500" y="472"/>
                </a:cubicBezTo>
                <a:cubicBezTo>
                  <a:pt x="500" y="472"/>
                  <a:pt x="500" y="472"/>
                  <a:pt x="500" y="472"/>
                </a:cubicBezTo>
                <a:cubicBezTo>
                  <a:pt x="500" y="472"/>
                  <a:pt x="500" y="472"/>
                  <a:pt x="499" y="472"/>
                </a:cubicBezTo>
                <a:cubicBezTo>
                  <a:pt x="499" y="472"/>
                  <a:pt x="499" y="472"/>
                  <a:pt x="499" y="472"/>
                </a:cubicBezTo>
                <a:cubicBezTo>
                  <a:pt x="499" y="472"/>
                  <a:pt x="499" y="472"/>
                  <a:pt x="499" y="472"/>
                </a:cubicBezTo>
                <a:cubicBezTo>
                  <a:pt x="500" y="472"/>
                  <a:pt x="500" y="472"/>
                  <a:pt x="500" y="472"/>
                </a:cubicBezTo>
                <a:cubicBezTo>
                  <a:pt x="500" y="471"/>
                  <a:pt x="500" y="471"/>
                  <a:pt x="500" y="471"/>
                </a:cubicBezTo>
                <a:cubicBezTo>
                  <a:pt x="499" y="471"/>
                  <a:pt x="499" y="471"/>
                  <a:pt x="499" y="471"/>
                </a:cubicBezTo>
                <a:cubicBezTo>
                  <a:pt x="499" y="471"/>
                  <a:pt x="499" y="470"/>
                  <a:pt x="498" y="470"/>
                </a:cubicBezTo>
                <a:cubicBezTo>
                  <a:pt x="499" y="470"/>
                  <a:pt x="499" y="469"/>
                  <a:pt x="499" y="469"/>
                </a:cubicBezTo>
                <a:cubicBezTo>
                  <a:pt x="499" y="469"/>
                  <a:pt x="499" y="469"/>
                  <a:pt x="499" y="468"/>
                </a:cubicBezTo>
                <a:cubicBezTo>
                  <a:pt x="499" y="468"/>
                  <a:pt x="499" y="468"/>
                  <a:pt x="499" y="468"/>
                </a:cubicBezTo>
                <a:cubicBezTo>
                  <a:pt x="499" y="468"/>
                  <a:pt x="499" y="468"/>
                  <a:pt x="499" y="468"/>
                </a:cubicBezTo>
                <a:cubicBezTo>
                  <a:pt x="499" y="468"/>
                  <a:pt x="499" y="468"/>
                  <a:pt x="499" y="469"/>
                </a:cubicBezTo>
                <a:cubicBezTo>
                  <a:pt x="498" y="469"/>
                  <a:pt x="498" y="469"/>
                  <a:pt x="498" y="469"/>
                </a:cubicBezTo>
                <a:cubicBezTo>
                  <a:pt x="498" y="469"/>
                  <a:pt x="498" y="469"/>
                  <a:pt x="498" y="468"/>
                </a:cubicBezTo>
                <a:cubicBezTo>
                  <a:pt x="498" y="468"/>
                  <a:pt x="498" y="468"/>
                  <a:pt x="498" y="468"/>
                </a:cubicBezTo>
                <a:cubicBezTo>
                  <a:pt x="498" y="467"/>
                  <a:pt x="498" y="467"/>
                  <a:pt x="498" y="467"/>
                </a:cubicBezTo>
                <a:cubicBezTo>
                  <a:pt x="498" y="467"/>
                  <a:pt x="498" y="467"/>
                  <a:pt x="498" y="466"/>
                </a:cubicBezTo>
                <a:cubicBezTo>
                  <a:pt x="498" y="466"/>
                  <a:pt x="498" y="466"/>
                  <a:pt x="498" y="466"/>
                </a:cubicBezTo>
                <a:cubicBezTo>
                  <a:pt x="498" y="466"/>
                  <a:pt x="498" y="465"/>
                  <a:pt x="498" y="465"/>
                </a:cubicBezTo>
                <a:cubicBezTo>
                  <a:pt x="498" y="465"/>
                  <a:pt x="498" y="465"/>
                  <a:pt x="499" y="465"/>
                </a:cubicBezTo>
                <a:cubicBezTo>
                  <a:pt x="499" y="465"/>
                  <a:pt x="499" y="465"/>
                  <a:pt x="498" y="465"/>
                </a:cubicBezTo>
                <a:cubicBezTo>
                  <a:pt x="498" y="465"/>
                  <a:pt x="499" y="465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5"/>
                  <a:pt x="499" y="465"/>
                  <a:pt x="499" y="464"/>
                </a:cubicBezTo>
                <a:cubicBezTo>
                  <a:pt x="499" y="464"/>
                  <a:pt x="499" y="463"/>
                  <a:pt x="499" y="463"/>
                </a:cubicBezTo>
                <a:cubicBezTo>
                  <a:pt x="499" y="463"/>
                  <a:pt x="499" y="462"/>
                  <a:pt x="499" y="462"/>
                </a:cubicBezTo>
                <a:cubicBezTo>
                  <a:pt x="499" y="462"/>
                  <a:pt x="498" y="462"/>
                  <a:pt x="498" y="462"/>
                </a:cubicBezTo>
                <a:cubicBezTo>
                  <a:pt x="498" y="462"/>
                  <a:pt x="498" y="462"/>
                  <a:pt x="498" y="462"/>
                </a:cubicBezTo>
                <a:cubicBezTo>
                  <a:pt x="498" y="462"/>
                  <a:pt x="498" y="462"/>
                  <a:pt x="498" y="462"/>
                </a:cubicBezTo>
                <a:cubicBezTo>
                  <a:pt x="498" y="461"/>
                  <a:pt x="498" y="461"/>
                  <a:pt x="498" y="461"/>
                </a:cubicBezTo>
                <a:cubicBezTo>
                  <a:pt x="498" y="461"/>
                  <a:pt x="498" y="461"/>
                  <a:pt x="498" y="461"/>
                </a:cubicBezTo>
                <a:cubicBezTo>
                  <a:pt x="498" y="461"/>
                  <a:pt x="499" y="461"/>
                  <a:pt x="499" y="461"/>
                </a:cubicBezTo>
                <a:cubicBezTo>
                  <a:pt x="499" y="461"/>
                  <a:pt x="499" y="461"/>
                  <a:pt x="499" y="460"/>
                </a:cubicBezTo>
                <a:cubicBezTo>
                  <a:pt x="499" y="460"/>
                  <a:pt x="499" y="460"/>
                  <a:pt x="499" y="459"/>
                </a:cubicBezTo>
                <a:cubicBezTo>
                  <a:pt x="499" y="459"/>
                  <a:pt x="499" y="459"/>
                  <a:pt x="499" y="459"/>
                </a:cubicBezTo>
                <a:cubicBezTo>
                  <a:pt x="499" y="459"/>
                  <a:pt x="499" y="459"/>
                  <a:pt x="499" y="458"/>
                </a:cubicBezTo>
                <a:cubicBezTo>
                  <a:pt x="499" y="458"/>
                  <a:pt x="499" y="458"/>
                  <a:pt x="499" y="458"/>
                </a:cubicBezTo>
                <a:cubicBezTo>
                  <a:pt x="499" y="458"/>
                  <a:pt x="499" y="458"/>
                  <a:pt x="499" y="458"/>
                </a:cubicBezTo>
                <a:cubicBezTo>
                  <a:pt x="499" y="458"/>
                  <a:pt x="499" y="458"/>
                  <a:pt x="499" y="457"/>
                </a:cubicBezTo>
                <a:cubicBezTo>
                  <a:pt x="499" y="457"/>
                  <a:pt x="499" y="457"/>
                  <a:pt x="499" y="457"/>
                </a:cubicBezTo>
                <a:cubicBezTo>
                  <a:pt x="499" y="457"/>
                  <a:pt x="498" y="456"/>
                  <a:pt x="498" y="456"/>
                </a:cubicBezTo>
                <a:cubicBezTo>
                  <a:pt x="498" y="456"/>
                  <a:pt x="498" y="456"/>
                  <a:pt x="499" y="456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8" y="454"/>
                  <a:pt x="498" y="454"/>
                  <a:pt x="497" y="454"/>
                </a:cubicBezTo>
                <a:cubicBezTo>
                  <a:pt x="497" y="454"/>
                  <a:pt x="497" y="454"/>
                  <a:pt x="496" y="454"/>
                </a:cubicBezTo>
                <a:cubicBezTo>
                  <a:pt x="496" y="454"/>
                  <a:pt x="496" y="454"/>
                  <a:pt x="496" y="454"/>
                </a:cubicBezTo>
                <a:cubicBezTo>
                  <a:pt x="496" y="455"/>
                  <a:pt x="497" y="455"/>
                  <a:pt x="497" y="455"/>
                </a:cubicBezTo>
                <a:cubicBezTo>
                  <a:pt x="496" y="455"/>
                  <a:pt x="496" y="455"/>
                  <a:pt x="496" y="455"/>
                </a:cubicBezTo>
                <a:cubicBezTo>
                  <a:pt x="495" y="455"/>
                  <a:pt x="495" y="455"/>
                  <a:pt x="494" y="455"/>
                </a:cubicBezTo>
                <a:cubicBezTo>
                  <a:pt x="494" y="455"/>
                  <a:pt x="494" y="455"/>
                  <a:pt x="494" y="455"/>
                </a:cubicBezTo>
                <a:cubicBezTo>
                  <a:pt x="493" y="455"/>
                  <a:pt x="493" y="455"/>
                  <a:pt x="493" y="455"/>
                </a:cubicBezTo>
                <a:cubicBezTo>
                  <a:pt x="493" y="455"/>
                  <a:pt x="492" y="455"/>
                  <a:pt x="492" y="456"/>
                </a:cubicBezTo>
                <a:cubicBezTo>
                  <a:pt x="492" y="455"/>
                  <a:pt x="492" y="455"/>
                  <a:pt x="492" y="455"/>
                </a:cubicBezTo>
                <a:cubicBezTo>
                  <a:pt x="492" y="455"/>
                  <a:pt x="493" y="455"/>
                  <a:pt x="493" y="455"/>
                </a:cubicBezTo>
                <a:cubicBezTo>
                  <a:pt x="493" y="455"/>
                  <a:pt x="493" y="455"/>
                  <a:pt x="493" y="455"/>
                </a:cubicBezTo>
                <a:cubicBezTo>
                  <a:pt x="493" y="455"/>
                  <a:pt x="493" y="454"/>
                  <a:pt x="493" y="454"/>
                </a:cubicBezTo>
                <a:cubicBezTo>
                  <a:pt x="493" y="454"/>
                  <a:pt x="494" y="454"/>
                  <a:pt x="494" y="454"/>
                </a:cubicBezTo>
                <a:cubicBezTo>
                  <a:pt x="494" y="454"/>
                  <a:pt x="495" y="454"/>
                  <a:pt x="495" y="454"/>
                </a:cubicBezTo>
                <a:cubicBezTo>
                  <a:pt x="495" y="454"/>
                  <a:pt x="495" y="454"/>
                  <a:pt x="495" y="454"/>
                </a:cubicBezTo>
                <a:cubicBezTo>
                  <a:pt x="495" y="454"/>
                  <a:pt x="495" y="454"/>
                  <a:pt x="494" y="454"/>
                </a:cubicBezTo>
                <a:cubicBezTo>
                  <a:pt x="494" y="454"/>
                  <a:pt x="493" y="454"/>
                  <a:pt x="493" y="454"/>
                </a:cubicBezTo>
                <a:cubicBezTo>
                  <a:pt x="493" y="454"/>
                  <a:pt x="492" y="454"/>
                  <a:pt x="492" y="454"/>
                </a:cubicBezTo>
                <a:cubicBezTo>
                  <a:pt x="492" y="454"/>
                  <a:pt x="492" y="454"/>
                  <a:pt x="491" y="454"/>
                </a:cubicBezTo>
                <a:cubicBezTo>
                  <a:pt x="491" y="454"/>
                  <a:pt x="491" y="454"/>
                  <a:pt x="491" y="454"/>
                </a:cubicBezTo>
                <a:cubicBezTo>
                  <a:pt x="491" y="454"/>
                  <a:pt x="491" y="455"/>
                  <a:pt x="491" y="455"/>
                </a:cubicBezTo>
                <a:cubicBezTo>
                  <a:pt x="490" y="455"/>
                  <a:pt x="490" y="455"/>
                  <a:pt x="490" y="455"/>
                </a:cubicBezTo>
                <a:cubicBezTo>
                  <a:pt x="489" y="455"/>
                  <a:pt x="488" y="455"/>
                  <a:pt x="488" y="455"/>
                </a:cubicBezTo>
                <a:cubicBezTo>
                  <a:pt x="487" y="455"/>
                  <a:pt x="486" y="455"/>
                  <a:pt x="486" y="455"/>
                </a:cubicBezTo>
                <a:cubicBezTo>
                  <a:pt x="485" y="455"/>
                  <a:pt x="485" y="455"/>
                  <a:pt x="484" y="455"/>
                </a:cubicBezTo>
                <a:cubicBezTo>
                  <a:pt x="484" y="455"/>
                  <a:pt x="484" y="455"/>
                  <a:pt x="483" y="455"/>
                </a:cubicBezTo>
                <a:cubicBezTo>
                  <a:pt x="483" y="455"/>
                  <a:pt x="483" y="455"/>
                  <a:pt x="483" y="456"/>
                </a:cubicBezTo>
                <a:cubicBezTo>
                  <a:pt x="483" y="456"/>
                  <a:pt x="483" y="456"/>
                  <a:pt x="484" y="456"/>
                </a:cubicBezTo>
                <a:cubicBezTo>
                  <a:pt x="483" y="456"/>
                  <a:pt x="483" y="456"/>
                  <a:pt x="483" y="456"/>
                </a:cubicBezTo>
                <a:cubicBezTo>
                  <a:pt x="483" y="456"/>
                  <a:pt x="483" y="456"/>
                  <a:pt x="482" y="456"/>
                </a:cubicBezTo>
                <a:cubicBezTo>
                  <a:pt x="482" y="456"/>
                  <a:pt x="482" y="456"/>
                  <a:pt x="482" y="456"/>
                </a:cubicBezTo>
                <a:cubicBezTo>
                  <a:pt x="481" y="457"/>
                  <a:pt x="481" y="457"/>
                  <a:pt x="480" y="457"/>
                </a:cubicBezTo>
                <a:cubicBezTo>
                  <a:pt x="479" y="457"/>
                  <a:pt x="479" y="458"/>
                  <a:pt x="478" y="458"/>
                </a:cubicBezTo>
                <a:cubicBezTo>
                  <a:pt x="477" y="458"/>
                  <a:pt x="476" y="458"/>
                  <a:pt x="475" y="459"/>
                </a:cubicBezTo>
                <a:cubicBezTo>
                  <a:pt x="475" y="459"/>
                  <a:pt x="474" y="459"/>
                  <a:pt x="474" y="459"/>
                </a:cubicBezTo>
                <a:cubicBezTo>
                  <a:pt x="474" y="459"/>
                  <a:pt x="474" y="459"/>
                  <a:pt x="473" y="459"/>
                </a:cubicBezTo>
                <a:cubicBezTo>
                  <a:pt x="473" y="459"/>
                  <a:pt x="473" y="459"/>
                  <a:pt x="473" y="459"/>
                </a:cubicBezTo>
                <a:cubicBezTo>
                  <a:pt x="473" y="459"/>
                  <a:pt x="472" y="459"/>
                  <a:pt x="472" y="459"/>
                </a:cubicBezTo>
                <a:cubicBezTo>
                  <a:pt x="472" y="459"/>
                  <a:pt x="472" y="460"/>
                  <a:pt x="472" y="460"/>
                </a:cubicBezTo>
                <a:cubicBezTo>
                  <a:pt x="472" y="460"/>
                  <a:pt x="471" y="460"/>
                  <a:pt x="471" y="460"/>
                </a:cubicBezTo>
                <a:cubicBezTo>
                  <a:pt x="471" y="460"/>
                  <a:pt x="470" y="460"/>
                  <a:pt x="470" y="460"/>
                </a:cubicBezTo>
                <a:cubicBezTo>
                  <a:pt x="470" y="460"/>
                  <a:pt x="470" y="460"/>
                  <a:pt x="470" y="460"/>
                </a:cubicBezTo>
                <a:cubicBezTo>
                  <a:pt x="470" y="460"/>
                  <a:pt x="470" y="460"/>
                  <a:pt x="470" y="460"/>
                </a:cubicBezTo>
                <a:cubicBezTo>
                  <a:pt x="470" y="459"/>
                  <a:pt x="470" y="459"/>
                  <a:pt x="470" y="459"/>
                </a:cubicBezTo>
                <a:cubicBezTo>
                  <a:pt x="470" y="459"/>
                  <a:pt x="470" y="458"/>
                  <a:pt x="471" y="458"/>
                </a:cubicBezTo>
                <a:cubicBezTo>
                  <a:pt x="471" y="458"/>
                  <a:pt x="471" y="458"/>
                  <a:pt x="471" y="458"/>
                </a:cubicBezTo>
                <a:cubicBezTo>
                  <a:pt x="472" y="457"/>
                  <a:pt x="472" y="457"/>
                  <a:pt x="472" y="456"/>
                </a:cubicBezTo>
                <a:cubicBezTo>
                  <a:pt x="472" y="456"/>
                  <a:pt x="472" y="456"/>
                  <a:pt x="472" y="455"/>
                </a:cubicBezTo>
                <a:cubicBezTo>
                  <a:pt x="472" y="455"/>
                  <a:pt x="472" y="454"/>
                  <a:pt x="472" y="454"/>
                </a:cubicBezTo>
                <a:cubicBezTo>
                  <a:pt x="472" y="454"/>
                  <a:pt x="472" y="454"/>
                  <a:pt x="471" y="454"/>
                </a:cubicBezTo>
                <a:cubicBezTo>
                  <a:pt x="471" y="453"/>
                  <a:pt x="471" y="453"/>
                  <a:pt x="471" y="453"/>
                </a:cubicBezTo>
                <a:cubicBezTo>
                  <a:pt x="471" y="452"/>
                  <a:pt x="472" y="452"/>
                  <a:pt x="472" y="452"/>
                </a:cubicBezTo>
                <a:cubicBezTo>
                  <a:pt x="472" y="451"/>
                  <a:pt x="471" y="451"/>
                  <a:pt x="471" y="450"/>
                </a:cubicBezTo>
                <a:cubicBezTo>
                  <a:pt x="471" y="450"/>
                  <a:pt x="471" y="450"/>
                  <a:pt x="471" y="450"/>
                </a:cubicBezTo>
                <a:cubicBezTo>
                  <a:pt x="471" y="450"/>
                  <a:pt x="471" y="449"/>
                  <a:pt x="471" y="449"/>
                </a:cubicBezTo>
                <a:cubicBezTo>
                  <a:pt x="471" y="449"/>
                  <a:pt x="471" y="449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49"/>
                  <a:pt x="470" y="449"/>
                  <a:pt x="470" y="449"/>
                </a:cubicBezTo>
                <a:cubicBezTo>
                  <a:pt x="471" y="449"/>
                  <a:pt x="471" y="448"/>
                  <a:pt x="471" y="448"/>
                </a:cubicBezTo>
                <a:cubicBezTo>
                  <a:pt x="471" y="448"/>
                  <a:pt x="472" y="448"/>
                  <a:pt x="472" y="447"/>
                </a:cubicBezTo>
                <a:cubicBezTo>
                  <a:pt x="472" y="448"/>
                  <a:pt x="472" y="448"/>
                  <a:pt x="472" y="448"/>
                </a:cubicBezTo>
                <a:cubicBezTo>
                  <a:pt x="472" y="448"/>
                  <a:pt x="472" y="449"/>
                  <a:pt x="471" y="449"/>
                </a:cubicBezTo>
                <a:cubicBezTo>
                  <a:pt x="471" y="449"/>
                  <a:pt x="472" y="449"/>
                  <a:pt x="472" y="449"/>
                </a:cubicBezTo>
                <a:cubicBezTo>
                  <a:pt x="472" y="449"/>
                  <a:pt x="472" y="449"/>
                  <a:pt x="473" y="449"/>
                </a:cubicBezTo>
                <a:cubicBezTo>
                  <a:pt x="473" y="449"/>
                  <a:pt x="473" y="449"/>
                  <a:pt x="473" y="450"/>
                </a:cubicBezTo>
                <a:cubicBezTo>
                  <a:pt x="473" y="450"/>
                  <a:pt x="473" y="449"/>
                  <a:pt x="474" y="449"/>
                </a:cubicBezTo>
                <a:cubicBezTo>
                  <a:pt x="474" y="449"/>
                  <a:pt x="474" y="448"/>
                  <a:pt x="474" y="448"/>
                </a:cubicBezTo>
                <a:cubicBezTo>
                  <a:pt x="474" y="447"/>
                  <a:pt x="474" y="446"/>
                  <a:pt x="474" y="446"/>
                </a:cubicBezTo>
                <a:cubicBezTo>
                  <a:pt x="474" y="445"/>
                  <a:pt x="474" y="445"/>
                  <a:pt x="475" y="445"/>
                </a:cubicBezTo>
                <a:cubicBezTo>
                  <a:pt x="474" y="445"/>
                  <a:pt x="474" y="445"/>
                  <a:pt x="474" y="445"/>
                </a:cubicBezTo>
                <a:cubicBezTo>
                  <a:pt x="474" y="445"/>
                  <a:pt x="474" y="445"/>
                  <a:pt x="474" y="445"/>
                </a:cubicBezTo>
                <a:cubicBezTo>
                  <a:pt x="474" y="445"/>
                  <a:pt x="473" y="445"/>
                  <a:pt x="473" y="445"/>
                </a:cubicBezTo>
                <a:cubicBezTo>
                  <a:pt x="473" y="445"/>
                  <a:pt x="473" y="445"/>
                  <a:pt x="473" y="445"/>
                </a:cubicBezTo>
                <a:cubicBezTo>
                  <a:pt x="473" y="445"/>
                  <a:pt x="474" y="444"/>
                  <a:pt x="474" y="444"/>
                </a:cubicBezTo>
                <a:cubicBezTo>
                  <a:pt x="474" y="444"/>
                  <a:pt x="474" y="444"/>
                  <a:pt x="474" y="443"/>
                </a:cubicBezTo>
                <a:cubicBezTo>
                  <a:pt x="474" y="444"/>
                  <a:pt x="473" y="444"/>
                  <a:pt x="473" y="444"/>
                </a:cubicBezTo>
                <a:cubicBezTo>
                  <a:pt x="473" y="444"/>
                  <a:pt x="473" y="444"/>
                  <a:pt x="472" y="443"/>
                </a:cubicBezTo>
                <a:cubicBezTo>
                  <a:pt x="472" y="443"/>
                  <a:pt x="473" y="443"/>
                  <a:pt x="473" y="443"/>
                </a:cubicBezTo>
                <a:cubicBezTo>
                  <a:pt x="473" y="443"/>
                  <a:pt x="473" y="443"/>
                  <a:pt x="473" y="442"/>
                </a:cubicBezTo>
                <a:cubicBezTo>
                  <a:pt x="473" y="442"/>
                  <a:pt x="473" y="442"/>
                  <a:pt x="473" y="441"/>
                </a:cubicBezTo>
                <a:cubicBezTo>
                  <a:pt x="473" y="441"/>
                  <a:pt x="473" y="441"/>
                  <a:pt x="474" y="441"/>
                </a:cubicBezTo>
                <a:cubicBezTo>
                  <a:pt x="474" y="440"/>
                  <a:pt x="475" y="439"/>
                  <a:pt x="475" y="439"/>
                </a:cubicBezTo>
                <a:cubicBezTo>
                  <a:pt x="476" y="438"/>
                  <a:pt x="476" y="438"/>
                  <a:pt x="476" y="437"/>
                </a:cubicBezTo>
                <a:cubicBezTo>
                  <a:pt x="476" y="437"/>
                  <a:pt x="476" y="436"/>
                  <a:pt x="477" y="436"/>
                </a:cubicBezTo>
                <a:cubicBezTo>
                  <a:pt x="476" y="436"/>
                  <a:pt x="476" y="436"/>
                  <a:pt x="476" y="435"/>
                </a:cubicBezTo>
                <a:cubicBezTo>
                  <a:pt x="476" y="435"/>
                  <a:pt x="475" y="435"/>
                  <a:pt x="474" y="434"/>
                </a:cubicBezTo>
                <a:cubicBezTo>
                  <a:pt x="474" y="434"/>
                  <a:pt x="474" y="435"/>
                  <a:pt x="473" y="435"/>
                </a:cubicBezTo>
                <a:cubicBezTo>
                  <a:pt x="474" y="435"/>
                  <a:pt x="474" y="435"/>
                  <a:pt x="474" y="435"/>
                </a:cubicBezTo>
                <a:cubicBezTo>
                  <a:pt x="474" y="435"/>
                  <a:pt x="473" y="435"/>
                  <a:pt x="473" y="435"/>
                </a:cubicBezTo>
                <a:cubicBezTo>
                  <a:pt x="472" y="435"/>
                  <a:pt x="472" y="436"/>
                  <a:pt x="471" y="436"/>
                </a:cubicBezTo>
                <a:cubicBezTo>
                  <a:pt x="470" y="436"/>
                  <a:pt x="470" y="436"/>
                  <a:pt x="469" y="436"/>
                </a:cubicBezTo>
                <a:cubicBezTo>
                  <a:pt x="469" y="436"/>
                  <a:pt x="469" y="436"/>
                  <a:pt x="469" y="437"/>
                </a:cubicBezTo>
                <a:cubicBezTo>
                  <a:pt x="469" y="437"/>
                  <a:pt x="468" y="437"/>
                  <a:pt x="468" y="437"/>
                </a:cubicBezTo>
                <a:cubicBezTo>
                  <a:pt x="468" y="437"/>
                  <a:pt x="468" y="437"/>
                  <a:pt x="468" y="437"/>
                </a:cubicBezTo>
                <a:cubicBezTo>
                  <a:pt x="467" y="437"/>
                  <a:pt x="467" y="437"/>
                  <a:pt x="466" y="438"/>
                </a:cubicBezTo>
                <a:cubicBezTo>
                  <a:pt x="466" y="438"/>
                  <a:pt x="466" y="438"/>
                  <a:pt x="466" y="438"/>
                </a:cubicBezTo>
                <a:cubicBezTo>
                  <a:pt x="464" y="439"/>
                  <a:pt x="463" y="439"/>
                  <a:pt x="462" y="440"/>
                </a:cubicBezTo>
                <a:cubicBezTo>
                  <a:pt x="461" y="440"/>
                  <a:pt x="460" y="441"/>
                  <a:pt x="459" y="441"/>
                </a:cubicBezTo>
                <a:cubicBezTo>
                  <a:pt x="459" y="441"/>
                  <a:pt x="459" y="441"/>
                  <a:pt x="459" y="442"/>
                </a:cubicBezTo>
                <a:cubicBezTo>
                  <a:pt x="459" y="442"/>
                  <a:pt x="459" y="442"/>
                  <a:pt x="460" y="441"/>
                </a:cubicBezTo>
                <a:cubicBezTo>
                  <a:pt x="459" y="442"/>
                  <a:pt x="459" y="443"/>
                  <a:pt x="458" y="444"/>
                </a:cubicBezTo>
                <a:cubicBezTo>
                  <a:pt x="458" y="444"/>
                  <a:pt x="459" y="445"/>
                  <a:pt x="459" y="446"/>
                </a:cubicBezTo>
                <a:cubicBezTo>
                  <a:pt x="459" y="446"/>
                  <a:pt x="459" y="446"/>
                  <a:pt x="459" y="446"/>
                </a:cubicBezTo>
                <a:cubicBezTo>
                  <a:pt x="459" y="447"/>
                  <a:pt x="458" y="447"/>
                  <a:pt x="458" y="448"/>
                </a:cubicBezTo>
                <a:cubicBezTo>
                  <a:pt x="458" y="448"/>
                  <a:pt x="458" y="449"/>
                  <a:pt x="458" y="449"/>
                </a:cubicBezTo>
                <a:cubicBezTo>
                  <a:pt x="458" y="449"/>
                  <a:pt x="458" y="450"/>
                  <a:pt x="457" y="450"/>
                </a:cubicBezTo>
                <a:cubicBezTo>
                  <a:pt x="457" y="450"/>
                  <a:pt x="457" y="450"/>
                  <a:pt x="457" y="451"/>
                </a:cubicBezTo>
                <a:cubicBezTo>
                  <a:pt x="456" y="451"/>
                  <a:pt x="455" y="452"/>
                  <a:pt x="455" y="452"/>
                </a:cubicBezTo>
                <a:cubicBezTo>
                  <a:pt x="455" y="452"/>
                  <a:pt x="455" y="452"/>
                  <a:pt x="455" y="452"/>
                </a:cubicBezTo>
                <a:cubicBezTo>
                  <a:pt x="455" y="452"/>
                  <a:pt x="455" y="452"/>
                  <a:pt x="456" y="451"/>
                </a:cubicBezTo>
                <a:cubicBezTo>
                  <a:pt x="456" y="452"/>
                  <a:pt x="456" y="452"/>
                  <a:pt x="456" y="452"/>
                </a:cubicBezTo>
                <a:cubicBezTo>
                  <a:pt x="456" y="452"/>
                  <a:pt x="456" y="453"/>
                  <a:pt x="456" y="453"/>
                </a:cubicBezTo>
                <a:cubicBezTo>
                  <a:pt x="456" y="453"/>
                  <a:pt x="456" y="454"/>
                  <a:pt x="455" y="454"/>
                </a:cubicBezTo>
                <a:cubicBezTo>
                  <a:pt x="455" y="454"/>
                  <a:pt x="455" y="454"/>
                  <a:pt x="455" y="454"/>
                </a:cubicBezTo>
                <a:cubicBezTo>
                  <a:pt x="455" y="454"/>
                  <a:pt x="455" y="455"/>
                  <a:pt x="455" y="455"/>
                </a:cubicBezTo>
                <a:cubicBezTo>
                  <a:pt x="454" y="455"/>
                  <a:pt x="454" y="455"/>
                  <a:pt x="454" y="455"/>
                </a:cubicBezTo>
                <a:cubicBezTo>
                  <a:pt x="454" y="455"/>
                  <a:pt x="453" y="455"/>
                  <a:pt x="453" y="455"/>
                </a:cubicBezTo>
                <a:cubicBezTo>
                  <a:pt x="453" y="454"/>
                  <a:pt x="453" y="454"/>
                  <a:pt x="453" y="454"/>
                </a:cubicBezTo>
                <a:cubicBezTo>
                  <a:pt x="453" y="454"/>
                  <a:pt x="453" y="454"/>
                  <a:pt x="454" y="453"/>
                </a:cubicBezTo>
                <a:cubicBezTo>
                  <a:pt x="453" y="453"/>
                  <a:pt x="453" y="453"/>
                  <a:pt x="452" y="454"/>
                </a:cubicBezTo>
                <a:cubicBezTo>
                  <a:pt x="452" y="454"/>
                  <a:pt x="452" y="454"/>
                  <a:pt x="452" y="454"/>
                </a:cubicBezTo>
                <a:cubicBezTo>
                  <a:pt x="452" y="454"/>
                  <a:pt x="451" y="454"/>
                  <a:pt x="451" y="454"/>
                </a:cubicBezTo>
                <a:cubicBezTo>
                  <a:pt x="450" y="454"/>
                  <a:pt x="450" y="454"/>
                  <a:pt x="449" y="455"/>
                </a:cubicBezTo>
                <a:cubicBezTo>
                  <a:pt x="449" y="455"/>
                  <a:pt x="449" y="455"/>
                  <a:pt x="449" y="455"/>
                </a:cubicBezTo>
                <a:cubicBezTo>
                  <a:pt x="448" y="455"/>
                  <a:pt x="448" y="456"/>
                  <a:pt x="448" y="456"/>
                </a:cubicBezTo>
                <a:cubicBezTo>
                  <a:pt x="447" y="456"/>
                  <a:pt x="447" y="456"/>
                  <a:pt x="446" y="456"/>
                </a:cubicBezTo>
                <a:cubicBezTo>
                  <a:pt x="446" y="456"/>
                  <a:pt x="446" y="457"/>
                  <a:pt x="446" y="457"/>
                </a:cubicBezTo>
                <a:cubicBezTo>
                  <a:pt x="445" y="457"/>
                  <a:pt x="445" y="458"/>
                  <a:pt x="444" y="458"/>
                </a:cubicBezTo>
                <a:cubicBezTo>
                  <a:pt x="444" y="458"/>
                  <a:pt x="444" y="458"/>
                  <a:pt x="443" y="458"/>
                </a:cubicBezTo>
                <a:cubicBezTo>
                  <a:pt x="443" y="458"/>
                  <a:pt x="443" y="458"/>
                  <a:pt x="443" y="458"/>
                </a:cubicBezTo>
                <a:cubicBezTo>
                  <a:pt x="442" y="458"/>
                  <a:pt x="442" y="459"/>
                  <a:pt x="441" y="459"/>
                </a:cubicBezTo>
                <a:cubicBezTo>
                  <a:pt x="441" y="459"/>
                  <a:pt x="441" y="459"/>
                  <a:pt x="440" y="460"/>
                </a:cubicBezTo>
                <a:cubicBezTo>
                  <a:pt x="440" y="459"/>
                  <a:pt x="440" y="459"/>
                  <a:pt x="440" y="459"/>
                </a:cubicBezTo>
                <a:cubicBezTo>
                  <a:pt x="439" y="459"/>
                  <a:pt x="439" y="458"/>
                  <a:pt x="438" y="458"/>
                </a:cubicBezTo>
                <a:cubicBezTo>
                  <a:pt x="438" y="458"/>
                  <a:pt x="437" y="458"/>
                  <a:pt x="437" y="458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58"/>
                  <a:pt x="435" y="458"/>
                  <a:pt x="435" y="458"/>
                </a:cubicBezTo>
                <a:cubicBezTo>
                  <a:pt x="435" y="458"/>
                  <a:pt x="435" y="459"/>
                  <a:pt x="434" y="459"/>
                </a:cubicBezTo>
                <a:cubicBezTo>
                  <a:pt x="434" y="458"/>
                  <a:pt x="434" y="458"/>
                  <a:pt x="434" y="458"/>
                </a:cubicBezTo>
                <a:cubicBezTo>
                  <a:pt x="433" y="458"/>
                  <a:pt x="432" y="458"/>
                  <a:pt x="431" y="457"/>
                </a:cubicBezTo>
                <a:cubicBezTo>
                  <a:pt x="431" y="457"/>
                  <a:pt x="431" y="457"/>
                  <a:pt x="431" y="457"/>
                </a:cubicBezTo>
                <a:cubicBezTo>
                  <a:pt x="431" y="457"/>
                  <a:pt x="430" y="456"/>
                  <a:pt x="430" y="456"/>
                </a:cubicBezTo>
                <a:cubicBezTo>
                  <a:pt x="430" y="456"/>
                  <a:pt x="430" y="456"/>
                  <a:pt x="429" y="455"/>
                </a:cubicBezTo>
                <a:cubicBezTo>
                  <a:pt x="429" y="455"/>
                  <a:pt x="429" y="455"/>
                  <a:pt x="429" y="455"/>
                </a:cubicBezTo>
                <a:cubicBezTo>
                  <a:pt x="427" y="454"/>
                  <a:pt x="426" y="454"/>
                  <a:pt x="425" y="454"/>
                </a:cubicBezTo>
                <a:cubicBezTo>
                  <a:pt x="425" y="453"/>
                  <a:pt x="425" y="453"/>
                  <a:pt x="425" y="453"/>
                </a:cubicBezTo>
                <a:cubicBezTo>
                  <a:pt x="424" y="453"/>
                  <a:pt x="424" y="453"/>
                  <a:pt x="424" y="453"/>
                </a:cubicBezTo>
                <a:cubicBezTo>
                  <a:pt x="424" y="452"/>
                  <a:pt x="424" y="452"/>
                  <a:pt x="424" y="452"/>
                </a:cubicBezTo>
                <a:cubicBezTo>
                  <a:pt x="424" y="452"/>
                  <a:pt x="424" y="452"/>
                  <a:pt x="424" y="452"/>
                </a:cubicBezTo>
                <a:cubicBezTo>
                  <a:pt x="423" y="451"/>
                  <a:pt x="423" y="451"/>
                  <a:pt x="423" y="450"/>
                </a:cubicBezTo>
                <a:cubicBezTo>
                  <a:pt x="422" y="450"/>
                  <a:pt x="422" y="450"/>
                  <a:pt x="422" y="450"/>
                </a:cubicBezTo>
                <a:cubicBezTo>
                  <a:pt x="422" y="450"/>
                  <a:pt x="422" y="450"/>
                  <a:pt x="422" y="449"/>
                </a:cubicBezTo>
                <a:cubicBezTo>
                  <a:pt x="422" y="449"/>
                  <a:pt x="423" y="450"/>
                  <a:pt x="423" y="450"/>
                </a:cubicBezTo>
                <a:cubicBezTo>
                  <a:pt x="423" y="450"/>
                  <a:pt x="423" y="451"/>
                  <a:pt x="424" y="451"/>
                </a:cubicBezTo>
                <a:cubicBezTo>
                  <a:pt x="424" y="451"/>
                  <a:pt x="424" y="451"/>
                  <a:pt x="424" y="451"/>
                </a:cubicBezTo>
                <a:cubicBezTo>
                  <a:pt x="424" y="450"/>
                  <a:pt x="424" y="450"/>
                  <a:pt x="423" y="450"/>
                </a:cubicBezTo>
                <a:cubicBezTo>
                  <a:pt x="423" y="449"/>
                  <a:pt x="422" y="449"/>
                  <a:pt x="422" y="449"/>
                </a:cubicBezTo>
                <a:cubicBezTo>
                  <a:pt x="422" y="448"/>
                  <a:pt x="422" y="448"/>
                  <a:pt x="422" y="448"/>
                </a:cubicBezTo>
                <a:cubicBezTo>
                  <a:pt x="421" y="448"/>
                  <a:pt x="421" y="447"/>
                  <a:pt x="421" y="447"/>
                </a:cubicBezTo>
                <a:cubicBezTo>
                  <a:pt x="421" y="447"/>
                  <a:pt x="421" y="446"/>
                  <a:pt x="420" y="446"/>
                </a:cubicBezTo>
                <a:cubicBezTo>
                  <a:pt x="421" y="446"/>
                  <a:pt x="421" y="446"/>
                  <a:pt x="421" y="445"/>
                </a:cubicBezTo>
                <a:cubicBezTo>
                  <a:pt x="421" y="445"/>
                  <a:pt x="421" y="444"/>
                  <a:pt x="421" y="443"/>
                </a:cubicBezTo>
                <a:cubicBezTo>
                  <a:pt x="420" y="443"/>
                  <a:pt x="420" y="443"/>
                  <a:pt x="420" y="442"/>
                </a:cubicBezTo>
                <a:cubicBezTo>
                  <a:pt x="420" y="442"/>
                  <a:pt x="420" y="441"/>
                  <a:pt x="420" y="441"/>
                </a:cubicBezTo>
                <a:cubicBezTo>
                  <a:pt x="420" y="440"/>
                  <a:pt x="420" y="440"/>
                  <a:pt x="420" y="440"/>
                </a:cubicBezTo>
                <a:cubicBezTo>
                  <a:pt x="420" y="440"/>
                  <a:pt x="420" y="440"/>
                  <a:pt x="420" y="439"/>
                </a:cubicBezTo>
                <a:cubicBezTo>
                  <a:pt x="420" y="439"/>
                  <a:pt x="420" y="439"/>
                  <a:pt x="419" y="439"/>
                </a:cubicBezTo>
                <a:cubicBezTo>
                  <a:pt x="419" y="439"/>
                  <a:pt x="419" y="439"/>
                  <a:pt x="419" y="438"/>
                </a:cubicBezTo>
                <a:cubicBezTo>
                  <a:pt x="419" y="438"/>
                  <a:pt x="419" y="438"/>
                  <a:pt x="420" y="438"/>
                </a:cubicBezTo>
                <a:cubicBezTo>
                  <a:pt x="420" y="438"/>
                  <a:pt x="419" y="437"/>
                  <a:pt x="419" y="437"/>
                </a:cubicBezTo>
                <a:cubicBezTo>
                  <a:pt x="420" y="437"/>
                  <a:pt x="420" y="437"/>
                  <a:pt x="420" y="436"/>
                </a:cubicBezTo>
                <a:cubicBezTo>
                  <a:pt x="419" y="436"/>
                  <a:pt x="419" y="436"/>
                  <a:pt x="419" y="436"/>
                </a:cubicBezTo>
                <a:cubicBezTo>
                  <a:pt x="419" y="436"/>
                  <a:pt x="419" y="436"/>
                  <a:pt x="419" y="436"/>
                </a:cubicBezTo>
                <a:cubicBezTo>
                  <a:pt x="419" y="435"/>
                  <a:pt x="419" y="435"/>
                  <a:pt x="419" y="435"/>
                </a:cubicBezTo>
                <a:cubicBezTo>
                  <a:pt x="419" y="435"/>
                  <a:pt x="420" y="434"/>
                  <a:pt x="420" y="434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4"/>
                  <a:pt x="421" y="434"/>
                  <a:pt x="421" y="434"/>
                </a:cubicBezTo>
                <a:cubicBezTo>
                  <a:pt x="421" y="433"/>
                  <a:pt x="421" y="433"/>
                  <a:pt x="421" y="433"/>
                </a:cubicBezTo>
                <a:cubicBezTo>
                  <a:pt x="421" y="433"/>
                  <a:pt x="421" y="432"/>
                  <a:pt x="421" y="432"/>
                </a:cubicBezTo>
                <a:cubicBezTo>
                  <a:pt x="421" y="432"/>
                  <a:pt x="421" y="432"/>
                  <a:pt x="421" y="431"/>
                </a:cubicBezTo>
                <a:cubicBezTo>
                  <a:pt x="421" y="431"/>
                  <a:pt x="421" y="431"/>
                  <a:pt x="421" y="431"/>
                </a:cubicBezTo>
                <a:cubicBezTo>
                  <a:pt x="421" y="431"/>
                  <a:pt x="421" y="431"/>
                  <a:pt x="420" y="432"/>
                </a:cubicBezTo>
                <a:cubicBezTo>
                  <a:pt x="420" y="432"/>
                  <a:pt x="420" y="432"/>
                  <a:pt x="420" y="433"/>
                </a:cubicBezTo>
                <a:cubicBezTo>
                  <a:pt x="420" y="433"/>
                  <a:pt x="420" y="433"/>
                  <a:pt x="420" y="433"/>
                </a:cubicBezTo>
                <a:cubicBezTo>
                  <a:pt x="420" y="433"/>
                  <a:pt x="420" y="433"/>
                  <a:pt x="420" y="433"/>
                </a:cubicBezTo>
                <a:cubicBezTo>
                  <a:pt x="420" y="432"/>
                  <a:pt x="420" y="432"/>
                  <a:pt x="420" y="432"/>
                </a:cubicBezTo>
                <a:cubicBezTo>
                  <a:pt x="420" y="431"/>
                  <a:pt x="420" y="431"/>
                  <a:pt x="420" y="431"/>
                </a:cubicBezTo>
                <a:cubicBezTo>
                  <a:pt x="420" y="431"/>
                  <a:pt x="420" y="430"/>
                  <a:pt x="420" y="430"/>
                </a:cubicBezTo>
                <a:cubicBezTo>
                  <a:pt x="419" y="430"/>
                  <a:pt x="419" y="429"/>
                  <a:pt x="419" y="429"/>
                </a:cubicBezTo>
                <a:cubicBezTo>
                  <a:pt x="419" y="429"/>
                  <a:pt x="419" y="428"/>
                  <a:pt x="419" y="428"/>
                </a:cubicBezTo>
                <a:cubicBezTo>
                  <a:pt x="419" y="428"/>
                  <a:pt x="419" y="428"/>
                  <a:pt x="419" y="427"/>
                </a:cubicBezTo>
                <a:cubicBezTo>
                  <a:pt x="419" y="427"/>
                  <a:pt x="419" y="427"/>
                  <a:pt x="419" y="426"/>
                </a:cubicBezTo>
                <a:cubicBezTo>
                  <a:pt x="419" y="426"/>
                  <a:pt x="419" y="426"/>
                  <a:pt x="419" y="425"/>
                </a:cubicBezTo>
                <a:cubicBezTo>
                  <a:pt x="419" y="425"/>
                  <a:pt x="419" y="424"/>
                  <a:pt x="419" y="424"/>
                </a:cubicBezTo>
                <a:cubicBezTo>
                  <a:pt x="419" y="424"/>
                  <a:pt x="419" y="424"/>
                  <a:pt x="419" y="424"/>
                </a:cubicBezTo>
                <a:cubicBezTo>
                  <a:pt x="420" y="423"/>
                  <a:pt x="420" y="423"/>
                  <a:pt x="420" y="423"/>
                </a:cubicBezTo>
                <a:cubicBezTo>
                  <a:pt x="420" y="423"/>
                  <a:pt x="420" y="422"/>
                  <a:pt x="419" y="422"/>
                </a:cubicBezTo>
                <a:cubicBezTo>
                  <a:pt x="420" y="422"/>
                  <a:pt x="420" y="422"/>
                  <a:pt x="420" y="421"/>
                </a:cubicBezTo>
                <a:cubicBezTo>
                  <a:pt x="420" y="421"/>
                  <a:pt x="420" y="421"/>
                  <a:pt x="421" y="421"/>
                </a:cubicBezTo>
                <a:cubicBezTo>
                  <a:pt x="421" y="421"/>
                  <a:pt x="421" y="421"/>
                  <a:pt x="421" y="421"/>
                </a:cubicBezTo>
                <a:cubicBezTo>
                  <a:pt x="421" y="421"/>
                  <a:pt x="421" y="420"/>
                  <a:pt x="421" y="420"/>
                </a:cubicBezTo>
                <a:cubicBezTo>
                  <a:pt x="421" y="420"/>
                  <a:pt x="421" y="420"/>
                  <a:pt x="422" y="420"/>
                </a:cubicBezTo>
                <a:cubicBezTo>
                  <a:pt x="422" y="420"/>
                  <a:pt x="422" y="420"/>
                  <a:pt x="423" y="419"/>
                </a:cubicBezTo>
                <a:cubicBezTo>
                  <a:pt x="422" y="419"/>
                  <a:pt x="422" y="419"/>
                  <a:pt x="422" y="419"/>
                </a:cubicBezTo>
                <a:cubicBezTo>
                  <a:pt x="422" y="419"/>
                  <a:pt x="422" y="419"/>
                  <a:pt x="423" y="419"/>
                </a:cubicBezTo>
                <a:cubicBezTo>
                  <a:pt x="423" y="419"/>
                  <a:pt x="423" y="419"/>
                  <a:pt x="423" y="419"/>
                </a:cubicBezTo>
                <a:cubicBezTo>
                  <a:pt x="423" y="419"/>
                  <a:pt x="423" y="418"/>
                  <a:pt x="424" y="418"/>
                </a:cubicBezTo>
                <a:cubicBezTo>
                  <a:pt x="424" y="418"/>
                  <a:pt x="424" y="418"/>
                  <a:pt x="424" y="418"/>
                </a:cubicBezTo>
                <a:cubicBezTo>
                  <a:pt x="424" y="419"/>
                  <a:pt x="424" y="419"/>
                  <a:pt x="424" y="419"/>
                </a:cubicBezTo>
                <a:cubicBezTo>
                  <a:pt x="424" y="419"/>
                  <a:pt x="424" y="419"/>
                  <a:pt x="424" y="419"/>
                </a:cubicBezTo>
                <a:cubicBezTo>
                  <a:pt x="425" y="419"/>
                  <a:pt x="425" y="418"/>
                  <a:pt x="425" y="418"/>
                </a:cubicBezTo>
                <a:cubicBezTo>
                  <a:pt x="425" y="418"/>
                  <a:pt x="426" y="418"/>
                  <a:pt x="426" y="418"/>
                </a:cubicBezTo>
                <a:cubicBezTo>
                  <a:pt x="426" y="418"/>
                  <a:pt x="427" y="417"/>
                  <a:pt x="428" y="417"/>
                </a:cubicBezTo>
                <a:cubicBezTo>
                  <a:pt x="428" y="416"/>
                  <a:pt x="429" y="416"/>
                  <a:pt x="429" y="415"/>
                </a:cubicBezTo>
                <a:cubicBezTo>
                  <a:pt x="429" y="415"/>
                  <a:pt x="429" y="415"/>
                  <a:pt x="430" y="415"/>
                </a:cubicBezTo>
                <a:cubicBezTo>
                  <a:pt x="430" y="415"/>
                  <a:pt x="430" y="415"/>
                  <a:pt x="430" y="414"/>
                </a:cubicBezTo>
                <a:cubicBezTo>
                  <a:pt x="430" y="414"/>
                  <a:pt x="430" y="414"/>
                  <a:pt x="430" y="414"/>
                </a:cubicBezTo>
                <a:cubicBezTo>
                  <a:pt x="430" y="413"/>
                  <a:pt x="430" y="413"/>
                  <a:pt x="430" y="413"/>
                </a:cubicBezTo>
                <a:cubicBezTo>
                  <a:pt x="429" y="413"/>
                  <a:pt x="429" y="412"/>
                  <a:pt x="429" y="412"/>
                </a:cubicBezTo>
                <a:cubicBezTo>
                  <a:pt x="429" y="412"/>
                  <a:pt x="429" y="412"/>
                  <a:pt x="429" y="412"/>
                </a:cubicBezTo>
                <a:cubicBezTo>
                  <a:pt x="429" y="412"/>
                  <a:pt x="430" y="412"/>
                  <a:pt x="430" y="412"/>
                </a:cubicBezTo>
                <a:cubicBezTo>
                  <a:pt x="430" y="412"/>
                  <a:pt x="430" y="412"/>
                  <a:pt x="431" y="411"/>
                </a:cubicBezTo>
                <a:cubicBezTo>
                  <a:pt x="431" y="411"/>
                  <a:pt x="431" y="411"/>
                  <a:pt x="431" y="411"/>
                </a:cubicBezTo>
                <a:cubicBezTo>
                  <a:pt x="431" y="411"/>
                  <a:pt x="431" y="411"/>
                  <a:pt x="431" y="412"/>
                </a:cubicBezTo>
                <a:cubicBezTo>
                  <a:pt x="431" y="412"/>
                  <a:pt x="431" y="412"/>
                  <a:pt x="431" y="412"/>
                </a:cubicBezTo>
                <a:cubicBezTo>
                  <a:pt x="431" y="412"/>
                  <a:pt x="431" y="413"/>
                  <a:pt x="431" y="413"/>
                </a:cubicBezTo>
                <a:cubicBezTo>
                  <a:pt x="431" y="413"/>
                  <a:pt x="431" y="413"/>
                  <a:pt x="431" y="413"/>
                </a:cubicBezTo>
                <a:cubicBezTo>
                  <a:pt x="432" y="413"/>
                  <a:pt x="432" y="413"/>
                  <a:pt x="432" y="413"/>
                </a:cubicBezTo>
                <a:cubicBezTo>
                  <a:pt x="432" y="413"/>
                  <a:pt x="433" y="412"/>
                  <a:pt x="433" y="412"/>
                </a:cubicBezTo>
                <a:cubicBezTo>
                  <a:pt x="433" y="412"/>
                  <a:pt x="433" y="412"/>
                  <a:pt x="434" y="412"/>
                </a:cubicBezTo>
                <a:cubicBezTo>
                  <a:pt x="434" y="411"/>
                  <a:pt x="434" y="411"/>
                  <a:pt x="434" y="411"/>
                </a:cubicBezTo>
                <a:cubicBezTo>
                  <a:pt x="435" y="411"/>
                  <a:pt x="435" y="411"/>
                  <a:pt x="436" y="410"/>
                </a:cubicBezTo>
                <a:cubicBezTo>
                  <a:pt x="436" y="410"/>
                  <a:pt x="437" y="410"/>
                  <a:pt x="437" y="410"/>
                </a:cubicBezTo>
                <a:cubicBezTo>
                  <a:pt x="438" y="410"/>
                  <a:pt x="439" y="410"/>
                  <a:pt x="440" y="410"/>
                </a:cubicBezTo>
                <a:cubicBezTo>
                  <a:pt x="440" y="410"/>
                  <a:pt x="440" y="410"/>
                  <a:pt x="440" y="410"/>
                </a:cubicBezTo>
                <a:cubicBezTo>
                  <a:pt x="441" y="410"/>
                  <a:pt x="442" y="409"/>
                  <a:pt x="443" y="409"/>
                </a:cubicBezTo>
                <a:cubicBezTo>
                  <a:pt x="443" y="409"/>
                  <a:pt x="444" y="409"/>
                  <a:pt x="444" y="409"/>
                </a:cubicBezTo>
                <a:cubicBezTo>
                  <a:pt x="444" y="409"/>
                  <a:pt x="444" y="409"/>
                  <a:pt x="444" y="408"/>
                </a:cubicBezTo>
                <a:cubicBezTo>
                  <a:pt x="444" y="408"/>
                  <a:pt x="444" y="408"/>
                  <a:pt x="444" y="408"/>
                </a:cubicBezTo>
                <a:cubicBezTo>
                  <a:pt x="444" y="408"/>
                  <a:pt x="444" y="408"/>
                  <a:pt x="444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6" y="408"/>
                  <a:pt x="446" y="408"/>
                  <a:pt x="446" y="408"/>
                </a:cubicBezTo>
                <a:cubicBezTo>
                  <a:pt x="446" y="408"/>
                  <a:pt x="446" y="408"/>
                  <a:pt x="446" y="408"/>
                </a:cubicBezTo>
                <a:cubicBezTo>
                  <a:pt x="446" y="408"/>
                  <a:pt x="447" y="408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8"/>
                  <a:pt x="448" y="408"/>
                  <a:pt x="448" y="408"/>
                </a:cubicBezTo>
                <a:cubicBezTo>
                  <a:pt x="448" y="408"/>
                  <a:pt x="448" y="408"/>
                  <a:pt x="448" y="408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9" y="409"/>
                  <a:pt x="449" y="409"/>
                </a:cubicBezTo>
                <a:cubicBezTo>
                  <a:pt x="449" y="409"/>
                  <a:pt x="450" y="409"/>
                  <a:pt x="450" y="409"/>
                </a:cubicBezTo>
                <a:cubicBezTo>
                  <a:pt x="450" y="409"/>
                  <a:pt x="451" y="409"/>
                  <a:pt x="451" y="409"/>
                </a:cubicBezTo>
                <a:cubicBezTo>
                  <a:pt x="451" y="409"/>
                  <a:pt x="451" y="409"/>
                  <a:pt x="451" y="409"/>
                </a:cubicBezTo>
                <a:cubicBezTo>
                  <a:pt x="452" y="408"/>
                  <a:pt x="452" y="408"/>
                  <a:pt x="452" y="408"/>
                </a:cubicBezTo>
                <a:cubicBezTo>
                  <a:pt x="452" y="408"/>
                  <a:pt x="453" y="408"/>
                  <a:pt x="453" y="408"/>
                </a:cubicBezTo>
                <a:cubicBezTo>
                  <a:pt x="453" y="408"/>
                  <a:pt x="453" y="408"/>
                  <a:pt x="454" y="408"/>
                </a:cubicBezTo>
                <a:cubicBezTo>
                  <a:pt x="454" y="408"/>
                  <a:pt x="454" y="408"/>
                  <a:pt x="454" y="408"/>
                </a:cubicBezTo>
                <a:cubicBezTo>
                  <a:pt x="454" y="408"/>
                  <a:pt x="454" y="407"/>
                  <a:pt x="454" y="407"/>
                </a:cubicBezTo>
                <a:cubicBezTo>
                  <a:pt x="454" y="407"/>
                  <a:pt x="454" y="407"/>
                  <a:pt x="453" y="407"/>
                </a:cubicBezTo>
                <a:cubicBezTo>
                  <a:pt x="454" y="406"/>
                  <a:pt x="454" y="406"/>
                  <a:pt x="454" y="406"/>
                </a:cubicBezTo>
                <a:cubicBezTo>
                  <a:pt x="455" y="406"/>
                  <a:pt x="455" y="407"/>
                  <a:pt x="455" y="407"/>
                </a:cubicBezTo>
                <a:cubicBezTo>
                  <a:pt x="456" y="407"/>
                  <a:pt x="456" y="407"/>
                  <a:pt x="456" y="407"/>
                </a:cubicBezTo>
                <a:cubicBezTo>
                  <a:pt x="456" y="407"/>
                  <a:pt x="457" y="407"/>
                  <a:pt x="457" y="407"/>
                </a:cubicBezTo>
                <a:cubicBezTo>
                  <a:pt x="457" y="407"/>
                  <a:pt x="457" y="407"/>
                  <a:pt x="457" y="407"/>
                </a:cubicBezTo>
                <a:cubicBezTo>
                  <a:pt x="457" y="407"/>
                  <a:pt x="458" y="407"/>
                  <a:pt x="458" y="407"/>
                </a:cubicBezTo>
                <a:cubicBezTo>
                  <a:pt x="458" y="407"/>
                  <a:pt x="458" y="407"/>
                  <a:pt x="458" y="408"/>
                </a:cubicBezTo>
                <a:cubicBezTo>
                  <a:pt x="458" y="408"/>
                  <a:pt x="458" y="407"/>
                  <a:pt x="458" y="407"/>
                </a:cubicBezTo>
                <a:cubicBezTo>
                  <a:pt x="459" y="407"/>
                  <a:pt x="459" y="407"/>
                  <a:pt x="459" y="407"/>
                </a:cubicBezTo>
                <a:cubicBezTo>
                  <a:pt x="459" y="407"/>
                  <a:pt x="459" y="407"/>
                  <a:pt x="459" y="407"/>
                </a:cubicBezTo>
                <a:cubicBezTo>
                  <a:pt x="459" y="406"/>
                  <a:pt x="458" y="406"/>
                  <a:pt x="458" y="406"/>
                </a:cubicBezTo>
                <a:cubicBezTo>
                  <a:pt x="457" y="406"/>
                  <a:pt x="456" y="406"/>
                  <a:pt x="456" y="406"/>
                </a:cubicBezTo>
                <a:cubicBezTo>
                  <a:pt x="456" y="406"/>
                  <a:pt x="456" y="406"/>
                  <a:pt x="455" y="406"/>
                </a:cubicBezTo>
                <a:cubicBezTo>
                  <a:pt x="455" y="406"/>
                  <a:pt x="455" y="405"/>
                  <a:pt x="455" y="405"/>
                </a:cubicBezTo>
                <a:cubicBezTo>
                  <a:pt x="456" y="405"/>
                  <a:pt x="456" y="405"/>
                  <a:pt x="457" y="404"/>
                </a:cubicBezTo>
                <a:cubicBezTo>
                  <a:pt x="457" y="404"/>
                  <a:pt x="457" y="404"/>
                  <a:pt x="457" y="404"/>
                </a:cubicBezTo>
                <a:cubicBezTo>
                  <a:pt x="457" y="404"/>
                  <a:pt x="456" y="404"/>
                  <a:pt x="456" y="404"/>
                </a:cubicBezTo>
                <a:cubicBezTo>
                  <a:pt x="456" y="404"/>
                  <a:pt x="456" y="404"/>
                  <a:pt x="456" y="404"/>
                </a:cubicBezTo>
                <a:cubicBezTo>
                  <a:pt x="455" y="404"/>
                  <a:pt x="455" y="404"/>
                  <a:pt x="455" y="404"/>
                </a:cubicBezTo>
                <a:cubicBezTo>
                  <a:pt x="455" y="404"/>
                  <a:pt x="455" y="404"/>
                  <a:pt x="455" y="404"/>
                </a:cubicBezTo>
                <a:cubicBezTo>
                  <a:pt x="455" y="405"/>
                  <a:pt x="454" y="405"/>
                  <a:pt x="454" y="405"/>
                </a:cubicBezTo>
                <a:cubicBezTo>
                  <a:pt x="454" y="405"/>
                  <a:pt x="454" y="404"/>
                  <a:pt x="454" y="404"/>
                </a:cubicBezTo>
                <a:cubicBezTo>
                  <a:pt x="454" y="404"/>
                  <a:pt x="454" y="404"/>
                  <a:pt x="455" y="403"/>
                </a:cubicBezTo>
                <a:cubicBezTo>
                  <a:pt x="455" y="403"/>
                  <a:pt x="456" y="403"/>
                  <a:pt x="456" y="402"/>
                </a:cubicBezTo>
                <a:cubicBezTo>
                  <a:pt x="456" y="402"/>
                  <a:pt x="457" y="402"/>
                  <a:pt x="457" y="402"/>
                </a:cubicBezTo>
                <a:cubicBezTo>
                  <a:pt x="458" y="401"/>
                  <a:pt x="459" y="401"/>
                  <a:pt x="460" y="400"/>
                </a:cubicBezTo>
                <a:cubicBezTo>
                  <a:pt x="460" y="400"/>
                  <a:pt x="461" y="400"/>
                  <a:pt x="461" y="400"/>
                </a:cubicBezTo>
                <a:cubicBezTo>
                  <a:pt x="461" y="400"/>
                  <a:pt x="461" y="400"/>
                  <a:pt x="461" y="400"/>
                </a:cubicBezTo>
                <a:cubicBezTo>
                  <a:pt x="462" y="400"/>
                  <a:pt x="462" y="400"/>
                  <a:pt x="462" y="400"/>
                </a:cubicBezTo>
                <a:cubicBezTo>
                  <a:pt x="462" y="400"/>
                  <a:pt x="462" y="399"/>
                  <a:pt x="463" y="399"/>
                </a:cubicBezTo>
                <a:cubicBezTo>
                  <a:pt x="463" y="399"/>
                  <a:pt x="463" y="399"/>
                  <a:pt x="463" y="398"/>
                </a:cubicBezTo>
                <a:cubicBezTo>
                  <a:pt x="463" y="398"/>
                  <a:pt x="463" y="398"/>
                  <a:pt x="463" y="398"/>
                </a:cubicBezTo>
                <a:cubicBezTo>
                  <a:pt x="463" y="398"/>
                  <a:pt x="463" y="399"/>
                  <a:pt x="463" y="399"/>
                </a:cubicBezTo>
                <a:cubicBezTo>
                  <a:pt x="463" y="399"/>
                  <a:pt x="464" y="399"/>
                  <a:pt x="464" y="399"/>
                </a:cubicBezTo>
                <a:cubicBezTo>
                  <a:pt x="464" y="399"/>
                  <a:pt x="464" y="399"/>
                  <a:pt x="465" y="399"/>
                </a:cubicBezTo>
                <a:cubicBezTo>
                  <a:pt x="465" y="399"/>
                  <a:pt x="465" y="399"/>
                  <a:pt x="465" y="399"/>
                </a:cubicBezTo>
                <a:cubicBezTo>
                  <a:pt x="466" y="399"/>
                  <a:pt x="466" y="399"/>
                  <a:pt x="467" y="399"/>
                </a:cubicBezTo>
                <a:cubicBezTo>
                  <a:pt x="467" y="399"/>
                  <a:pt x="467" y="398"/>
                  <a:pt x="468" y="398"/>
                </a:cubicBezTo>
                <a:cubicBezTo>
                  <a:pt x="468" y="398"/>
                  <a:pt x="468" y="398"/>
                  <a:pt x="468" y="398"/>
                </a:cubicBezTo>
                <a:cubicBezTo>
                  <a:pt x="469" y="398"/>
                  <a:pt x="469" y="398"/>
                  <a:pt x="470" y="398"/>
                </a:cubicBezTo>
                <a:cubicBezTo>
                  <a:pt x="470" y="398"/>
                  <a:pt x="470" y="398"/>
                  <a:pt x="470" y="398"/>
                </a:cubicBezTo>
                <a:cubicBezTo>
                  <a:pt x="471" y="398"/>
                  <a:pt x="471" y="397"/>
                  <a:pt x="471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72" y="397"/>
                  <a:pt x="473" y="397"/>
                  <a:pt x="473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72" y="397"/>
                  <a:pt x="471" y="397"/>
                  <a:pt x="471" y="397"/>
                </a:cubicBezTo>
                <a:cubicBezTo>
                  <a:pt x="471" y="398"/>
                  <a:pt x="471" y="398"/>
                  <a:pt x="471" y="398"/>
                </a:cubicBezTo>
                <a:cubicBezTo>
                  <a:pt x="471" y="398"/>
                  <a:pt x="472" y="398"/>
                  <a:pt x="472" y="397"/>
                </a:cubicBezTo>
                <a:cubicBezTo>
                  <a:pt x="473" y="397"/>
                  <a:pt x="473" y="397"/>
                  <a:pt x="473" y="397"/>
                </a:cubicBezTo>
                <a:cubicBezTo>
                  <a:pt x="474" y="397"/>
                  <a:pt x="474" y="397"/>
                  <a:pt x="474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6" y="397"/>
                  <a:pt x="476" y="397"/>
                  <a:pt x="476" y="397"/>
                </a:cubicBezTo>
                <a:cubicBezTo>
                  <a:pt x="476" y="397"/>
                  <a:pt x="476" y="397"/>
                  <a:pt x="476" y="398"/>
                </a:cubicBezTo>
                <a:cubicBezTo>
                  <a:pt x="476" y="397"/>
                  <a:pt x="476" y="397"/>
                  <a:pt x="476" y="397"/>
                </a:cubicBezTo>
                <a:cubicBezTo>
                  <a:pt x="476" y="397"/>
                  <a:pt x="475" y="398"/>
                  <a:pt x="475" y="398"/>
                </a:cubicBezTo>
                <a:cubicBezTo>
                  <a:pt x="476" y="398"/>
                  <a:pt x="476" y="398"/>
                  <a:pt x="477" y="398"/>
                </a:cubicBezTo>
                <a:cubicBezTo>
                  <a:pt x="477" y="398"/>
                  <a:pt x="477" y="398"/>
                  <a:pt x="477" y="398"/>
                </a:cubicBezTo>
                <a:cubicBezTo>
                  <a:pt x="478" y="398"/>
                  <a:pt x="478" y="398"/>
                  <a:pt x="478" y="398"/>
                </a:cubicBezTo>
                <a:cubicBezTo>
                  <a:pt x="478" y="398"/>
                  <a:pt x="478" y="399"/>
                  <a:pt x="478" y="399"/>
                </a:cubicBezTo>
                <a:cubicBezTo>
                  <a:pt x="478" y="399"/>
                  <a:pt x="477" y="398"/>
                  <a:pt x="477" y="398"/>
                </a:cubicBezTo>
                <a:cubicBezTo>
                  <a:pt x="477" y="398"/>
                  <a:pt x="477" y="399"/>
                  <a:pt x="477" y="399"/>
                </a:cubicBezTo>
                <a:cubicBezTo>
                  <a:pt x="477" y="399"/>
                  <a:pt x="478" y="399"/>
                  <a:pt x="478" y="399"/>
                </a:cubicBezTo>
                <a:cubicBezTo>
                  <a:pt x="478" y="399"/>
                  <a:pt x="479" y="399"/>
                  <a:pt x="479" y="398"/>
                </a:cubicBezTo>
                <a:cubicBezTo>
                  <a:pt x="479" y="398"/>
                  <a:pt x="480" y="398"/>
                  <a:pt x="480" y="398"/>
                </a:cubicBezTo>
                <a:cubicBezTo>
                  <a:pt x="480" y="398"/>
                  <a:pt x="481" y="397"/>
                  <a:pt x="481" y="397"/>
                </a:cubicBezTo>
                <a:cubicBezTo>
                  <a:pt x="481" y="397"/>
                  <a:pt x="481" y="397"/>
                  <a:pt x="481" y="397"/>
                </a:cubicBezTo>
                <a:cubicBezTo>
                  <a:pt x="482" y="397"/>
                  <a:pt x="482" y="397"/>
                  <a:pt x="482" y="397"/>
                </a:cubicBezTo>
                <a:cubicBezTo>
                  <a:pt x="482" y="397"/>
                  <a:pt x="482" y="396"/>
                  <a:pt x="482" y="396"/>
                </a:cubicBezTo>
                <a:cubicBezTo>
                  <a:pt x="482" y="396"/>
                  <a:pt x="482" y="396"/>
                  <a:pt x="482" y="396"/>
                </a:cubicBezTo>
                <a:cubicBezTo>
                  <a:pt x="482" y="396"/>
                  <a:pt x="483" y="396"/>
                  <a:pt x="483" y="395"/>
                </a:cubicBezTo>
                <a:cubicBezTo>
                  <a:pt x="483" y="395"/>
                  <a:pt x="484" y="396"/>
                  <a:pt x="484" y="396"/>
                </a:cubicBezTo>
                <a:cubicBezTo>
                  <a:pt x="484" y="396"/>
                  <a:pt x="485" y="396"/>
                  <a:pt x="485" y="396"/>
                </a:cubicBezTo>
                <a:cubicBezTo>
                  <a:pt x="485" y="396"/>
                  <a:pt x="486" y="396"/>
                  <a:pt x="486" y="397"/>
                </a:cubicBezTo>
                <a:cubicBezTo>
                  <a:pt x="486" y="397"/>
                  <a:pt x="486" y="397"/>
                  <a:pt x="487" y="397"/>
                </a:cubicBezTo>
                <a:cubicBezTo>
                  <a:pt x="487" y="397"/>
                  <a:pt x="487" y="397"/>
                  <a:pt x="487" y="397"/>
                </a:cubicBezTo>
                <a:cubicBezTo>
                  <a:pt x="487" y="397"/>
                  <a:pt x="487" y="397"/>
                  <a:pt x="487" y="398"/>
                </a:cubicBezTo>
                <a:cubicBezTo>
                  <a:pt x="488" y="398"/>
                  <a:pt x="488" y="398"/>
                  <a:pt x="488" y="398"/>
                </a:cubicBezTo>
                <a:cubicBezTo>
                  <a:pt x="488" y="398"/>
                  <a:pt x="488" y="398"/>
                  <a:pt x="489" y="398"/>
                </a:cubicBezTo>
                <a:cubicBezTo>
                  <a:pt x="489" y="398"/>
                  <a:pt x="489" y="398"/>
                  <a:pt x="489" y="398"/>
                </a:cubicBezTo>
                <a:cubicBezTo>
                  <a:pt x="489" y="398"/>
                  <a:pt x="489" y="398"/>
                  <a:pt x="489" y="398"/>
                </a:cubicBezTo>
                <a:cubicBezTo>
                  <a:pt x="489" y="398"/>
                  <a:pt x="490" y="398"/>
                  <a:pt x="490" y="398"/>
                </a:cubicBezTo>
                <a:cubicBezTo>
                  <a:pt x="490" y="398"/>
                  <a:pt x="491" y="399"/>
                  <a:pt x="491" y="399"/>
                </a:cubicBezTo>
                <a:cubicBezTo>
                  <a:pt x="491" y="399"/>
                  <a:pt x="491" y="399"/>
                  <a:pt x="491" y="400"/>
                </a:cubicBezTo>
                <a:cubicBezTo>
                  <a:pt x="491" y="400"/>
                  <a:pt x="491" y="401"/>
                  <a:pt x="491" y="402"/>
                </a:cubicBezTo>
                <a:cubicBezTo>
                  <a:pt x="491" y="402"/>
                  <a:pt x="490" y="403"/>
                  <a:pt x="490" y="403"/>
                </a:cubicBezTo>
                <a:cubicBezTo>
                  <a:pt x="490" y="403"/>
                  <a:pt x="490" y="403"/>
                  <a:pt x="490" y="404"/>
                </a:cubicBezTo>
                <a:cubicBezTo>
                  <a:pt x="491" y="404"/>
                  <a:pt x="491" y="404"/>
                  <a:pt x="491" y="404"/>
                </a:cubicBezTo>
                <a:cubicBezTo>
                  <a:pt x="491" y="404"/>
                  <a:pt x="491" y="404"/>
                  <a:pt x="491" y="404"/>
                </a:cubicBezTo>
                <a:cubicBezTo>
                  <a:pt x="492" y="404"/>
                  <a:pt x="492" y="403"/>
                  <a:pt x="492" y="403"/>
                </a:cubicBezTo>
                <a:cubicBezTo>
                  <a:pt x="492" y="403"/>
                  <a:pt x="492" y="403"/>
                  <a:pt x="492" y="403"/>
                </a:cubicBezTo>
                <a:cubicBezTo>
                  <a:pt x="492" y="403"/>
                  <a:pt x="492" y="403"/>
                  <a:pt x="492" y="403"/>
                </a:cubicBezTo>
                <a:cubicBezTo>
                  <a:pt x="492" y="403"/>
                  <a:pt x="492" y="403"/>
                  <a:pt x="493" y="403"/>
                </a:cubicBezTo>
                <a:cubicBezTo>
                  <a:pt x="493" y="403"/>
                  <a:pt x="493" y="403"/>
                  <a:pt x="493" y="403"/>
                </a:cubicBezTo>
                <a:cubicBezTo>
                  <a:pt x="493" y="404"/>
                  <a:pt x="492" y="404"/>
                  <a:pt x="492" y="405"/>
                </a:cubicBezTo>
                <a:cubicBezTo>
                  <a:pt x="492" y="405"/>
                  <a:pt x="492" y="405"/>
                  <a:pt x="492" y="405"/>
                </a:cubicBezTo>
                <a:cubicBezTo>
                  <a:pt x="492" y="405"/>
                  <a:pt x="493" y="406"/>
                  <a:pt x="493" y="406"/>
                </a:cubicBezTo>
                <a:cubicBezTo>
                  <a:pt x="493" y="406"/>
                  <a:pt x="493" y="406"/>
                  <a:pt x="493" y="406"/>
                </a:cubicBezTo>
                <a:cubicBezTo>
                  <a:pt x="494" y="406"/>
                  <a:pt x="494" y="406"/>
                  <a:pt x="494" y="407"/>
                </a:cubicBezTo>
                <a:cubicBezTo>
                  <a:pt x="494" y="407"/>
                  <a:pt x="494" y="406"/>
                  <a:pt x="494" y="406"/>
                </a:cubicBezTo>
                <a:cubicBezTo>
                  <a:pt x="494" y="407"/>
                  <a:pt x="494" y="407"/>
                  <a:pt x="495" y="407"/>
                </a:cubicBezTo>
                <a:cubicBezTo>
                  <a:pt x="495" y="407"/>
                  <a:pt x="495" y="407"/>
                  <a:pt x="495" y="407"/>
                </a:cubicBezTo>
                <a:cubicBezTo>
                  <a:pt x="495" y="406"/>
                  <a:pt x="495" y="406"/>
                  <a:pt x="495" y="406"/>
                </a:cubicBezTo>
                <a:cubicBezTo>
                  <a:pt x="495" y="406"/>
                  <a:pt x="495" y="406"/>
                  <a:pt x="495" y="406"/>
                </a:cubicBezTo>
                <a:cubicBezTo>
                  <a:pt x="495" y="406"/>
                  <a:pt x="496" y="406"/>
                  <a:pt x="496" y="406"/>
                </a:cubicBezTo>
                <a:cubicBezTo>
                  <a:pt x="496" y="406"/>
                  <a:pt x="496" y="406"/>
                  <a:pt x="495" y="407"/>
                </a:cubicBezTo>
                <a:cubicBezTo>
                  <a:pt x="495" y="407"/>
                  <a:pt x="495" y="407"/>
                  <a:pt x="495" y="407"/>
                </a:cubicBezTo>
                <a:cubicBezTo>
                  <a:pt x="495" y="407"/>
                  <a:pt x="495" y="408"/>
                  <a:pt x="495" y="408"/>
                </a:cubicBezTo>
                <a:cubicBezTo>
                  <a:pt x="495" y="408"/>
                  <a:pt x="495" y="408"/>
                  <a:pt x="495" y="408"/>
                </a:cubicBezTo>
                <a:cubicBezTo>
                  <a:pt x="496" y="408"/>
                  <a:pt x="496" y="408"/>
                  <a:pt x="497" y="408"/>
                </a:cubicBezTo>
                <a:cubicBezTo>
                  <a:pt x="497" y="409"/>
                  <a:pt x="497" y="409"/>
                  <a:pt x="497" y="409"/>
                </a:cubicBezTo>
                <a:cubicBezTo>
                  <a:pt x="497" y="409"/>
                  <a:pt x="497" y="410"/>
                  <a:pt x="497" y="410"/>
                </a:cubicBezTo>
                <a:cubicBezTo>
                  <a:pt x="497" y="410"/>
                  <a:pt x="498" y="410"/>
                  <a:pt x="498" y="410"/>
                </a:cubicBezTo>
                <a:cubicBezTo>
                  <a:pt x="498" y="410"/>
                  <a:pt x="498" y="410"/>
                  <a:pt x="499" y="410"/>
                </a:cubicBezTo>
                <a:cubicBezTo>
                  <a:pt x="499" y="410"/>
                  <a:pt x="499" y="410"/>
                  <a:pt x="499" y="410"/>
                </a:cubicBezTo>
                <a:cubicBezTo>
                  <a:pt x="499" y="411"/>
                  <a:pt x="499" y="411"/>
                  <a:pt x="499" y="411"/>
                </a:cubicBezTo>
                <a:cubicBezTo>
                  <a:pt x="500" y="411"/>
                  <a:pt x="500" y="411"/>
                  <a:pt x="501" y="411"/>
                </a:cubicBezTo>
                <a:cubicBezTo>
                  <a:pt x="500" y="412"/>
                  <a:pt x="500" y="412"/>
                  <a:pt x="500" y="412"/>
                </a:cubicBezTo>
                <a:cubicBezTo>
                  <a:pt x="500" y="412"/>
                  <a:pt x="501" y="412"/>
                  <a:pt x="501" y="412"/>
                </a:cubicBezTo>
                <a:cubicBezTo>
                  <a:pt x="501" y="412"/>
                  <a:pt x="502" y="412"/>
                  <a:pt x="502" y="412"/>
                </a:cubicBezTo>
                <a:cubicBezTo>
                  <a:pt x="502" y="412"/>
                  <a:pt x="502" y="412"/>
                  <a:pt x="503" y="412"/>
                </a:cubicBezTo>
                <a:cubicBezTo>
                  <a:pt x="503" y="412"/>
                  <a:pt x="503" y="412"/>
                  <a:pt x="504" y="411"/>
                </a:cubicBezTo>
                <a:cubicBezTo>
                  <a:pt x="504" y="411"/>
                  <a:pt x="504" y="411"/>
                  <a:pt x="504" y="411"/>
                </a:cubicBezTo>
                <a:cubicBezTo>
                  <a:pt x="504" y="411"/>
                  <a:pt x="504" y="410"/>
                  <a:pt x="504" y="410"/>
                </a:cubicBezTo>
                <a:cubicBezTo>
                  <a:pt x="504" y="410"/>
                  <a:pt x="505" y="410"/>
                  <a:pt x="505" y="409"/>
                </a:cubicBezTo>
                <a:cubicBezTo>
                  <a:pt x="505" y="409"/>
                  <a:pt x="505" y="409"/>
                  <a:pt x="505" y="408"/>
                </a:cubicBezTo>
                <a:cubicBezTo>
                  <a:pt x="505" y="408"/>
                  <a:pt x="505" y="407"/>
                  <a:pt x="505" y="407"/>
                </a:cubicBezTo>
                <a:cubicBezTo>
                  <a:pt x="505" y="407"/>
                  <a:pt x="505" y="406"/>
                  <a:pt x="505" y="406"/>
                </a:cubicBezTo>
                <a:cubicBezTo>
                  <a:pt x="505" y="406"/>
                  <a:pt x="505" y="406"/>
                  <a:pt x="505" y="406"/>
                </a:cubicBezTo>
                <a:cubicBezTo>
                  <a:pt x="505" y="405"/>
                  <a:pt x="505" y="405"/>
                  <a:pt x="505" y="405"/>
                </a:cubicBezTo>
                <a:cubicBezTo>
                  <a:pt x="505" y="405"/>
                  <a:pt x="505" y="404"/>
                  <a:pt x="505" y="404"/>
                </a:cubicBezTo>
                <a:cubicBezTo>
                  <a:pt x="505" y="404"/>
                  <a:pt x="505" y="404"/>
                  <a:pt x="505" y="404"/>
                </a:cubicBezTo>
                <a:cubicBezTo>
                  <a:pt x="505" y="403"/>
                  <a:pt x="505" y="403"/>
                  <a:pt x="505" y="403"/>
                </a:cubicBezTo>
                <a:cubicBezTo>
                  <a:pt x="504" y="403"/>
                  <a:pt x="504" y="403"/>
                  <a:pt x="504" y="403"/>
                </a:cubicBezTo>
                <a:cubicBezTo>
                  <a:pt x="503" y="402"/>
                  <a:pt x="503" y="401"/>
                  <a:pt x="502" y="401"/>
                </a:cubicBezTo>
                <a:cubicBezTo>
                  <a:pt x="502" y="400"/>
                  <a:pt x="502" y="400"/>
                  <a:pt x="502" y="400"/>
                </a:cubicBezTo>
                <a:cubicBezTo>
                  <a:pt x="502" y="400"/>
                  <a:pt x="502" y="399"/>
                  <a:pt x="502" y="399"/>
                </a:cubicBezTo>
                <a:cubicBezTo>
                  <a:pt x="502" y="399"/>
                  <a:pt x="502" y="398"/>
                  <a:pt x="502" y="398"/>
                </a:cubicBezTo>
                <a:cubicBezTo>
                  <a:pt x="502" y="398"/>
                  <a:pt x="502" y="398"/>
                  <a:pt x="501" y="398"/>
                </a:cubicBezTo>
                <a:cubicBezTo>
                  <a:pt x="501" y="397"/>
                  <a:pt x="501" y="397"/>
                  <a:pt x="501" y="397"/>
                </a:cubicBezTo>
                <a:cubicBezTo>
                  <a:pt x="500" y="397"/>
                  <a:pt x="500" y="396"/>
                  <a:pt x="500" y="396"/>
                </a:cubicBezTo>
                <a:cubicBezTo>
                  <a:pt x="499" y="395"/>
                  <a:pt x="499" y="395"/>
                  <a:pt x="499" y="395"/>
                </a:cubicBezTo>
                <a:cubicBezTo>
                  <a:pt x="499" y="395"/>
                  <a:pt x="499" y="394"/>
                  <a:pt x="498" y="394"/>
                </a:cubicBezTo>
                <a:cubicBezTo>
                  <a:pt x="498" y="393"/>
                  <a:pt x="498" y="393"/>
                  <a:pt x="497" y="393"/>
                </a:cubicBezTo>
                <a:cubicBezTo>
                  <a:pt x="497" y="392"/>
                  <a:pt x="497" y="392"/>
                  <a:pt x="497" y="391"/>
                </a:cubicBezTo>
                <a:cubicBezTo>
                  <a:pt x="497" y="391"/>
                  <a:pt x="497" y="390"/>
                  <a:pt x="497" y="390"/>
                </a:cubicBezTo>
                <a:cubicBezTo>
                  <a:pt x="497" y="389"/>
                  <a:pt x="497" y="389"/>
                  <a:pt x="497" y="388"/>
                </a:cubicBezTo>
                <a:cubicBezTo>
                  <a:pt x="496" y="387"/>
                  <a:pt x="496" y="387"/>
                  <a:pt x="496" y="387"/>
                </a:cubicBezTo>
                <a:cubicBezTo>
                  <a:pt x="496" y="386"/>
                  <a:pt x="497" y="386"/>
                  <a:pt x="497" y="385"/>
                </a:cubicBezTo>
                <a:cubicBezTo>
                  <a:pt x="497" y="385"/>
                  <a:pt x="497" y="385"/>
                  <a:pt x="497" y="384"/>
                </a:cubicBezTo>
                <a:cubicBezTo>
                  <a:pt x="498" y="384"/>
                  <a:pt x="498" y="384"/>
                  <a:pt x="498" y="384"/>
                </a:cubicBezTo>
                <a:cubicBezTo>
                  <a:pt x="498" y="384"/>
                  <a:pt x="498" y="383"/>
                  <a:pt x="498" y="383"/>
                </a:cubicBezTo>
                <a:cubicBezTo>
                  <a:pt x="499" y="383"/>
                  <a:pt x="499" y="383"/>
                  <a:pt x="499" y="383"/>
                </a:cubicBezTo>
                <a:cubicBezTo>
                  <a:pt x="499" y="383"/>
                  <a:pt x="499" y="383"/>
                  <a:pt x="499" y="382"/>
                </a:cubicBezTo>
                <a:cubicBezTo>
                  <a:pt x="499" y="382"/>
                  <a:pt x="499" y="382"/>
                  <a:pt x="499" y="382"/>
                </a:cubicBezTo>
                <a:cubicBezTo>
                  <a:pt x="499" y="382"/>
                  <a:pt x="499" y="382"/>
                  <a:pt x="499" y="382"/>
                </a:cubicBezTo>
                <a:cubicBezTo>
                  <a:pt x="499" y="381"/>
                  <a:pt x="499" y="381"/>
                  <a:pt x="499" y="381"/>
                </a:cubicBezTo>
                <a:cubicBezTo>
                  <a:pt x="499" y="381"/>
                  <a:pt x="500" y="381"/>
                  <a:pt x="500" y="381"/>
                </a:cubicBezTo>
                <a:cubicBezTo>
                  <a:pt x="500" y="381"/>
                  <a:pt x="500" y="381"/>
                  <a:pt x="500" y="380"/>
                </a:cubicBezTo>
                <a:cubicBezTo>
                  <a:pt x="501" y="380"/>
                  <a:pt x="501" y="380"/>
                  <a:pt x="501" y="380"/>
                </a:cubicBezTo>
                <a:cubicBezTo>
                  <a:pt x="501" y="380"/>
                  <a:pt x="501" y="380"/>
                  <a:pt x="502" y="380"/>
                </a:cubicBezTo>
                <a:cubicBezTo>
                  <a:pt x="502" y="380"/>
                  <a:pt x="503" y="379"/>
                  <a:pt x="503" y="379"/>
                </a:cubicBezTo>
                <a:cubicBezTo>
                  <a:pt x="503" y="379"/>
                  <a:pt x="503" y="379"/>
                  <a:pt x="503" y="379"/>
                </a:cubicBezTo>
                <a:cubicBezTo>
                  <a:pt x="504" y="379"/>
                  <a:pt x="504" y="379"/>
                  <a:pt x="505" y="378"/>
                </a:cubicBezTo>
                <a:cubicBezTo>
                  <a:pt x="505" y="378"/>
                  <a:pt x="505" y="378"/>
                  <a:pt x="505" y="378"/>
                </a:cubicBezTo>
                <a:cubicBezTo>
                  <a:pt x="505" y="378"/>
                  <a:pt x="505" y="378"/>
                  <a:pt x="505" y="378"/>
                </a:cubicBezTo>
                <a:cubicBezTo>
                  <a:pt x="505" y="378"/>
                  <a:pt x="506" y="378"/>
                  <a:pt x="506" y="378"/>
                </a:cubicBezTo>
                <a:cubicBezTo>
                  <a:pt x="506" y="378"/>
                  <a:pt x="506" y="377"/>
                  <a:pt x="507" y="377"/>
                </a:cubicBezTo>
                <a:cubicBezTo>
                  <a:pt x="507" y="377"/>
                  <a:pt x="507" y="377"/>
                  <a:pt x="506" y="376"/>
                </a:cubicBezTo>
                <a:cubicBezTo>
                  <a:pt x="507" y="376"/>
                  <a:pt x="507" y="376"/>
                  <a:pt x="507" y="376"/>
                </a:cubicBezTo>
                <a:cubicBezTo>
                  <a:pt x="507" y="376"/>
                  <a:pt x="507" y="376"/>
                  <a:pt x="508" y="376"/>
                </a:cubicBezTo>
                <a:cubicBezTo>
                  <a:pt x="508" y="375"/>
                  <a:pt x="508" y="375"/>
                  <a:pt x="508" y="375"/>
                </a:cubicBezTo>
                <a:cubicBezTo>
                  <a:pt x="508" y="374"/>
                  <a:pt x="509" y="374"/>
                  <a:pt x="509" y="373"/>
                </a:cubicBezTo>
                <a:cubicBezTo>
                  <a:pt x="509" y="373"/>
                  <a:pt x="510" y="372"/>
                  <a:pt x="510" y="372"/>
                </a:cubicBezTo>
                <a:cubicBezTo>
                  <a:pt x="510" y="372"/>
                  <a:pt x="511" y="372"/>
                  <a:pt x="511" y="372"/>
                </a:cubicBezTo>
                <a:cubicBezTo>
                  <a:pt x="511" y="372"/>
                  <a:pt x="512" y="372"/>
                  <a:pt x="512" y="372"/>
                </a:cubicBezTo>
                <a:cubicBezTo>
                  <a:pt x="512" y="372"/>
                  <a:pt x="512" y="372"/>
                  <a:pt x="512" y="372"/>
                </a:cubicBezTo>
                <a:cubicBezTo>
                  <a:pt x="512" y="371"/>
                  <a:pt x="513" y="371"/>
                  <a:pt x="513" y="370"/>
                </a:cubicBezTo>
                <a:cubicBezTo>
                  <a:pt x="514" y="369"/>
                  <a:pt x="514" y="369"/>
                  <a:pt x="515" y="368"/>
                </a:cubicBezTo>
                <a:cubicBezTo>
                  <a:pt x="516" y="368"/>
                  <a:pt x="516" y="367"/>
                  <a:pt x="517" y="366"/>
                </a:cubicBezTo>
                <a:cubicBezTo>
                  <a:pt x="518" y="366"/>
                  <a:pt x="518" y="366"/>
                  <a:pt x="518" y="366"/>
                </a:cubicBezTo>
                <a:cubicBezTo>
                  <a:pt x="519" y="366"/>
                  <a:pt x="519" y="366"/>
                  <a:pt x="519" y="366"/>
                </a:cubicBezTo>
                <a:cubicBezTo>
                  <a:pt x="519" y="366"/>
                  <a:pt x="519" y="366"/>
                  <a:pt x="519" y="366"/>
                </a:cubicBezTo>
                <a:cubicBezTo>
                  <a:pt x="519" y="366"/>
                  <a:pt x="519" y="366"/>
                  <a:pt x="520" y="366"/>
                </a:cubicBezTo>
                <a:cubicBezTo>
                  <a:pt x="520" y="366"/>
                  <a:pt x="520" y="366"/>
                  <a:pt x="520" y="366"/>
                </a:cubicBezTo>
                <a:cubicBezTo>
                  <a:pt x="521" y="365"/>
                  <a:pt x="521" y="365"/>
                  <a:pt x="521" y="365"/>
                </a:cubicBezTo>
                <a:cubicBezTo>
                  <a:pt x="521" y="365"/>
                  <a:pt x="521" y="365"/>
                  <a:pt x="521" y="365"/>
                </a:cubicBezTo>
                <a:cubicBezTo>
                  <a:pt x="521" y="364"/>
                  <a:pt x="521" y="364"/>
                  <a:pt x="520" y="364"/>
                </a:cubicBezTo>
                <a:cubicBezTo>
                  <a:pt x="520" y="365"/>
                  <a:pt x="520" y="365"/>
                  <a:pt x="520" y="365"/>
                </a:cubicBezTo>
                <a:cubicBezTo>
                  <a:pt x="519" y="365"/>
                  <a:pt x="519" y="365"/>
                  <a:pt x="518" y="365"/>
                </a:cubicBezTo>
                <a:cubicBezTo>
                  <a:pt x="518" y="365"/>
                  <a:pt x="518" y="365"/>
                  <a:pt x="517" y="365"/>
                </a:cubicBezTo>
                <a:cubicBezTo>
                  <a:pt x="518" y="365"/>
                  <a:pt x="518" y="365"/>
                  <a:pt x="518" y="365"/>
                </a:cubicBezTo>
                <a:cubicBezTo>
                  <a:pt x="519" y="365"/>
                  <a:pt x="519" y="365"/>
                  <a:pt x="520" y="364"/>
                </a:cubicBezTo>
                <a:cubicBezTo>
                  <a:pt x="520" y="364"/>
                  <a:pt x="520" y="364"/>
                  <a:pt x="519" y="364"/>
                </a:cubicBezTo>
                <a:cubicBezTo>
                  <a:pt x="520" y="364"/>
                  <a:pt x="520" y="364"/>
                  <a:pt x="520" y="364"/>
                </a:cubicBezTo>
                <a:cubicBezTo>
                  <a:pt x="520" y="364"/>
                  <a:pt x="520" y="364"/>
                  <a:pt x="519" y="363"/>
                </a:cubicBezTo>
                <a:cubicBezTo>
                  <a:pt x="519" y="364"/>
                  <a:pt x="519" y="364"/>
                  <a:pt x="518" y="364"/>
                </a:cubicBezTo>
                <a:cubicBezTo>
                  <a:pt x="518" y="363"/>
                  <a:pt x="518" y="363"/>
                  <a:pt x="517" y="363"/>
                </a:cubicBezTo>
                <a:cubicBezTo>
                  <a:pt x="518" y="363"/>
                  <a:pt x="518" y="363"/>
                  <a:pt x="518" y="363"/>
                </a:cubicBezTo>
                <a:cubicBezTo>
                  <a:pt x="518" y="363"/>
                  <a:pt x="519" y="363"/>
                  <a:pt x="519" y="363"/>
                </a:cubicBezTo>
                <a:cubicBezTo>
                  <a:pt x="519" y="363"/>
                  <a:pt x="519" y="363"/>
                  <a:pt x="520" y="363"/>
                </a:cubicBezTo>
                <a:cubicBezTo>
                  <a:pt x="520" y="363"/>
                  <a:pt x="520" y="362"/>
                  <a:pt x="520" y="362"/>
                </a:cubicBezTo>
                <a:cubicBezTo>
                  <a:pt x="520" y="363"/>
                  <a:pt x="520" y="363"/>
                  <a:pt x="520" y="363"/>
                </a:cubicBezTo>
                <a:cubicBezTo>
                  <a:pt x="520" y="363"/>
                  <a:pt x="521" y="363"/>
                  <a:pt x="521" y="363"/>
                </a:cubicBezTo>
                <a:cubicBezTo>
                  <a:pt x="521" y="363"/>
                  <a:pt x="521" y="363"/>
                  <a:pt x="522" y="363"/>
                </a:cubicBezTo>
                <a:cubicBezTo>
                  <a:pt x="522" y="363"/>
                  <a:pt x="522" y="363"/>
                  <a:pt x="522" y="362"/>
                </a:cubicBezTo>
                <a:cubicBezTo>
                  <a:pt x="522" y="362"/>
                  <a:pt x="522" y="362"/>
                  <a:pt x="522" y="362"/>
                </a:cubicBezTo>
                <a:cubicBezTo>
                  <a:pt x="523" y="362"/>
                  <a:pt x="523" y="361"/>
                  <a:pt x="523" y="361"/>
                </a:cubicBezTo>
                <a:cubicBezTo>
                  <a:pt x="523" y="361"/>
                  <a:pt x="523" y="361"/>
                  <a:pt x="524" y="361"/>
                </a:cubicBezTo>
                <a:cubicBezTo>
                  <a:pt x="524" y="361"/>
                  <a:pt x="524" y="360"/>
                  <a:pt x="524" y="360"/>
                </a:cubicBezTo>
                <a:cubicBezTo>
                  <a:pt x="523" y="360"/>
                  <a:pt x="523" y="360"/>
                  <a:pt x="523" y="360"/>
                </a:cubicBezTo>
                <a:cubicBezTo>
                  <a:pt x="523" y="360"/>
                  <a:pt x="523" y="360"/>
                  <a:pt x="523" y="360"/>
                </a:cubicBezTo>
                <a:cubicBezTo>
                  <a:pt x="523" y="360"/>
                  <a:pt x="523" y="360"/>
                  <a:pt x="522" y="361"/>
                </a:cubicBezTo>
                <a:cubicBezTo>
                  <a:pt x="522" y="361"/>
                  <a:pt x="522" y="361"/>
                  <a:pt x="522" y="361"/>
                </a:cubicBezTo>
                <a:cubicBezTo>
                  <a:pt x="522" y="361"/>
                  <a:pt x="522" y="361"/>
                  <a:pt x="522" y="361"/>
                </a:cubicBezTo>
                <a:cubicBezTo>
                  <a:pt x="522" y="361"/>
                  <a:pt x="522" y="360"/>
                  <a:pt x="522" y="360"/>
                </a:cubicBezTo>
                <a:cubicBezTo>
                  <a:pt x="521" y="360"/>
                  <a:pt x="521" y="360"/>
                  <a:pt x="521" y="360"/>
                </a:cubicBezTo>
                <a:cubicBezTo>
                  <a:pt x="520" y="360"/>
                  <a:pt x="520" y="360"/>
                  <a:pt x="519" y="361"/>
                </a:cubicBezTo>
                <a:cubicBezTo>
                  <a:pt x="519" y="361"/>
                  <a:pt x="518" y="361"/>
                  <a:pt x="518" y="361"/>
                </a:cubicBezTo>
                <a:cubicBezTo>
                  <a:pt x="518" y="361"/>
                  <a:pt x="518" y="361"/>
                  <a:pt x="518" y="361"/>
                </a:cubicBezTo>
                <a:cubicBezTo>
                  <a:pt x="518" y="360"/>
                  <a:pt x="518" y="360"/>
                  <a:pt x="518" y="360"/>
                </a:cubicBezTo>
                <a:cubicBezTo>
                  <a:pt x="518" y="359"/>
                  <a:pt x="518" y="359"/>
                  <a:pt x="518" y="359"/>
                </a:cubicBezTo>
                <a:cubicBezTo>
                  <a:pt x="518" y="360"/>
                  <a:pt x="519" y="360"/>
                  <a:pt x="519" y="360"/>
                </a:cubicBezTo>
                <a:cubicBezTo>
                  <a:pt x="519" y="360"/>
                  <a:pt x="519" y="360"/>
                  <a:pt x="520" y="360"/>
                </a:cubicBezTo>
                <a:cubicBezTo>
                  <a:pt x="520" y="360"/>
                  <a:pt x="520" y="360"/>
                  <a:pt x="520" y="359"/>
                </a:cubicBezTo>
                <a:cubicBezTo>
                  <a:pt x="520" y="359"/>
                  <a:pt x="521" y="359"/>
                  <a:pt x="521" y="359"/>
                </a:cubicBezTo>
                <a:cubicBezTo>
                  <a:pt x="521" y="359"/>
                  <a:pt x="521" y="359"/>
                  <a:pt x="522" y="359"/>
                </a:cubicBezTo>
                <a:cubicBezTo>
                  <a:pt x="522" y="359"/>
                  <a:pt x="522" y="358"/>
                  <a:pt x="522" y="358"/>
                </a:cubicBezTo>
                <a:cubicBezTo>
                  <a:pt x="522" y="358"/>
                  <a:pt x="522" y="358"/>
                  <a:pt x="522" y="358"/>
                </a:cubicBezTo>
                <a:cubicBezTo>
                  <a:pt x="522" y="358"/>
                  <a:pt x="522" y="357"/>
                  <a:pt x="522" y="357"/>
                </a:cubicBezTo>
                <a:cubicBezTo>
                  <a:pt x="522" y="357"/>
                  <a:pt x="522" y="357"/>
                  <a:pt x="522" y="357"/>
                </a:cubicBezTo>
                <a:cubicBezTo>
                  <a:pt x="522" y="357"/>
                  <a:pt x="522" y="357"/>
                  <a:pt x="521" y="357"/>
                </a:cubicBezTo>
                <a:cubicBezTo>
                  <a:pt x="522" y="357"/>
                  <a:pt x="522" y="357"/>
                  <a:pt x="522" y="357"/>
                </a:cubicBezTo>
                <a:cubicBezTo>
                  <a:pt x="522" y="356"/>
                  <a:pt x="522" y="356"/>
                  <a:pt x="522" y="356"/>
                </a:cubicBezTo>
                <a:cubicBezTo>
                  <a:pt x="522" y="356"/>
                  <a:pt x="522" y="356"/>
                  <a:pt x="522" y="355"/>
                </a:cubicBezTo>
                <a:cubicBezTo>
                  <a:pt x="522" y="355"/>
                  <a:pt x="521" y="355"/>
                  <a:pt x="521" y="355"/>
                </a:cubicBezTo>
                <a:cubicBezTo>
                  <a:pt x="521" y="355"/>
                  <a:pt x="521" y="355"/>
                  <a:pt x="521" y="355"/>
                </a:cubicBezTo>
                <a:cubicBezTo>
                  <a:pt x="520" y="356"/>
                  <a:pt x="520" y="356"/>
                  <a:pt x="520" y="356"/>
                </a:cubicBezTo>
                <a:cubicBezTo>
                  <a:pt x="519" y="355"/>
                  <a:pt x="519" y="355"/>
                  <a:pt x="519" y="355"/>
                </a:cubicBezTo>
                <a:cubicBezTo>
                  <a:pt x="519" y="355"/>
                  <a:pt x="519" y="355"/>
                  <a:pt x="518" y="355"/>
                </a:cubicBezTo>
                <a:cubicBezTo>
                  <a:pt x="518" y="355"/>
                  <a:pt x="518" y="355"/>
                  <a:pt x="518" y="355"/>
                </a:cubicBezTo>
                <a:cubicBezTo>
                  <a:pt x="517" y="355"/>
                  <a:pt x="517" y="355"/>
                  <a:pt x="517" y="355"/>
                </a:cubicBezTo>
                <a:cubicBezTo>
                  <a:pt x="517" y="355"/>
                  <a:pt x="517" y="355"/>
                  <a:pt x="518" y="355"/>
                </a:cubicBezTo>
                <a:cubicBezTo>
                  <a:pt x="518" y="354"/>
                  <a:pt x="518" y="354"/>
                  <a:pt x="519" y="354"/>
                </a:cubicBezTo>
                <a:cubicBezTo>
                  <a:pt x="519" y="354"/>
                  <a:pt x="519" y="355"/>
                  <a:pt x="520" y="355"/>
                </a:cubicBezTo>
                <a:cubicBezTo>
                  <a:pt x="520" y="355"/>
                  <a:pt x="520" y="355"/>
                  <a:pt x="520" y="355"/>
                </a:cubicBezTo>
                <a:cubicBezTo>
                  <a:pt x="520" y="355"/>
                  <a:pt x="520" y="354"/>
                  <a:pt x="521" y="354"/>
                </a:cubicBezTo>
                <a:cubicBezTo>
                  <a:pt x="520" y="354"/>
                  <a:pt x="520" y="354"/>
                  <a:pt x="519" y="354"/>
                </a:cubicBezTo>
                <a:cubicBezTo>
                  <a:pt x="519" y="354"/>
                  <a:pt x="520" y="354"/>
                  <a:pt x="520" y="354"/>
                </a:cubicBezTo>
                <a:cubicBezTo>
                  <a:pt x="520" y="354"/>
                  <a:pt x="520" y="353"/>
                  <a:pt x="520" y="353"/>
                </a:cubicBezTo>
                <a:cubicBezTo>
                  <a:pt x="520" y="353"/>
                  <a:pt x="520" y="353"/>
                  <a:pt x="520" y="353"/>
                </a:cubicBezTo>
                <a:cubicBezTo>
                  <a:pt x="520" y="353"/>
                  <a:pt x="520" y="353"/>
                  <a:pt x="520" y="353"/>
                </a:cubicBezTo>
                <a:cubicBezTo>
                  <a:pt x="520" y="353"/>
                  <a:pt x="519" y="353"/>
                  <a:pt x="519" y="352"/>
                </a:cubicBezTo>
                <a:cubicBezTo>
                  <a:pt x="519" y="352"/>
                  <a:pt x="518" y="352"/>
                  <a:pt x="518" y="352"/>
                </a:cubicBezTo>
                <a:cubicBezTo>
                  <a:pt x="518" y="352"/>
                  <a:pt x="518" y="352"/>
                  <a:pt x="519" y="352"/>
                </a:cubicBezTo>
                <a:cubicBezTo>
                  <a:pt x="519" y="352"/>
                  <a:pt x="519" y="352"/>
                  <a:pt x="519" y="352"/>
                </a:cubicBezTo>
                <a:cubicBezTo>
                  <a:pt x="519" y="352"/>
                  <a:pt x="520" y="352"/>
                  <a:pt x="520" y="352"/>
                </a:cubicBezTo>
                <a:cubicBezTo>
                  <a:pt x="520" y="352"/>
                  <a:pt x="520" y="352"/>
                  <a:pt x="520" y="351"/>
                </a:cubicBezTo>
                <a:cubicBezTo>
                  <a:pt x="520" y="351"/>
                  <a:pt x="520" y="351"/>
                  <a:pt x="520" y="351"/>
                </a:cubicBezTo>
                <a:cubicBezTo>
                  <a:pt x="519" y="351"/>
                  <a:pt x="519" y="351"/>
                  <a:pt x="519" y="351"/>
                </a:cubicBezTo>
                <a:cubicBezTo>
                  <a:pt x="518" y="350"/>
                  <a:pt x="518" y="350"/>
                  <a:pt x="517" y="350"/>
                </a:cubicBezTo>
                <a:cubicBezTo>
                  <a:pt x="517" y="350"/>
                  <a:pt x="517" y="350"/>
                  <a:pt x="516" y="350"/>
                </a:cubicBezTo>
                <a:cubicBezTo>
                  <a:pt x="516" y="350"/>
                  <a:pt x="516" y="349"/>
                  <a:pt x="515" y="349"/>
                </a:cubicBezTo>
                <a:cubicBezTo>
                  <a:pt x="515" y="349"/>
                  <a:pt x="515" y="349"/>
                  <a:pt x="515" y="349"/>
                </a:cubicBezTo>
                <a:cubicBezTo>
                  <a:pt x="515" y="349"/>
                  <a:pt x="514" y="349"/>
                  <a:pt x="514" y="349"/>
                </a:cubicBezTo>
                <a:cubicBezTo>
                  <a:pt x="515" y="348"/>
                  <a:pt x="515" y="348"/>
                  <a:pt x="515" y="348"/>
                </a:cubicBezTo>
                <a:cubicBezTo>
                  <a:pt x="515" y="348"/>
                  <a:pt x="515" y="348"/>
                  <a:pt x="515" y="349"/>
                </a:cubicBezTo>
                <a:cubicBezTo>
                  <a:pt x="515" y="349"/>
                  <a:pt x="515" y="349"/>
                  <a:pt x="515" y="349"/>
                </a:cubicBezTo>
                <a:cubicBezTo>
                  <a:pt x="515" y="349"/>
                  <a:pt x="515" y="349"/>
                  <a:pt x="516" y="349"/>
                </a:cubicBezTo>
                <a:cubicBezTo>
                  <a:pt x="516" y="349"/>
                  <a:pt x="516" y="349"/>
                  <a:pt x="516" y="349"/>
                </a:cubicBezTo>
                <a:cubicBezTo>
                  <a:pt x="517" y="349"/>
                  <a:pt x="517" y="349"/>
                  <a:pt x="517" y="349"/>
                </a:cubicBezTo>
                <a:cubicBezTo>
                  <a:pt x="518" y="350"/>
                  <a:pt x="518" y="350"/>
                  <a:pt x="519" y="350"/>
                </a:cubicBezTo>
                <a:cubicBezTo>
                  <a:pt x="519" y="350"/>
                  <a:pt x="519" y="350"/>
                  <a:pt x="519" y="350"/>
                </a:cubicBezTo>
                <a:cubicBezTo>
                  <a:pt x="519" y="349"/>
                  <a:pt x="519" y="349"/>
                  <a:pt x="519" y="349"/>
                </a:cubicBezTo>
                <a:cubicBezTo>
                  <a:pt x="519" y="348"/>
                  <a:pt x="519" y="348"/>
                  <a:pt x="519" y="348"/>
                </a:cubicBezTo>
                <a:cubicBezTo>
                  <a:pt x="519" y="348"/>
                  <a:pt x="519" y="347"/>
                  <a:pt x="519" y="347"/>
                </a:cubicBezTo>
                <a:cubicBezTo>
                  <a:pt x="519" y="347"/>
                  <a:pt x="518" y="347"/>
                  <a:pt x="518" y="347"/>
                </a:cubicBezTo>
                <a:cubicBezTo>
                  <a:pt x="518" y="347"/>
                  <a:pt x="518" y="346"/>
                  <a:pt x="518" y="346"/>
                </a:cubicBezTo>
                <a:cubicBezTo>
                  <a:pt x="518" y="346"/>
                  <a:pt x="518" y="346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18" y="345"/>
                  <a:pt x="519" y="345"/>
                  <a:pt x="519" y="344"/>
                </a:cubicBezTo>
                <a:cubicBezTo>
                  <a:pt x="519" y="344"/>
                  <a:pt x="519" y="344"/>
                  <a:pt x="520" y="344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4"/>
                </a:cubicBezTo>
                <a:cubicBezTo>
                  <a:pt x="520" y="344"/>
                  <a:pt x="520" y="344"/>
                  <a:pt x="520" y="344"/>
                </a:cubicBezTo>
                <a:cubicBezTo>
                  <a:pt x="520" y="344"/>
                  <a:pt x="520" y="344"/>
                  <a:pt x="519" y="344"/>
                </a:cubicBezTo>
                <a:cubicBezTo>
                  <a:pt x="519" y="345"/>
                  <a:pt x="519" y="345"/>
                  <a:pt x="519" y="345"/>
                </a:cubicBezTo>
                <a:cubicBezTo>
                  <a:pt x="519" y="346"/>
                  <a:pt x="520" y="346"/>
                  <a:pt x="520" y="346"/>
                </a:cubicBezTo>
                <a:cubicBezTo>
                  <a:pt x="520" y="346"/>
                  <a:pt x="520" y="347"/>
                  <a:pt x="520" y="347"/>
                </a:cubicBezTo>
                <a:cubicBezTo>
                  <a:pt x="520" y="347"/>
                  <a:pt x="520" y="348"/>
                  <a:pt x="520" y="348"/>
                </a:cubicBezTo>
                <a:cubicBezTo>
                  <a:pt x="520" y="348"/>
                  <a:pt x="520" y="348"/>
                  <a:pt x="520" y="349"/>
                </a:cubicBezTo>
                <a:cubicBezTo>
                  <a:pt x="520" y="349"/>
                  <a:pt x="521" y="349"/>
                  <a:pt x="521" y="349"/>
                </a:cubicBezTo>
                <a:cubicBezTo>
                  <a:pt x="521" y="349"/>
                  <a:pt x="521" y="349"/>
                  <a:pt x="521" y="349"/>
                </a:cubicBezTo>
                <a:cubicBezTo>
                  <a:pt x="521" y="349"/>
                  <a:pt x="521" y="349"/>
                  <a:pt x="521" y="349"/>
                </a:cubicBezTo>
                <a:cubicBezTo>
                  <a:pt x="522" y="349"/>
                  <a:pt x="522" y="349"/>
                  <a:pt x="522" y="349"/>
                </a:cubicBezTo>
                <a:cubicBezTo>
                  <a:pt x="522" y="349"/>
                  <a:pt x="522" y="349"/>
                  <a:pt x="522" y="349"/>
                </a:cubicBezTo>
                <a:cubicBezTo>
                  <a:pt x="522" y="349"/>
                  <a:pt x="522" y="349"/>
                  <a:pt x="522" y="350"/>
                </a:cubicBezTo>
                <a:cubicBezTo>
                  <a:pt x="522" y="350"/>
                  <a:pt x="522" y="350"/>
                  <a:pt x="522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1"/>
                  <a:pt x="522" y="351"/>
                  <a:pt x="522" y="351"/>
                </a:cubicBezTo>
                <a:cubicBezTo>
                  <a:pt x="522" y="351"/>
                  <a:pt x="522" y="351"/>
                  <a:pt x="523" y="351"/>
                </a:cubicBezTo>
                <a:cubicBezTo>
                  <a:pt x="522" y="352"/>
                  <a:pt x="522" y="352"/>
                  <a:pt x="522" y="352"/>
                </a:cubicBezTo>
                <a:cubicBezTo>
                  <a:pt x="522" y="353"/>
                  <a:pt x="522" y="353"/>
                  <a:pt x="522" y="353"/>
                </a:cubicBezTo>
                <a:cubicBezTo>
                  <a:pt x="522" y="353"/>
                  <a:pt x="522" y="354"/>
                  <a:pt x="522" y="354"/>
                </a:cubicBezTo>
                <a:cubicBezTo>
                  <a:pt x="522" y="354"/>
                  <a:pt x="523" y="354"/>
                  <a:pt x="523" y="353"/>
                </a:cubicBezTo>
                <a:cubicBezTo>
                  <a:pt x="523" y="353"/>
                  <a:pt x="523" y="353"/>
                  <a:pt x="523" y="353"/>
                </a:cubicBezTo>
                <a:cubicBezTo>
                  <a:pt x="523" y="353"/>
                  <a:pt x="523" y="352"/>
                  <a:pt x="523" y="352"/>
                </a:cubicBezTo>
                <a:cubicBezTo>
                  <a:pt x="523" y="352"/>
                  <a:pt x="523" y="352"/>
                  <a:pt x="523" y="352"/>
                </a:cubicBezTo>
                <a:cubicBezTo>
                  <a:pt x="524" y="352"/>
                  <a:pt x="524" y="352"/>
                  <a:pt x="524" y="352"/>
                </a:cubicBezTo>
                <a:cubicBezTo>
                  <a:pt x="524" y="352"/>
                  <a:pt x="524" y="352"/>
                  <a:pt x="524" y="352"/>
                </a:cubicBezTo>
                <a:cubicBezTo>
                  <a:pt x="524" y="352"/>
                  <a:pt x="524" y="351"/>
                  <a:pt x="524" y="351"/>
                </a:cubicBezTo>
                <a:cubicBezTo>
                  <a:pt x="524" y="351"/>
                  <a:pt x="524" y="351"/>
                  <a:pt x="524" y="350"/>
                </a:cubicBezTo>
                <a:cubicBezTo>
                  <a:pt x="524" y="350"/>
                  <a:pt x="524" y="349"/>
                  <a:pt x="525" y="349"/>
                </a:cubicBezTo>
                <a:cubicBezTo>
                  <a:pt x="525" y="349"/>
                  <a:pt x="525" y="348"/>
                  <a:pt x="526" y="348"/>
                </a:cubicBezTo>
                <a:cubicBezTo>
                  <a:pt x="526" y="348"/>
                  <a:pt x="526" y="347"/>
                  <a:pt x="526" y="346"/>
                </a:cubicBezTo>
                <a:cubicBezTo>
                  <a:pt x="526" y="346"/>
                  <a:pt x="526" y="346"/>
                  <a:pt x="526" y="346"/>
                </a:cubicBezTo>
                <a:cubicBezTo>
                  <a:pt x="526" y="345"/>
                  <a:pt x="525" y="345"/>
                  <a:pt x="525" y="345"/>
                </a:cubicBezTo>
                <a:cubicBezTo>
                  <a:pt x="525" y="344"/>
                  <a:pt x="525" y="344"/>
                  <a:pt x="524" y="344"/>
                </a:cubicBezTo>
                <a:cubicBezTo>
                  <a:pt x="524" y="344"/>
                  <a:pt x="524" y="344"/>
                  <a:pt x="524" y="343"/>
                </a:cubicBezTo>
                <a:cubicBezTo>
                  <a:pt x="524" y="343"/>
                  <a:pt x="524" y="343"/>
                  <a:pt x="523" y="343"/>
                </a:cubicBezTo>
                <a:cubicBezTo>
                  <a:pt x="523" y="343"/>
                  <a:pt x="523" y="343"/>
                  <a:pt x="523" y="342"/>
                </a:cubicBezTo>
                <a:cubicBezTo>
                  <a:pt x="523" y="342"/>
                  <a:pt x="523" y="342"/>
                  <a:pt x="523" y="342"/>
                </a:cubicBezTo>
                <a:cubicBezTo>
                  <a:pt x="524" y="341"/>
                  <a:pt x="524" y="341"/>
                  <a:pt x="524" y="341"/>
                </a:cubicBezTo>
                <a:cubicBezTo>
                  <a:pt x="525" y="341"/>
                  <a:pt x="525" y="340"/>
                  <a:pt x="525" y="340"/>
                </a:cubicBezTo>
                <a:cubicBezTo>
                  <a:pt x="525" y="341"/>
                  <a:pt x="524" y="341"/>
                  <a:pt x="524" y="342"/>
                </a:cubicBezTo>
                <a:cubicBezTo>
                  <a:pt x="524" y="342"/>
                  <a:pt x="524" y="342"/>
                  <a:pt x="524" y="342"/>
                </a:cubicBezTo>
                <a:cubicBezTo>
                  <a:pt x="524" y="343"/>
                  <a:pt x="524" y="343"/>
                  <a:pt x="524" y="343"/>
                </a:cubicBezTo>
                <a:cubicBezTo>
                  <a:pt x="525" y="343"/>
                  <a:pt x="525" y="343"/>
                  <a:pt x="526" y="343"/>
                </a:cubicBezTo>
                <a:cubicBezTo>
                  <a:pt x="526" y="343"/>
                  <a:pt x="526" y="343"/>
                  <a:pt x="526" y="343"/>
                </a:cubicBezTo>
                <a:cubicBezTo>
                  <a:pt x="527" y="343"/>
                  <a:pt x="527" y="343"/>
                  <a:pt x="527" y="343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8" y="344"/>
                  <a:pt x="528" y="343"/>
                  <a:pt x="528" y="343"/>
                </a:cubicBezTo>
                <a:cubicBezTo>
                  <a:pt x="528" y="343"/>
                  <a:pt x="528" y="343"/>
                  <a:pt x="528" y="343"/>
                </a:cubicBezTo>
                <a:cubicBezTo>
                  <a:pt x="528" y="343"/>
                  <a:pt x="528" y="343"/>
                  <a:pt x="529" y="342"/>
                </a:cubicBezTo>
                <a:cubicBezTo>
                  <a:pt x="529" y="342"/>
                  <a:pt x="529" y="342"/>
                  <a:pt x="529" y="342"/>
                </a:cubicBezTo>
                <a:cubicBezTo>
                  <a:pt x="529" y="342"/>
                  <a:pt x="529" y="342"/>
                  <a:pt x="530" y="342"/>
                </a:cubicBezTo>
                <a:cubicBezTo>
                  <a:pt x="530" y="341"/>
                  <a:pt x="530" y="341"/>
                  <a:pt x="530" y="340"/>
                </a:cubicBezTo>
                <a:cubicBezTo>
                  <a:pt x="530" y="340"/>
                  <a:pt x="530" y="340"/>
                  <a:pt x="530" y="340"/>
                </a:cubicBezTo>
                <a:cubicBezTo>
                  <a:pt x="530" y="340"/>
                  <a:pt x="530" y="340"/>
                  <a:pt x="531" y="340"/>
                </a:cubicBezTo>
                <a:cubicBezTo>
                  <a:pt x="531" y="340"/>
                  <a:pt x="531" y="339"/>
                  <a:pt x="531" y="339"/>
                </a:cubicBezTo>
                <a:cubicBezTo>
                  <a:pt x="531" y="339"/>
                  <a:pt x="531" y="339"/>
                  <a:pt x="531" y="338"/>
                </a:cubicBezTo>
                <a:cubicBezTo>
                  <a:pt x="531" y="338"/>
                  <a:pt x="531" y="338"/>
                  <a:pt x="531" y="338"/>
                </a:cubicBezTo>
                <a:cubicBezTo>
                  <a:pt x="531" y="338"/>
                  <a:pt x="531" y="338"/>
                  <a:pt x="531" y="337"/>
                </a:cubicBezTo>
                <a:cubicBezTo>
                  <a:pt x="531" y="337"/>
                  <a:pt x="531" y="337"/>
                  <a:pt x="531" y="337"/>
                </a:cubicBezTo>
                <a:cubicBezTo>
                  <a:pt x="531" y="337"/>
                  <a:pt x="531" y="337"/>
                  <a:pt x="531" y="336"/>
                </a:cubicBezTo>
                <a:cubicBezTo>
                  <a:pt x="531" y="336"/>
                  <a:pt x="531" y="336"/>
                  <a:pt x="531" y="336"/>
                </a:cubicBezTo>
                <a:cubicBezTo>
                  <a:pt x="531" y="336"/>
                  <a:pt x="531" y="336"/>
                  <a:pt x="530" y="336"/>
                </a:cubicBezTo>
                <a:cubicBezTo>
                  <a:pt x="530" y="336"/>
                  <a:pt x="530" y="336"/>
                  <a:pt x="530" y="335"/>
                </a:cubicBezTo>
                <a:cubicBezTo>
                  <a:pt x="530" y="335"/>
                  <a:pt x="531" y="335"/>
                  <a:pt x="531" y="335"/>
                </a:cubicBezTo>
                <a:cubicBezTo>
                  <a:pt x="531" y="334"/>
                  <a:pt x="531" y="334"/>
                  <a:pt x="531" y="334"/>
                </a:cubicBezTo>
                <a:cubicBezTo>
                  <a:pt x="531" y="334"/>
                  <a:pt x="532" y="334"/>
                  <a:pt x="532" y="333"/>
                </a:cubicBezTo>
                <a:cubicBezTo>
                  <a:pt x="532" y="333"/>
                  <a:pt x="532" y="333"/>
                  <a:pt x="533" y="333"/>
                </a:cubicBezTo>
                <a:cubicBezTo>
                  <a:pt x="533" y="333"/>
                  <a:pt x="534" y="332"/>
                  <a:pt x="534" y="332"/>
                </a:cubicBezTo>
                <a:cubicBezTo>
                  <a:pt x="535" y="332"/>
                  <a:pt x="535" y="332"/>
                  <a:pt x="535" y="332"/>
                </a:cubicBezTo>
                <a:cubicBezTo>
                  <a:pt x="536" y="331"/>
                  <a:pt x="536" y="331"/>
                  <a:pt x="537" y="331"/>
                </a:cubicBezTo>
                <a:cubicBezTo>
                  <a:pt x="537" y="330"/>
                  <a:pt x="537" y="330"/>
                  <a:pt x="537" y="330"/>
                </a:cubicBezTo>
                <a:cubicBezTo>
                  <a:pt x="538" y="330"/>
                  <a:pt x="538" y="330"/>
                  <a:pt x="538" y="331"/>
                </a:cubicBezTo>
                <a:cubicBezTo>
                  <a:pt x="539" y="330"/>
                  <a:pt x="539" y="330"/>
                  <a:pt x="540" y="330"/>
                </a:cubicBezTo>
                <a:cubicBezTo>
                  <a:pt x="540" y="330"/>
                  <a:pt x="541" y="330"/>
                  <a:pt x="541" y="330"/>
                </a:cubicBezTo>
                <a:cubicBezTo>
                  <a:pt x="541" y="330"/>
                  <a:pt x="542" y="330"/>
                  <a:pt x="542" y="329"/>
                </a:cubicBezTo>
                <a:cubicBezTo>
                  <a:pt x="543" y="329"/>
                  <a:pt x="544" y="329"/>
                  <a:pt x="544" y="329"/>
                </a:cubicBezTo>
                <a:cubicBezTo>
                  <a:pt x="545" y="329"/>
                  <a:pt x="545" y="329"/>
                  <a:pt x="545" y="328"/>
                </a:cubicBezTo>
                <a:cubicBezTo>
                  <a:pt x="545" y="328"/>
                  <a:pt x="545" y="328"/>
                  <a:pt x="544" y="328"/>
                </a:cubicBezTo>
                <a:cubicBezTo>
                  <a:pt x="544" y="328"/>
                  <a:pt x="544" y="328"/>
                  <a:pt x="544" y="327"/>
                </a:cubicBezTo>
                <a:cubicBezTo>
                  <a:pt x="544" y="327"/>
                  <a:pt x="544" y="327"/>
                  <a:pt x="544" y="326"/>
                </a:cubicBezTo>
                <a:cubicBezTo>
                  <a:pt x="545" y="327"/>
                  <a:pt x="545" y="327"/>
                  <a:pt x="545" y="327"/>
                </a:cubicBezTo>
                <a:cubicBezTo>
                  <a:pt x="545" y="327"/>
                  <a:pt x="545" y="327"/>
                  <a:pt x="546" y="328"/>
                </a:cubicBezTo>
                <a:cubicBezTo>
                  <a:pt x="546" y="328"/>
                  <a:pt x="546" y="328"/>
                  <a:pt x="546" y="328"/>
                </a:cubicBezTo>
                <a:cubicBezTo>
                  <a:pt x="546" y="328"/>
                  <a:pt x="546" y="328"/>
                  <a:pt x="546" y="328"/>
                </a:cubicBezTo>
                <a:cubicBezTo>
                  <a:pt x="547" y="328"/>
                  <a:pt x="547" y="328"/>
                  <a:pt x="547" y="327"/>
                </a:cubicBezTo>
                <a:cubicBezTo>
                  <a:pt x="547" y="327"/>
                  <a:pt x="548" y="326"/>
                  <a:pt x="548" y="326"/>
                </a:cubicBezTo>
                <a:cubicBezTo>
                  <a:pt x="548" y="326"/>
                  <a:pt x="548" y="326"/>
                  <a:pt x="548" y="326"/>
                </a:cubicBezTo>
                <a:cubicBezTo>
                  <a:pt x="548" y="326"/>
                  <a:pt x="548" y="327"/>
                  <a:pt x="548" y="327"/>
                </a:cubicBezTo>
                <a:cubicBezTo>
                  <a:pt x="549" y="327"/>
                  <a:pt x="549" y="327"/>
                  <a:pt x="549" y="327"/>
                </a:cubicBezTo>
                <a:cubicBezTo>
                  <a:pt x="550" y="326"/>
                  <a:pt x="551" y="326"/>
                  <a:pt x="551" y="325"/>
                </a:cubicBezTo>
                <a:cubicBezTo>
                  <a:pt x="552" y="325"/>
                  <a:pt x="552" y="325"/>
                  <a:pt x="552" y="325"/>
                </a:cubicBezTo>
                <a:cubicBezTo>
                  <a:pt x="552" y="324"/>
                  <a:pt x="551" y="324"/>
                  <a:pt x="551" y="323"/>
                </a:cubicBezTo>
                <a:cubicBezTo>
                  <a:pt x="551" y="324"/>
                  <a:pt x="551" y="324"/>
                  <a:pt x="551" y="324"/>
                </a:cubicBezTo>
                <a:cubicBezTo>
                  <a:pt x="551" y="324"/>
                  <a:pt x="551" y="324"/>
                  <a:pt x="551" y="324"/>
                </a:cubicBezTo>
                <a:cubicBezTo>
                  <a:pt x="551" y="325"/>
                  <a:pt x="551" y="325"/>
                  <a:pt x="551" y="325"/>
                </a:cubicBezTo>
                <a:cubicBezTo>
                  <a:pt x="550" y="325"/>
                  <a:pt x="550" y="325"/>
                  <a:pt x="549" y="326"/>
                </a:cubicBezTo>
                <a:cubicBezTo>
                  <a:pt x="549" y="325"/>
                  <a:pt x="549" y="325"/>
                  <a:pt x="549" y="325"/>
                </a:cubicBezTo>
                <a:cubicBezTo>
                  <a:pt x="549" y="325"/>
                  <a:pt x="548" y="324"/>
                  <a:pt x="548" y="324"/>
                </a:cubicBezTo>
                <a:cubicBezTo>
                  <a:pt x="548" y="324"/>
                  <a:pt x="547" y="324"/>
                  <a:pt x="547" y="324"/>
                </a:cubicBezTo>
                <a:cubicBezTo>
                  <a:pt x="547" y="324"/>
                  <a:pt x="547" y="323"/>
                  <a:pt x="546" y="323"/>
                </a:cubicBezTo>
                <a:cubicBezTo>
                  <a:pt x="547" y="323"/>
                  <a:pt x="548" y="322"/>
                  <a:pt x="548" y="322"/>
                </a:cubicBezTo>
                <a:cubicBezTo>
                  <a:pt x="548" y="322"/>
                  <a:pt x="548" y="321"/>
                  <a:pt x="548" y="321"/>
                </a:cubicBezTo>
                <a:cubicBezTo>
                  <a:pt x="548" y="321"/>
                  <a:pt x="547" y="321"/>
                  <a:pt x="547" y="321"/>
                </a:cubicBezTo>
                <a:cubicBezTo>
                  <a:pt x="547" y="321"/>
                  <a:pt x="547" y="321"/>
                  <a:pt x="547" y="321"/>
                </a:cubicBezTo>
                <a:cubicBezTo>
                  <a:pt x="547" y="321"/>
                  <a:pt x="547" y="321"/>
                  <a:pt x="548" y="321"/>
                </a:cubicBezTo>
                <a:cubicBezTo>
                  <a:pt x="548" y="320"/>
                  <a:pt x="548" y="320"/>
                  <a:pt x="548" y="320"/>
                </a:cubicBezTo>
                <a:cubicBezTo>
                  <a:pt x="548" y="320"/>
                  <a:pt x="548" y="320"/>
                  <a:pt x="548" y="319"/>
                </a:cubicBezTo>
                <a:cubicBezTo>
                  <a:pt x="548" y="319"/>
                  <a:pt x="549" y="318"/>
                  <a:pt x="549" y="318"/>
                </a:cubicBezTo>
                <a:cubicBezTo>
                  <a:pt x="549" y="317"/>
                  <a:pt x="550" y="317"/>
                  <a:pt x="550" y="316"/>
                </a:cubicBezTo>
                <a:cubicBezTo>
                  <a:pt x="550" y="316"/>
                  <a:pt x="551" y="316"/>
                  <a:pt x="551" y="315"/>
                </a:cubicBezTo>
                <a:cubicBezTo>
                  <a:pt x="551" y="315"/>
                  <a:pt x="551" y="315"/>
                  <a:pt x="551" y="315"/>
                </a:cubicBezTo>
                <a:cubicBezTo>
                  <a:pt x="551" y="315"/>
                  <a:pt x="552" y="315"/>
                  <a:pt x="552" y="314"/>
                </a:cubicBezTo>
                <a:cubicBezTo>
                  <a:pt x="552" y="315"/>
                  <a:pt x="552" y="315"/>
                  <a:pt x="552" y="315"/>
                </a:cubicBezTo>
                <a:cubicBezTo>
                  <a:pt x="552" y="315"/>
                  <a:pt x="552" y="315"/>
                  <a:pt x="553" y="315"/>
                </a:cubicBezTo>
                <a:cubicBezTo>
                  <a:pt x="553" y="315"/>
                  <a:pt x="553" y="314"/>
                  <a:pt x="553" y="314"/>
                </a:cubicBezTo>
                <a:cubicBezTo>
                  <a:pt x="553" y="314"/>
                  <a:pt x="553" y="314"/>
                  <a:pt x="554" y="313"/>
                </a:cubicBezTo>
                <a:cubicBezTo>
                  <a:pt x="554" y="314"/>
                  <a:pt x="554" y="314"/>
                  <a:pt x="554" y="314"/>
                </a:cubicBezTo>
                <a:cubicBezTo>
                  <a:pt x="554" y="314"/>
                  <a:pt x="554" y="314"/>
                  <a:pt x="554" y="314"/>
                </a:cubicBezTo>
                <a:cubicBezTo>
                  <a:pt x="555" y="314"/>
                  <a:pt x="555" y="313"/>
                  <a:pt x="555" y="313"/>
                </a:cubicBezTo>
                <a:cubicBezTo>
                  <a:pt x="555" y="313"/>
                  <a:pt x="555" y="313"/>
                  <a:pt x="555" y="313"/>
                </a:cubicBezTo>
                <a:cubicBezTo>
                  <a:pt x="555" y="313"/>
                  <a:pt x="556" y="313"/>
                  <a:pt x="556" y="313"/>
                </a:cubicBezTo>
                <a:cubicBezTo>
                  <a:pt x="556" y="312"/>
                  <a:pt x="556" y="312"/>
                  <a:pt x="557" y="312"/>
                </a:cubicBezTo>
                <a:cubicBezTo>
                  <a:pt x="557" y="311"/>
                  <a:pt x="557" y="311"/>
                  <a:pt x="558" y="310"/>
                </a:cubicBezTo>
                <a:cubicBezTo>
                  <a:pt x="558" y="310"/>
                  <a:pt x="558" y="311"/>
                  <a:pt x="558" y="311"/>
                </a:cubicBezTo>
                <a:cubicBezTo>
                  <a:pt x="558" y="311"/>
                  <a:pt x="558" y="311"/>
                  <a:pt x="558" y="311"/>
                </a:cubicBezTo>
                <a:cubicBezTo>
                  <a:pt x="558" y="311"/>
                  <a:pt x="559" y="311"/>
                  <a:pt x="559" y="311"/>
                </a:cubicBezTo>
                <a:cubicBezTo>
                  <a:pt x="559" y="311"/>
                  <a:pt x="559" y="310"/>
                  <a:pt x="560" y="310"/>
                </a:cubicBezTo>
                <a:cubicBezTo>
                  <a:pt x="560" y="310"/>
                  <a:pt x="560" y="310"/>
                  <a:pt x="561" y="310"/>
                </a:cubicBezTo>
                <a:cubicBezTo>
                  <a:pt x="561" y="310"/>
                  <a:pt x="561" y="310"/>
                  <a:pt x="561" y="311"/>
                </a:cubicBezTo>
                <a:cubicBezTo>
                  <a:pt x="562" y="311"/>
                  <a:pt x="562" y="311"/>
                  <a:pt x="562" y="311"/>
                </a:cubicBezTo>
                <a:cubicBezTo>
                  <a:pt x="562" y="310"/>
                  <a:pt x="563" y="310"/>
                  <a:pt x="563" y="310"/>
                </a:cubicBezTo>
                <a:cubicBezTo>
                  <a:pt x="563" y="310"/>
                  <a:pt x="563" y="310"/>
                  <a:pt x="564" y="310"/>
                </a:cubicBezTo>
                <a:cubicBezTo>
                  <a:pt x="564" y="309"/>
                  <a:pt x="564" y="309"/>
                  <a:pt x="564" y="309"/>
                </a:cubicBezTo>
                <a:cubicBezTo>
                  <a:pt x="564" y="309"/>
                  <a:pt x="565" y="309"/>
                  <a:pt x="565" y="309"/>
                </a:cubicBezTo>
                <a:cubicBezTo>
                  <a:pt x="565" y="309"/>
                  <a:pt x="566" y="309"/>
                  <a:pt x="566" y="309"/>
                </a:cubicBezTo>
                <a:cubicBezTo>
                  <a:pt x="566" y="308"/>
                  <a:pt x="567" y="308"/>
                  <a:pt x="567" y="308"/>
                </a:cubicBezTo>
                <a:cubicBezTo>
                  <a:pt x="567" y="308"/>
                  <a:pt x="567" y="308"/>
                  <a:pt x="567" y="308"/>
                </a:cubicBezTo>
                <a:cubicBezTo>
                  <a:pt x="568" y="308"/>
                  <a:pt x="568" y="308"/>
                  <a:pt x="568" y="308"/>
                </a:cubicBezTo>
                <a:cubicBezTo>
                  <a:pt x="569" y="308"/>
                  <a:pt x="569" y="307"/>
                  <a:pt x="569" y="307"/>
                </a:cubicBezTo>
                <a:cubicBezTo>
                  <a:pt x="569" y="307"/>
                  <a:pt x="568" y="307"/>
                  <a:pt x="568" y="307"/>
                </a:cubicBezTo>
                <a:cubicBezTo>
                  <a:pt x="568" y="307"/>
                  <a:pt x="568" y="307"/>
                  <a:pt x="568" y="307"/>
                </a:cubicBezTo>
                <a:cubicBezTo>
                  <a:pt x="567" y="307"/>
                  <a:pt x="567" y="307"/>
                  <a:pt x="567" y="307"/>
                </a:cubicBezTo>
                <a:cubicBezTo>
                  <a:pt x="567" y="307"/>
                  <a:pt x="567" y="306"/>
                  <a:pt x="567" y="306"/>
                </a:cubicBezTo>
                <a:cubicBezTo>
                  <a:pt x="566" y="306"/>
                  <a:pt x="565" y="306"/>
                  <a:pt x="565" y="306"/>
                </a:cubicBezTo>
                <a:cubicBezTo>
                  <a:pt x="565" y="306"/>
                  <a:pt x="565" y="306"/>
                  <a:pt x="565" y="306"/>
                </a:cubicBezTo>
                <a:cubicBezTo>
                  <a:pt x="565" y="306"/>
                  <a:pt x="566" y="306"/>
                  <a:pt x="566" y="306"/>
                </a:cubicBezTo>
                <a:cubicBezTo>
                  <a:pt x="567" y="306"/>
                  <a:pt x="567" y="305"/>
                  <a:pt x="567" y="305"/>
                </a:cubicBezTo>
                <a:cubicBezTo>
                  <a:pt x="568" y="306"/>
                  <a:pt x="568" y="306"/>
                  <a:pt x="568" y="306"/>
                </a:cubicBezTo>
                <a:cubicBezTo>
                  <a:pt x="568" y="306"/>
                  <a:pt x="568" y="306"/>
                  <a:pt x="568" y="306"/>
                </a:cubicBezTo>
                <a:cubicBezTo>
                  <a:pt x="569" y="306"/>
                  <a:pt x="569" y="305"/>
                  <a:pt x="569" y="305"/>
                </a:cubicBezTo>
                <a:cubicBezTo>
                  <a:pt x="569" y="305"/>
                  <a:pt x="569" y="305"/>
                  <a:pt x="570" y="305"/>
                </a:cubicBezTo>
                <a:cubicBezTo>
                  <a:pt x="570" y="305"/>
                  <a:pt x="571" y="305"/>
                  <a:pt x="571" y="305"/>
                </a:cubicBezTo>
                <a:cubicBezTo>
                  <a:pt x="571" y="305"/>
                  <a:pt x="571" y="304"/>
                  <a:pt x="571" y="304"/>
                </a:cubicBezTo>
                <a:cubicBezTo>
                  <a:pt x="572" y="304"/>
                  <a:pt x="572" y="303"/>
                  <a:pt x="572" y="303"/>
                </a:cubicBezTo>
                <a:cubicBezTo>
                  <a:pt x="572" y="303"/>
                  <a:pt x="572" y="304"/>
                  <a:pt x="572" y="304"/>
                </a:cubicBezTo>
                <a:cubicBezTo>
                  <a:pt x="572" y="304"/>
                  <a:pt x="572" y="304"/>
                  <a:pt x="572" y="304"/>
                </a:cubicBezTo>
                <a:cubicBezTo>
                  <a:pt x="572" y="304"/>
                  <a:pt x="572" y="304"/>
                  <a:pt x="572" y="304"/>
                </a:cubicBezTo>
                <a:cubicBezTo>
                  <a:pt x="572" y="304"/>
                  <a:pt x="572" y="304"/>
                  <a:pt x="572" y="305"/>
                </a:cubicBezTo>
                <a:cubicBezTo>
                  <a:pt x="573" y="304"/>
                  <a:pt x="574" y="304"/>
                  <a:pt x="575" y="304"/>
                </a:cubicBezTo>
                <a:cubicBezTo>
                  <a:pt x="575" y="303"/>
                  <a:pt x="575" y="303"/>
                  <a:pt x="575" y="303"/>
                </a:cubicBezTo>
                <a:cubicBezTo>
                  <a:pt x="575" y="303"/>
                  <a:pt x="576" y="303"/>
                  <a:pt x="576" y="303"/>
                </a:cubicBezTo>
                <a:cubicBezTo>
                  <a:pt x="577" y="302"/>
                  <a:pt x="577" y="302"/>
                  <a:pt x="577" y="302"/>
                </a:cubicBezTo>
                <a:cubicBezTo>
                  <a:pt x="577" y="302"/>
                  <a:pt x="578" y="301"/>
                  <a:pt x="578" y="301"/>
                </a:cubicBezTo>
                <a:cubicBezTo>
                  <a:pt x="578" y="301"/>
                  <a:pt x="579" y="300"/>
                  <a:pt x="579" y="300"/>
                </a:cubicBezTo>
                <a:cubicBezTo>
                  <a:pt x="579" y="300"/>
                  <a:pt x="579" y="300"/>
                  <a:pt x="579" y="300"/>
                </a:cubicBezTo>
                <a:cubicBezTo>
                  <a:pt x="579" y="300"/>
                  <a:pt x="580" y="300"/>
                  <a:pt x="580" y="300"/>
                </a:cubicBezTo>
                <a:cubicBezTo>
                  <a:pt x="580" y="300"/>
                  <a:pt x="580" y="300"/>
                  <a:pt x="580" y="300"/>
                </a:cubicBezTo>
                <a:cubicBezTo>
                  <a:pt x="579" y="301"/>
                  <a:pt x="579" y="301"/>
                  <a:pt x="579" y="301"/>
                </a:cubicBezTo>
                <a:cubicBezTo>
                  <a:pt x="579" y="302"/>
                  <a:pt x="578" y="302"/>
                  <a:pt x="578" y="302"/>
                </a:cubicBezTo>
                <a:cubicBezTo>
                  <a:pt x="578" y="302"/>
                  <a:pt x="577" y="303"/>
                  <a:pt x="577" y="303"/>
                </a:cubicBezTo>
                <a:cubicBezTo>
                  <a:pt x="577" y="303"/>
                  <a:pt x="578" y="303"/>
                  <a:pt x="578" y="303"/>
                </a:cubicBezTo>
                <a:cubicBezTo>
                  <a:pt x="578" y="303"/>
                  <a:pt x="579" y="302"/>
                  <a:pt x="579" y="302"/>
                </a:cubicBezTo>
                <a:cubicBezTo>
                  <a:pt x="579" y="302"/>
                  <a:pt x="579" y="302"/>
                  <a:pt x="580" y="302"/>
                </a:cubicBezTo>
                <a:cubicBezTo>
                  <a:pt x="580" y="302"/>
                  <a:pt x="580" y="302"/>
                  <a:pt x="581" y="302"/>
                </a:cubicBezTo>
                <a:cubicBezTo>
                  <a:pt x="581" y="302"/>
                  <a:pt x="582" y="302"/>
                  <a:pt x="583" y="302"/>
                </a:cubicBezTo>
                <a:cubicBezTo>
                  <a:pt x="583" y="302"/>
                  <a:pt x="584" y="302"/>
                  <a:pt x="585" y="301"/>
                </a:cubicBezTo>
                <a:cubicBezTo>
                  <a:pt x="584" y="302"/>
                  <a:pt x="584" y="302"/>
                  <a:pt x="583" y="302"/>
                </a:cubicBezTo>
                <a:cubicBezTo>
                  <a:pt x="583" y="302"/>
                  <a:pt x="582" y="302"/>
                  <a:pt x="582" y="303"/>
                </a:cubicBezTo>
                <a:cubicBezTo>
                  <a:pt x="582" y="303"/>
                  <a:pt x="581" y="303"/>
                  <a:pt x="581" y="303"/>
                </a:cubicBezTo>
                <a:cubicBezTo>
                  <a:pt x="581" y="303"/>
                  <a:pt x="581" y="303"/>
                  <a:pt x="581" y="303"/>
                </a:cubicBezTo>
                <a:cubicBezTo>
                  <a:pt x="581" y="303"/>
                  <a:pt x="581" y="304"/>
                  <a:pt x="581" y="304"/>
                </a:cubicBezTo>
                <a:cubicBezTo>
                  <a:pt x="581" y="304"/>
                  <a:pt x="581" y="303"/>
                  <a:pt x="580" y="303"/>
                </a:cubicBezTo>
                <a:cubicBezTo>
                  <a:pt x="580" y="303"/>
                  <a:pt x="580" y="303"/>
                  <a:pt x="580" y="303"/>
                </a:cubicBezTo>
                <a:cubicBezTo>
                  <a:pt x="580" y="303"/>
                  <a:pt x="580" y="303"/>
                  <a:pt x="579" y="303"/>
                </a:cubicBezTo>
                <a:cubicBezTo>
                  <a:pt x="579" y="303"/>
                  <a:pt x="578" y="303"/>
                  <a:pt x="578" y="303"/>
                </a:cubicBezTo>
                <a:cubicBezTo>
                  <a:pt x="577" y="304"/>
                  <a:pt x="577" y="304"/>
                  <a:pt x="576" y="305"/>
                </a:cubicBezTo>
                <a:cubicBezTo>
                  <a:pt x="575" y="305"/>
                  <a:pt x="575" y="305"/>
                  <a:pt x="574" y="305"/>
                </a:cubicBezTo>
                <a:cubicBezTo>
                  <a:pt x="573" y="306"/>
                  <a:pt x="573" y="306"/>
                  <a:pt x="572" y="307"/>
                </a:cubicBezTo>
                <a:cubicBezTo>
                  <a:pt x="572" y="307"/>
                  <a:pt x="572" y="307"/>
                  <a:pt x="572" y="307"/>
                </a:cubicBezTo>
                <a:cubicBezTo>
                  <a:pt x="572" y="308"/>
                  <a:pt x="571" y="308"/>
                  <a:pt x="571" y="308"/>
                </a:cubicBezTo>
                <a:cubicBezTo>
                  <a:pt x="571" y="309"/>
                  <a:pt x="571" y="309"/>
                  <a:pt x="570" y="309"/>
                </a:cubicBezTo>
                <a:cubicBezTo>
                  <a:pt x="570" y="310"/>
                  <a:pt x="570" y="310"/>
                  <a:pt x="571" y="310"/>
                </a:cubicBezTo>
                <a:cubicBezTo>
                  <a:pt x="571" y="311"/>
                  <a:pt x="571" y="311"/>
                  <a:pt x="571" y="311"/>
                </a:cubicBezTo>
                <a:cubicBezTo>
                  <a:pt x="571" y="311"/>
                  <a:pt x="571" y="311"/>
                  <a:pt x="571" y="312"/>
                </a:cubicBezTo>
                <a:cubicBezTo>
                  <a:pt x="571" y="312"/>
                  <a:pt x="572" y="311"/>
                  <a:pt x="572" y="311"/>
                </a:cubicBezTo>
                <a:cubicBezTo>
                  <a:pt x="572" y="311"/>
                  <a:pt x="572" y="311"/>
                  <a:pt x="572" y="311"/>
                </a:cubicBezTo>
                <a:cubicBezTo>
                  <a:pt x="572" y="312"/>
                  <a:pt x="573" y="312"/>
                  <a:pt x="573" y="312"/>
                </a:cubicBezTo>
                <a:cubicBezTo>
                  <a:pt x="573" y="312"/>
                  <a:pt x="573" y="312"/>
                  <a:pt x="574" y="312"/>
                </a:cubicBezTo>
                <a:cubicBezTo>
                  <a:pt x="574" y="312"/>
                  <a:pt x="574" y="312"/>
                  <a:pt x="574" y="312"/>
                </a:cubicBezTo>
                <a:cubicBezTo>
                  <a:pt x="574" y="312"/>
                  <a:pt x="575" y="312"/>
                  <a:pt x="575" y="312"/>
                </a:cubicBezTo>
                <a:cubicBezTo>
                  <a:pt x="575" y="312"/>
                  <a:pt x="575" y="312"/>
                  <a:pt x="575" y="312"/>
                </a:cubicBezTo>
                <a:cubicBezTo>
                  <a:pt x="575" y="312"/>
                  <a:pt x="575" y="311"/>
                  <a:pt x="575" y="311"/>
                </a:cubicBezTo>
                <a:cubicBezTo>
                  <a:pt x="575" y="311"/>
                  <a:pt x="575" y="311"/>
                  <a:pt x="576" y="311"/>
                </a:cubicBezTo>
                <a:cubicBezTo>
                  <a:pt x="576" y="311"/>
                  <a:pt x="576" y="311"/>
                  <a:pt x="576" y="311"/>
                </a:cubicBezTo>
                <a:cubicBezTo>
                  <a:pt x="576" y="311"/>
                  <a:pt x="577" y="310"/>
                  <a:pt x="577" y="310"/>
                </a:cubicBezTo>
                <a:cubicBezTo>
                  <a:pt x="578" y="310"/>
                  <a:pt x="578" y="310"/>
                  <a:pt x="578" y="310"/>
                </a:cubicBezTo>
                <a:cubicBezTo>
                  <a:pt x="579" y="309"/>
                  <a:pt x="579" y="309"/>
                  <a:pt x="579" y="308"/>
                </a:cubicBezTo>
                <a:cubicBezTo>
                  <a:pt x="580" y="308"/>
                  <a:pt x="580" y="307"/>
                  <a:pt x="581" y="307"/>
                </a:cubicBezTo>
                <a:cubicBezTo>
                  <a:pt x="581" y="307"/>
                  <a:pt x="580" y="307"/>
                  <a:pt x="580" y="307"/>
                </a:cubicBezTo>
                <a:cubicBezTo>
                  <a:pt x="580" y="306"/>
                  <a:pt x="581" y="306"/>
                  <a:pt x="581" y="306"/>
                </a:cubicBezTo>
                <a:cubicBezTo>
                  <a:pt x="581" y="306"/>
                  <a:pt x="581" y="306"/>
                  <a:pt x="582" y="306"/>
                </a:cubicBezTo>
                <a:cubicBezTo>
                  <a:pt x="582" y="305"/>
                  <a:pt x="582" y="305"/>
                  <a:pt x="582" y="305"/>
                </a:cubicBezTo>
                <a:cubicBezTo>
                  <a:pt x="582" y="305"/>
                  <a:pt x="582" y="305"/>
                  <a:pt x="582" y="305"/>
                </a:cubicBezTo>
                <a:cubicBezTo>
                  <a:pt x="583" y="305"/>
                  <a:pt x="583" y="305"/>
                  <a:pt x="583" y="306"/>
                </a:cubicBezTo>
                <a:cubicBezTo>
                  <a:pt x="583" y="306"/>
                  <a:pt x="584" y="306"/>
                  <a:pt x="584" y="305"/>
                </a:cubicBezTo>
                <a:cubicBezTo>
                  <a:pt x="584" y="305"/>
                  <a:pt x="584" y="305"/>
                  <a:pt x="584" y="305"/>
                </a:cubicBezTo>
                <a:cubicBezTo>
                  <a:pt x="584" y="305"/>
                  <a:pt x="585" y="305"/>
                  <a:pt x="585" y="305"/>
                </a:cubicBezTo>
                <a:cubicBezTo>
                  <a:pt x="586" y="305"/>
                  <a:pt x="586" y="304"/>
                  <a:pt x="587" y="304"/>
                </a:cubicBezTo>
                <a:cubicBezTo>
                  <a:pt x="587" y="304"/>
                  <a:pt x="588" y="304"/>
                  <a:pt x="588" y="303"/>
                </a:cubicBezTo>
                <a:cubicBezTo>
                  <a:pt x="589" y="303"/>
                  <a:pt x="589" y="303"/>
                  <a:pt x="590" y="303"/>
                </a:cubicBezTo>
                <a:cubicBezTo>
                  <a:pt x="590" y="303"/>
                  <a:pt x="591" y="303"/>
                  <a:pt x="591" y="303"/>
                </a:cubicBezTo>
                <a:cubicBezTo>
                  <a:pt x="592" y="302"/>
                  <a:pt x="592" y="302"/>
                  <a:pt x="593" y="301"/>
                </a:cubicBezTo>
                <a:cubicBezTo>
                  <a:pt x="594" y="301"/>
                  <a:pt x="594" y="301"/>
                  <a:pt x="595" y="301"/>
                </a:cubicBezTo>
                <a:cubicBezTo>
                  <a:pt x="595" y="300"/>
                  <a:pt x="595" y="300"/>
                  <a:pt x="596" y="300"/>
                </a:cubicBezTo>
                <a:cubicBezTo>
                  <a:pt x="596" y="300"/>
                  <a:pt x="596" y="300"/>
                  <a:pt x="596" y="300"/>
                </a:cubicBezTo>
                <a:cubicBezTo>
                  <a:pt x="597" y="300"/>
                  <a:pt x="597" y="300"/>
                  <a:pt x="597" y="300"/>
                </a:cubicBezTo>
                <a:cubicBezTo>
                  <a:pt x="597" y="300"/>
                  <a:pt x="597" y="300"/>
                  <a:pt x="597" y="300"/>
                </a:cubicBezTo>
                <a:cubicBezTo>
                  <a:pt x="596" y="300"/>
                  <a:pt x="596" y="300"/>
                  <a:pt x="595" y="300"/>
                </a:cubicBezTo>
                <a:cubicBezTo>
                  <a:pt x="595" y="300"/>
                  <a:pt x="595" y="300"/>
                  <a:pt x="594" y="300"/>
                </a:cubicBezTo>
                <a:cubicBezTo>
                  <a:pt x="595" y="300"/>
                  <a:pt x="595" y="300"/>
                  <a:pt x="595" y="299"/>
                </a:cubicBezTo>
                <a:cubicBezTo>
                  <a:pt x="595" y="299"/>
                  <a:pt x="595" y="299"/>
                  <a:pt x="596" y="299"/>
                </a:cubicBezTo>
                <a:cubicBezTo>
                  <a:pt x="595" y="299"/>
                  <a:pt x="595" y="299"/>
                  <a:pt x="595" y="299"/>
                </a:cubicBezTo>
                <a:cubicBezTo>
                  <a:pt x="595" y="299"/>
                  <a:pt x="594" y="299"/>
                  <a:pt x="593" y="299"/>
                </a:cubicBezTo>
                <a:cubicBezTo>
                  <a:pt x="593" y="299"/>
                  <a:pt x="593" y="299"/>
                  <a:pt x="592" y="299"/>
                </a:cubicBezTo>
                <a:cubicBezTo>
                  <a:pt x="592" y="299"/>
                  <a:pt x="592" y="298"/>
                  <a:pt x="592" y="298"/>
                </a:cubicBezTo>
                <a:cubicBezTo>
                  <a:pt x="592" y="298"/>
                  <a:pt x="592" y="298"/>
                  <a:pt x="592" y="298"/>
                </a:cubicBezTo>
                <a:cubicBezTo>
                  <a:pt x="592" y="298"/>
                  <a:pt x="591" y="298"/>
                  <a:pt x="591" y="299"/>
                </a:cubicBezTo>
                <a:cubicBezTo>
                  <a:pt x="591" y="299"/>
                  <a:pt x="590" y="299"/>
                  <a:pt x="590" y="299"/>
                </a:cubicBezTo>
                <a:cubicBezTo>
                  <a:pt x="590" y="299"/>
                  <a:pt x="589" y="299"/>
                  <a:pt x="589" y="299"/>
                </a:cubicBezTo>
                <a:cubicBezTo>
                  <a:pt x="588" y="299"/>
                  <a:pt x="588" y="299"/>
                  <a:pt x="588" y="299"/>
                </a:cubicBezTo>
                <a:cubicBezTo>
                  <a:pt x="588" y="299"/>
                  <a:pt x="587" y="299"/>
                  <a:pt x="587" y="299"/>
                </a:cubicBezTo>
                <a:cubicBezTo>
                  <a:pt x="587" y="299"/>
                  <a:pt x="586" y="299"/>
                  <a:pt x="586" y="299"/>
                </a:cubicBezTo>
                <a:cubicBezTo>
                  <a:pt x="586" y="299"/>
                  <a:pt x="586" y="299"/>
                  <a:pt x="585" y="299"/>
                </a:cubicBezTo>
                <a:cubicBezTo>
                  <a:pt x="585" y="299"/>
                  <a:pt x="584" y="299"/>
                  <a:pt x="584" y="299"/>
                </a:cubicBezTo>
                <a:cubicBezTo>
                  <a:pt x="583" y="299"/>
                  <a:pt x="582" y="299"/>
                  <a:pt x="582" y="299"/>
                </a:cubicBezTo>
                <a:cubicBezTo>
                  <a:pt x="582" y="299"/>
                  <a:pt x="583" y="299"/>
                  <a:pt x="583" y="299"/>
                </a:cubicBezTo>
                <a:cubicBezTo>
                  <a:pt x="583" y="298"/>
                  <a:pt x="583" y="298"/>
                  <a:pt x="583" y="298"/>
                </a:cubicBezTo>
                <a:cubicBezTo>
                  <a:pt x="583" y="298"/>
                  <a:pt x="582" y="298"/>
                  <a:pt x="582" y="298"/>
                </a:cubicBezTo>
                <a:cubicBezTo>
                  <a:pt x="581" y="298"/>
                  <a:pt x="581" y="298"/>
                  <a:pt x="581" y="298"/>
                </a:cubicBezTo>
                <a:cubicBezTo>
                  <a:pt x="581" y="298"/>
                  <a:pt x="580" y="298"/>
                  <a:pt x="580" y="298"/>
                </a:cubicBezTo>
                <a:cubicBezTo>
                  <a:pt x="580" y="298"/>
                  <a:pt x="580" y="298"/>
                  <a:pt x="579" y="298"/>
                </a:cubicBezTo>
                <a:cubicBezTo>
                  <a:pt x="579" y="297"/>
                  <a:pt x="579" y="297"/>
                  <a:pt x="579" y="297"/>
                </a:cubicBezTo>
                <a:cubicBezTo>
                  <a:pt x="579" y="297"/>
                  <a:pt x="578" y="297"/>
                  <a:pt x="578" y="296"/>
                </a:cubicBezTo>
                <a:cubicBezTo>
                  <a:pt x="578" y="296"/>
                  <a:pt x="578" y="296"/>
                  <a:pt x="578" y="296"/>
                </a:cubicBezTo>
                <a:cubicBezTo>
                  <a:pt x="578" y="296"/>
                  <a:pt x="578" y="295"/>
                  <a:pt x="578" y="295"/>
                </a:cubicBezTo>
                <a:cubicBezTo>
                  <a:pt x="578" y="295"/>
                  <a:pt x="578" y="295"/>
                  <a:pt x="578" y="295"/>
                </a:cubicBezTo>
                <a:cubicBezTo>
                  <a:pt x="578" y="294"/>
                  <a:pt x="578" y="294"/>
                  <a:pt x="578" y="294"/>
                </a:cubicBezTo>
                <a:cubicBezTo>
                  <a:pt x="577" y="294"/>
                  <a:pt x="577" y="294"/>
                  <a:pt x="576" y="295"/>
                </a:cubicBezTo>
                <a:cubicBezTo>
                  <a:pt x="576" y="294"/>
                  <a:pt x="576" y="294"/>
                  <a:pt x="577" y="294"/>
                </a:cubicBezTo>
                <a:cubicBezTo>
                  <a:pt x="577" y="294"/>
                  <a:pt x="577" y="294"/>
                  <a:pt x="577" y="294"/>
                </a:cubicBezTo>
                <a:cubicBezTo>
                  <a:pt x="577" y="293"/>
                  <a:pt x="578" y="292"/>
                  <a:pt x="578" y="292"/>
                </a:cubicBezTo>
                <a:cubicBezTo>
                  <a:pt x="578" y="291"/>
                  <a:pt x="579" y="291"/>
                  <a:pt x="579" y="291"/>
                </a:cubicBezTo>
                <a:cubicBezTo>
                  <a:pt x="579" y="291"/>
                  <a:pt x="579" y="291"/>
                  <a:pt x="579" y="290"/>
                </a:cubicBezTo>
                <a:cubicBezTo>
                  <a:pt x="578" y="291"/>
                  <a:pt x="578" y="291"/>
                  <a:pt x="578" y="291"/>
                </a:cubicBezTo>
                <a:cubicBezTo>
                  <a:pt x="578" y="291"/>
                  <a:pt x="578" y="291"/>
                  <a:pt x="578" y="290"/>
                </a:cubicBezTo>
                <a:cubicBezTo>
                  <a:pt x="577" y="291"/>
                  <a:pt x="577" y="291"/>
                  <a:pt x="576" y="291"/>
                </a:cubicBezTo>
                <a:cubicBezTo>
                  <a:pt x="576" y="291"/>
                  <a:pt x="576" y="291"/>
                  <a:pt x="576" y="291"/>
                </a:cubicBezTo>
                <a:cubicBezTo>
                  <a:pt x="575" y="292"/>
                  <a:pt x="575" y="292"/>
                  <a:pt x="574" y="292"/>
                </a:cubicBezTo>
                <a:cubicBezTo>
                  <a:pt x="574" y="292"/>
                  <a:pt x="574" y="292"/>
                  <a:pt x="574" y="292"/>
                </a:cubicBezTo>
                <a:cubicBezTo>
                  <a:pt x="574" y="291"/>
                  <a:pt x="574" y="291"/>
                  <a:pt x="573" y="291"/>
                </a:cubicBezTo>
                <a:cubicBezTo>
                  <a:pt x="573" y="291"/>
                  <a:pt x="572" y="291"/>
                  <a:pt x="571" y="291"/>
                </a:cubicBezTo>
                <a:cubicBezTo>
                  <a:pt x="571" y="291"/>
                  <a:pt x="570" y="291"/>
                  <a:pt x="570" y="291"/>
                </a:cubicBezTo>
                <a:cubicBezTo>
                  <a:pt x="569" y="291"/>
                  <a:pt x="569" y="292"/>
                  <a:pt x="568" y="292"/>
                </a:cubicBezTo>
                <a:cubicBezTo>
                  <a:pt x="569" y="291"/>
                  <a:pt x="569" y="291"/>
                  <a:pt x="570" y="291"/>
                </a:cubicBezTo>
                <a:cubicBezTo>
                  <a:pt x="570" y="291"/>
                  <a:pt x="570" y="291"/>
                  <a:pt x="571" y="291"/>
                </a:cubicBezTo>
                <a:cubicBezTo>
                  <a:pt x="571" y="291"/>
                  <a:pt x="572" y="291"/>
                  <a:pt x="572" y="290"/>
                </a:cubicBezTo>
                <a:cubicBezTo>
                  <a:pt x="572" y="290"/>
                  <a:pt x="572" y="290"/>
                  <a:pt x="573" y="290"/>
                </a:cubicBezTo>
                <a:cubicBezTo>
                  <a:pt x="573" y="290"/>
                  <a:pt x="573" y="290"/>
                  <a:pt x="574" y="290"/>
                </a:cubicBezTo>
                <a:cubicBezTo>
                  <a:pt x="574" y="290"/>
                  <a:pt x="575" y="290"/>
                  <a:pt x="575" y="290"/>
                </a:cubicBezTo>
                <a:cubicBezTo>
                  <a:pt x="575" y="290"/>
                  <a:pt x="576" y="290"/>
                  <a:pt x="576" y="290"/>
                </a:cubicBezTo>
                <a:cubicBezTo>
                  <a:pt x="576" y="290"/>
                  <a:pt x="577" y="289"/>
                  <a:pt x="577" y="289"/>
                </a:cubicBezTo>
                <a:cubicBezTo>
                  <a:pt x="578" y="289"/>
                  <a:pt x="578" y="289"/>
                  <a:pt x="578" y="289"/>
                </a:cubicBezTo>
                <a:cubicBezTo>
                  <a:pt x="578" y="289"/>
                  <a:pt x="579" y="288"/>
                  <a:pt x="579" y="288"/>
                </a:cubicBezTo>
                <a:cubicBezTo>
                  <a:pt x="580" y="288"/>
                  <a:pt x="580" y="288"/>
                  <a:pt x="580" y="288"/>
                </a:cubicBezTo>
                <a:cubicBezTo>
                  <a:pt x="580" y="287"/>
                  <a:pt x="581" y="287"/>
                  <a:pt x="581" y="286"/>
                </a:cubicBezTo>
                <a:cubicBezTo>
                  <a:pt x="581" y="286"/>
                  <a:pt x="580" y="286"/>
                  <a:pt x="580" y="286"/>
                </a:cubicBezTo>
                <a:cubicBezTo>
                  <a:pt x="580" y="286"/>
                  <a:pt x="581" y="286"/>
                  <a:pt x="581" y="286"/>
                </a:cubicBezTo>
                <a:cubicBezTo>
                  <a:pt x="581" y="286"/>
                  <a:pt x="581" y="285"/>
                  <a:pt x="580" y="285"/>
                </a:cubicBezTo>
                <a:cubicBezTo>
                  <a:pt x="580" y="285"/>
                  <a:pt x="580" y="285"/>
                  <a:pt x="579" y="285"/>
                </a:cubicBezTo>
                <a:cubicBezTo>
                  <a:pt x="579" y="285"/>
                  <a:pt x="579" y="285"/>
                  <a:pt x="578" y="286"/>
                </a:cubicBezTo>
                <a:cubicBezTo>
                  <a:pt x="578" y="285"/>
                  <a:pt x="578" y="285"/>
                  <a:pt x="578" y="285"/>
                </a:cubicBezTo>
                <a:cubicBezTo>
                  <a:pt x="578" y="285"/>
                  <a:pt x="578" y="285"/>
                  <a:pt x="578" y="285"/>
                </a:cubicBezTo>
                <a:cubicBezTo>
                  <a:pt x="579" y="285"/>
                  <a:pt x="579" y="285"/>
                  <a:pt x="580" y="285"/>
                </a:cubicBezTo>
                <a:cubicBezTo>
                  <a:pt x="580" y="285"/>
                  <a:pt x="580" y="285"/>
                  <a:pt x="580" y="285"/>
                </a:cubicBezTo>
                <a:cubicBezTo>
                  <a:pt x="579" y="285"/>
                  <a:pt x="578" y="284"/>
                  <a:pt x="578" y="284"/>
                </a:cubicBezTo>
                <a:cubicBezTo>
                  <a:pt x="577" y="284"/>
                  <a:pt x="576" y="284"/>
                  <a:pt x="575" y="284"/>
                </a:cubicBezTo>
                <a:cubicBezTo>
                  <a:pt x="574" y="284"/>
                  <a:pt x="573" y="285"/>
                  <a:pt x="572" y="285"/>
                </a:cubicBezTo>
                <a:cubicBezTo>
                  <a:pt x="571" y="285"/>
                  <a:pt x="571" y="285"/>
                  <a:pt x="571" y="285"/>
                </a:cubicBezTo>
                <a:cubicBezTo>
                  <a:pt x="570" y="286"/>
                  <a:pt x="570" y="286"/>
                  <a:pt x="570" y="286"/>
                </a:cubicBezTo>
                <a:cubicBezTo>
                  <a:pt x="569" y="286"/>
                  <a:pt x="568" y="287"/>
                  <a:pt x="566" y="287"/>
                </a:cubicBezTo>
                <a:cubicBezTo>
                  <a:pt x="566" y="287"/>
                  <a:pt x="565" y="288"/>
                  <a:pt x="564" y="288"/>
                </a:cubicBezTo>
                <a:cubicBezTo>
                  <a:pt x="563" y="288"/>
                  <a:pt x="563" y="289"/>
                  <a:pt x="563" y="289"/>
                </a:cubicBezTo>
                <a:cubicBezTo>
                  <a:pt x="562" y="289"/>
                  <a:pt x="562" y="289"/>
                  <a:pt x="561" y="289"/>
                </a:cubicBezTo>
                <a:cubicBezTo>
                  <a:pt x="560" y="290"/>
                  <a:pt x="560" y="290"/>
                  <a:pt x="559" y="291"/>
                </a:cubicBezTo>
                <a:cubicBezTo>
                  <a:pt x="558" y="292"/>
                  <a:pt x="557" y="293"/>
                  <a:pt x="556" y="293"/>
                </a:cubicBezTo>
                <a:cubicBezTo>
                  <a:pt x="555" y="294"/>
                  <a:pt x="554" y="295"/>
                  <a:pt x="553" y="296"/>
                </a:cubicBezTo>
                <a:cubicBezTo>
                  <a:pt x="553" y="296"/>
                  <a:pt x="553" y="296"/>
                  <a:pt x="552" y="296"/>
                </a:cubicBezTo>
                <a:cubicBezTo>
                  <a:pt x="552" y="296"/>
                  <a:pt x="552" y="297"/>
                  <a:pt x="551" y="297"/>
                </a:cubicBezTo>
                <a:cubicBezTo>
                  <a:pt x="551" y="298"/>
                  <a:pt x="551" y="298"/>
                  <a:pt x="550" y="299"/>
                </a:cubicBezTo>
                <a:cubicBezTo>
                  <a:pt x="550" y="299"/>
                  <a:pt x="549" y="300"/>
                  <a:pt x="549" y="300"/>
                </a:cubicBezTo>
                <a:cubicBezTo>
                  <a:pt x="548" y="300"/>
                  <a:pt x="547" y="301"/>
                  <a:pt x="547" y="301"/>
                </a:cubicBezTo>
                <a:cubicBezTo>
                  <a:pt x="546" y="302"/>
                  <a:pt x="545" y="302"/>
                  <a:pt x="544" y="303"/>
                </a:cubicBezTo>
                <a:cubicBezTo>
                  <a:pt x="544" y="303"/>
                  <a:pt x="543" y="303"/>
                  <a:pt x="543" y="303"/>
                </a:cubicBezTo>
                <a:cubicBezTo>
                  <a:pt x="543" y="303"/>
                  <a:pt x="544" y="302"/>
                  <a:pt x="544" y="302"/>
                </a:cubicBezTo>
                <a:cubicBezTo>
                  <a:pt x="545" y="302"/>
                  <a:pt x="546" y="301"/>
                  <a:pt x="547" y="301"/>
                </a:cubicBezTo>
                <a:cubicBezTo>
                  <a:pt x="547" y="301"/>
                  <a:pt x="547" y="300"/>
                  <a:pt x="547" y="300"/>
                </a:cubicBezTo>
                <a:cubicBezTo>
                  <a:pt x="548" y="300"/>
                  <a:pt x="548" y="299"/>
                  <a:pt x="549" y="299"/>
                </a:cubicBezTo>
                <a:cubicBezTo>
                  <a:pt x="549" y="298"/>
                  <a:pt x="549" y="298"/>
                  <a:pt x="550" y="298"/>
                </a:cubicBezTo>
                <a:cubicBezTo>
                  <a:pt x="550" y="297"/>
                  <a:pt x="550" y="297"/>
                  <a:pt x="550" y="297"/>
                </a:cubicBezTo>
                <a:cubicBezTo>
                  <a:pt x="550" y="297"/>
                  <a:pt x="550" y="297"/>
                  <a:pt x="551" y="296"/>
                </a:cubicBezTo>
                <a:cubicBezTo>
                  <a:pt x="551" y="296"/>
                  <a:pt x="552" y="296"/>
                  <a:pt x="552" y="295"/>
                </a:cubicBezTo>
                <a:cubicBezTo>
                  <a:pt x="552" y="295"/>
                  <a:pt x="553" y="295"/>
                  <a:pt x="553" y="294"/>
                </a:cubicBezTo>
                <a:cubicBezTo>
                  <a:pt x="553" y="294"/>
                  <a:pt x="553" y="294"/>
                  <a:pt x="553" y="293"/>
                </a:cubicBezTo>
                <a:cubicBezTo>
                  <a:pt x="554" y="293"/>
                  <a:pt x="555" y="292"/>
                  <a:pt x="555" y="292"/>
                </a:cubicBezTo>
                <a:cubicBezTo>
                  <a:pt x="556" y="291"/>
                  <a:pt x="556" y="291"/>
                  <a:pt x="556" y="290"/>
                </a:cubicBezTo>
                <a:cubicBezTo>
                  <a:pt x="557" y="290"/>
                  <a:pt x="557" y="290"/>
                  <a:pt x="557" y="290"/>
                </a:cubicBezTo>
                <a:cubicBezTo>
                  <a:pt x="557" y="290"/>
                  <a:pt x="557" y="290"/>
                  <a:pt x="557" y="290"/>
                </a:cubicBezTo>
                <a:cubicBezTo>
                  <a:pt x="557" y="289"/>
                  <a:pt x="558" y="289"/>
                  <a:pt x="558" y="289"/>
                </a:cubicBezTo>
                <a:cubicBezTo>
                  <a:pt x="558" y="289"/>
                  <a:pt x="559" y="289"/>
                  <a:pt x="559" y="288"/>
                </a:cubicBezTo>
                <a:cubicBezTo>
                  <a:pt x="559" y="288"/>
                  <a:pt x="559" y="288"/>
                  <a:pt x="559" y="288"/>
                </a:cubicBezTo>
                <a:cubicBezTo>
                  <a:pt x="560" y="287"/>
                  <a:pt x="560" y="287"/>
                  <a:pt x="560" y="287"/>
                </a:cubicBezTo>
                <a:cubicBezTo>
                  <a:pt x="560" y="287"/>
                  <a:pt x="561" y="287"/>
                  <a:pt x="561" y="287"/>
                </a:cubicBezTo>
                <a:cubicBezTo>
                  <a:pt x="561" y="287"/>
                  <a:pt x="561" y="287"/>
                  <a:pt x="561" y="287"/>
                </a:cubicBezTo>
                <a:cubicBezTo>
                  <a:pt x="561" y="287"/>
                  <a:pt x="562" y="286"/>
                  <a:pt x="562" y="286"/>
                </a:cubicBezTo>
                <a:cubicBezTo>
                  <a:pt x="563" y="286"/>
                  <a:pt x="563" y="286"/>
                  <a:pt x="564" y="286"/>
                </a:cubicBezTo>
                <a:cubicBezTo>
                  <a:pt x="564" y="285"/>
                  <a:pt x="564" y="285"/>
                  <a:pt x="565" y="285"/>
                </a:cubicBezTo>
                <a:cubicBezTo>
                  <a:pt x="565" y="285"/>
                  <a:pt x="566" y="285"/>
                  <a:pt x="566" y="285"/>
                </a:cubicBezTo>
                <a:cubicBezTo>
                  <a:pt x="566" y="285"/>
                  <a:pt x="567" y="284"/>
                  <a:pt x="567" y="284"/>
                </a:cubicBezTo>
                <a:cubicBezTo>
                  <a:pt x="567" y="284"/>
                  <a:pt x="567" y="283"/>
                  <a:pt x="567" y="283"/>
                </a:cubicBezTo>
                <a:cubicBezTo>
                  <a:pt x="567" y="283"/>
                  <a:pt x="567" y="283"/>
                  <a:pt x="567" y="283"/>
                </a:cubicBezTo>
                <a:cubicBezTo>
                  <a:pt x="567" y="282"/>
                  <a:pt x="567" y="282"/>
                  <a:pt x="567" y="282"/>
                </a:cubicBezTo>
                <a:cubicBezTo>
                  <a:pt x="567" y="282"/>
                  <a:pt x="568" y="282"/>
                  <a:pt x="568" y="281"/>
                </a:cubicBezTo>
                <a:cubicBezTo>
                  <a:pt x="569" y="281"/>
                  <a:pt x="569" y="280"/>
                  <a:pt x="570" y="280"/>
                </a:cubicBezTo>
                <a:cubicBezTo>
                  <a:pt x="570" y="280"/>
                  <a:pt x="571" y="280"/>
                  <a:pt x="571" y="280"/>
                </a:cubicBezTo>
                <a:cubicBezTo>
                  <a:pt x="571" y="279"/>
                  <a:pt x="571" y="279"/>
                  <a:pt x="571" y="279"/>
                </a:cubicBezTo>
                <a:cubicBezTo>
                  <a:pt x="571" y="279"/>
                  <a:pt x="571" y="279"/>
                  <a:pt x="571" y="279"/>
                </a:cubicBezTo>
                <a:cubicBezTo>
                  <a:pt x="571" y="279"/>
                  <a:pt x="571" y="279"/>
                  <a:pt x="571" y="278"/>
                </a:cubicBezTo>
                <a:cubicBezTo>
                  <a:pt x="571" y="278"/>
                  <a:pt x="572" y="278"/>
                  <a:pt x="572" y="278"/>
                </a:cubicBezTo>
                <a:cubicBezTo>
                  <a:pt x="572" y="278"/>
                  <a:pt x="573" y="278"/>
                  <a:pt x="573" y="278"/>
                </a:cubicBezTo>
                <a:cubicBezTo>
                  <a:pt x="573" y="278"/>
                  <a:pt x="574" y="278"/>
                  <a:pt x="574" y="278"/>
                </a:cubicBezTo>
                <a:cubicBezTo>
                  <a:pt x="575" y="278"/>
                  <a:pt x="576" y="278"/>
                  <a:pt x="577" y="278"/>
                </a:cubicBezTo>
                <a:cubicBezTo>
                  <a:pt x="577" y="278"/>
                  <a:pt x="578" y="278"/>
                  <a:pt x="578" y="278"/>
                </a:cubicBezTo>
                <a:cubicBezTo>
                  <a:pt x="579" y="278"/>
                  <a:pt x="579" y="278"/>
                  <a:pt x="579" y="278"/>
                </a:cubicBezTo>
                <a:cubicBezTo>
                  <a:pt x="579" y="278"/>
                  <a:pt x="579" y="278"/>
                  <a:pt x="580" y="278"/>
                </a:cubicBezTo>
                <a:cubicBezTo>
                  <a:pt x="580" y="277"/>
                  <a:pt x="580" y="277"/>
                  <a:pt x="581" y="277"/>
                </a:cubicBezTo>
                <a:cubicBezTo>
                  <a:pt x="581" y="277"/>
                  <a:pt x="581" y="277"/>
                  <a:pt x="582" y="277"/>
                </a:cubicBezTo>
                <a:cubicBezTo>
                  <a:pt x="582" y="277"/>
                  <a:pt x="582" y="277"/>
                  <a:pt x="583" y="277"/>
                </a:cubicBezTo>
                <a:cubicBezTo>
                  <a:pt x="583" y="277"/>
                  <a:pt x="583" y="277"/>
                  <a:pt x="583" y="276"/>
                </a:cubicBezTo>
                <a:cubicBezTo>
                  <a:pt x="584" y="277"/>
                  <a:pt x="584" y="277"/>
                  <a:pt x="585" y="277"/>
                </a:cubicBezTo>
                <a:cubicBezTo>
                  <a:pt x="585" y="277"/>
                  <a:pt x="586" y="277"/>
                  <a:pt x="586" y="277"/>
                </a:cubicBezTo>
                <a:cubicBezTo>
                  <a:pt x="587" y="276"/>
                  <a:pt x="587" y="276"/>
                  <a:pt x="587" y="276"/>
                </a:cubicBezTo>
                <a:cubicBezTo>
                  <a:pt x="587" y="276"/>
                  <a:pt x="587" y="276"/>
                  <a:pt x="588" y="276"/>
                </a:cubicBezTo>
                <a:cubicBezTo>
                  <a:pt x="588" y="276"/>
                  <a:pt x="588" y="276"/>
                  <a:pt x="589" y="276"/>
                </a:cubicBezTo>
                <a:cubicBezTo>
                  <a:pt x="589" y="276"/>
                  <a:pt x="590" y="276"/>
                  <a:pt x="590" y="276"/>
                </a:cubicBezTo>
                <a:cubicBezTo>
                  <a:pt x="590" y="276"/>
                  <a:pt x="590" y="276"/>
                  <a:pt x="590" y="276"/>
                </a:cubicBezTo>
                <a:cubicBezTo>
                  <a:pt x="591" y="276"/>
                  <a:pt x="592" y="276"/>
                  <a:pt x="592" y="276"/>
                </a:cubicBezTo>
                <a:cubicBezTo>
                  <a:pt x="592" y="276"/>
                  <a:pt x="593" y="276"/>
                  <a:pt x="593" y="276"/>
                </a:cubicBezTo>
                <a:cubicBezTo>
                  <a:pt x="593" y="276"/>
                  <a:pt x="594" y="276"/>
                  <a:pt x="594" y="275"/>
                </a:cubicBezTo>
                <a:cubicBezTo>
                  <a:pt x="594" y="275"/>
                  <a:pt x="594" y="275"/>
                  <a:pt x="595" y="275"/>
                </a:cubicBezTo>
                <a:cubicBezTo>
                  <a:pt x="595" y="275"/>
                  <a:pt x="595" y="276"/>
                  <a:pt x="594" y="276"/>
                </a:cubicBezTo>
                <a:cubicBezTo>
                  <a:pt x="595" y="276"/>
                  <a:pt x="595" y="276"/>
                  <a:pt x="596" y="276"/>
                </a:cubicBezTo>
                <a:cubicBezTo>
                  <a:pt x="596" y="275"/>
                  <a:pt x="597" y="275"/>
                  <a:pt x="598" y="275"/>
                </a:cubicBezTo>
                <a:cubicBezTo>
                  <a:pt x="598" y="275"/>
                  <a:pt x="598" y="275"/>
                  <a:pt x="598" y="275"/>
                </a:cubicBezTo>
                <a:cubicBezTo>
                  <a:pt x="599" y="274"/>
                  <a:pt x="599" y="274"/>
                  <a:pt x="600" y="274"/>
                </a:cubicBezTo>
                <a:cubicBezTo>
                  <a:pt x="600" y="274"/>
                  <a:pt x="600" y="274"/>
                  <a:pt x="600" y="274"/>
                </a:cubicBezTo>
                <a:cubicBezTo>
                  <a:pt x="601" y="274"/>
                  <a:pt x="601" y="274"/>
                  <a:pt x="602" y="274"/>
                </a:cubicBezTo>
                <a:cubicBezTo>
                  <a:pt x="602" y="274"/>
                  <a:pt x="602" y="274"/>
                  <a:pt x="603" y="274"/>
                </a:cubicBezTo>
                <a:cubicBezTo>
                  <a:pt x="603" y="274"/>
                  <a:pt x="603" y="274"/>
                  <a:pt x="604" y="274"/>
                </a:cubicBezTo>
                <a:cubicBezTo>
                  <a:pt x="604" y="274"/>
                  <a:pt x="604" y="273"/>
                  <a:pt x="604" y="273"/>
                </a:cubicBezTo>
                <a:cubicBezTo>
                  <a:pt x="604" y="273"/>
                  <a:pt x="604" y="273"/>
                  <a:pt x="605" y="273"/>
                </a:cubicBezTo>
                <a:cubicBezTo>
                  <a:pt x="605" y="273"/>
                  <a:pt x="605" y="273"/>
                  <a:pt x="605" y="273"/>
                </a:cubicBezTo>
                <a:cubicBezTo>
                  <a:pt x="606" y="273"/>
                  <a:pt x="606" y="273"/>
                  <a:pt x="606" y="273"/>
                </a:cubicBezTo>
                <a:cubicBezTo>
                  <a:pt x="606" y="272"/>
                  <a:pt x="606" y="272"/>
                  <a:pt x="606" y="272"/>
                </a:cubicBezTo>
                <a:cubicBezTo>
                  <a:pt x="607" y="272"/>
                  <a:pt x="607" y="271"/>
                  <a:pt x="607" y="271"/>
                </a:cubicBezTo>
                <a:cubicBezTo>
                  <a:pt x="607" y="271"/>
                  <a:pt x="607" y="271"/>
                  <a:pt x="608" y="271"/>
                </a:cubicBezTo>
                <a:cubicBezTo>
                  <a:pt x="608" y="271"/>
                  <a:pt x="608" y="271"/>
                  <a:pt x="608" y="271"/>
                </a:cubicBezTo>
                <a:cubicBezTo>
                  <a:pt x="609" y="270"/>
                  <a:pt x="609" y="270"/>
                  <a:pt x="609" y="270"/>
                </a:cubicBezTo>
                <a:cubicBezTo>
                  <a:pt x="609" y="269"/>
                  <a:pt x="609" y="269"/>
                  <a:pt x="609" y="269"/>
                </a:cubicBezTo>
                <a:cubicBezTo>
                  <a:pt x="609" y="269"/>
                  <a:pt x="609" y="269"/>
                  <a:pt x="610" y="269"/>
                </a:cubicBezTo>
                <a:cubicBezTo>
                  <a:pt x="610" y="269"/>
                  <a:pt x="610" y="269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7"/>
                  <a:pt x="611" y="267"/>
                  <a:pt x="611" y="267"/>
                </a:cubicBezTo>
                <a:cubicBezTo>
                  <a:pt x="612" y="267"/>
                  <a:pt x="612" y="267"/>
                  <a:pt x="612" y="267"/>
                </a:cubicBezTo>
                <a:cubicBezTo>
                  <a:pt x="612" y="267"/>
                  <a:pt x="612" y="267"/>
                  <a:pt x="612" y="267"/>
                </a:cubicBezTo>
                <a:cubicBezTo>
                  <a:pt x="612" y="267"/>
                  <a:pt x="612" y="266"/>
                  <a:pt x="612" y="266"/>
                </a:cubicBezTo>
                <a:cubicBezTo>
                  <a:pt x="613" y="266"/>
                  <a:pt x="613" y="267"/>
                  <a:pt x="613" y="267"/>
                </a:cubicBezTo>
                <a:cubicBezTo>
                  <a:pt x="613" y="267"/>
                  <a:pt x="614" y="267"/>
                  <a:pt x="614" y="267"/>
                </a:cubicBezTo>
                <a:cubicBezTo>
                  <a:pt x="615" y="266"/>
                  <a:pt x="615" y="266"/>
                  <a:pt x="615" y="266"/>
                </a:cubicBezTo>
                <a:cubicBezTo>
                  <a:pt x="615" y="266"/>
                  <a:pt x="615" y="266"/>
                  <a:pt x="616" y="266"/>
                </a:cubicBezTo>
                <a:cubicBezTo>
                  <a:pt x="616" y="266"/>
                  <a:pt x="616" y="266"/>
                  <a:pt x="616" y="266"/>
                </a:cubicBezTo>
                <a:cubicBezTo>
                  <a:pt x="617" y="266"/>
                  <a:pt x="617" y="266"/>
                  <a:pt x="617" y="266"/>
                </a:cubicBezTo>
                <a:cubicBezTo>
                  <a:pt x="617" y="266"/>
                  <a:pt x="618" y="266"/>
                  <a:pt x="618" y="266"/>
                </a:cubicBezTo>
                <a:cubicBezTo>
                  <a:pt x="618" y="266"/>
                  <a:pt x="618" y="266"/>
                  <a:pt x="619" y="266"/>
                </a:cubicBezTo>
                <a:cubicBezTo>
                  <a:pt x="619" y="265"/>
                  <a:pt x="619" y="265"/>
                  <a:pt x="619" y="265"/>
                </a:cubicBezTo>
                <a:cubicBezTo>
                  <a:pt x="619" y="265"/>
                  <a:pt x="619" y="265"/>
                  <a:pt x="619" y="265"/>
                </a:cubicBezTo>
                <a:cubicBezTo>
                  <a:pt x="620" y="265"/>
                  <a:pt x="620" y="265"/>
                  <a:pt x="620" y="264"/>
                </a:cubicBezTo>
                <a:cubicBezTo>
                  <a:pt x="620" y="264"/>
                  <a:pt x="621" y="264"/>
                  <a:pt x="621" y="264"/>
                </a:cubicBezTo>
                <a:cubicBezTo>
                  <a:pt x="621" y="264"/>
                  <a:pt x="621" y="264"/>
                  <a:pt x="622" y="263"/>
                </a:cubicBezTo>
                <a:cubicBezTo>
                  <a:pt x="622" y="263"/>
                  <a:pt x="622" y="263"/>
                  <a:pt x="623" y="263"/>
                </a:cubicBezTo>
                <a:cubicBezTo>
                  <a:pt x="623" y="263"/>
                  <a:pt x="624" y="263"/>
                  <a:pt x="624" y="262"/>
                </a:cubicBezTo>
                <a:cubicBezTo>
                  <a:pt x="624" y="262"/>
                  <a:pt x="624" y="262"/>
                  <a:pt x="624" y="262"/>
                </a:cubicBezTo>
                <a:cubicBezTo>
                  <a:pt x="625" y="262"/>
                  <a:pt x="625" y="261"/>
                  <a:pt x="625" y="261"/>
                </a:cubicBezTo>
                <a:cubicBezTo>
                  <a:pt x="625" y="261"/>
                  <a:pt x="625" y="261"/>
                  <a:pt x="625" y="261"/>
                </a:cubicBezTo>
                <a:cubicBezTo>
                  <a:pt x="625" y="260"/>
                  <a:pt x="626" y="260"/>
                  <a:pt x="626" y="260"/>
                </a:cubicBezTo>
                <a:cubicBezTo>
                  <a:pt x="625" y="260"/>
                  <a:pt x="625" y="260"/>
                  <a:pt x="625" y="260"/>
                </a:cubicBezTo>
                <a:cubicBezTo>
                  <a:pt x="625" y="260"/>
                  <a:pt x="624" y="260"/>
                  <a:pt x="624" y="260"/>
                </a:cubicBezTo>
                <a:cubicBezTo>
                  <a:pt x="624" y="260"/>
                  <a:pt x="624" y="260"/>
                  <a:pt x="623" y="260"/>
                </a:cubicBezTo>
                <a:cubicBezTo>
                  <a:pt x="623" y="260"/>
                  <a:pt x="624" y="260"/>
                  <a:pt x="624" y="260"/>
                </a:cubicBezTo>
                <a:cubicBezTo>
                  <a:pt x="624" y="260"/>
                  <a:pt x="625" y="260"/>
                  <a:pt x="625" y="260"/>
                </a:cubicBezTo>
                <a:cubicBezTo>
                  <a:pt x="625" y="260"/>
                  <a:pt x="625" y="259"/>
                  <a:pt x="626" y="259"/>
                </a:cubicBezTo>
                <a:cubicBezTo>
                  <a:pt x="625" y="259"/>
                  <a:pt x="625" y="259"/>
                  <a:pt x="625" y="259"/>
                </a:cubicBezTo>
                <a:cubicBezTo>
                  <a:pt x="624" y="259"/>
                  <a:pt x="624" y="259"/>
                  <a:pt x="624" y="259"/>
                </a:cubicBezTo>
                <a:cubicBezTo>
                  <a:pt x="623" y="259"/>
                  <a:pt x="623" y="259"/>
                  <a:pt x="622" y="259"/>
                </a:cubicBezTo>
                <a:cubicBezTo>
                  <a:pt x="622" y="259"/>
                  <a:pt x="622" y="259"/>
                  <a:pt x="622" y="258"/>
                </a:cubicBezTo>
                <a:cubicBezTo>
                  <a:pt x="622" y="259"/>
                  <a:pt x="623" y="259"/>
                  <a:pt x="623" y="259"/>
                </a:cubicBezTo>
                <a:cubicBezTo>
                  <a:pt x="623" y="259"/>
                  <a:pt x="624" y="259"/>
                  <a:pt x="624" y="258"/>
                </a:cubicBezTo>
                <a:cubicBezTo>
                  <a:pt x="624" y="258"/>
                  <a:pt x="624" y="258"/>
                  <a:pt x="624" y="258"/>
                </a:cubicBezTo>
                <a:cubicBezTo>
                  <a:pt x="624" y="258"/>
                  <a:pt x="624" y="257"/>
                  <a:pt x="625" y="257"/>
                </a:cubicBezTo>
                <a:cubicBezTo>
                  <a:pt x="625" y="257"/>
                  <a:pt x="625" y="257"/>
                  <a:pt x="625" y="257"/>
                </a:cubicBezTo>
                <a:cubicBezTo>
                  <a:pt x="624" y="257"/>
                  <a:pt x="624" y="257"/>
                  <a:pt x="623" y="257"/>
                </a:cubicBezTo>
                <a:cubicBezTo>
                  <a:pt x="624" y="256"/>
                  <a:pt x="624" y="256"/>
                  <a:pt x="624" y="256"/>
                </a:cubicBezTo>
                <a:cubicBezTo>
                  <a:pt x="624" y="256"/>
                  <a:pt x="625" y="256"/>
                  <a:pt x="625" y="256"/>
                </a:cubicBezTo>
                <a:cubicBezTo>
                  <a:pt x="625" y="256"/>
                  <a:pt x="626" y="256"/>
                  <a:pt x="626" y="255"/>
                </a:cubicBezTo>
                <a:cubicBezTo>
                  <a:pt x="626" y="255"/>
                  <a:pt x="626" y="255"/>
                  <a:pt x="625" y="255"/>
                </a:cubicBezTo>
                <a:cubicBezTo>
                  <a:pt x="625" y="255"/>
                  <a:pt x="624" y="255"/>
                  <a:pt x="624" y="255"/>
                </a:cubicBezTo>
                <a:cubicBezTo>
                  <a:pt x="624" y="254"/>
                  <a:pt x="624" y="254"/>
                  <a:pt x="623" y="254"/>
                </a:cubicBezTo>
                <a:cubicBezTo>
                  <a:pt x="624" y="254"/>
                  <a:pt x="624" y="254"/>
                  <a:pt x="624" y="254"/>
                </a:cubicBezTo>
                <a:cubicBezTo>
                  <a:pt x="624" y="254"/>
                  <a:pt x="625" y="254"/>
                  <a:pt x="625" y="254"/>
                </a:cubicBezTo>
                <a:cubicBezTo>
                  <a:pt x="625" y="254"/>
                  <a:pt x="625" y="254"/>
                  <a:pt x="625" y="254"/>
                </a:cubicBezTo>
                <a:cubicBezTo>
                  <a:pt x="624" y="254"/>
                  <a:pt x="624" y="254"/>
                  <a:pt x="623" y="253"/>
                </a:cubicBezTo>
                <a:cubicBezTo>
                  <a:pt x="623" y="254"/>
                  <a:pt x="622" y="254"/>
                  <a:pt x="622" y="254"/>
                </a:cubicBezTo>
                <a:cubicBezTo>
                  <a:pt x="622" y="254"/>
                  <a:pt x="622" y="253"/>
                  <a:pt x="622" y="253"/>
                </a:cubicBezTo>
                <a:cubicBezTo>
                  <a:pt x="622" y="253"/>
                  <a:pt x="622" y="253"/>
                  <a:pt x="622" y="253"/>
                </a:cubicBezTo>
                <a:cubicBezTo>
                  <a:pt x="622" y="253"/>
                  <a:pt x="622" y="253"/>
                  <a:pt x="622" y="253"/>
                </a:cubicBezTo>
                <a:cubicBezTo>
                  <a:pt x="621" y="253"/>
                  <a:pt x="621" y="253"/>
                  <a:pt x="621" y="253"/>
                </a:cubicBezTo>
                <a:cubicBezTo>
                  <a:pt x="620" y="253"/>
                  <a:pt x="620" y="254"/>
                  <a:pt x="619" y="254"/>
                </a:cubicBezTo>
                <a:cubicBezTo>
                  <a:pt x="619" y="254"/>
                  <a:pt x="619" y="254"/>
                  <a:pt x="619" y="254"/>
                </a:cubicBezTo>
                <a:cubicBezTo>
                  <a:pt x="619" y="255"/>
                  <a:pt x="619" y="255"/>
                  <a:pt x="618" y="255"/>
                </a:cubicBezTo>
                <a:cubicBezTo>
                  <a:pt x="618" y="255"/>
                  <a:pt x="618" y="255"/>
                  <a:pt x="618" y="254"/>
                </a:cubicBezTo>
                <a:cubicBezTo>
                  <a:pt x="618" y="254"/>
                  <a:pt x="617" y="255"/>
                  <a:pt x="617" y="255"/>
                </a:cubicBezTo>
                <a:cubicBezTo>
                  <a:pt x="617" y="254"/>
                  <a:pt x="617" y="254"/>
                  <a:pt x="617" y="254"/>
                </a:cubicBezTo>
                <a:cubicBezTo>
                  <a:pt x="617" y="254"/>
                  <a:pt x="618" y="254"/>
                  <a:pt x="618" y="254"/>
                </a:cubicBezTo>
                <a:cubicBezTo>
                  <a:pt x="618" y="253"/>
                  <a:pt x="619" y="253"/>
                  <a:pt x="619" y="253"/>
                </a:cubicBezTo>
                <a:cubicBezTo>
                  <a:pt x="619" y="253"/>
                  <a:pt x="619" y="252"/>
                  <a:pt x="619" y="252"/>
                </a:cubicBezTo>
                <a:cubicBezTo>
                  <a:pt x="619" y="252"/>
                  <a:pt x="618" y="251"/>
                  <a:pt x="618" y="251"/>
                </a:cubicBezTo>
                <a:cubicBezTo>
                  <a:pt x="617" y="251"/>
                  <a:pt x="617" y="251"/>
                  <a:pt x="616" y="251"/>
                </a:cubicBezTo>
                <a:cubicBezTo>
                  <a:pt x="615" y="251"/>
                  <a:pt x="615" y="252"/>
                  <a:pt x="614" y="252"/>
                </a:cubicBezTo>
                <a:cubicBezTo>
                  <a:pt x="614" y="252"/>
                  <a:pt x="613" y="252"/>
                  <a:pt x="613" y="252"/>
                </a:cubicBezTo>
                <a:cubicBezTo>
                  <a:pt x="613" y="252"/>
                  <a:pt x="613" y="252"/>
                  <a:pt x="613" y="252"/>
                </a:cubicBezTo>
                <a:cubicBezTo>
                  <a:pt x="614" y="252"/>
                  <a:pt x="614" y="252"/>
                  <a:pt x="615" y="252"/>
                </a:cubicBezTo>
                <a:cubicBezTo>
                  <a:pt x="615" y="252"/>
                  <a:pt x="615" y="252"/>
                  <a:pt x="615" y="252"/>
                </a:cubicBezTo>
                <a:cubicBezTo>
                  <a:pt x="615" y="252"/>
                  <a:pt x="614" y="252"/>
                  <a:pt x="614" y="252"/>
                </a:cubicBezTo>
                <a:cubicBezTo>
                  <a:pt x="614" y="252"/>
                  <a:pt x="613" y="252"/>
                  <a:pt x="613" y="253"/>
                </a:cubicBezTo>
                <a:cubicBezTo>
                  <a:pt x="612" y="253"/>
                  <a:pt x="612" y="253"/>
                  <a:pt x="611" y="253"/>
                </a:cubicBezTo>
                <a:cubicBezTo>
                  <a:pt x="611" y="253"/>
                  <a:pt x="610" y="254"/>
                  <a:pt x="610" y="254"/>
                </a:cubicBezTo>
                <a:cubicBezTo>
                  <a:pt x="609" y="254"/>
                  <a:pt x="609" y="254"/>
                  <a:pt x="609" y="255"/>
                </a:cubicBezTo>
                <a:cubicBezTo>
                  <a:pt x="609" y="255"/>
                  <a:pt x="609" y="255"/>
                  <a:pt x="609" y="255"/>
                </a:cubicBezTo>
                <a:cubicBezTo>
                  <a:pt x="608" y="255"/>
                  <a:pt x="608" y="256"/>
                  <a:pt x="608" y="256"/>
                </a:cubicBezTo>
                <a:cubicBezTo>
                  <a:pt x="607" y="256"/>
                  <a:pt x="607" y="256"/>
                  <a:pt x="607" y="256"/>
                </a:cubicBezTo>
                <a:cubicBezTo>
                  <a:pt x="606" y="257"/>
                  <a:pt x="606" y="257"/>
                  <a:pt x="605" y="257"/>
                </a:cubicBezTo>
                <a:cubicBezTo>
                  <a:pt x="605" y="257"/>
                  <a:pt x="605" y="258"/>
                  <a:pt x="604" y="258"/>
                </a:cubicBezTo>
                <a:cubicBezTo>
                  <a:pt x="604" y="258"/>
                  <a:pt x="604" y="258"/>
                  <a:pt x="604" y="258"/>
                </a:cubicBezTo>
                <a:cubicBezTo>
                  <a:pt x="604" y="258"/>
                  <a:pt x="603" y="258"/>
                  <a:pt x="603" y="259"/>
                </a:cubicBezTo>
                <a:cubicBezTo>
                  <a:pt x="603" y="259"/>
                  <a:pt x="603" y="259"/>
                  <a:pt x="603" y="259"/>
                </a:cubicBezTo>
                <a:cubicBezTo>
                  <a:pt x="603" y="258"/>
                  <a:pt x="602" y="258"/>
                  <a:pt x="602" y="258"/>
                </a:cubicBezTo>
                <a:cubicBezTo>
                  <a:pt x="602" y="258"/>
                  <a:pt x="603" y="258"/>
                  <a:pt x="603" y="258"/>
                </a:cubicBezTo>
                <a:cubicBezTo>
                  <a:pt x="603" y="258"/>
                  <a:pt x="603" y="258"/>
                  <a:pt x="604" y="258"/>
                </a:cubicBezTo>
                <a:cubicBezTo>
                  <a:pt x="604" y="257"/>
                  <a:pt x="604" y="257"/>
                  <a:pt x="604" y="257"/>
                </a:cubicBezTo>
                <a:cubicBezTo>
                  <a:pt x="603" y="257"/>
                  <a:pt x="602" y="257"/>
                  <a:pt x="601" y="256"/>
                </a:cubicBezTo>
                <a:cubicBezTo>
                  <a:pt x="601" y="256"/>
                  <a:pt x="601" y="256"/>
                  <a:pt x="601" y="256"/>
                </a:cubicBezTo>
                <a:cubicBezTo>
                  <a:pt x="601" y="256"/>
                  <a:pt x="601" y="256"/>
                  <a:pt x="600" y="256"/>
                </a:cubicBezTo>
                <a:cubicBezTo>
                  <a:pt x="600" y="256"/>
                  <a:pt x="600" y="256"/>
                  <a:pt x="600" y="256"/>
                </a:cubicBezTo>
                <a:cubicBezTo>
                  <a:pt x="600" y="255"/>
                  <a:pt x="600" y="255"/>
                  <a:pt x="600" y="255"/>
                </a:cubicBezTo>
                <a:cubicBezTo>
                  <a:pt x="601" y="255"/>
                  <a:pt x="601" y="256"/>
                  <a:pt x="602" y="256"/>
                </a:cubicBezTo>
                <a:cubicBezTo>
                  <a:pt x="602" y="256"/>
                  <a:pt x="603" y="256"/>
                  <a:pt x="604" y="257"/>
                </a:cubicBezTo>
                <a:cubicBezTo>
                  <a:pt x="604" y="256"/>
                  <a:pt x="604" y="256"/>
                  <a:pt x="604" y="256"/>
                </a:cubicBezTo>
                <a:cubicBezTo>
                  <a:pt x="604" y="256"/>
                  <a:pt x="604" y="256"/>
                  <a:pt x="604" y="255"/>
                </a:cubicBezTo>
                <a:cubicBezTo>
                  <a:pt x="605" y="255"/>
                  <a:pt x="605" y="255"/>
                  <a:pt x="605" y="255"/>
                </a:cubicBezTo>
                <a:cubicBezTo>
                  <a:pt x="606" y="255"/>
                  <a:pt x="606" y="255"/>
                  <a:pt x="606" y="255"/>
                </a:cubicBezTo>
                <a:cubicBezTo>
                  <a:pt x="607" y="254"/>
                  <a:pt x="607" y="254"/>
                  <a:pt x="608" y="254"/>
                </a:cubicBezTo>
                <a:cubicBezTo>
                  <a:pt x="608" y="253"/>
                  <a:pt x="609" y="253"/>
                  <a:pt x="610" y="253"/>
                </a:cubicBezTo>
                <a:cubicBezTo>
                  <a:pt x="610" y="253"/>
                  <a:pt x="611" y="253"/>
                  <a:pt x="612" y="252"/>
                </a:cubicBezTo>
                <a:cubicBezTo>
                  <a:pt x="612" y="252"/>
                  <a:pt x="612" y="252"/>
                  <a:pt x="612" y="252"/>
                </a:cubicBezTo>
                <a:cubicBezTo>
                  <a:pt x="611" y="252"/>
                  <a:pt x="611" y="252"/>
                  <a:pt x="611" y="252"/>
                </a:cubicBezTo>
                <a:cubicBezTo>
                  <a:pt x="610" y="252"/>
                  <a:pt x="609" y="253"/>
                  <a:pt x="609" y="253"/>
                </a:cubicBezTo>
                <a:cubicBezTo>
                  <a:pt x="608" y="253"/>
                  <a:pt x="607" y="253"/>
                  <a:pt x="607" y="254"/>
                </a:cubicBezTo>
                <a:cubicBezTo>
                  <a:pt x="607" y="253"/>
                  <a:pt x="607" y="253"/>
                  <a:pt x="607" y="253"/>
                </a:cubicBezTo>
                <a:cubicBezTo>
                  <a:pt x="608" y="253"/>
                  <a:pt x="609" y="253"/>
                  <a:pt x="610" y="252"/>
                </a:cubicBezTo>
                <a:cubicBezTo>
                  <a:pt x="610" y="252"/>
                  <a:pt x="611" y="252"/>
                  <a:pt x="612" y="252"/>
                </a:cubicBezTo>
                <a:cubicBezTo>
                  <a:pt x="612" y="252"/>
                  <a:pt x="612" y="251"/>
                  <a:pt x="612" y="251"/>
                </a:cubicBezTo>
                <a:cubicBezTo>
                  <a:pt x="613" y="251"/>
                  <a:pt x="614" y="251"/>
                  <a:pt x="614" y="250"/>
                </a:cubicBezTo>
                <a:cubicBezTo>
                  <a:pt x="614" y="250"/>
                  <a:pt x="614" y="250"/>
                  <a:pt x="615" y="250"/>
                </a:cubicBezTo>
                <a:cubicBezTo>
                  <a:pt x="615" y="250"/>
                  <a:pt x="616" y="250"/>
                  <a:pt x="617" y="250"/>
                </a:cubicBezTo>
                <a:cubicBezTo>
                  <a:pt x="617" y="250"/>
                  <a:pt x="617" y="250"/>
                  <a:pt x="617" y="250"/>
                </a:cubicBezTo>
                <a:cubicBezTo>
                  <a:pt x="617" y="249"/>
                  <a:pt x="618" y="249"/>
                  <a:pt x="618" y="249"/>
                </a:cubicBezTo>
                <a:cubicBezTo>
                  <a:pt x="618" y="249"/>
                  <a:pt x="618" y="249"/>
                  <a:pt x="617" y="249"/>
                </a:cubicBezTo>
                <a:cubicBezTo>
                  <a:pt x="616" y="249"/>
                  <a:pt x="615" y="249"/>
                  <a:pt x="614" y="249"/>
                </a:cubicBezTo>
                <a:cubicBezTo>
                  <a:pt x="615" y="248"/>
                  <a:pt x="615" y="248"/>
                  <a:pt x="615" y="248"/>
                </a:cubicBezTo>
                <a:cubicBezTo>
                  <a:pt x="615" y="248"/>
                  <a:pt x="615" y="248"/>
                  <a:pt x="615" y="248"/>
                </a:cubicBezTo>
                <a:cubicBezTo>
                  <a:pt x="616" y="248"/>
                  <a:pt x="616" y="248"/>
                  <a:pt x="616" y="247"/>
                </a:cubicBezTo>
                <a:cubicBezTo>
                  <a:pt x="616" y="247"/>
                  <a:pt x="615" y="247"/>
                  <a:pt x="615" y="247"/>
                </a:cubicBezTo>
                <a:cubicBezTo>
                  <a:pt x="615" y="247"/>
                  <a:pt x="614" y="248"/>
                  <a:pt x="614" y="248"/>
                </a:cubicBezTo>
                <a:cubicBezTo>
                  <a:pt x="613" y="248"/>
                  <a:pt x="613" y="248"/>
                  <a:pt x="613" y="249"/>
                </a:cubicBezTo>
                <a:cubicBezTo>
                  <a:pt x="612" y="249"/>
                  <a:pt x="612" y="248"/>
                  <a:pt x="612" y="248"/>
                </a:cubicBezTo>
                <a:cubicBezTo>
                  <a:pt x="611" y="248"/>
                  <a:pt x="611" y="249"/>
                  <a:pt x="610" y="249"/>
                </a:cubicBezTo>
                <a:cubicBezTo>
                  <a:pt x="610" y="249"/>
                  <a:pt x="610" y="248"/>
                  <a:pt x="610" y="248"/>
                </a:cubicBezTo>
                <a:cubicBezTo>
                  <a:pt x="610" y="248"/>
                  <a:pt x="611" y="248"/>
                  <a:pt x="611" y="248"/>
                </a:cubicBezTo>
                <a:cubicBezTo>
                  <a:pt x="611" y="248"/>
                  <a:pt x="611" y="247"/>
                  <a:pt x="611" y="247"/>
                </a:cubicBezTo>
                <a:cubicBezTo>
                  <a:pt x="611" y="247"/>
                  <a:pt x="611" y="247"/>
                  <a:pt x="611" y="246"/>
                </a:cubicBezTo>
                <a:cubicBezTo>
                  <a:pt x="610" y="247"/>
                  <a:pt x="610" y="247"/>
                  <a:pt x="609" y="247"/>
                </a:cubicBezTo>
                <a:cubicBezTo>
                  <a:pt x="609" y="247"/>
                  <a:pt x="609" y="247"/>
                  <a:pt x="609" y="247"/>
                </a:cubicBezTo>
                <a:cubicBezTo>
                  <a:pt x="609" y="247"/>
                  <a:pt x="610" y="247"/>
                  <a:pt x="610" y="247"/>
                </a:cubicBezTo>
                <a:cubicBezTo>
                  <a:pt x="610" y="247"/>
                  <a:pt x="610" y="247"/>
                  <a:pt x="609" y="247"/>
                </a:cubicBezTo>
                <a:cubicBezTo>
                  <a:pt x="609" y="247"/>
                  <a:pt x="608" y="248"/>
                  <a:pt x="608" y="248"/>
                </a:cubicBezTo>
                <a:cubicBezTo>
                  <a:pt x="607" y="248"/>
                  <a:pt x="607" y="249"/>
                  <a:pt x="607" y="249"/>
                </a:cubicBezTo>
                <a:cubicBezTo>
                  <a:pt x="607" y="249"/>
                  <a:pt x="606" y="249"/>
                  <a:pt x="606" y="249"/>
                </a:cubicBezTo>
                <a:cubicBezTo>
                  <a:pt x="606" y="249"/>
                  <a:pt x="607" y="248"/>
                  <a:pt x="607" y="248"/>
                </a:cubicBezTo>
                <a:cubicBezTo>
                  <a:pt x="607" y="248"/>
                  <a:pt x="608" y="247"/>
                  <a:pt x="608" y="247"/>
                </a:cubicBezTo>
                <a:cubicBezTo>
                  <a:pt x="608" y="247"/>
                  <a:pt x="608" y="247"/>
                  <a:pt x="608" y="247"/>
                </a:cubicBezTo>
                <a:cubicBezTo>
                  <a:pt x="607" y="247"/>
                  <a:pt x="607" y="247"/>
                  <a:pt x="606" y="248"/>
                </a:cubicBezTo>
                <a:cubicBezTo>
                  <a:pt x="606" y="247"/>
                  <a:pt x="606" y="247"/>
                  <a:pt x="606" y="247"/>
                </a:cubicBezTo>
                <a:cubicBezTo>
                  <a:pt x="606" y="247"/>
                  <a:pt x="606" y="247"/>
                  <a:pt x="606" y="247"/>
                </a:cubicBezTo>
                <a:cubicBezTo>
                  <a:pt x="607" y="247"/>
                  <a:pt x="607" y="247"/>
                  <a:pt x="607" y="247"/>
                </a:cubicBezTo>
                <a:cubicBezTo>
                  <a:pt x="607" y="246"/>
                  <a:pt x="607" y="246"/>
                  <a:pt x="607" y="246"/>
                </a:cubicBezTo>
                <a:cubicBezTo>
                  <a:pt x="607" y="246"/>
                  <a:pt x="606" y="246"/>
                  <a:pt x="606" y="247"/>
                </a:cubicBezTo>
                <a:cubicBezTo>
                  <a:pt x="606" y="247"/>
                  <a:pt x="605" y="247"/>
                  <a:pt x="605" y="248"/>
                </a:cubicBezTo>
                <a:cubicBezTo>
                  <a:pt x="605" y="248"/>
                  <a:pt x="604" y="248"/>
                  <a:pt x="604" y="249"/>
                </a:cubicBezTo>
                <a:cubicBezTo>
                  <a:pt x="604" y="249"/>
                  <a:pt x="604" y="249"/>
                  <a:pt x="604" y="249"/>
                </a:cubicBezTo>
                <a:cubicBezTo>
                  <a:pt x="604" y="248"/>
                  <a:pt x="604" y="248"/>
                  <a:pt x="604" y="248"/>
                </a:cubicBezTo>
                <a:cubicBezTo>
                  <a:pt x="604" y="248"/>
                  <a:pt x="605" y="247"/>
                  <a:pt x="605" y="247"/>
                </a:cubicBezTo>
                <a:cubicBezTo>
                  <a:pt x="605" y="247"/>
                  <a:pt x="605" y="247"/>
                  <a:pt x="605" y="247"/>
                </a:cubicBezTo>
                <a:cubicBezTo>
                  <a:pt x="604" y="247"/>
                  <a:pt x="604" y="247"/>
                  <a:pt x="604" y="247"/>
                </a:cubicBezTo>
                <a:cubicBezTo>
                  <a:pt x="603" y="247"/>
                  <a:pt x="603" y="248"/>
                  <a:pt x="602" y="249"/>
                </a:cubicBezTo>
                <a:cubicBezTo>
                  <a:pt x="602" y="249"/>
                  <a:pt x="601" y="249"/>
                  <a:pt x="601" y="249"/>
                </a:cubicBezTo>
                <a:cubicBezTo>
                  <a:pt x="601" y="249"/>
                  <a:pt x="600" y="249"/>
                  <a:pt x="600" y="249"/>
                </a:cubicBezTo>
                <a:cubicBezTo>
                  <a:pt x="600" y="249"/>
                  <a:pt x="601" y="249"/>
                  <a:pt x="601" y="249"/>
                </a:cubicBezTo>
                <a:cubicBezTo>
                  <a:pt x="602" y="248"/>
                  <a:pt x="602" y="248"/>
                  <a:pt x="602" y="248"/>
                </a:cubicBezTo>
                <a:cubicBezTo>
                  <a:pt x="603" y="247"/>
                  <a:pt x="603" y="247"/>
                  <a:pt x="603" y="246"/>
                </a:cubicBezTo>
                <a:cubicBezTo>
                  <a:pt x="604" y="246"/>
                  <a:pt x="604" y="246"/>
                  <a:pt x="605" y="245"/>
                </a:cubicBezTo>
                <a:cubicBezTo>
                  <a:pt x="604" y="245"/>
                  <a:pt x="604" y="245"/>
                  <a:pt x="604" y="245"/>
                </a:cubicBezTo>
                <a:cubicBezTo>
                  <a:pt x="604" y="245"/>
                  <a:pt x="604" y="245"/>
                  <a:pt x="604" y="245"/>
                </a:cubicBezTo>
                <a:cubicBezTo>
                  <a:pt x="604" y="244"/>
                  <a:pt x="604" y="244"/>
                  <a:pt x="604" y="244"/>
                </a:cubicBezTo>
                <a:cubicBezTo>
                  <a:pt x="603" y="245"/>
                  <a:pt x="603" y="245"/>
                  <a:pt x="603" y="246"/>
                </a:cubicBezTo>
                <a:cubicBezTo>
                  <a:pt x="603" y="246"/>
                  <a:pt x="602" y="246"/>
                  <a:pt x="602" y="246"/>
                </a:cubicBezTo>
                <a:cubicBezTo>
                  <a:pt x="602" y="246"/>
                  <a:pt x="602" y="246"/>
                  <a:pt x="602" y="245"/>
                </a:cubicBezTo>
                <a:cubicBezTo>
                  <a:pt x="602" y="245"/>
                  <a:pt x="602" y="245"/>
                  <a:pt x="603" y="245"/>
                </a:cubicBezTo>
                <a:cubicBezTo>
                  <a:pt x="603" y="245"/>
                  <a:pt x="603" y="244"/>
                  <a:pt x="602" y="244"/>
                </a:cubicBezTo>
                <a:cubicBezTo>
                  <a:pt x="602" y="244"/>
                  <a:pt x="602" y="244"/>
                  <a:pt x="602" y="244"/>
                </a:cubicBezTo>
                <a:cubicBezTo>
                  <a:pt x="602" y="244"/>
                  <a:pt x="601" y="244"/>
                  <a:pt x="601" y="244"/>
                </a:cubicBezTo>
                <a:cubicBezTo>
                  <a:pt x="601" y="244"/>
                  <a:pt x="601" y="244"/>
                  <a:pt x="600" y="245"/>
                </a:cubicBezTo>
                <a:cubicBezTo>
                  <a:pt x="600" y="245"/>
                  <a:pt x="600" y="244"/>
                  <a:pt x="600" y="244"/>
                </a:cubicBezTo>
                <a:cubicBezTo>
                  <a:pt x="600" y="244"/>
                  <a:pt x="600" y="244"/>
                  <a:pt x="600" y="244"/>
                </a:cubicBezTo>
                <a:cubicBezTo>
                  <a:pt x="600" y="244"/>
                  <a:pt x="600" y="244"/>
                  <a:pt x="600" y="244"/>
                </a:cubicBezTo>
                <a:cubicBezTo>
                  <a:pt x="600" y="244"/>
                  <a:pt x="599" y="244"/>
                  <a:pt x="599" y="244"/>
                </a:cubicBezTo>
                <a:cubicBezTo>
                  <a:pt x="599" y="244"/>
                  <a:pt x="599" y="243"/>
                  <a:pt x="600" y="243"/>
                </a:cubicBezTo>
                <a:cubicBezTo>
                  <a:pt x="599" y="243"/>
                  <a:pt x="599" y="243"/>
                  <a:pt x="599" y="243"/>
                </a:cubicBezTo>
                <a:cubicBezTo>
                  <a:pt x="599" y="243"/>
                  <a:pt x="599" y="243"/>
                  <a:pt x="599" y="243"/>
                </a:cubicBezTo>
                <a:cubicBezTo>
                  <a:pt x="599" y="243"/>
                  <a:pt x="599" y="243"/>
                  <a:pt x="598" y="243"/>
                </a:cubicBezTo>
                <a:cubicBezTo>
                  <a:pt x="598" y="243"/>
                  <a:pt x="597" y="243"/>
                  <a:pt x="597" y="243"/>
                </a:cubicBezTo>
                <a:cubicBezTo>
                  <a:pt x="597" y="243"/>
                  <a:pt x="597" y="243"/>
                  <a:pt x="597" y="243"/>
                </a:cubicBezTo>
                <a:cubicBezTo>
                  <a:pt x="597" y="243"/>
                  <a:pt x="596" y="243"/>
                  <a:pt x="596" y="244"/>
                </a:cubicBezTo>
                <a:cubicBezTo>
                  <a:pt x="596" y="244"/>
                  <a:pt x="595" y="244"/>
                  <a:pt x="594" y="244"/>
                </a:cubicBezTo>
                <a:cubicBezTo>
                  <a:pt x="595" y="243"/>
                  <a:pt x="595" y="243"/>
                  <a:pt x="596" y="243"/>
                </a:cubicBezTo>
                <a:cubicBezTo>
                  <a:pt x="596" y="243"/>
                  <a:pt x="596" y="243"/>
                  <a:pt x="596" y="243"/>
                </a:cubicBezTo>
                <a:cubicBezTo>
                  <a:pt x="596" y="243"/>
                  <a:pt x="597" y="243"/>
                  <a:pt x="597" y="243"/>
                </a:cubicBezTo>
                <a:cubicBezTo>
                  <a:pt x="597" y="242"/>
                  <a:pt x="597" y="242"/>
                  <a:pt x="597" y="242"/>
                </a:cubicBezTo>
                <a:cubicBezTo>
                  <a:pt x="597" y="242"/>
                  <a:pt x="597" y="242"/>
                  <a:pt x="597" y="242"/>
                </a:cubicBezTo>
                <a:cubicBezTo>
                  <a:pt x="596" y="242"/>
                  <a:pt x="596" y="242"/>
                  <a:pt x="596" y="241"/>
                </a:cubicBezTo>
                <a:cubicBezTo>
                  <a:pt x="595" y="241"/>
                  <a:pt x="595" y="241"/>
                  <a:pt x="595" y="241"/>
                </a:cubicBezTo>
                <a:cubicBezTo>
                  <a:pt x="595" y="241"/>
                  <a:pt x="594" y="241"/>
                  <a:pt x="594" y="240"/>
                </a:cubicBezTo>
                <a:cubicBezTo>
                  <a:pt x="594" y="240"/>
                  <a:pt x="595" y="240"/>
                  <a:pt x="595" y="240"/>
                </a:cubicBezTo>
                <a:cubicBezTo>
                  <a:pt x="596" y="240"/>
                  <a:pt x="596" y="240"/>
                  <a:pt x="597" y="240"/>
                </a:cubicBezTo>
                <a:cubicBezTo>
                  <a:pt x="597" y="240"/>
                  <a:pt x="598" y="240"/>
                  <a:pt x="598" y="240"/>
                </a:cubicBezTo>
                <a:cubicBezTo>
                  <a:pt x="598" y="240"/>
                  <a:pt x="598" y="240"/>
                  <a:pt x="598" y="240"/>
                </a:cubicBezTo>
                <a:cubicBezTo>
                  <a:pt x="598" y="240"/>
                  <a:pt x="597" y="240"/>
                  <a:pt x="597" y="240"/>
                </a:cubicBezTo>
                <a:cubicBezTo>
                  <a:pt x="597" y="239"/>
                  <a:pt x="597" y="239"/>
                  <a:pt x="597" y="239"/>
                </a:cubicBezTo>
                <a:cubicBezTo>
                  <a:pt x="597" y="239"/>
                  <a:pt x="598" y="239"/>
                  <a:pt x="598" y="239"/>
                </a:cubicBezTo>
                <a:cubicBezTo>
                  <a:pt x="598" y="239"/>
                  <a:pt x="599" y="239"/>
                  <a:pt x="599" y="238"/>
                </a:cubicBezTo>
                <a:cubicBezTo>
                  <a:pt x="599" y="238"/>
                  <a:pt x="600" y="238"/>
                  <a:pt x="600" y="238"/>
                </a:cubicBezTo>
                <a:cubicBezTo>
                  <a:pt x="600" y="238"/>
                  <a:pt x="600" y="237"/>
                  <a:pt x="600" y="237"/>
                </a:cubicBezTo>
                <a:cubicBezTo>
                  <a:pt x="600" y="237"/>
                  <a:pt x="599" y="237"/>
                  <a:pt x="599" y="237"/>
                </a:cubicBezTo>
                <a:cubicBezTo>
                  <a:pt x="599" y="237"/>
                  <a:pt x="598" y="237"/>
                  <a:pt x="598" y="237"/>
                </a:cubicBezTo>
                <a:cubicBezTo>
                  <a:pt x="598" y="237"/>
                  <a:pt x="597" y="237"/>
                  <a:pt x="597" y="237"/>
                </a:cubicBezTo>
                <a:cubicBezTo>
                  <a:pt x="597" y="237"/>
                  <a:pt x="598" y="237"/>
                  <a:pt x="598" y="236"/>
                </a:cubicBezTo>
                <a:cubicBezTo>
                  <a:pt x="598" y="236"/>
                  <a:pt x="598" y="236"/>
                  <a:pt x="598" y="236"/>
                </a:cubicBezTo>
                <a:cubicBezTo>
                  <a:pt x="598" y="236"/>
                  <a:pt x="598" y="236"/>
                  <a:pt x="597" y="236"/>
                </a:cubicBezTo>
                <a:cubicBezTo>
                  <a:pt x="597" y="236"/>
                  <a:pt x="597" y="236"/>
                  <a:pt x="596" y="236"/>
                </a:cubicBezTo>
                <a:cubicBezTo>
                  <a:pt x="596" y="236"/>
                  <a:pt x="596" y="236"/>
                  <a:pt x="596" y="236"/>
                </a:cubicBezTo>
                <a:cubicBezTo>
                  <a:pt x="595" y="236"/>
                  <a:pt x="595" y="236"/>
                  <a:pt x="595" y="236"/>
                </a:cubicBezTo>
                <a:cubicBezTo>
                  <a:pt x="595" y="236"/>
                  <a:pt x="594" y="236"/>
                  <a:pt x="594" y="236"/>
                </a:cubicBezTo>
                <a:cubicBezTo>
                  <a:pt x="594" y="236"/>
                  <a:pt x="595" y="235"/>
                  <a:pt x="595" y="235"/>
                </a:cubicBezTo>
                <a:cubicBezTo>
                  <a:pt x="595" y="235"/>
                  <a:pt x="596" y="235"/>
                  <a:pt x="596" y="235"/>
                </a:cubicBezTo>
                <a:cubicBezTo>
                  <a:pt x="596" y="235"/>
                  <a:pt x="596" y="235"/>
                  <a:pt x="596" y="235"/>
                </a:cubicBezTo>
                <a:cubicBezTo>
                  <a:pt x="597" y="235"/>
                  <a:pt x="597" y="234"/>
                  <a:pt x="597" y="234"/>
                </a:cubicBezTo>
                <a:cubicBezTo>
                  <a:pt x="597" y="234"/>
                  <a:pt x="597" y="233"/>
                  <a:pt x="597" y="233"/>
                </a:cubicBezTo>
                <a:cubicBezTo>
                  <a:pt x="596" y="233"/>
                  <a:pt x="596" y="233"/>
                  <a:pt x="596" y="233"/>
                </a:cubicBezTo>
                <a:cubicBezTo>
                  <a:pt x="595" y="233"/>
                  <a:pt x="595" y="233"/>
                  <a:pt x="595" y="233"/>
                </a:cubicBezTo>
                <a:cubicBezTo>
                  <a:pt x="595" y="233"/>
                  <a:pt x="594" y="233"/>
                  <a:pt x="594" y="233"/>
                </a:cubicBezTo>
                <a:cubicBezTo>
                  <a:pt x="594" y="233"/>
                  <a:pt x="594" y="234"/>
                  <a:pt x="593" y="234"/>
                </a:cubicBezTo>
                <a:cubicBezTo>
                  <a:pt x="593" y="234"/>
                  <a:pt x="593" y="233"/>
                  <a:pt x="594" y="233"/>
                </a:cubicBezTo>
                <a:cubicBezTo>
                  <a:pt x="594" y="233"/>
                  <a:pt x="594" y="233"/>
                  <a:pt x="595" y="232"/>
                </a:cubicBezTo>
                <a:cubicBezTo>
                  <a:pt x="595" y="232"/>
                  <a:pt x="595" y="232"/>
                  <a:pt x="595" y="232"/>
                </a:cubicBezTo>
                <a:cubicBezTo>
                  <a:pt x="595" y="232"/>
                  <a:pt x="595" y="232"/>
                  <a:pt x="595" y="231"/>
                </a:cubicBezTo>
                <a:cubicBezTo>
                  <a:pt x="595" y="231"/>
                  <a:pt x="595" y="231"/>
                  <a:pt x="594" y="231"/>
                </a:cubicBezTo>
                <a:cubicBezTo>
                  <a:pt x="594" y="232"/>
                  <a:pt x="594" y="232"/>
                  <a:pt x="594" y="232"/>
                </a:cubicBezTo>
                <a:cubicBezTo>
                  <a:pt x="593" y="232"/>
                  <a:pt x="593" y="232"/>
                  <a:pt x="592" y="232"/>
                </a:cubicBezTo>
                <a:cubicBezTo>
                  <a:pt x="592" y="232"/>
                  <a:pt x="591" y="233"/>
                  <a:pt x="591" y="233"/>
                </a:cubicBezTo>
                <a:cubicBezTo>
                  <a:pt x="591" y="232"/>
                  <a:pt x="592" y="232"/>
                  <a:pt x="592" y="231"/>
                </a:cubicBezTo>
                <a:cubicBezTo>
                  <a:pt x="592" y="231"/>
                  <a:pt x="593" y="231"/>
                  <a:pt x="593" y="231"/>
                </a:cubicBezTo>
                <a:cubicBezTo>
                  <a:pt x="593" y="231"/>
                  <a:pt x="594" y="231"/>
                  <a:pt x="594" y="231"/>
                </a:cubicBezTo>
                <a:cubicBezTo>
                  <a:pt x="594" y="230"/>
                  <a:pt x="594" y="230"/>
                  <a:pt x="594" y="230"/>
                </a:cubicBezTo>
                <a:cubicBezTo>
                  <a:pt x="594" y="230"/>
                  <a:pt x="594" y="230"/>
                  <a:pt x="594" y="230"/>
                </a:cubicBezTo>
                <a:cubicBezTo>
                  <a:pt x="594" y="230"/>
                  <a:pt x="594" y="229"/>
                  <a:pt x="594" y="229"/>
                </a:cubicBezTo>
                <a:cubicBezTo>
                  <a:pt x="594" y="230"/>
                  <a:pt x="593" y="230"/>
                  <a:pt x="593" y="230"/>
                </a:cubicBezTo>
                <a:cubicBezTo>
                  <a:pt x="592" y="230"/>
                  <a:pt x="592" y="230"/>
                  <a:pt x="591" y="230"/>
                </a:cubicBezTo>
                <a:cubicBezTo>
                  <a:pt x="591" y="231"/>
                  <a:pt x="590" y="231"/>
                  <a:pt x="590" y="231"/>
                </a:cubicBezTo>
                <a:cubicBezTo>
                  <a:pt x="590" y="231"/>
                  <a:pt x="590" y="231"/>
                  <a:pt x="590" y="230"/>
                </a:cubicBezTo>
                <a:cubicBezTo>
                  <a:pt x="590" y="230"/>
                  <a:pt x="590" y="230"/>
                  <a:pt x="590" y="230"/>
                </a:cubicBezTo>
                <a:cubicBezTo>
                  <a:pt x="590" y="230"/>
                  <a:pt x="590" y="230"/>
                  <a:pt x="590" y="229"/>
                </a:cubicBezTo>
                <a:cubicBezTo>
                  <a:pt x="590" y="229"/>
                  <a:pt x="591" y="230"/>
                  <a:pt x="591" y="230"/>
                </a:cubicBezTo>
                <a:cubicBezTo>
                  <a:pt x="592" y="229"/>
                  <a:pt x="592" y="229"/>
                  <a:pt x="593" y="229"/>
                </a:cubicBezTo>
                <a:cubicBezTo>
                  <a:pt x="593" y="229"/>
                  <a:pt x="593" y="229"/>
                  <a:pt x="593" y="228"/>
                </a:cubicBezTo>
                <a:cubicBezTo>
                  <a:pt x="593" y="228"/>
                  <a:pt x="593" y="228"/>
                  <a:pt x="593" y="227"/>
                </a:cubicBezTo>
                <a:cubicBezTo>
                  <a:pt x="593" y="228"/>
                  <a:pt x="593" y="228"/>
                  <a:pt x="592" y="228"/>
                </a:cubicBezTo>
                <a:cubicBezTo>
                  <a:pt x="592" y="228"/>
                  <a:pt x="592" y="228"/>
                  <a:pt x="592" y="228"/>
                </a:cubicBezTo>
                <a:cubicBezTo>
                  <a:pt x="592" y="228"/>
                  <a:pt x="592" y="227"/>
                  <a:pt x="592" y="227"/>
                </a:cubicBezTo>
                <a:cubicBezTo>
                  <a:pt x="592" y="227"/>
                  <a:pt x="592" y="226"/>
                  <a:pt x="593" y="226"/>
                </a:cubicBezTo>
                <a:cubicBezTo>
                  <a:pt x="592" y="226"/>
                  <a:pt x="592" y="226"/>
                  <a:pt x="592" y="226"/>
                </a:cubicBezTo>
                <a:cubicBezTo>
                  <a:pt x="591" y="227"/>
                  <a:pt x="590" y="227"/>
                  <a:pt x="589" y="227"/>
                </a:cubicBezTo>
                <a:cubicBezTo>
                  <a:pt x="589" y="227"/>
                  <a:pt x="589" y="227"/>
                  <a:pt x="588" y="227"/>
                </a:cubicBezTo>
                <a:cubicBezTo>
                  <a:pt x="588" y="227"/>
                  <a:pt x="589" y="227"/>
                  <a:pt x="589" y="227"/>
                </a:cubicBezTo>
                <a:cubicBezTo>
                  <a:pt x="589" y="226"/>
                  <a:pt x="590" y="226"/>
                  <a:pt x="590" y="226"/>
                </a:cubicBezTo>
                <a:cubicBezTo>
                  <a:pt x="590" y="226"/>
                  <a:pt x="591" y="226"/>
                  <a:pt x="591" y="226"/>
                </a:cubicBezTo>
                <a:cubicBezTo>
                  <a:pt x="591" y="226"/>
                  <a:pt x="591" y="225"/>
                  <a:pt x="592" y="225"/>
                </a:cubicBezTo>
                <a:cubicBezTo>
                  <a:pt x="591" y="225"/>
                  <a:pt x="591" y="225"/>
                  <a:pt x="591" y="225"/>
                </a:cubicBezTo>
                <a:cubicBezTo>
                  <a:pt x="591" y="225"/>
                  <a:pt x="591" y="225"/>
                  <a:pt x="591" y="224"/>
                </a:cubicBezTo>
                <a:cubicBezTo>
                  <a:pt x="590" y="225"/>
                  <a:pt x="590" y="225"/>
                  <a:pt x="590" y="225"/>
                </a:cubicBezTo>
                <a:cubicBezTo>
                  <a:pt x="590" y="225"/>
                  <a:pt x="590" y="225"/>
                  <a:pt x="589" y="225"/>
                </a:cubicBezTo>
                <a:cubicBezTo>
                  <a:pt x="589" y="225"/>
                  <a:pt x="589" y="225"/>
                  <a:pt x="589" y="225"/>
                </a:cubicBezTo>
                <a:cubicBezTo>
                  <a:pt x="589" y="225"/>
                  <a:pt x="589" y="224"/>
                  <a:pt x="588" y="224"/>
                </a:cubicBezTo>
                <a:cubicBezTo>
                  <a:pt x="589" y="224"/>
                  <a:pt x="589" y="224"/>
                  <a:pt x="589" y="224"/>
                </a:cubicBezTo>
                <a:cubicBezTo>
                  <a:pt x="589" y="224"/>
                  <a:pt x="589" y="224"/>
                  <a:pt x="590" y="224"/>
                </a:cubicBezTo>
                <a:cubicBezTo>
                  <a:pt x="590" y="224"/>
                  <a:pt x="590" y="224"/>
                  <a:pt x="590" y="224"/>
                </a:cubicBezTo>
                <a:cubicBezTo>
                  <a:pt x="590" y="224"/>
                  <a:pt x="590" y="223"/>
                  <a:pt x="590" y="223"/>
                </a:cubicBezTo>
                <a:cubicBezTo>
                  <a:pt x="589" y="223"/>
                  <a:pt x="589" y="223"/>
                  <a:pt x="589" y="223"/>
                </a:cubicBezTo>
                <a:cubicBezTo>
                  <a:pt x="588" y="222"/>
                  <a:pt x="588" y="222"/>
                  <a:pt x="588" y="222"/>
                </a:cubicBezTo>
                <a:cubicBezTo>
                  <a:pt x="588" y="222"/>
                  <a:pt x="589" y="222"/>
                  <a:pt x="589" y="221"/>
                </a:cubicBezTo>
                <a:cubicBezTo>
                  <a:pt x="589" y="221"/>
                  <a:pt x="589" y="221"/>
                  <a:pt x="589" y="221"/>
                </a:cubicBezTo>
                <a:cubicBezTo>
                  <a:pt x="588" y="221"/>
                  <a:pt x="588" y="221"/>
                  <a:pt x="588" y="221"/>
                </a:cubicBezTo>
                <a:cubicBezTo>
                  <a:pt x="588" y="221"/>
                  <a:pt x="588" y="221"/>
                  <a:pt x="588" y="221"/>
                </a:cubicBezTo>
                <a:cubicBezTo>
                  <a:pt x="588" y="220"/>
                  <a:pt x="588" y="220"/>
                  <a:pt x="588" y="220"/>
                </a:cubicBezTo>
                <a:cubicBezTo>
                  <a:pt x="588" y="220"/>
                  <a:pt x="588" y="220"/>
                  <a:pt x="588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8" y="219"/>
                  <a:pt x="588" y="219"/>
                  <a:pt x="588" y="219"/>
                </a:cubicBezTo>
                <a:cubicBezTo>
                  <a:pt x="588" y="219"/>
                  <a:pt x="587" y="219"/>
                  <a:pt x="587" y="219"/>
                </a:cubicBezTo>
                <a:cubicBezTo>
                  <a:pt x="587" y="219"/>
                  <a:pt x="587" y="219"/>
                  <a:pt x="587" y="218"/>
                </a:cubicBezTo>
                <a:cubicBezTo>
                  <a:pt x="587" y="218"/>
                  <a:pt x="588" y="218"/>
                  <a:pt x="588" y="218"/>
                </a:cubicBezTo>
                <a:cubicBezTo>
                  <a:pt x="588" y="218"/>
                  <a:pt x="588" y="218"/>
                  <a:pt x="587" y="218"/>
                </a:cubicBezTo>
                <a:cubicBezTo>
                  <a:pt x="587" y="218"/>
                  <a:pt x="587" y="218"/>
                  <a:pt x="586" y="218"/>
                </a:cubicBezTo>
                <a:cubicBezTo>
                  <a:pt x="587" y="218"/>
                  <a:pt x="587" y="218"/>
                  <a:pt x="587" y="217"/>
                </a:cubicBezTo>
                <a:cubicBezTo>
                  <a:pt x="587" y="217"/>
                  <a:pt x="587" y="217"/>
                  <a:pt x="587" y="217"/>
                </a:cubicBezTo>
                <a:cubicBezTo>
                  <a:pt x="586" y="217"/>
                  <a:pt x="586" y="218"/>
                  <a:pt x="586" y="218"/>
                </a:cubicBezTo>
                <a:cubicBezTo>
                  <a:pt x="585" y="218"/>
                  <a:pt x="585" y="218"/>
                  <a:pt x="585" y="219"/>
                </a:cubicBezTo>
                <a:cubicBezTo>
                  <a:pt x="585" y="219"/>
                  <a:pt x="585" y="219"/>
                  <a:pt x="585" y="219"/>
                </a:cubicBezTo>
                <a:cubicBezTo>
                  <a:pt x="585" y="219"/>
                  <a:pt x="585" y="220"/>
                  <a:pt x="585" y="220"/>
                </a:cubicBezTo>
                <a:cubicBezTo>
                  <a:pt x="584" y="220"/>
                  <a:pt x="584" y="221"/>
                  <a:pt x="584" y="221"/>
                </a:cubicBezTo>
                <a:cubicBezTo>
                  <a:pt x="584" y="221"/>
                  <a:pt x="584" y="221"/>
                  <a:pt x="584" y="222"/>
                </a:cubicBezTo>
                <a:cubicBezTo>
                  <a:pt x="584" y="222"/>
                  <a:pt x="583" y="222"/>
                  <a:pt x="583" y="222"/>
                </a:cubicBezTo>
                <a:cubicBezTo>
                  <a:pt x="583" y="222"/>
                  <a:pt x="583" y="222"/>
                  <a:pt x="583" y="223"/>
                </a:cubicBezTo>
                <a:cubicBezTo>
                  <a:pt x="583" y="223"/>
                  <a:pt x="583" y="222"/>
                  <a:pt x="583" y="222"/>
                </a:cubicBezTo>
                <a:cubicBezTo>
                  <a:pt x="582" y="222"/>
                  <a:pt x="582" y="222"/>
                  <a:pt x="582" y="223"/>
                </a:cubicBezTo>
                <a:cubicBezTo>
                  <a:pt x="582" y="223"/>
                  <a:pt x="582" y="223"/>
                  <a:pt x="582" y="224"/>
                </a:cubicBezTo>
                <a:cubicBezTo>
                  <a:pt x="582" y="224"/>
                  <a:pt x="582" y="224"/>
                  <a:pt x="582" y="224"/>
                </a:cubicBezTo>
                <a:cubicBezTo>
                  <a:pt x="582" y="224"/>
                  <a:pt x="582" y="224"/>
                  <a:pt x="583" y="224"/>
                </a:cubicBezTo>
                <a:cubicBezTo>
                  <a:pt x="583" y="224"/>
                  <a:pt x="583" y="224"/>
                  <a:pt x="583" y="225"/>
                </a:cubicBezTo>
                <a:cubicBezTo>
                  <a:pt x="583" y="225"/>
                  <a:pt x="583" y="225"/>
                  <a:pt x="583" y="225"/>
                </a:cubicBezTo>
                <a:cubicBezTo>
                  <a:pt x="583" y="225"/>
                  <a:pt x="583" y="225"/>
                  <a:pt x="582" y="225"/>
                </a:cubicBezTo>
                <a:cubicBezTo>
                  <a:pt x="582" y="225"/>
                  <a:pt x="582" y="225"/>
                  <a:pt x="582" y="225"/>
                </a:cubicBezTo>
                <a:cubicBezTo>
                  <a:pt x="582" y="225"/>
                  <a:pt x="582" y="225"/>
                  <a:pt x="581" y="225"/>
                </a:cubicBezTo>
                <a:cubicBezTo>
                  <a:pt x="581" y="226"/>
                  <a:pt x="581" y="226"/>
                  <a:pt x="581" y="226"/>
                </a:cubicBezTo>
                <a:cubicBezTo>
                  <a:pt x="581" y="226"/>
                  <a:pt x="580" y="226"/>
                  <a:pt x="580" y="227"/>
                </a:cubicBezTo>
                <a:cubicBezTo>
                  <a:pt x="580" y="227"/>
                  <a:pt x="580" y="227"/>
                  <a:pt x="580" y="228"/>
                </a:cubicBezTo>
                <a:cubicBezTo>
                  <a:pt x="580" y="228"/>
                  <a:pt x="579" y="228"/>
                  <a:pt x="579" y="228"/>
                </a:cubicBezTo>
                <a:cubicBezTo>
                  <a:pt x="579" y="228"/>
                  <a:pt x="579" y="228"/>
                  <a:pt x="579" y="229"/>
                </a:cubicBezTo>
                <a:cubicBezTo>
                  <a:pt x="579" y="229"/>
                  <a:pt x="579" y="229"/>
                  <a:pt x="579" y="229"/>
                </a:cubicBezTo>
                <a:cubicBezTo>
                  <a:pt x="579" y="229"/>
                  <a:pt x="579" y="229"/>
                  <a:pt x="578" y="229"/>
                </a:cubicBezTo>
                <a:cubicBezTo>
                  <a:pt x="578" y="230"/>
                  <a:pt x="579" y="230"/>
                  <a:pt x="579" y="230"/>
                </a:cubicBezTo>
                <a:cubicBezTo>
                  <a:pt x="578" y="231"/>
                  <a:pt x="578" y="231"/>
                  <a:pt x="578" y="231"/>
                </a:cubicBezTo>
                <a:cubicBezTo>
                  <a:pt x="578" y="231"/>
                  <a:pt x="578" y="231"/>
                  <a:pt x="578" y="231"/>
                </a:cubicBezTo>
                <a:cubicBezTo>
                  <a:pt x="578" y="230"/>
                  <a:pt x="578" y="230"/>
                  <a:pt x="578" y="230"/>
                </a:cubicBezTo>
                <a:cubicBezTo>
                  <a:pt x="577" y="230"/>
                  <a:pt x="577" y="229"/>
                  <a:pt x="577" y="229"/>
                </a:cubicBezTo>
                <a:cubicBezTo>
                  <a:pt x="576" y="230"/>
                  <a:pt x="576" y="230"/>
                  <a:pt x="575" y="230"/>
                </a:cubicBezTo>
                <a:cubicBezTo>
                  <a:pt x="575" y="231"/>
                  <a:pt x="575" y="231"/>
                  <a:pt x="575" y="231"/>
                </a:cubicBezTo>
                <a:cubicBezTo>
                  <a:pt x="575" y="231"/>
                  <a:pt x="575" y="232"/>
                  <a:pt x="575" y="232"/>
                </a:cubicBezTo>
                <a:cubicBezTo>
                  <a:pt x="575" y="232"/>
                  <a:pt x="574" y="232"/>
                  <a:pt x="574" y="232"/>
                </a:cubicBezTo>
                <a:cubicBezTo>
                  <a:pt x="574" y="232"/>
                  <a:pt x="574" y="232"/>
                  <a:pt x="573" y="233"/>
                </a:cubicBezTo>
                <a:cubicBezTo>
                  <a:pt x="573" y="233"/>
                  <a:pt x="573" y="232"/>
                  <a:pt x="573" y="232"/>
                </a:cubicBezTo>
                <a:cubicBezTo>
                  <a:pt x="573" y="232"/>
                  <a:pt x="573" y="232"/>
                  <a:pt x="572" y="232"/>
                </a:cubicBezTo>
                <a:cubicBezTo>
                  <a:pt x="572" y="233"/>
                  <a:pt x="572" y="233"/>
                  <a:pt x="572" y="233"/>
                </a:cubicBezTo>
                <a:cubicBezTo>
                  <a:pt x="571" y="233"/>
                  <a:pt x="571" y="233"/>
                  <a:pt x="571" y="233"/>
                </a:cubicBezTo>
                <a:cubicBezTo>
                  <a:pt x="570" y="234"/>
                  <a:pt x="570" y="234"/>
                  <a:pt x="570" y="234"/>
                </a:cubicBezTo>
                <a:cubicBezTo>
                  <a:pt x="570" y="235"/>
                  <a:pt x="570" y="235"/>
                  <a:pt x="570" y="235"/>
                </a:cubicBezTo>
                <a:cubicBezTo>
                  <a:pt x="569" y="236"/>
                  <a:pt x="569" y="236"/>
                  <a:pt x="569" y="236"/>
                </a:cubicBezTo>
                <a:cubicBezTo>
                  <a:pt x="569" y="236"/>
                  <a:pt x="569" y="236"/>
                  <a:pt x="569" y="236"/>
                </a:cubicBezTo>
                <a:cubicBezTo>
                  <a:pt x="569" y="235"/>
                  <a:pt x="569" y="235"/>
                  <a:pt x="569" y="235"/>
                </a:cubicBezTo>
                <a:cubicBezTo>
                  <a:pt x="569" y="235"/>
                  <a:pt x="569" y="235"/>
                  <a:pt x="569" y="235"/>
                </a:cubicBezTo>
                <a:cubicBezTo>
                  <a:pt x="569" y="234"/>
                  <a:pt x="569" y="234"/>
                  <a:pt x="568" y="233"/>
                </a:cubicBezTo>
                <a:cubicBezTo>
                  <a:pt x="568" y="233"/>
                  <a:pt x="568" y="233"/>
                  <a:pt x="568" y="232"/>
                </a:cubicBezTo>
                <a:cubicBezTo>
                  <a:pt x="568" y="232"/>
                  <a:pt x="568" y="232"/>
                  <a:pt x="568" y="232"/>
                </a:cubicBezTo>
                <a:cubicBezTo>
                  <a:pt x="568" y="233"/>
                  <a:pt x="567" y="233"/>
                  <a:pt x="567" y="234"/>
                </a:cubicBezTo>
                <a:cubicBezTo>
                  <a:pt x="567" y="234"/>
                  <a:pt x="566" y="235"/>
                  <a:pt x="566" y="236"/>
                </a:cubicBezTo>
                <a:cubicBezTo>
                  <a:pt x="565" y="236"/>
                  <a:pt x="565" y="236"/>
                  <a:pt x="565" y="236"/>
                </a:cubicBezTo>
                <a:cubicBezTo>
                  <a:pt x="565" y="236"/>
                  <a:pt x="565" y="236"/>
                  <a:pt x="565" y="236"/>
                </a:cubicBezTo>
                <a:cubicBezTo>
                  <a:pt x="565" y="235"/>
                  <a:pt x="565" y="235"/>
                  <a:pt x="565" y="235"/>
                </a:cubicBezTo>
                <a:cubicBezTo>
                  <a:pt x="566" y="234"/>
                  <a:pt x="566" y="234"/>
                  <a:pt x="566" y="233"/>
                </a:cubicBezTo>
                <a:cubicBezTo>
                  <a:pt x="566" y="233"/>
                  <a:pt x="566" y="233"/>
                  <a:pt x="566" y="233"/>
                </a:cubicBezTo>
                <a:cubicBezTo>
                  <a:pt x="566" y="232"/>
                  <a:pt x="566" y="232"/>
                  <a:pt x="566" y="232"/>
                </a:cubicBezTo>
                <a:cubicBezTo>
                  <a:pt x="566" y="232"/>
                  <a:pt x="566" y="231"/>
                  <a:pt x="565" y="231"/>
                </a:cubicBezTo>
                <a:cubicBezTo>
                  <a:pt x="565" y="231"/>
                  <a:pt x="565" y="231"/>
                  <a:pt x="564" y="231"/>
                </a:cubicBezTo>
                <a:cubicBezTo>
                  <a:pt x="564" y="231"/>
                  <a:pt x="564" y="231"/>
                  <a:pt x="563" y="231"/>
                </a:cubicBezTo>
                <a:cubicBezTo>
                  <a:pt x="563" y="231"/>
                  <a:pt x="564" y="231"/>
                  <a:pt x="564" y="232"/>
                </a:cubicBezTo>
                <a:cubicBezTo>
                  <a:pt x="564" y="232"/>
                  <a:pt x="564" y="232"/>
                  <a:pt x="563" y="232"/>
                </a:cubicBezTo>
                <a:cubicBezTo>
                  <a:pt x="563" y="232"/>
                  <a:pt x="563" y="232"/>
                  <a:pt x="562" y="231"/>
                </a:cubicBezTo>
                <a:cubicBezTo>
                  <a:pt x="562" y="231"/>
                  <a:pt x="561" y="231"/>
                  <a:pt x="561" y="230"/>
                </a:cubicBezTo>
                <a:cubicBezTo>
                  <a:pt x="561" y="231"/>
                  <a:pt x="562" y="231"/>
                  <a:pt x="563" y="231"/>
                </a:cubicBezTo>
                <a:cubicBezTo>
                  <a:pt x="563" y="231"/>
                  <a:pt x="563" y="230"/>
                  <a:pt x="563" y="230"/>
                </a:cubicBezTo>
                <a:cubicBezTo>
                  <a:pt x="563" y="230"/>
                  <a:pt x="563" y="230"/>
                  <a:pt x="562" y="230"/>
                </a:cubicBezTo>
                <a:cubicBezTo>
                  <a:pt x="562" y="230"/>
                  <a:pt x="561" y="230"/>
                  <a:pt x="561" y="229"/>
                </a:cubicBezTo>
                <a:cubicBezTo>
                  <a:pt x="561" y="229"/>
                  <a:pt x="560" y="229"/>
                  <a:pt x="560" y="229"/>
                </a:cubicBezTo>
                <a:cubicBezTo>
                  <a:pt x="561" y="229"/>
                  <a:pt x="561" y="228"/>
                  <a:pt x="561" y="228"/>
                </a:cubicBezTo>
                <a:cubicBezTo>
                  <a:pt x="561" y="228"/>
                  <a:pt x="561" y="228"/>
                  <a:pt x="561" y="228"/>
                </a:cubicBezTo>
                <a:cubicBezTo>
                  <a:pt x="562" y="227"/>
                  <a:pt x="562" y="227"/>
                  <a:pt x="562" y="226"/>
                </a:cubicBezTo>
                <a:cubicBezTo>
                  <a:pt x="562" y="226"/>
                  <a:pt x="562" y="226"/>
                  <a:pt x="562" y="225"/>
                </a:cubicBezTo>
                <a:cubicBezTo>
                  <a:pt x="561" y="225"/>
                  <a:pt x="561" y="225"/>
                  <a:pt x="560" y="225"/>
                </a:cubicBezTo>
                <a:cubicBezTo>
                  <a:pt x="560" y="225"/>
                  <a:pt x="559" y="225"/>
                  <a:pt x="558" y="225"/>
                </a:cubicBezTo>
                <a:cubicBezTo>
                  <a:pt x="557" y="225"/>
                  <a:pt x="556" y="225"/>
                  <a:pt x="555" y="224"/>
                </a:cubicBezTo>
                <a:cubicBezTo>
                  <a:pt x="556" y="224"/>
                  <a:pt x="557" y="224"/>
                  <a:pt x="558" y="224"/>
                </a:cubicBezTo>
                <a:cubicBezTo>
                  <a:pt x="559" y="224"/>
                  <a:pt x="560" y="224"/>
                  <a:pt x="561" y="224"/>
                </a:cubicBezTo>
                <a:cubicBezTo>
                  <a:pt x="561" y="224"/>
                  <a:pt x="561" y="223"/>
                  <a:pt x="561" y="223"/>
                </a:cubicBezTo>
                <a:cubicBezTo>
                  <a:pt x="561" y="223"/>
                  <a:pt x="561" y="223"/>
                  <a:pt x="561" y="222"/>
                </a:cubicBezTo>
                <a:cubicBezTo>
                  <a:pt x="561" y="223"/>
                  <a:pt x="562" y="223"/>
                  <a:pt x="562" y="223"/>
                </a:cubicBezTo>
                <a:cubicBezTo>
                  <a:pt x="562" y="223"/>
                  <a:pt x="562" y="223"/>
                  <a:pt x="562" y="223"/>
                </a:cubicBezTo>
                <a:cubicBezTo>
                  <a:pt x="562" y="222"/>
                  <a:pt x="562" y="221"/>
                  <a:pt x="561" y="221"/>
                </a:cubicBezTo>
                <a:cubicBezTo>
                  <a:pt x="562" y="220"/>
                  <a:pt x="562" y="220"/>
                  <a:pt x="562" y="220"/>
                </a:cubicBezTo>
                <a:cubicBezTo>
                  <a:pt x="563" y="219"/>
                  <a:pt x="563" y="219"/>
                  <a:pt x="564" y="219"/>
                </a:cubicBezTo>
                <a:cubicBezTo>
                  <a:pt x="564" y="219"/>
                  <a:pt x="564" y="218"/>
                  <a:pt x="564" y="218"/>
                </a:cubicBezTo>
                <a:cubicBezTo>
                  <a:pt x="564" y="217"/>
                  <a:pt x="564" y="217"/>
                  <a:pt x="563" y="217"/>
                </a:cubicBezTo>
                <a:cubicBezTo>
                  <a:pt x="563" y="217"/>
                  <a:pt x="563" y="217"/>
                  <a:pt x="563" y="217"/>
                </a:cubicBezTo>
                <a:cubicBezTo>
                  <a:pt x="563" y="217"/>
                  <a:pt x="563" y="218"/>
                  <a:pt x="563" y="218"/>
                </a:cubicBezTo>
                <a:cubicBezTo>
                  <a:pt x="562" y="218"/>
                  <a:pt x="562" y="219"/>
                  <a:pt x="561" y="219"/>
                </a:cubicBezTo>
                <a:cubicBezTo>
                  <a:pt x="561" y="219"/>
                  <a:pt x="561" y="219"/>
                  <a:pt x="561" y="218"/>
                </a:cubicBezTo>
                <a:cubicBezTo>
                  <a:pt x="561" y="218"/>
                  <a:pt x="561" y="218"/>
                  <a:pt x="561" y="217"/>
                </a:cubicBezTo>
                <a:cubicBezTo>
                  <a:pt x="560" y="217"/>
                  <a:pt x="560" y="217"/>
                  <a:pt x="559" y="217"/>
                </a:cubicBezTo>
                <a:cubicBezTo>
                  <a:pt x="559" y="217"/>
                  <a:pt x="558" y="217"/>
                  <a:pt x="558" y="218"/>
                </a:cubicBezTo>
                <a:cubicBezTo>
                  <a:pt x="558" y="218"/>
                  <a:pt x="558" y="218"/>
                  <a:pt x="557" y="217"/>
                </a:cubicBezTo>
                <a:cubicBezTo>
                  <a:pt x="557" y="218"/>
                  <a:pt x="557" y="218"/>
                  <a:pt x="557" y="218"/>
                </a:cubicBezTo>
                <a:cubicBezTo>
                  <a:pt x="556" y="217"/>
                  <a:pt x="556" y="217"/>
                  <a:pt x="555" y="217"/>
                </a:cubicBezTo>
                <a:cubicBezTo>
                  <a:pt x="555" y="217"/>
                  <a:pt x="554" y="217"/>
                  <a:pt x="554" y="218"/>
                </a:cubicBezTo>
                <a:cubicBezTo>
                  <a:pt x="554" y="217"/>
                  <a:pt x="554" y="217"/>
                  <a:pt x="554" y="217"/>
                </a:cubicBezTo>
                <a:cubicBezTo>
                  <a:pt x="554" y="217"/>
                  <a:pt x="553" y="218"/>
                  <a:pt x="553" y="218"/>
                </a:cubicBezTo>
                <a:cubicBezTo>
                  <a:pt x="553" y="218"/>
                  <a:pt x="553" y="217"/>
                  <a:pt x="553" y="217"/>
                </a:cubicBezTo>
                <a:cubicBezTo>
                  <a:pt x="552" y="217"/>
                  <a:pt x="552" y="217"/>
                  <a:pt x="551" y="217"/>
                </a:cubicBezTo>
                <a:cubicBezTo>
                  <a:pt x="552" y="216"/>
                  <a:pt x="552" y="216"/>
                  <a:pt x="552" y="216"/>
                </a:cubicBezTo>
                <a:cubicBezTo>
                  <a:pt x="552" y="216"/>
                  <a:pt x="553" y="216"/>
                  <a:pt x="553" y="216"/>
                </a:cubicBezTo>
                <a:cubicBezTo>
                  <a:pt x="553" y="216"/>
                  <a:pt x="553" y="216"/>
                  <a:pt x="554" y="216"/>
                </a:cubicBezTo>
                <a:cubicBezTo>
                  <a:pt x="554" y="216"/>
                  <a:pt x="554" y="216"/>
                  <a:pt x="554" y="215"/>
                </a:cubicBezTo>
                <a:cubicBezTo>
                  <a:pt x="553" y="215"/>
                  <a:pt x="553" y="215"/>
                  <a:pt x="553" y="215"/>
                </a:cubicBezTo>
                <a:cubicBezTo>
                  <a:pt x="552" y="215"/>
                  <a:pt x="552" y="215"/>
                  <a:pt x="552" y="215"/>
                </a:cubicBezTo>
                <a:cubicBezTo>
                  <a:pt x="552" y="215"/>
                  <a:pt x="551" y="215"/>
                  <a:pt x="551" y="215"/>
                </a:cubicBezTo>
                <a:cubicBezTo>
                  <a:pt x="551" y="215"/>
                  <a:pt x="551" y="215"/>
                  <a:pt x="552" y="215"/>
                </a:cubicBezTo>
                <a:cubicBezTo>
                  <a:pt x="551" y="214"/>
                  <a:pt x="551" y="214"/>
                  <a:pt x="551" y="214"/>
                </a:cubicBezTo>
                <a:cubicBezTo>
                  <a:pt x="551" y="214"/>
                  <a:pt x="550" y="214"/>
                  <a:pt x="550" y="214"/>
                </a:cubicBezTo>
                <a:cubicBezTo>
                  <a:pt x="549" y="214"/>
                  <a:pt x="549" y="214"/>
                  <a:pt x="549" y="214"/>
                </a:cubicBezTo>
                <a:cubicBezTo>
                  <a:pt x="549" y="214"/>
                  <a:pt x="549" y="214"/>
                  <a:pt x="549" y="214"/>
                </a:cubicBezTo>
                <a:cubicBezTo>
                  <a:pt x="549" y="213"/>
                  <a:pt x="549" y="213"/>
                  <a:pt x="549" y="213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9" y="212"/>
                  <a:pt x="548" y="212"/>
                  <a:pt x="548" y="212"/>
                </a:cubicBezTo>
                <a:cubicBezTo>
                  <a:pt x="548" y="212"/>
                  <a:pt x="547" y="212"/>
                  <a:pt x="547" y="211"/>
                </a:cubicBezTo>
                <a:cubicBezTo>
                  <a:pt x="547" y="211"/>
                  <a:pt x="547" y="211"/>
                  <a:pt x="546" y="211"/>
                </a:cubicBezTo>
                <a:cubicBezTo>
                  <a:pt x="546" y="211"/>
                  <a:pt x="545" y="210"/>
                  <a:pt x="544" y="210"/>
                </a:cubicBezTo>
                <a:cubicBezTo>
                  <a:pt x="544" y="210"/>
                  <a:pt x="543" y="211"/>
                  <a:pt x="543" y="211"/>
                </a:cubicBezTo>
                <a:cubicBezTo>
                  <a:pt x="543" y="211"/>
                  <a:pt x="542" y="211"/>
                  <a:pt x="542" y="211"/>
                </a:cubicBezTo>
                <a:cubicBezTo>
                  <a:pt x="542" y="211"/>
                  <a:pt x="542" y="212"/>
                  <a:pt x="542" y="212"/>
                </a:cubicBezTo>
                <a:cubicBezTo>
                  <a:pt x="541" y="212"/>
                  <a:pt x="541" y="212"/>
                  <a:pt x="540" y="212"/>
                </a:cubicBezTo>
                <a:cubicBezTo>
                  <a:pt x="540" y="212"/>
                  <a:pt x="540" y="212"/>
                  <a:pt x="540" y="213"/>
                </a:cubicBezTo>
                <a:cubicBezTo>
                  <a:pt x="540" y="212"/>
                  <a:pt x="540" y="212"/>
                  <a:pt x="539" y="212"/>
                </a:cubicBezTo>
                <a:cubicBezTo>
                  <a:pt x="539" y="212"/>
                  <a:pt x="539" y="212"/>
                  <a:pt x="539" y="212"/>
                </a:cubicBezTo>
                <a:cubicBezTo>
                  <a:pt x="538" y="212"/>
                  <a:pt x="538" y="212"/>
                  <a:pt x="538" y="212"/>
                </a:cubicBezTo>
                <a:cubicBezTo>
                  <a:pt x="538" y="212"/>
                  <a:pt x="537" y="212"/>
                  <a:pt x="537" y="212"/>
                </a:cubicBezTo>
                <a:cubicBezTo>
                  <a:pt x="536" y="212"/>
                  <a:pt x="536" y="213"/>
                  <a:pt x="536" y="213"/>
                </a:cubicBezTo>
                <a:cubicBezTo>
                  <a:pt x="535" y="213"/>
                  <a:pt x="534" y="213"/>
                  <a:pt x="534" y="214"/>
                </a:cubicBezTo>
                <a:cubicBezTo>
                  <a:pt x="534" y="213"/>
                  <a:pt x="535" y="213"/>
                  <a:pt x="535" y="213"/>
                </a:cubicBezTo>
                <a:cubicBezTo>
                  <a:pt x="535" y="213"/>
                  <a:pt x="535" y="212"/>
                  <a:pt x="535" y="212"/>
                </a:cubicBezTo>
                <a:cubicBezTo>
                  <a:pt x="535" y="212"/>
                  <a:pt x="534" y="212"/>
                  <a:pt x="534" y="212"/>
                </a:cubicBezTo>
                <a:cubicBezTo>
                  <a:pt x="533" y="212"/>
                  <a:pt x="532" y="212"/>
                  <a:pt x="531" y="212"/>
                </a:cubicBezTo>
                <a:cubicBezTo>
                  <a:pt x="530" y="212"/>
                  <a:pt x="530" y="212"/>
                  <a:pt x="529" y="212"/>
                </a:cubicBezTo>
                <a:cubicBezTo>
                  <a:pt x="528" y="212"/>
                  <a:pt x="528" y="212"/>
                  <a:pt x="527" y="212"/>
                </a:cubicBezTo>
                <a:cubicBezTo>
                  <a:pt x="527" y="212"/>
                  <a:pt x="527" y="212"/>
                  <a:pt x="526" y="212"/>
                </a:cubicBezTo>
                <a:cubicBezTo>
                  <a:pt x="526" y="212"/>
                  <a:pt x="526" y="212"/>
                  <a:pt x="526" y="212"/>
                </a:cubicBezTo>
                <a:cubicBezTo>
                  <a:pt x="526" y="212"/>
                  <a:pt x="525" y="212"/>
                  <a:pt x="525" y="213"/>
                </a:cubicBezTo>
                <a:cubicBezTo>
                  <a:pt x="525" y="213"/>
                  <a:pt x="525" y="213"/>
                  <a:pt x="524" y="213"/>
                </a:cubicBezTo>
                <a:cubicBezTo>
                  <a:pt x="524" y="213"/>
                  <a:pt x="524" y="213"/>
                  <a:pt x="525" y="214"/>
                </a:cubicBezTo>
                <a:cubicBezTo>
                  <a:pt x="524" y="214"/>
                  <a:pt x="524" y="214"/>
                  <a:pt x="524" y="214"/>
                </a:cubicBezTo>
                <a:cubicBezTo>
                  <a:pt x="524" y="214"/>
                  <a:pt x="524" y="214"/>
                  <a:pt x="523" y="214"/>
                </a:cubicBezTo>
                <a:cubicBezTo>
                  <a:pt x="523" y="214"/>
                  <a:pt x="523" y="214"/>
                  <a:pt x="523" y="214"/>
                </a:cubicBezTo>
                <a:cubicBezTo>
                  <a:pt x="523" y="215"/>
                  <a:pt x="523" y="215"/>
                  <a:pt x="523" y="215"/>
                </a:cubicBezTo>
                <a:cubicBezTo>
                  <a:pt x="523" y="216"/>
                  <a:pt x="522" y="216"/>
                  <a:pt x="522" y="216"/>
                </a:cubicBezTo>
                <a:cubicBezTo>
                  <a:pt x="522" y="217"/>
                  <a:pt x="522" y="217"/>
                  <a:pt x="523" y="218"/>
                </a:cubicBezTo>
                <a:cubicBezTo>
                  <a:pt x="523" y="218"/>
                  <a:pt x="523" y="218"/>
                  <a:pt x="523" y="218"/>
                </a:cubicBezTo>
                <a:cubicBezTo>
                  <a:pt x="524" y="218"/>
                  <a:pt x="524" y="218"/>
                  <a:pt x="524" y="218"/>
                </a:cubicBezTo>
                <a:cubicBezTo>
                  <a:pt x="524" y="218"/>
                  <a:pt x="524" y="218"/>
                  <a:pt x="524" y="219"/>
                </a:cubicBezTo>
                <a:cubicBezTo>
                  <a:pt x="524" y="219"/>
                  <a:pt x="525" y="219"/>
                  <a:pt x="525" y="219"/>
                </a:cubicBezTo>
                <a:cubicBezTo>
                  <a:pt x="525" y="219"/>
                  <a:pt x="525" y="219"/>
                  <a:pt x="525" y="219"/>
                </a:cubicBezTo>
                <a:cubicBezTo>
                  <a:pt x="525" y="220"/>
                  <a:pt x="525" y="220"/>
                  <a:pt x="525" y="220"/>
                </a:cubicBezTo>
                <a:cubicBezTo>
                  <a:pt x="524" y="220"/>
                  <a:pt x="524" y="220"/>
                  <a:pt x="524" y="220"/>
                </a:cubicBezTo>
                <a:cubicBezTo>
                  <a:pt x="524" y="220"/>
                  <a:pt x="524" y="221"/>
                  <a:pt x="524" y="221"/>
                </a:cubicBezTo>
                <a:cubicBezTo>
                  <a:pt x="523" y="221"/>
                  <a:pt x="523" y="222"/>
                  <a:pt x="523" y="223"/>
                </a:cubicBezTo>
                <a:cubicBezTo>
                  <a:pt x="522" y="223"/>
                  <a:pt x="521" y="224"/>
                  <a:pt x="521" y="224"/>
                </a:cubicBezTo>
                <a:cubicBezTo>
                  <a:pt x="521" y="225"/>
                  <a:pt x="521" y="225"/>
                  <a:pt x="521" y="225"/>
                </a:cubicBezTo>
                <a:cubicBezTo>
                  <a:pt x="521" y="225"/>
                  <a:pt x="521" y="225"/>
                  <a:pt x="521" y="225"/>
                </a:cubicBezTo>
                <a:cubicBezTo>
                  <a:pt x="522" y="225"/>
                  <a:pt x="522" y="225"/>
                  <a:pt x="523" y="224"/>
                </a:cubicBezTo>
                <a:cubicBezTo>
                  <a:pt x="523" y="224"/>
                  <a:pt x="523" y="224"/>
                  <a:pt x="524" y="224"/>
                </a:cubicBezTo>
                <a:cubicBezTo>
                  <a:pt x="523" y="225"/>
                  <a:pt x="523" y="225"/>
                  <a:pt x="523" y="225"/>
                </a:cubicBezTo>
                <a:cubicBezTo>
                  <a:pt x="523" y="225"/>
                  <a:pt x="523" y="226"/>
                  <a:pt x="523" y="226"/>
                </a:cubicBezTo>
                <a:cubicBezTo>
                  <a:pt x="523" y="226"/>
                  <a:pt x="523" y="226"/>
                  <a:pt x="523" y="226"/>
                </a:cubicBezTo>
                <a:cubicBezTo>
                  <a:pt x="523" y="226"/>
                  <a:pt x="524" y="226"/>
                  <a:pt x="524" y="226"/>
                </a:cubicBezTo>
                <a:cubicBezTo>
                  <a:pt x="524" y="226"/>
                  <a:pt x="523" y="227"/>
                  <a:pt x="523" y="227"/>
                </a:cubicBezTo>
                <a:cubicBezTo>
                  <a:pt x="523" y="227"/>
                  <a:pt x="523" y="227"/>
                  <a:pt x="522" y="227"/>
                </a:cubicBezTo>
                <a:cubicBezTo>
                  <a:pt x="523" y="228"/>
                  <a:pt x="523" y="228"/>
                  <a:pt x="523" y="228"/>
                </a:cubicBezTo>
                <a:cubicBezTo>
                  <a:pt x="523" y="228"/>
                  <a:pt x="523" y="228"/>
                  <a:pt x="524" y="228"/>
                </a:cubicBezTo>
                <a:cubicBezTo>
                  <a:pt x="523" y="228"/>
                  <a:pt x="523" y="229"/>
                  <a:pt x="523" y="229"/>
                </a:cubicBezTo>
                <a:cubicBezTo>
                  <a:pt x="523" y="229"/>
                  <a:pt x="523" y="229"/>
                  <a:pt x="523" y="229"/>
                </a:cubicBezTo>
                <a:cubicBezTo>
                  <a:pt x="523" y="229"/>
                  <a:pt x="524" y="229"/>
                  <a:pt x="524" y="229"/>
                </a:cubicBezTo>
                <a:cubicBezTo>
                  <a:pt x="525" y="229"/>
                  <a:pt x="525" y="229"/>
                  <a:pt x="525" y="229"/>
                </a:cubicBezTo>
                <a:cubicBezTo>
                  <a:pt x="525" y="230"/>
                  <a:pt x="524" y="231"/>
                  <a:pt x="524" y="231"/>
                </a:cubicBezTo>
                <a:cubicBezTo>
                  <a:pt x="524" y="231"/>
                  <a:pt x="523" y="232"/>
                  <a:pt x="523" y="232"/>
                </a:cubicBezTo>
                <a:cubicBezTo>
                  <a:pt x="523" y="232"/>
                  <a:pt x="523" y="232"/>
                  <a:pt x="523" y="233"/>
                </a:cubicBezTo>
                <a:cubicBezTo>
                  <a:pt x="523" y="233"/>
                  <a:pt x="523" y="233"/>
                  <a:pt x="523" y="233"/>
                </a:cubicBezTo>
                <a:cubicBezTo>
                  <a:pt x="523" y="233"/>
                  <a:pt x="523" y="233"/>
                  <a:pt x="523" y="233"/>
                </a:cubicBezTo>
                <a:cubicBezTo>
                  <a:pt x="522" y="233"/>
                  <a:pt x="522" y="232"/>
                  <a:pt x="522" y="232"/>
                </a:cubicBezTo>
                <a:cubicBezTo>
                  <a:pt x="522" y="232"/>
                  <a:pt x="521" y="232"/>
                  <a:pt x="521" y="232"/>
                </a:cubicBezTo>
                <a:cubicBezTo>
                  <a:pt x="521" y="233"/>
                  <a:pt x="521" y="233"/>
                  <a:pt x="520" y="233"/>
                </a:cubicBezTo>
                <a:cubicBezTo>
                  <a:pt x="520" y="234"/>
                  <a:pt x="520" y="234"/>
                  <a:pt x="520" y="234"/>
                </a:cubicBezTo>
                <a:cubicBezTo>
                  <a:pt x="521" y="234"/>
                  <a:pt x="521" y="234"/>
                  <a:pt x="521" y="234"/>
                </a:cubicBezTo>
                <a:cubicBezTo>
                  <a:pt x="521" y="234"/>
                  <a:pt x="521" y="234"/>
                  <a:pt x="521" y="234"/>
                </a:cubicBezTo>
                <a:cubicBezTo>
                  <a:pt x="521" y="235"/>
                  <a:pt x="521" y="235"/>
                  <a:pt x="520" y="235"/>
                </a:cubicBezTo>
                <a:cubicBezTo>
                  <a:pt x="520" y="235"/>
                  <a:pt x="520" y="235"/>
                  <a:pt x="519" y="235"/>
                </a:cubicBezTo>
                <a:cubicBezTo>
                  <a:pt x="519" y="236"/>
                  <a:pt x="518" y="237"/>
                  <a:pt x="517" y="238"/>
                </a:cubicBezTo>
                <a:cubicBezTo>
                  <a:pt x="517" y="238"/>
                  <a:pt x="516" y="238"/>
                  <a:pt x="516" y="238"/>
                </a:cubicBezTo>
                <a:cubicBezTo>
                  <a:pt x="516" y="239"/>
                  <a:pt x="516" y="240"/>
                  <a:pt x="516" y="240"/>
                </a:cubicBezTo>
                <a:cubicBezTo>
                  <a:pt x="516" y="240"/>
                  <a:pt x="516" y="240"/>
                  <a:pt x="516" y="241"/>
                </a:cubicBezTo>
                <a:cubicBezTo>
                  <a:pt x="517" y="241"/>
                  <a:pt x="517" y="241"/>
                  <a:pt x="517" y="240"/>
                </a:cubicBezTo>
                <a:cubicBezTo>
                  <a:pt x="518" y="241"/>
                  <a:pt x="518" y="241"/>
                  <a:pt x="518" y="241"/>
                </a:cubicBezTo>
                <a:cubicBezTo>
                  <a:pt x="518" y="241"/>
                  <a:pt x="519" y="241"/>
                  <a:pt x="519" y="241"/>
                </a:cubicBezTo>
                <a:cubicBezTo>
                  <a:pt x="520" y="242"/>
                  <a:pt x="521" y="242"/>
                  <a:pt x="521" y="243"/>
                </a:cubicBezTo>
                <a:cubicBezTo>
                  <a:pt x="522" y="243"/>
                  <a:pt x="522" y="244"/>
                  <a:pt x="522" y="245"/>
                </a:cubicBezTo>
                <a:cubicBezTo>
                  <a:pt x="522" y="245"/>
                  <a:pt x="522" y="246"/>
                  <a:pt x="522" y="247"/>
                </a:cubicBezTo>
                <a:cubicBezTo>
                  <a:pt x="523" y="247"/>
                  <a:pt x="523" y="247"/>
                  <a:pt x="524" y="248"/>
                </a:cubicBezTo>
                <a:cubicBezTo>
                  <a:pt x="524" y="248"/>
                  <a:pt x="524" y="248"/>
                  <a:pt x="524" y="249"/>
                </a:cubicBezTo>
                <a:cubicBezTo>
                  <a:pt x="524" y="249"/>
                  <a:pt x="524" y="249"/>
                  <a:pt x="524" y="250"/>
                </a:cubicBezTo>
                <a:cubicBezTo>
                  <a:pt x="524" y="250"/>
                  <a:pt x="524" y="250"/>
                  <a:pt x="524" y="250"/>
                </a:cubicBezTo>
                <a:cubicBezTo>
                  <a:pt x="523" y="251"/>
                  <a:pt x="523" y="252"/>
                  <a:pt x="523" y="252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3" y="253"/>
                  <a:pt x="523" y="252"/>
                  <a:pt x="523" y="252"/>
                </a:cubicBezTo>
                <a:cubicBezTo>
                  <a:pt x="524" y="252"/>
                  <a:pt x="524" y="252"/>
                  <a:pt x="524" y="252"/>
                </a:cubicBezTo>
                <a:cubicBezTo>
                  <a:pt x="524" y="252"/>
                  <a:pt x="524" y="252"/>
                  <a:pt x="524" y="253"/>
                </a:cubicBezTo>
                <a:cubicBezTo>
                  <a:pt x="525" y="253"/>
                  <a:pt x="525" y="253"/>
                  <a:pt x="526" y="253"/>
                </a:cubicBezTo>
                <a:cubicBezTo>
                  <a:pt x="525" y="253"/>
                  <a:pt x="525" y="254"/>
                  <a:pt x="525" y="254"/>
                </a:cubicBezTo>
                <a:cubicBezTo>
                  <a:pt x="524" y="254"/>
                  <a:pt x="524" y="254"/>
                  <a:pt x="524" y="254"/>
                </a:cubicBezTo>
                <a:cubicBezTo>
                  <a:pt x="524" y="254"/>
                  <a:pt x="523" y="254"/>
                  <a:pt x="523" y="254"/>
                </a:cubicBezTo>
                <a:cubicBezTo>
                  <a:pt x="523" y="254"/>
                  <a:pt x="523" y="254"/>
                  <a:pt x="522" y="254"/>
                </a:cubicBezTo>
                <a:cubicBezTo>
                  <a:pt x="522" y="255"/>
                  <a:pt x="522" y="255"/>
                  <a:pt x="521" y="256"/>
                </a:cubicBezTo>
                <a:cubicBezTo>
                  <a:pt x="521" y="256"/>
                  <a:pt x="521" y="257"/>
                  <a:pt x="520" y="257"/>
                </a:cubicBezTo>
                <a:cubicBezTo>
                  <a:pt x="520" y="257"/>
                  <a:pt x="520" y="257"/>
                  <a:pt x="520" y="257"/>
                </a:cubicBezTo>
                <a:cubicBezTo>
                  <a:pt x="519" y="258"/>
                  <a:pt x="519" y="258"/>
                  <a:pt x="518" y="259"/>
                </a:cubicBezTo>
                <a:cubicBezTo>
                  <a:pt x="518" y="259"/>
                  <a:pt x="517" y="259"/>
                  <a:pt x="517" y="259"/>
                </a:cubicBezTo>
                <a:cubicBezTo>
                  <a:pt x="517" y="259"/>
                  <a:pt x="517" y="259"/>
                  <a:pt x="517" y="260"/>
                </a:cubicBezTo>
                <a:cubicBezTo>
                  <a:pt x="516" y="260"/>
                  <a:pt x="515" y="261"/>
                  <a:pt x="514" y="261"/>
                </a:cubicBezTo>
                <a:cubicBezTo>
                  <a:pt x="513" y="262"/>
                  <a:pt x="513" y="262"/>
                  <a:pt x="512" y="262"/>
                </a:cubicBezTo>
                <a:cubicBezTo>
                  <a:pt x="512" y="263"/>
                  <a:pt x="512" y="263"/>
                  <a:pt x="512" y="263"/>
                </a:cubicBezTo>
                <a:cubicBezTo>
                  <a:pt x="511" y="263"/>
                  <a:pt x="511" y="263"/>
                  <a:pt x="510" y="263"/>
                </a:cubicBezTo>
                <a:cubicBezTo>
                  <a:pt x="510" y="263"/>
                  <a:pt x="510" y="264"/>
                  <a:pt x="509" y="264"/>
                </a:cubicBezTo>
                <a:cubicBezTo>
                  <a:pt x="509" y="264"/>
                  <a:pt x="508" y="264"/>
                  <a:pt x="507" y="265"/>
                </a:cubicBezTo>
                <a:cubicBezTo>
                  <a:pt x="507" y="265"/>
                  <a:pt x="506" y="265"/>
                  <a:pt x="506" y="265"/>
                </a:cubicBezTo>
                <a:cubicBezTo>
                  <a:pt x="506" y="266"/>
                  <a:pt x="506" y="266"/>
                  <a:pt x="506" y="266"/>
                </a:cubicBezTo>
                <a:cubicBezTo>
                  <a:pt x="506" y="266"/>
                  <a:pt x="507" y="266"/>
                  <a:pt x="507" y="266"/>
                </a:cubicBezTo>
                <a:cubicBezTo>
                  <a:pt x="507" y="267"/>
                  <a:pt x="507" y="267"/>
                  <a:pt x="507" y="267"/>
                </a:cubicBezTo>
                <a:cubicBezTo>
                  <a:pt x="507" y="267"/>
                  <a:pt x="507" y="267"/>
                  <a:pt x="507" y="268"/>
                </a:cubicBezTo>
                <a:cubicBezTo>
                  <a:pt x="508" y="268"/>
                  <a:pt x="508" y="268"/>
                  <a:pt x="508" y="268"/>
                </a:cubicBezTo>
                <a:cubicBezTo>
                  <a:pt x="508" y="268"/>
                  <a:pt x="508" y="268"/>
                  <a:pt x="507" y="268"/>
                </a:cubicBezTo>
                <a:cubicBezTo>
                  <a:pt x="508" y="268"/>
                  <a:pt x="508" y="269"/>
                  <a:pt x="508" y="269"/>
                </a:cubicBezTo>
                <a:cubicBezTo>
                  <a:pt x="508" y="269"/>
                  <a:pt x="508" y="269"/>
                  <a:pt x="509" y="269"/>
                </a:cubicBezTo>
                <a:cubicBezTo>
                  <a:pt x="508" y="269"/>
                  <a:pt x="508" y="269"/>
                  <a:pt x="508" y="269"/>
                </a:cubicBezTo>
                <a:cubicBezTo>
                  <a:pt x="508" y="269"/>
                  <a:pt x="508" y="269"/>
                  <a:pt x="509" y="270"/>
                </a:cubicBezTo>
                <a:cubicBezTo>
                  <a:pt x="508" y="270"/>
                  <a:pt x="508" y="270"/>
                  <a:pt x="508" y="270"/>
                </a:cubicBezTo>
                <a:cubicBezTo>
                  <a:pt x="508" y="270"/>
                  <a:pt x="508" y="270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8" y="272"/>
                  <a:pt x="508" y="272"/>
                  <a:pt x="508" y="272"/>
                </a:cubicBezTo>
                <a:cubicBezTo>
                  <a:pt x="508" y="273"/>
                  <a:pt x="508" y="273"/>
                  <a:pt x="508" y="273"/>
                </a:cubicBezTo>
                <a:cubicBezTo>
                  <a:pt x="508" y="274"/>
                  <a:pt x="508" y="274"/>
                  <a:pt x="508" y="275"/>
                </a:cubicBezTo>
                <a:cubicBezTo>
                  <a:pt x="508" y="275"/>
                  <a:pt x="508" y="275"/>
                  <a:pt x="508" y="275"/>
                </a:cubicBezTo>
                <a:cubicBezTo>
                  <a:pt x="509" y="275"/>
                  <a:pt x="509" y="275"/>
                  <a:pt x="509" y="275"/>
                </a:cubicBezTo>
                <a:cubicBezTo>
                  <a:pt x="509" y="276"/>
                  <a:pt x="509" y="276"/>
                  <a:pt x="509" y="276"/>
                </a:cubicBezTo>
                <a:cubicBezTo>
                  <a:pt x="509" y="276"/>
                  <a:pt x="509" y="276"/>
                  <a:pt x="510" y="276"/>
                </a:cubicBezTo>
                <a:cubicBezTo>
                  <a:pt x="509" y="276"/>
                  <a:pt x="509" y="277"/>
                  <a:pt x="509" y="277"/>
                </a:cubicBezTo>
                <a:cubicBezTo>
                  <a:pt x="509" y="277"/>
                  <a:pt x="509" y="278"/>
                  <a:pt x="509" y="278"/>
                </a:cubicBezTo>
                <a:cubicBezTo>
                  <a:pt x="509" y="278"/>
                  <a:pt x="509" y="278"/>
                  <a:pt x="510" y="278"/>
                </a:cubicBezTo>
                <a:cubicBezTo>
                  <a:pt x="510" y="278"/>
                  <a:pt x="510" y="279"/>
                  <a:pt x="510" y="279"/>
                </a:cubicBezTo>
                <a:cubicBezTo>
                  <a:pt x="510" y="279"/>
                  <a:pt x="510" y="279"/>
                  <a:pt x="510" y="279"/>
                </a:cubicBezTo>
                <a:cubicBezTo>
                  <a:pt x="510" y="280"/>
                  <a:pt x="510" y="280"/>
                  <a:pt x="509" y="280"/>
                </a:cubicBezTo>
                <a:cubicBezTo>
                  <a:pt x="509" y="281"/>
                  <a:pt x="509" y="281"/>
                  <a:pt x="509" y="282"/>
                </a:cubicBezTo>
                <a:cubicBezTo>
                  <a:pt x="509" y="282"/>
                  <a:pt x="509" y="282"/>
                  <a:pt x="509" y="282"/>
                </a:cubicBezTo>
                <a:cubicBezTo>
                  <a:pt x="508" y="282"/>
                  <a:pt x="508" y="282"/>
                  <a:pt x="508" y="282"/>
                </a:cubicBezTo>
                <a:cubicBezTo>
                  <a:pt x="508" y="282"/>
                  <a:pt x="508" y="282"/>
                  <a:pt x="508" y="282"/>
                </a:cubicBezTo>
                <a:cubicBezTo>
                  <a:pt x="509" y="283"/>
                  <a:pt x="509" y="283"/>
                  <a:pt x="509" y="283"/>
                </a:cubicBezTo>
                <a:cubicBezTo>
                  <a:pt x="509" y="283"/>
                  <a:pt x="509" y="283"/>
                  <a:pt x="509" y="283"/>
                </a:cubicBezTo>
                <a:cubicBezTo>
                  <a:pt x="509" y="284"/>
                  <a:pt x="509" y="284"/>
                  <a:pt x="509" y="285"/>
                </a:cubicBezTo>
                <a:cubicBezTo>
                  <a:pt x="509" y="285"/>
                  <a:pt x="509" y="285"/>
                  <a:pt x="509" y="285"/>
                </a:cubicBezTo>
                <a:cubicBezTo>
                  <a:pt x="509" y="286"/>
                  <a:pt x="510" y="286"/>
                  <a:pt x="510" y="286"/>
                </a:cubicBezTo>
                <a:cubicBezTo>
                  <a:pt x="511" y="286"/>
                  <a:pt x="511" y="286"/>
                  <a:pt x="511" y="286"/>
                </a:cubicBezTo>
                <a:cubicBezTo>
                  <a:pt x="511" y="286"/>
                  <a:pt x="510" y="286"/>
                  <a:pt x="510" y="286"/>
                </a:cubicBezTo>
                <a:cubicBezTo>
                  <a:pt x="509" y="286"/>
                  <a:pt x="509" y="286"/>
                  <a:pt x="508" y="286"/>
                </a:cubicBezTo>
                <a:cubicBezTo>
                  <a:pt x="508" y="286"/>
                  <a:pt x="508" y="285"/>
                  <a:pt x="508" y="285"/>
                </a:cubicBezTo>
                <a:cubicBezTo>
                  <a:pt x="508" y="284"/>
                  <a:pt x="508" y="284"/>
                  <a:pt x="507" y="284"/>
                </a:cubicBezTo>
                <a:cubicBezTo>
                  <a:pt x="507" y="284"/>
                  <a:pt x="507" y="284"/>
                  <a:pt x="507" y="284"/>
                </a:cubicBezTo>
                <a:cubicBezTo>
                  <a:pt x="507" y="284"/>
                  <a:pt x="507" y="284"/>
                  <a:pt x="506" y="283"/>
                </a:cubicBezTo>
                <a:cubicBezTo>
                  <a:pt x="506" y="283"/>
                  <a:pt x="507" y="283"/>
                  <a:pt x="507" y="283"/>
                </a:cubicBezTo>
                <a:cubicBezTo>
                  <a:pt x="506" y="283"/>
                  <a:pt x="506" y="283"/>
                  <a:pt x="506" y="283"/>
                </a:cubicBezTo>
                <a:cubicBezTo>
                  <a:pt x="506" y="284"/>
                  <a:pt x="505" y="284"/>
                  <a:pt x="505" y="285"/>
                </a:cubicBezTo>
                <a:cubicBezTo>
                  <a:pt x="505" y="285"/>
                  <a:pt x="505" y="285"/>
                  <a:pt x="505" y="285"/>
                </a:cubicBezTo>
                <a:cubicBezTo>
                  <a:pt x="505" y="286"/>
                  <a:pt x="505" y="286"/>
                  <a:pt x="505" y="286"/>
                </a:cubicBezTo>
                <a:cubicBezTo>
                  <a:pt x="504" y="286"/>
                  <a:pt x="504" y="286"/>
                  <a:pt x="504" y="286"/>
                </a:cubicBezTo>
                <a:cubicBezTo>
                  <a:pt x="503" y="286"/>
                  <a:pt x="503" y="286"/>
                  <a:pt x="503" y="286"/>
                </a:cubicBezTo>
                <a:cubicBezTo>
                  <a:pt x="502" y="286"/>
                  <a:pt x="502" y="286"/>
                  <a:pt x="501" y="286"/>
                </a:cubicBezTo>
                <a:cubicBezTo>
                  <a:pt x="501" y="286"/>
                  <a:pt x="500" y="287"/>
                  <a:pt x="500" y="287"/>
                </a:cubicBezTo>
                <a:cubicBezTo>
                  <a:pt x="500" y="287"/>
                  <a:pt x="499" y="287"/>
                  <a:pt x="499" y="288"/>
                </a:cubicBezTo>
                <a:cubicBezTo>
                  <a:pt x="499" y="287"/>
                  <a:pt x="500" y="287"/>
                  <a:pt x="500" y="286"/>
                </a:cubicBezTo>
                <a:cubicBezTo>
                  <a:pt x="500" y="286"/>
                  <a:pt x="500" y="285"/>
                  <a:pt x="500" y="285"/>
                </a:cubicBezTo>
                <a:cubicBezTo>
                  <a:pt x="500" y="285"/>
                  <a:pt x="500" y="285"/>
                  <a:pt x="500" y="285"/>
                </a:cubicBezTo>
                <a:cubicBezTo>
                  <a:pt x="500" y="284"/>
                  <a:pt x="500" y="284"/>
                  <a:pt x="500" y="283"/>
                </a:cubicBezTo>
                <a:cubicBezTo>
                  <a:pt x="499" y="283"/>
                  <a:pt x="499" y="283"/>
                  <a:pt x="499" y="283"/>
                </a:cubicBezTo>
                <a:cubicBezTo>
                  <a:pt x="499" y="283"/>
                  <a:pt x="499" y="283"/>
                  <a:pt x="498" y="283"/>
                </a:cubicBezTo>
                <a:cubicBezTo>
                  <a:pt x="498" y="283"/>
                  <a:pt x="498" y="283"/>
                  <a:pt x="498" y="283"/>
                </a:cubicBezTo>
                <a:cubicBezTo>
                  <a:pt x="498" y="283"/>
                  <a:pt x="497" y="283"/>
                  <a:pt x="497" y="283"/>
                </a:cubicBezTo>
                <a:cubicBezTo>
                  <a:pt x="496" y="283"/>
                  <a:pt x="496" y="283"/>
                  <a:pt x="496" y="283"/>
                </a:cubicBezTo>
                <a:cubicBezTo>
                  <a:pt x="496" y="282"/>
                  <a:pt x="496" y="282"/>
                  <a:pt x="496" y="282"/>
                </a:cubicBezTo>
                <a:cubicBezTo>
                  <a:pt x="496" y="282"/>
                  <a:pt x="496" y="282"/>
                  <a:pt x="495" y="282"/>
                </a:cubicBezTo>
                <a:cubicBezTo>
                  <a:pt x="495" y="282"/>
                  <a:pt x="495" y="281"/>
                  <a:pt x="496" y="281"/>
                </a:cubicBezTo>
                <a:cubicBezTo>
                  <a:pt x="495" y="281"/>
                  <a:pt x="495" y="281"/>
                  <a:pt x="495" y="281"/>
                </a:cubicBezTo>
                <a:cubicBezTo>
                  <a:pt x="494" y="281"/>
                  <a:pt x="494" y="281"/>
                  <a:pt x="494" y="281"/>
                </a:cubicBezTo>
                <a:cubicBezTo>
                  <a:pt x="494" y="280"/>
                  <a:pt x="494" y="280"/>
                  <a:pt x="494" y="280"/>
                </a:cubicBezTo>
                <a:cubicBezTo>
                  <a:pt x="493" y="280"/>
                  <a:pt x="493" y="279"/>
                  <a:pt x="492" y="279"/>
                </a:cubicBezTo>
                <a:cubicBezTo>
                  <a:pt x="492" y="279"/>
                  <a:pt x="492" y="279"/>
                  <a:pt x="492" y="279"/>
                </a:cubicBezTo>
                <a:cubicBezTo>
                  <a:pt x="492" y="278"/>
                  <a:pt x="492" y="278"/>
                  <a:pt x="492" y="277"/>
                </a:cubicBezTo>
                <a:cubicBezTo>
                  <a:pt x="492" y="277"/>
                  <a:pt x="493" y="277"/>
                  <a:pt x="493" y="276"/>
                </a:cubicBezTo>
                <a:cubicBezTo>
                  <a:pt x="493" y="276"/>
                  <a:pt x="493" y="276"/>
                  <a:pt x="493" y="275"/>
                </a:cubicBezTo>
                <a:cubicBezTo>
                  <a:pt x="493" y="275"/>
                  <a:pt x="493" y="275"/>
                  <a:pt x="493" y="275"/>
                </a:cubicBezTo>
                <a:cubicBezTo>
                  <a:pt x="493" y="274"/>
                  <a:pt x="494" y="274"/>
                  <a:pt x="494" y="273"/>
                </a:cubicBezTo>
                <a:cubicBezTo>
                  <a:pt x="494" y="273"/>
                  <a:pt x="494" y="272"/>
                  <a:pt x="493" y="271"/>
                </a:cubicBezTo>
                <a:cubicBezTo>
                  <a:pt x="493" y="271"/>
                  <a:pt x="493" y="271"/>
                  <a:pt x="493" y="271"/>
                </a:cubicBezTo>
                <a:cubicBezTo>
                  <a:pt x="493" y="271"/>
                  <a:pt x="493" y="271"/>
                  <a:pt x="493" y="271"/>
                </a:cubicBezTo>
                <a:cubicBezTo>
                  <a:pt x="493" y="270"/>
                  <a:pt x="493" y="270"/>
                  <a:pt x="493" y="269"/>
                </a:cubicBezTo>
                <a:cubicBezTo>
                  <a:pt x="493" y="269"/>
                  <a:pt x="493" y="269"/>
                  <a:pt x="494" y="269"/>
                </a:cubicBezTo>
                <a:cubicBezTo>
                  <a:pt x="494" y="268"/>
                  <a:pt x="494" y="268"/>
                  <a:pt x="494" y="268"/>
                </a:cubicBezTo>
                <a:cubicBezTo>
                  <a:pt x="494" y="267"/>
                  <a:pt x="494" y="267"/>
                  <a:pt x="495" y="266"/>
                </a:cubicBezTo>
                <a:cubicBezTo>
                  <a:pt x="494" y="266"/>
                  <a:pt x="494" y="265"/>
                  <a:pt x="494" y="265"/>
                </a:cubicBezTo>
                <a:cubicBezTo>
                  <a:pt x="494" y="265"/>
                  <a:pt x="494" y="265"/>
                  <a:pt x="494" y="265"/>
                </a:cubicBezTo>
                <a:cubicBezTo>
                  <a:pt x="493" y="265"/>
                  <a:pt x="493" y="265"/>
                  <a:pt x="493" y="265"/>
                </a:cubicBezTo>
                <a:cubicBezTo>
                  <a:pt x="493" y="265"/>
                  <a:pt x="493" y="265"/>
                  <a:pt x="493" y="265"/>
                </a:cubicBezTo>
                <a:cubicBezTo>
                  <a:pt x="493" y="265"/>
                  <a:pt x="493" y="265"/>
                  <a:pt x="492" y="265"/>
                </a:cubicBezTo>
                <a:cubicBezTo>
                  <a:pt x="492" y="265"/>
                  <a:pt x="492" y="266"/>
                  <a:pt x="491" y="266"/>
                </a:cubicBezTo>
                <a:cubicBezTo>
                  <a:pt x="490" y="266"/>
                  <a:pt x="490" y="266"/>
                  <a:pt x="489" y="266"/>
                </a:cubicBezTo>
                <a:cubicBezTo>
                  <a:pt x="489" y="266"/>
                  <a:pt x="488" y="266"/>
                  <a:pt x="487" y="266"/>
                </a:cubicBezTo>
                <a:cubicBezTo>
                  <a:pt x="487" y="266"/>
                  <a:pt x="487" y="266"/>
                  <a:pt x="487" y="266"/>
                </a:cubicBezTo>
                <a:cubicBezTo>
                  <a:pt x="487" y="266"/>
                  <a:pt x="487" y="266"/>
                  <a:pt x="486" y="266"/>
                </a:cubicBezTo>
                <a:cubicBezTo>
                  <a:pt x="486" y="266"/>
                  <a:pt x="485" y="266"/>
                  <a:pt x="484" y="267"/>
                </a:cubicBezTo>
                <a:cubicBezTo>
                  <a:pt x="484" y="267"/>
                  <a:pt x="483" y="267"/>
                  <a:pt x="483" y="267"/>
                </a:cubicBezTo>
                <a:cubicBezTo>
                  <a:pt x="483" y="267"/>
                  <a:pt x="482" y="267"/>
                  <a:pt x="482" y="267"/>
                </a:cubicBezTo>
                <a:cubicBezTo>
                  <a:pt x="482" y="267"/>
                  <a:pt x="481" y="267"/>
                  <a:pt x="481" y="267"/>
                </a:cubicBezTo>
                <a:cubicBezTo>
                  <a:pt x="480" y="267"/>
                  <a:pt x="480" y="267"/>
                  <a:pt x="480" y="267"/>
                </a:cubicBezTo>
                <a:cubicBezTo>
                  <a:pt x="480" y="267"/>
                  <a:pt x="480" y="267"/>
                  <a:pt x="480" y="267"/>
                </a:cubicBezTo>
                <a:cubicBezTo>
                  <a:pt x="480" y="267"/>
                  <a:pt x="479" y="267"/>
                  <a:pt x="479" y="266"/>
                </a:cubicBezTo>
                <a:cubicBezTo>
                  <a:pt x="478" y="266"/>
                  <a:pt x="478" y="266"/>
                  <a:pt x="478" y="266"/>
                </a:cubicBezTo>
                <a:cubicBezTo>
                  <a:pt x="478" y="266"/>
                  <a:pt x="477" y="265"/>
                  <a:pt x="476" y="265"/>
                </a:cubicBezTo>
                <a:cubicBezTo>
                  <a:pt x="476" y="265"/>
                  <a:pt x="476" y="265"/>
                  <a:pt x="475" y="265"/>
                </a:cubicBezTo>
                <a:cubicBezTo>
                  <a:pt x="475" y="265"/>
                  <a:pt x="474" y="265"/>
                  <a:pt x="473" y="265"/>
                </a:cubicBezTo>
                <a:cubicBezTo>
                  <a:pt x="473" y="265"/>
                  <a:pt x="473" y="265"/>
                  <a:pt x="473" y="265"/>
                </a:cubicBezTo>
                <a:cubicBezTo>
                  <a:pt x="472" y="265"/>
                  <a:pt x="471" y="265"/>
                  <a:pt x="470" y="265"/>
                </a:cubicBezTo>
                <a:cubicBezTo>
                  <a:pt x="470" y="265"/>
                  <a:pt x="470" y="264"/>
                  <a:pt x="469" y="264"/>
                </a:cubicBezTo>
                <a:cubicBezTo>
                  <a:pt x="469" y="265"/>
                  <a:pt x="469" y="265"/>
                  <a:pt x="469" y="265"/>
                </a:cubicBezTo>
                <a:cubicBezTo>
                  <a:pt x="469" y="265"/>
                  <a:pt x="469" y="265"/>
                  <a:pt x="469" y="264"/>
                </a:cubicBezTo>
                <a:cubicBezTo>
                  <a:pt x="468" y="264"/>
                  <a:pt x="468" y="264"/>
                  <a:pt x="468" y="263"/>
                </a:cubicBezTo>
                <a:cubicBezTo>
                  <a:pt x="467" y="263"/>
                  <a:pt x="467" y="263"/>
                  <a:pt x="467" y="263"/>
                </a:cubicBezTo>
                <a:cubicBezTo>
                  <a:pt x="467" y="263"/>
                  <a:pt x="467" y="263"/>
                  <a:pt x="467" y="262"/>
                </a:cubicBezTo>
                <a:cubicBezTo>
                  <a:pt x="466" y="262"/>
                  <a:pt x="466" y="262"/>
                  <a:pt x="466" y="262"/>
                </a:cubicBezTo>
                <a:cubicBezTo>
                  <a:pt x="465" y="262"/>
                  <a:pt x="465" y="262"/>
                  <a:pt x="464" y="262"/>
                </a:cubicBezTo>
                <a:cubicBezTo>
                  <a:pt x="464" y="261"/>
                  <a:pt x="464" y="261"/>
                  <a:pt x="463" y="261"/>
                </a:cubicBezTo>
                <a:cubicBezTo>
                  <a:pt x="463" y="261"/>
                  <a:pt x="462" y="261"/>
                  <a:pt x="461" y="261"/>
                </a:cubicBezTo>
                <a:cubicBezTo>
                  <a:pt x="461" y="261"/>
                  <a:pt x="461" y="261"/>
                  <a:pt x="460" y="261"/>
                </a:cubicBezTo>
                <a:cubicBezTo>
                  <a:pt x="460" y="261"/>
                  <a:pt x="460" y="261"/>
                  <a:pt x="460" y="261"/>
                </a:cubicBezTo>
                <a:cubicBezTo>
                  <a:pt x="459" y="261"/>
                  <a:pt x="458" y="261"/>
                  <a:pt x="457" y="261"/>
                </a:cubicBezTo>
                <a:cubicBezTo>
                  <a:pt x="456" y="261"/>
                  <a:pt x="456" y="261"/>
                  <a:pt x="455" y="260"/>
                </a:cubicBezTo>
                <a:cubicBezTo>
                  <a:pt x="454" y="260"/>
                  <a:pt x="453" y="260"/>
                  <a:pt x="452" y="260"/>
                </a:cubicBezTo>
                <a:cubicBezTo>
                  <a:pt x="452" y="260"/>
                  <a:pt x="451" y="260"/>
                  <a:pt x="450" y="261"/>
                </a:cubicBezTo>
                <a:cubicBezTo>
                  <a:pt x="449" y="261"/>
                  <a:pt x="448" y="262"/>
                  <a:pt x="447" y="263"/>
                </a:cubicBezTo>
                <a:cubicBezTo>
                  <a:pt x="446" y="263"/>
                  <a:pt x="444" y="264"/>
                  <a:pt x="443" y="264"/>
                </a:cubicBezTo>
                <a:cubicBezTo>
                  <a:pt x="443" y="265"/>
                  <a:pt x="442" y="265"/>
                  <a:pt x="441" y="265"/>
                </a:cubicBezTo>
                <a:cubicBezTo>
                  <a:pt x="441" y="265"/>
                  <a:pt x="441" y="265"/>
                  <a:pt x="440" y="265"/>
                </a:cubicBezTo>
                <a:cubicBezTo>
                  <a:pt x="441" y="265"/>
                  <a:pt x="441" y="265"/>
                  <a:pt x="441" y="265"/>
                </a:cubicBezTo>
                <a:cubicBezTo>
                  <a:pt x="442" y="264"/>
                  <a:pt x="442" y="264"/>
                  <a:pt x="443" y="264"/>
                </a:cubicBezTo>
                <a:cubicBezTo>
                  <a:pt x="444" y="263"/>
                  <a:pt x="445" y="262"/>
                  <a:pt x="446" y="261"/>
                </a:cubicBezTo>
                <a:cubicBezTo>
                  <a:pt x="446" y="261"/>
                  <a:pt x="446" y="260"/>
                  <a:pt x="446" y="260"/>
                </a:cubicBezTo>
                <a:cubicBezTo>
                  <a:pt x="446" y="260"/>
                  <a:pt x="445" y="259"/>
                  <a:pt x="445" y="259"/>
                </a:cubicBezTo>
                <a:cubicBezTo>
                  <a:pt x="445" y="259"/>
                  <a:pt x="444" y="258"/>
                  <a:pt x="444" y="258"/>
                </a:cubicBezTo>
                <a:cubicBezTo>
                  <a:pt x="444" y="258"/>
                  <a:pt x="444" y="257"/>
                  <a:pt x="445" y="257"/>
                </a:cubicBezTo>
                <a:cubicBezTo>
                  <a:pt x="444" y="256"/>
                  <a:pt x="444" y="256"/>
                  <a:pt x="444" y="255"/>
                </a:cubicBezTo>
                <a:cubicBezTo>
                  <a:pt x="444" y="255"/>
                  <a:pt x="444" y="255"/>
                  <a:pt x="443" y="254"/>
                </a:cubicBezTo>
                <a:cubicBezTo>
                  <a:pt x="443" y="254"/>
                  <a:pt x="443" y="254"/>
                  <a:pt x="443" y="254"/>
                </a:cubicBezTo>
                <a:cubicBezTo>
                  <a:pt x="443" y="253"/>
                  <a:pt x="443" y="253"/>
                  <a:pt x="443" y="253"/>
                </a:cubicBezTo>
                <a:cubicBezTo>
                  <a:pt x="443" y="252"/>
                  <a:pt x="443" y="252"/>
                  <a:pt x="443" y="252"/>
                </a:cubicBezTo>
                <a:cubicBezTo>
                  <a:pt x="443" y="252"/>
                  <a:pt x="442" y="252"/>
                  <a:pt x="442" y="252"/>
                </a:cubicBezTo>
                <a:cubicBezTo>
                  <a:pt x="441" y="252"/>
                  <a:pt x="440" y="253"/>
                  <a:pt x="439" y="253"/>
                </a:cubicBezTo>
                <a:cubicBezTo>
                  <a:pt x="439" y="254"/>
                  <a:pt x="438" y="254"/>
                  <a:pt x="438" y="255"/>
                </a:cubicBezTo>
                <a:cubicBezTo>
                  <a:pt x="438" y="256"/>
                  <a:pt x="437" y="256"/>
                  <a:pt x="437" y="257"/>
                </a:cubicBezTo>
                <a:cubicBezTo>
                  <a:pt x="436" y="257"/>
                  <a:pt x="435" y="258"/>
                  <a:pt x="434" y="258"/>
                </a:cubicBezTo>
                <a:cubicBezTo>
                  <a:pt x="434" y="258"/>
                  <a:pt x="433" y="259"/>
                  <a:pt x="433" y="259"/>
                </a:cubicBezTo>
                <a:cubicBezTo>
                  <a:pt x="433" y="259"/>
                  <a:pt x="433" y="259"/>
                  <a:pt x="433" y="258"/>
                </a:cubicBezTo>
                <a:cubicBezTo>
                  <a:pt x="434" y="258"/>
                  <a:pt x="435" y="258"/>
                  <a:pt x="436" y="257"/>
                </a:cubicBezTo>
                <a:cubicBezTo>
                  <a:pt x="436" y="257"/>
                  <a:pt x="437" y="256"/>
                  <a:pt x="437" y="256"/>
                </a:cubicBezTo>
                <a:cubicBezTo>
                  <a:pt x="437" y="255"/>
                  <a:pt x="437" y="255"/>
                  <a:pt x="438" y="254"/>
                </a:cubicBezTo>
                <a:cubicBezTo>
                  <a:pt x="437" y="254"/>
                  <a:pt x="437" y="254"/>
                  <a:pt x="437" y="254"/>
                </a:cubicBezTo>
                <a:cubicBezTo>
                  <a:pt x="437" y="254"/>
                  <a:pt x="437" y="253"/>
                  <a:pt x="437" y="253"/>
                </a:cubicBezTo>
                <a:cubicBezTo>
                  <a:pt x="437" y="253"/>
                  <a:pt x="436" y="253"/>
                  <a:pt x="436" y="253"/>
                </a:cubicBezTo>
                <a:cubicBezTo>
                  <a:pt x="436" y="252"/>
                  <a:pt x="436" y="252"/>
                  <a:pt x="436" y="252"/>
                </a:cubicBezTo>
                <a:cubicBezTo>
                  <a:pt x="436" y="252"/>
                  <a:pt x="436" y="252"/>
                  <a:pt x="436" y="251"/>
                </a:cubicBezTo>
                <a:cubicBezTo>
                  <a:pt x="435" y="252"/>
                  <a:pt x="435" y="252"/>
                  <a:pt x="435" y="252"/>
                </a:cubicBezTo>
                <a:cubicBezTo>
                  <a:pt x="435" y="251"/>
                  <a:pt x="435" y="251"/>
                  <a:pt x="435" y="251"/>
                </a:cubicBezTo>
                <a:cubicBezTo>
                  <a:pt x="435" y="251"/>
                  <a:pt x="436" y="251"/>
                  <a:pt x="436" y="251"/>
                </a:cubicBezTo>
                <a:cubicBezTo>
                  <a:pt x="436" y="250"/>
                  <a:pt x="436" y="250"/>
                  <a:pt x="436" y="250"/>
                </a:cubicBezTo>
                <a:cubicBezTo>
                  <a:pt x="436" y="250"/>
                  <a:pt x="437" y="249"/>
                  <a:pt x="437" y="249"/>
                </a:cubicBezTo>
                <a:cubicBezTo>
                  <a:pt x="437" y="248"/>
                  <a:pt x="437" y="248"/>
                  <a:pt x="437" y="248"/>
                </a:cubicBezTo>
                <a:cubicBezTo>
                  <a:pt x="436" y="248"/>
                  <a:pt x="436" y="247"/>
                  <a:pt x="436" y="247"/>
                </a:cubicBezTo>
                <a:cubicBezTo>
                  <a:pt x="436" y="247"/>
                  <a:pt x="436" y="246"/>
                  <a:pt x="436" y="246"/>
                </a:cubicBezTo>
                <a:cubicBezTo>
                  <a:pt x="437" y="246"/>
                  <a:pt x="437" y="245"/>
                  <a:pt x="437" y="245"/>
                </a:cubicBezTo>
                <a:cubicBezTo>
                  <a:pt x="437" y="245"/>
                  <a:pt x="437" y="244"/>
                  <a:pt x="437" y="244"/>
                </a:cubicBezTo>
                <a:cubicBezTo>
                  <a:pt x="438" y="244"/>
                  <a:pt x="438" y="244"/>
                  <a:pt x="438" y="243"/>
                </a:cubicBezTo>
                <a:cubicBezTo>
                  <a:pt x="438" y="243"/>
                  <a:pt x="438" y="242"/>
                  <a:pt x="438" y="242"/>
                </a:cubicBezTo>
                <a:cubicBezTo>
                  <a:pt x="438" y="242"/>
                  <a:pt x="438" y="241"/>
                  <a:pt x="439" y="241"/>
                </a:cubicBezTo>
                <a:cubicBezTo>
                  <a:pt x="438" y="241"/>
                  <a:pt x="438" y="240"/>
                  <a:pt x="438" y="240"/>
                </a:cubicBezTo>
                <a:cubicBezTo>
                  <a:pt x="438" y="240"/>
                  <a:pt x="438" y="240"/>
                  <a:pt x="438" y="240"/>
                </a:cubicBezTo>
                <a:cubicBezTo>
                  <a:pt x="438" y="240"/>
                  <a:pt x="439" y="240"/>
                  <a:pt x="439" y="240"/>
                </a:cubicBezTo>
                <a:cubicBezTo>
                  <a:pt x="440" y="240"/>
                  <a:pt x="440" y="239"/>
                  <a:pt x="440" y="239"/>
                </a:cubicBezTo>
                <a:cubicBezTo>
                  <a:pt x="440" y="239"/>
                  <a:pt x="440" y="239"/>
                  <a:pt x="440" y="238"/>
                </a:cubicBezTo>
                <a:cubicBezTo>
                  <a:pt x="440" y="238"/>
                  <a:pt x="441" y="238"/>
                  <a:pt x="441" y="238"/>
                </a:cubicBezTo>
                <a:cubicBezTo>
                  <a:pt x="442" y="237"/>
                  <a:pt x="442" y="237"/>
                  <a:pt x="443" y="236"/>
                </a:cubicBezTo>
                <a:cubicBezTo>
                  <a:pt x="443" y="236"/>
                  <a:pt x="443" y="236"/>
                  <a:pt x="443" y="236"/>
                </a:cubicBezTo>
                <a:cubicBezTo>
                  <a:pt x="443" y="236"/>
                  <a:pt x="443" y="235"/>
                  <a:pt x="443" y="235"/>
                </a:cubicBezTo>
                <a:cubicBezTo>
                  <a:pt x="443" y="235"/>
                  <a:pt x="443" y="235"/>
                  <a:pt x="444" y="235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3"/>
                  <a:pt x="445" y="233"/>
                  <a:pt x="445" y="233"/>
                </a:cubicBezTo>
                <a:cubicBezTo>
                  <a:pt x="445" y="232"/>
                  <a:pt x="445" y="232"/>
                  <a:pt x="446" y="232"/>
                </a:cubicBezTo>
                <a:cubicBezTo>
                  <a:pt x="446" y="231"/>
                  <a:pt x="446" y="231"/>
                  <a:pt x="447" y="231"/>
                </a:cubicBezTo>
                <a:cubicBezTo>
                  <a:pt x="447" y="231"/>
                  <a:pt x="447" y="231"/>
                  <a:pt x="447" y="231"/>
                </a:cubicBezTo>
                <a:cubicBezTo>
                  <a:pt x="447" y="231"/>
                  <a:pt x="447" y="231"/>
                  <a:pt x="447" y="230"/>
                </a:cubicBezTo>
                <a:cubicBezTo>
                  <a:pt x="446" y="230"/>
                  <a:pt x="446" y="230"/>
                  <a:pt x="445" y="230"/>
                </a:cubicBezTo>
                <a:cubicBezTo>
                  <a:pt x="446" y="230"/>
                  <a:pt x="446" y="230"/>
                  <a:pt x="446" y="230"/>
                </a:cubicBezTo>
                <a:cubicBezTo>
                  <a:pt x="446" y="230"/>
                  <a:pt x="446" y="229"/>
                  <a:pt x="446" y="229"/>
                </a:cubicBezTo>
                <a:cubicBezTo>
                  <a:pt x="446" y="229"/>
                  <a:pt x="446" y="229"/>
                  <a:pt x="447" y="229"/>
                </a:cubicBezTo>
                <a:cubicBezTo>
                  <a:pt x="447" y="229"/>
                  <a:pt x="448" y="229"/>
                  <a:pt x="448" y="229"/>
                </a:cubicBezTo>
                <a:cubicBezTo>
                  <a:pt x="448" y="229"/>
                  <a:pt x="448" y="230"/>
                  <a:pt x="448" y="230"/>
                </a:cubicBezTo>
                <a:cubicBezTo>
                  <a:pt x="449" y="230"/>
                  <a:pt x="449" y="229"/>
                  <a:pt x="449" y="229"/>
                </a:cubicBezTo>
                <a:cubicBezTo>
                  <a:pt x="449" y="229"/>
                  <a:pt x="449" y="229"/>
                  <a:pt x="449" y="229"/>
                </a:cubicBezTo>
                <a:cubicBezTo>
                  <a:pt x="448" y="229"/>
                  <a:pt x="448" y="229"/>
                  <a:pt x="448" y="229"/>
                </a:cubicBezTo>
                <a:cubicBezTo>
                  <a:pt x="448" y="229"/>
                  <a:pt x="449" y="228"/>
                  <a:pt x="449" y="228"/>
                </a:cubicBezTo>
                <a:cubicBezTo>
                  <a:pt x="449" y="228"/>
                  <a:pt x="449" y="228"/>
                  <a:pt x="449" y="227"/>
                </a:cubicBezTo>
                <a:cubicBezTo>
                  <a:pt x="450" y="227"/>
                  <a:pt x="450" y="227"/>
                  <a:pt x="451" y="227"/>
                </a:cubicBezTo>
                <a:cubicBezTo>
                  <a:pt x="451" y="227"/>
                  <a:pt x="451" y="227"/>
                  <a:pt x="451" y="227"/>
                </a:cubicBezTo>
                <a:cubicBezTo>
                  <a:pt x="451" y="227"/>
                  <a:pt x="451" y="227"/>
                  <a:pt x="451" y="227"/>
                </a:cubicBezTo>
                <a:cubicBezTo>
                  <a:pt x="451" y="227"/>
                  <a:pt x="451" y="226"/>
                  <a:pt x="451" y="226"/>
                </a:cubicBezTo>
                <a:cubicBezTo>
                  <a:pt x="451" y="226"/>
                  <a:pt x="451" y="226"/>
                  <a:pt x="452" y="226"/>
                </a:cubicBezTo>
                <a:cubicBezTo>
                  <a:pt x="452" y="227"/>
                  <a:pt x="452" y="227"/>
                  <a:pt x="452" y="227"/>
                </a:cubicBezTo>
                <a:cubicBezTo>
                  <a:pt x="452" y="227"/>
                  <a:pt x="452" y="226"/>
                  <a:pt x="453" y="226"/>
                </a:cubicBezTo>
                <a:cubicBezTo>
                  <a:pt x="453" y="226"/>
                  <a:pt x="453" y="226"/>
                  <a:pt x="453" y="226"/>
                </a:cubicBezTo>
                <a:cubicBezTo>
                  <a:pt x="452" y="226"/>
                  <a:pt x="452" y="225"/>
                  <a:pt x="452" y="225"/>
                </a:cubicBezTo>
                <a:cubicBezTo>
                  <a:pt x="452" y="225"/>
                  <a:pt x="452" y="225"/>
                  <a:pt x="452" y="225"/>
                </a:cubicBezTo>
                <a:cubicBezTo>
                  <a:pt x="452" y="225"/>
                  <a:pt x="452" y="225"/>
                  <a:pt x="452" y="225"/>
                </a:cubicBezTo>
                <a:cubicBezTo>
                  <a:pt x="453" y="225"/>
                  <a:pt x="454" y="225"/>
                  <a:pt x="454" y="225"/>
                </a:cubicBezTo>
                <a:cubicBezTo>
                  <a:pt x="454" y="225"/>
                  <a:pt x="454" y="224"/>
                  <a:pt x="454" y="224"/>
                </a:cubicBezTo>
                <a:cubicBezTo>
                  <a:pt x="454" y="224"/>
                  <a:pt x="453" y="224"/>
                  <a:pt x="453" y="224"/>
                </a:cubicBezTo>
                <a:cubicBezTo>
                  <a:pt x="453" y="224"/>
                  <a:pt x="453" y="224"/>
                  <a:pt x="452" y="224"/>
                </a:cubicBezTo>
                <a:cubicBezTo>
                  <a:pt x="453" y="224"/>
                  <a:pt x="453" y="224"/>
                  <a:pt x="453" y="224"/>
                </a:cubicBezTo>
                <a:cubicBezTo>
                  <a:pt x="453" y="223"/>
                  <a:pt x="453" y="223"/>
                  <a:pt x="453" y="223"/>
                </a:cubicBezTo>
                <a:cubicBezTo>
                  <a:pt x="453" y="223"/>
                  <a:pt x="453" y="224"/>
                  <a:pt x="453" y="224"/>
                </a:cubicBezTo>
                <a:cubicBezTo>
                  <a:pt x="454" y="224"/>
                  <a:pt x="454" y="224"/>
                  <a:pt x="454" y="224"/>
                </a:cubicBezTo>
                <a:cubicBezTo>
                  <a:pt x="455" y="224"/>
                  <a:pt x="455" y="224"/>
                  <a:pt x="455" y="224"/>
                </a:cubicBezTo>
                <a:cubicBezTo>
                  <a:pt x="455" y="223"/>
                  <a:pt x="456" y="223"/>
                  <a:pt x="456" y="223"/>
                </a:cubicBezTo>
                <a:cubicBezTo>
                  <a:pt x="455" y="223"/>
                  <a:pt x="455" y="222"/>
                  <a:pt x="454" y="222"/>
                </a:cubicBezTo>
                <a:cubicBezTo>
                  <a:pt x="454" y="222"/>
                  <a:pt x="453" y="221"/>
                  <a:pt x="453" y="221"/>
                </a:cubicBezTo>
                <a:cubicBezTo>
                  <a:pt x="453" y="221"/>
                  <a:pt x="452" y="221"/>
                  <a:pt x="452" y="220"/>
                </a:cubicBezTo>
                <a:cubicBezTo>
                  <a:pt x="452" y="220"/>
                  <a:pt x="452" y="220"/>
                  <a:pt x="452" y="220"/>
                </a:cubicBezTo>
                <a:cubicBezTo>
                  <a:pt x="452" y="220"/>
                  <a:pt x="452" y="219"/>
                  <a:pt x="451" y="219"/>
                </a:cubicBezTo>
                <a:cubicBezTo>
                  <a:pt x="451" y="219"/>
                  <a:pt x="452" y="219"/>
                  <a:pt x="452" y="219"/>
                </a:cubicBezTo>
                <a:cubicBezTo>
                  <a:pt x="452" y="219"/>
                  <a:pt x="452" y="219"/>
                  <a:pt x="453" y="219"/>
                </a:cubicBezTo>
                <a:cubicBezTo>
                  <a:pt x="453" y="220"/>
                  <a:pt x="453" y="220"/>
                  <a:pt x="453" y="220"/>
                </a:cubicBezTo>
                <a:cubicBezTo>
                  <a:pt x="454" y="220"/>
                  <a:pt x="455" y="221"/>
                  <a:pt x="455" y="221"/>
                </a:cubicBezTo>
                <a:cubicBezTo>
                  <a:pt x="456" y="221"/>
                  <a:pt x="457" y="221"/>
                  <a:pt x="458" y="221"/>
                </a:cubicBezTo>
                <a:cubicBezTo>
                  <a:pt x="458" y="221"/>
                  <a:pt x="458" y="221"/>
                  <a:pt x="459" y="221"/>
                </a:cubicBezTo>
                <a:cubicBezTo>
                  <a:pt x="459" y="221"/>
                  <a:pt x="460" y="221"/>
                  <a:pt x="460" y="221"/>
                </a:cubicBezTo>
                <a:cubicBezTo>
                  <a:pt x="460" y="220"/>
                  <a:pt x="461" y="220"/>
                  <a:pt x="461" y="220"/>
                </a:cubicBezTo>
                <a:cubicBezTo>
                  <a:pt x="461" y="220"/>
                  <a:pt x="461" y="220"/>
                  <a:pt x="462" y="220"/>
                </a:cubicBezTo>
                <a:cubicBezTo>
                  <a:pt x="462" y="219"/>
                  <a:pt x="462" y="219"/>
                  <a:pt x="463" y="218"/>
                </a:cubicBezTo>
                <a:cubicBezTo>
                  <a:pt x="463" y="218"/>
                  <a:pt x="463" y="217"/>
                  <a:pt x="463" y="217"/>
                </a:cubicBezTo>
                <a:cubicBezTo>
                  <a:pt x="462" y="216"/>
                  <a:pt x="461" y="216"/>
                  <a:pt x="460" y="216"/>
                </a:cubicBezTo>
                <a:cubicBezTo>
                  <a:pt x="460" y="215"/>
                  <a:pt x="460" y="215"/>
                  <a:pt x="460" y="215"/>
                </a:cubicBezTo>
                <a:cubicBezTo>
                  <a:pt x="459" y="215"/>
                  <a:pt x="459" y="215"/>
                  <a:pt x="459" y="215"/>
                </a:cubicBezTo>
                <a:cubicBezTo>
                  <a:pt x="459" y="215"/>
                  <a:pt x="458" y="215"/>
                  <a:pt x="458" y="215"/>
                </a:cubicBezTo>
                <a:cubicBezTo>
                  <a:pt x="458" y="215"/>
                  <a:pt x="458" y="215"/>
                  <a:pt x="457" y="216"/>
                </a:cubicBezTo>
                <a:cubicBezTo>
                  <a:pt x="457" y="216"/>
                  <a:pt x="456" y="216"/>
                  <a:pt x="455" y="216"/>
                </a:cubicBezTo>
                <a:cubicBezTo>
                  <a:pt x="455" y="217"/>
                  <a:pt x="455" y="217"/>
                  <a:pt x="455" y="217"/>
                </a:cubicBezTo>
                <a:cubicBezTo>
                  <a:pt x="455" y="217"/>
                  <a:pt x="455" y="217"/>
                  <a:pt x="454" y="217"/>
                </a:cubicBezTo>
                <a:cubicBezTo>
                  <a:pt x="454" y="216"/>
                  <a:pt x="454" y="216"/>
                  <a:pt x="454" y="216"/>
                </a:cubicBezTo>
                <a:cubicBezTo>
                  <a:pt x="454" y="216"/>
                  <a:pt x="455" y="216"/>
                  <a:pt x="455" y="216"/>
                </a:cubicBezTo>
                <a:cubicBezTo>
                  <a:pt x="455" y="216"/>
                  <a:pt x="456" y="216"/>
                  <a:pt x="456" y="216"/>
                </a:cubicBezTo>
                <a:cubicBezTo>
                  <a:pt x="457" y="215"/>
                  <a:pt x="457" y="215"/>
                  <a:pt x="457" y="215"/>
                </a:cubicBezTo>
                <a:cubicBezTo>
                  <a:pt x="457" y="215"/>
                  <a:pt x="457" y="215"/>
                  <a:pt x="457" y="214"/>
                </a:cubicBezTo>
                <a:cubicBezTo>
                  <a:pt x="456" y="214"/>
                  <a:pt x="456" y="214"/>
                  <a:pt x="455" y="214"/>
                </a:cubicBezTo>
                <a:cubicBezTo>
                  <a:pt x="454" y="214"/>
                  <a:pt x="453" y="214"/>
                  <a:pt x="452" y="213"/>
                </a:cubicBezTo>
                <a:cubicBezTo>
                  <a:pt x="452" y="213"/>
                  <a:pt x="452" y="213"/>
                  <a:pt x="452" y="213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4"/>
                  <a:pt x="452" y="214"/>
                  <a:pt x="452" y="215"/>
                </a:cubicBezTo>
                <a:cubicBezTo>
                  <a:pt x="451" y="214"/>
                  <a:pt x="451" y="214"/>
                  <a:pt x="451" y="214"/>
                </a:cubicBezTo>
                <a:cubicBezTo>
                  <a:pt x="450" y="214"/>
                  <a:pt x="450" y="214"/>
                  <a:pt x="450" y="213"/>
                </a:cubicBezTo>
                <a:cubicBezTo>
                  <a:pt x="450" y="213"/>
                  <a:pt x="451" y="213"/>
                  <a:pt x="451" y="213"/>
                </a:cubicBezTo>
                <a:cubicBezTo>
                  <a:pt x="451" y="213"/>
                  <a:pt x="451" y="213"/>
                  <a:pt x="451" y="212"/>
                </a:cubicBezTo>
                <a:cubicBezTo>
                  <a:pt x="451" y="212"/>
                  <a:pt x="451" y="212"/>
                  <a:pt x="451" y="213"/>
                </a:cubicBezTo>
                <a:cubicBezTo>
                  <a:pt x="452" y="213"/>
                  <a:pt x="453" y="213"/>
                  <a:pt x="453" y="213"/>
                </a:cubicBezTo>
                <a:cubicBezTo>
                  <a:pt x="453" y="213"/>
                  <a:pt x="454" y="213"/>
                  <a:pt x="454" y="213"/>
                </a:cubicBezTo>
                <a:cubicBezTo>
                  <a:pt x="454" y="213"/>
                  <a:pt x="455" y="214"/>
                  <a:pt x="455" y="214"/>
                </a:cubicBezTo>
                <a:cubicBezTo>
                  <a:pt x="456" y="214"/>
                  <a:pt x="457" y="214"/>
                  <a:pt x="457" y="214"/>
                </a:cubicBezTo>
                <a:cubicBezTo>
                  <a:pt x="458" y="214"/>
                  <a:pt x="459" y="214"/>
                  <a:pt x="460" y="214"/>
                </a:cubicBezTo>
                <a:cubicBezTo>
                  <a:pt x="460" y="214"/>
                  <a:pt x="461" y="214"/>
                  <a:pt x="461" y="215"/>
                </a:cubicBezTo>
                <a:cubicBezTo>
                  <a:pt x="461" y="215"/>
                  <a:pt x="462" y="215"/>
                  <a:pt x="462" y="215"/>
                </a:cubicBezTo>
                <a:cubicBezTo>
                  <a:pt x="462" y="215"/>
                  <a:pt x="462" y="215"/>
                  <a:pt x="462" y="215"/>
                </a:cubicBezTo>
                <a:cubicBezTo>
                  <a:pt x="463" y="215"/>
                  <a:pt x="463" y="215"/>
                  <a:pt x="464" y="215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64" y="214"/>
                  <a:pt x="465" y="214"/>
                  <a:pt x="465" y="214"/>
                </a:cubicBezTo>
                <a:cubicBezTo>
                  <a:pt x="465" y="214"/>
                  <a:pt x="465" y="214"/>
                  <a:pt x="464" y="214"/>
                </a:cubicBezTo>
                <a:cubicBezTo>
                  <a:pt x="464" y="213"/>
                  <a:pt x="464" y="213"/>
                  <a:pt x="464" y="213"/>
                </a:cubicBezTo>
                <a:cubicBezTo>
                  <a:pt x="465" y="213"/>
                  <a:pt x="465" y="213"/>
                  <a:pt x="465" y="214"/>
                </a:cubicBezTo>
                <a:cubicBezTo>
                  <a:pt x="466" y="214"/>
                  <a:pt x="466" y="214"/>
                  <a:pt x="466" y="214"/>
                </a:cubicBezTo>
                <a:cubicBezTo>
                  <a:pt x="466" y="214"/>
                  <a:pt x="466" y="214"/>
                  <a:pt x="467" y="214"/>
                </a:cubicBezTo>
                <a:cubicBezTo>
                  <a:pt x="467" y="213"/>
                  <a:pt x="467" y="213"/>
                  <a:pt x="468" y="212"/>
                </a:cubicBezTo>
                <a:cubicBezTo>
                  <a:pt x="467" y="212"/>
                  <a:pt x="467" y="212"/>
                  <a:pt x="467" y="211"/>
                </a:cubicBezTo>
                <a:cubicBezTo>
                  <a:pt x="467" y="211"/>
                  <a:pt x="467" y="211"/>
                  <a:pt x="467" y="211"/>
                </a:cubicBezTo>
                <a:cubicBezTo>
                  <a:pt x="467" y="210"/>
                  <a:pt x="467" y="210"/>
                  <a:pt x="467" y="210"/>
                </a:cubicBezTo>
                <a:cubicBezTo>
                  <a:pt x="467" y="210"/>
                  <a:pt x="467" y="210"/>
                  <a:pt x="468" y="211"/>
                </a:cubicBezTo>
                <a:cubicBezTo>
                  <a:pt x="468" y="211"/>
                  <a:pt x="468" y="211"/>
                  <a:pt x="468" y="211"/>
                </a:cubicBezTo>
                <a:cubicBezTo>
                  <a:pt x="468" y="211"/>
                  <a:pt x="468" y="210"/>
                  <a:pt x="468" y="210"/>
                </a:cubicBezTo>
                <a:cubicBezTo>
                  <a:pt x="469" y="209"/>
                  <a:pt x="469" y="209"/>
                  <a:pt x="469" y="209"/>
                </a:cubicBezTo>
                <a:cubicBezTo>
                  <a:pt x="470" y="209"/>
                  <a:pt x="470" y="209"/>
                  <a:pt x="470" y="209"/>
                </a:cubicBezTo>
                <a:cubicBezTo>
                  <a:pt x="470" y="209"/>
                  <a:pt x="470" y="209"/>
                  <a:pt x="470" y="209"/>
                </a:cubicBezTo>
                <a:cubicBezTo>
                  <a:pt x="470" y="210"/>
                  <a:pt x="470" y="210"/>
                  <a:pt x="470" y="210"/>
                </a:cubicBezTo>
                <a:cubicBezTo>
                  <a:pt x="470" y="210"/>
                  <a:pt x="470" y="210"/>
                  <a:pt x="470" y="210"/>
                </a:cubicBezTo>
                <a:cubicBezTo>
                  <a:pt x="470" y="210"/>
                  <a:pt x="470" y="211"/>
                  <a:pt x="471" y="211"/>
                </a:cubicBezTo>
                <a:cubicBezTo>
                  <a:pt x="471" y="210"/>
                  <a:pt x="471" y="210"/>
                  <a:pt x="471" y="210"/>
                </a:cubicBezTo>
                <a:cubicBezTo>
                  <a:pt x="471" y="210"/>
                  <a:pt x="472" y="210"/>
                  <a:pt x="472" y="210"/>
                </a:cubicBezTo>
                <a:cubicBezTo>
                  <a:pt x="473" y="210"/>
                  <a:pt x="473" y="210"/>
                  <a:pt x="474" y="211"/>
                </a:cubicBezTo>
                <a:cubicBezTo>
                  <a:pt x="474" y="211"/>
                  <a:pt x="474" y="210"/>
                  <a:pt x="474" y="210"/>
                </a:cubicBezTo>
                <a:cubicBezTo>
                  <a:pt x="474" y="210"/>
                  <a:pt x="474" y="210"/>
                  <a:pt x="474" y="210"/>
                </a:cubicBezTo>
                <a:cubicBezTo>
                  <a:pt x="475" y="210"/>
                  <a:pt x="475" y="210"/>
                  <a:pt x="475" y="210"/>
                </a:cubicBezTo>
                <a:cubicBezTo>
                  <a:pt x="475" y="210"/>
                  <a:pt x="476" y="210"/>
                  <a:pt x="476" y="210"/>
                </a:cubicBezTo>
                <a:cubicBezTo>
                  <a:pt x="476" y="209"/>
                  <a:pt x="476" y="209"/>
                  <a:pt x="477" y="209"/>
                </a:cubicBezTo>
                <a:cubicBezTo>
                  <a:pt x="477" y="208"/>
                  <a:pt x="478" y="208"/>
                  <a:pt x="478" y="208"/>
                </a:cubicBezTo>
                <a:cubicBezTo>
                  <a:pt x="479" y="207"/>
                  <a:pt x="480" y="206"/>
                  <a:pt x="481" y="204"/>
                </a:cubicBezTo>
                <a:cubicBezTo>
                  <a:pt x="481" y="204"/>
                  <a:pt x="481" y="204"/>
                  <a:pt x="481" y="204"/>
                </a:cubicBezTo>
                <a:cubicBezTo>
                  <a:pt x="481" y="204"/>
                  <a:pt x="481" y="204"/>
                  <a:pt x="481" y="204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82" y="203"/>
                  <a:pt x="483" y="203"/>
                  <a:pt x="483" y="202"/>
                </a:cubicBezTo>
                <a:cubicBezTo>
                  <a:pt x="483" y="202"/>
                  <a:pt x="484" y="202"/>
                  <a:pt x="484" y="202"/>
                </a:cubicBezTo>
                <a:cubicBezTo>
                  <a:pt x="484" y="201"/>
                  <a:pt x="485" y="201"/>
                  <a:pt x="485" y="201"/>
                </a:cubicBezTo>
                <a:cubicBezTo>
                  <a:pt x="485" y="201"/>
                  <a:pt x="485" y="200"/>
                  <a:pt x="485" y="200"/>
                </a:cubicBezTo>
                <a:cubicBezTo>
                  <a:pt x="485" y="200"/>
                  <a:pt x="485" y="200"/>
                  <a:pt x="485" y="200"/>
                </a:cubicBezTo>
                <a:cubicBezTo>
                  <a:pt x="484" y="200"/>
                  <a:pt x="482" y="200"/>
                  <a:pt x="481" y="200"/>
                </a:cubicBezTo>
                <a:cubicBezTo>
                  <a:pt x="480" y="200"/>
                  <a:pt x="479" y="200"/>
                  <a:pt x="479" y="200"/>
                </a:cubicBezTo>
                <a:cubicBezTo>
                  <a:pt x="478" y="200"/>
                  <a:pt x="477" y="200"/>
                  <a:pt x="476" y="200"/>
                </a:cubicBezTo>
                <a:cubicBezTo>
                  <a:pt x="476" y="200"/>
                  <a:pt x="476" y="200"/>
                  <a:pt x="475" y="199"/>
                </a:cubicBezTo>
                <a:cubicBezTo>
                  <a:pt x="475" y="199"/>
                  <a:pt x="474" y="198"/>
                  <a:pt x="474" y="198"/>
                </a:cubicBezTo>
                <a:cubicBezTo>
                  <a:pt x="474" y="198"/>
                  <a:pt x="473" y="198"/>
                  <a:pt x="473" y="198"/>
                </a:cubicBezTo>
                <a:cubicBezTo>
                  <a:pt x="473" y="198"/>
                  <a:pt x="473" y="197"/>
                  <a:pt x="473" y="197"/>
                </a:cubicBezTo>
                <a:cubicBezTo>
                  <a:pt x="473" y="197"/>
                  <a:pt x="473" y="197"/>
                  <a:pt x="472" y="197"/>
                </a:cubicBezTo>
                <a:cubicBezTo>
                  <a:pt x="473" y="197"/>
                  <a:pt x="473" y="197"/>
                  <a:pt x="473" y="196"/>
                </a:cubicBezTo>
                <a:cubicBezTo>
                  <a:pt x="473" y="196"/>
                  <a:pt x="473" y="196"/>
                  <a:pt x="473" y="196"/>
                </a:cubicBezTo>
                <a:cubicBezTo>
                  <a:pt x="473" y="196"/>
                  <a:pt x="473" y="196"/>
                  <a:pt x="473" y="196"/>
                </a:cubicBezTo>
                <a:cubicBezTo>
                  <a:pt x="473" y="196"/>
                  <a:pt x="473" y="196"/>
                  <a:pt x="472" y="196"/>
                </a:cubicBezTo>
                <a:cubicBezTo>
                  <a:pt x="472" y="196"/>
                  <a:pt x="471" y="196"/>
                  <a:pt x="470" y="196"/>
                </a:cubicBezTo>
                <a:cubicBezTo>
                  <a:pt x="469" y="196"/>
                  <a:pt x="468" y="196"/>
                  <a:pt x="467" y="196"/>
                </a:cubicBezTo>
                <a:cubicBezTo>
                  <a:pt x="467" y="197"/>
                  <a:pt x="467" y="197"/>
                  <a:pt x="467" y="197"/>
                </a:cubicBezTo>
                <a:cubicBezTo>
                  <a:pt x="467" y="197"/>
                  <a:pt x="467" y="197"/>
                  <a:pt x="466" y="197"/>
                </a:cubicBezTo>
                <a:cubicBezTo>
                  <a:pt x="466" y="197"/>
                  <a:pt x="466" y="197"/>
                  <a:pt x="466" y="197"/>
                </a:cubicBezTo>
                <a:cubicBezTo>
                  <a:pt x="466" y="197"/>
                  <a:pt x="466" y="196"/>
                  <a:pt x="466" y="196"/>
                </a:cubicBezTo>
                <a:cubicBezTo>
                  <a:pt x="466" y="196"/>
                  <a:pt x="466" y="196"/>
                  <a:pt x="467" y="196"/>
                </a:cubicBezTo>
                <a:cubicBezTo>
                  <a:pt x="467" y="196"/>
                  <a:pt x="468" y="196"/>
                  <a:pt x="469" y="196"/>
                </a:cubicBezTo>
                <a:cubicBezTo>
                  <a:pt x="470" y="196"/>
                  <a:pt x="470" y="196"/>
                  <a:pt x="471" y="196"/>
                </a:cubicBezTo>
                <a:cubicBezTo>
                  <a:pt x="472" y="196"/>
                  <a:pt x="473" y="196"/>
                  <a:pt x="473" y="195"/>
                </a:cubicBezTo>
                <a:cubicBezTo>
                  <a:pt x="474" y="195"/>
                  <a:pt x="474" y="196"/>
                  <a:pt x="475" y="196"/>
                </a:cubicBezTo>
                <a:cubicBezTo>
                  <a:pt x="475" y="196"/>
                  <a:pt x="476" y="196"/>
                  <a:pt x="477" y="197"/>
                </a:cubicBezTo>
                <a:cubicBezTo>
                  <a:pt x="477" y="197"/>
                  <a:pt x="477" y="197"/>
                  <a:pt x="478" y="197"/>
                </a:cubicBezTo>
                <a:cubicBezTo>
                  <a:pt x="478" y="197"/>
                  <a:pt x="478" y="197"/>
                  <a:pt x="478" y="197"/>
                </a:cubicBezTo>
                <a:cubicBezTo>
                  <a:pt x="478" y="197"/>
                  <a:pt x="478" y="197"/>
                  <a:pt x="478" y="197"/>
                </a:cubicBezTo>
                <a:cubicBezTo>
                  <a:pt x="478" y="197"/>
                  <a:pt x="478" y="197"/>
                  <a:pt x="477" y="198"/>
                </a:cubicBezTo>
                <a:cubicBezTo>
                  <a:pt x="477" y="198"/>
                  <a:pt x="477" y="198"/>
                  <a:pt x="477" y="198"/>
                </a:cubicBezTo>
                <a:cubicBezTo>
                  <a:pt x="478" y="198"/>
                  <a:pt x="479" y="198"/>
                  <a:pt x="479" y="198"/>
                </a:cubicBezTo>
                <a:cubicBezTo>
                  <a:pt x="480" y="198"/>
                  <a:pt x="480" y="198"/>
                  <a:pt x="480" y="199"/>
                </a:cubicBezTo>
                <a:cubicBezTo>
                  <a:pt x="480" y="199"/>
                  <a:pt x="481" y="199"/>
                  <a:pt x="481" y="199"/>
                </a:cubicBezTo>
                <a:cubicBezTo>
                  <a:pt x="482" y="199"/>
                  <a:pt x="483" y="199"/>
                  <a:pt x="485" y="199"/>
                </a:cubicBezTo>
                <a:cubicBezTo>
                  <a:pt x="485" y="199"/>
                  <a:pt x="485" y="198"/>
                  <a:pt x="486" y="198"/>
                </a:cubicBezTo>
                <a:cubicBezTo>
                  <a:pt x="486" y="198"/>
                  <a:pt x="486" y="198"/>
                  <a:pt x="486" y="197"/>
                </a:cubicBezTo>
                <a:cubicBezTo>
                  <a:pt x="486" y="197"/>
                  <a:pt x="486" y="197"/>
                  <a:pt x="487" y="197"/>
                </a:cubicBezTo>
                <a:cubicBezTo>
                  <a:pt x="487" y="197"/>
                  <a:pt x="487" y="197"/>
                  <a:pt x="487" y="197"/>
                </a:cubicBezTo>
                <a:cubicBezTo>
                  <a:pt x="488" y="196"/>
                  <a:pt x="488" y="196"/>
                  <a:pt x="489" y="195"/>
                </a:cubicBezTo>
                <a:cubicBezTo>
                  <a:pt x="489" y="195"/>
                  <a:pt x="489" y="195"/>
                  <a:pt x="489" y="194"/>
                </a:cubicBezTo>
                <a:cubicBezTo>
                  <a:pt x="490" y="194"/>
                  <a:pt x="491" y="193"/>
                  <a:pt x="492" y="192"/>
                </a:cubicBezTo>
                <a:cubicBezTo>
                  <a:pt x="492" y="192"/>
                  <a:pt x="492" y="192"/>
                  <a:pt x="492" y="192"/>
                </a:cubicBezTo>
                <a:cubicBezTo>
                  <a:pt x="493" y="192"/>
                  <a:pt x="493" y="191"/>
                  <a:pt x="493" y="191"/>
                </a:cubicBezTo>
                <a:cubicBezTo>
                  <a:pt x="493" y="191"/>
                  <a:pt x="493" y="190"/>
                  <a:pt x="492" y="190"/>
                </a:cubicBezTo>
                <a:cubicBezTo>
                  <a:pt x="492" y="190"/>
                  <a:pt x="491" y="190"/>
                  <a:pt x="491" y="190"/>
                </a:cubicBezTo>
                <a:cubicBezTo>
                  <a:pt x="491" y="190"/>
                  <a:pt x="490" y="190"/>
                  <a:pt x="490" y="190"/>
                </a:cubicBezTo>
                <a:cubicBezTo>
                  <a:pt x="490" y="190"/>
                  <a:pt x="490" y="190"/>
                  <a:pt x="490" y="189"/>
                </a:cubicBezTo>
                <a:cubicBezTo>
                  <a:pt x="490" y="189"/>
                  <a:pt x="490" y="189"/>
                  <a:pt x="490" y="189"/>
                </a:cubicBezTo>
                <a:cubicBezTo>
                  <a:pt x="490" y="189"/>
                  <a:pt x="490" y="189"/>
                  <a:pt x="490" y="189"/>
                </a:cubicBezTo>
                <a:cubicBezTo>
                  <a:pt x="490" y="188"/>
                  <a:pt x="490" y="188"/>
                  <a:pt x="490" y="188"/>
                </a:cubicBezTo>
                <a:cubicBezTo>
                  <a:pt x="491" y="188"/>
                  <a:pt x="491" y="188"/>
                  <a:pt x="491" y="188"/>
                </a:cubicBezTo>
                <a:cubicBezTo>
                  <a:pt x="492" y="188"/>
                  <a:pt x="492" y="188"/>
                  <a:pt x="492" y="188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94" y="188"/>
                  <a:pt x="494" y="188"/>
                  <a:pt x="495" y="188"/>
                </a:cubicBezTo>
                <a:cubicBezTo>
                  <a:pt x="495" y="188"/>
                  <a:pt x="496" y="187"/>
                  <a:pt x="496" y="187"/>
                </a:cubicBezTo>
                <a:cubicBezTo>
                  <a:pt x="496" y="187"/>
                  <a:pt x="496" y="187"/>
                  <a:pt x="496" y="187"/>
                </a:cubicBezTo>
                <a:cubicBezTo>
                  <a:pt x="497" y="187"/>
                  <a:pt x="497" y="187"/>
                  <a:pt x="497" y="187"/>
                </a:cubicBezTo>
                <a:cubicBezTo>
                  <a:pt x="497" y="188"/>
                  <a:pt x="497" y="188"/>
                  <a:pt x="497" y="188"/>
                </a:cubicBezTo>
                <a:cubicBezTo>
                  <a:pt x="497" y="188"/>
                  <a:pt x="497" y="188"/>
                  <a:pt x="497" y="189"/>
                </a:cubicBezTo>
                <a:cubicBezTo>
                  <a:pt x="497" y="189"/>
                  <a:pt x="497" y="189"/>
                  <a:pt x="497" y="189"/>
                </a:cubicBezTo>
                <a:cubicBezTo>
                  <a:pt x="497" y="189"/>
                  <a:pt x="497" y="189"/>
                  <a:pt x="497" y="189"/>
                </a:cubicBezTo>
                <a:cubicBezTo>
                  <a:pt x="498" y="189"/>
                  <a:pt x="498" y="189"/>
                  <a:pt x="498" y="189"/>
                </a:cubicBezTo>
                <a:cubicBezTo>
                  <a:pt x="498" y="189"/>
                  <a:pt x="498" y="189"/>
                  <a:pt x="499" y="189"/>
                </a:cubicBezTo>
                <a:cubicBezTo>
                  <a:pt x="499" y="189"/>
                  <a:pt x="500" y="189"/>
                  <a:pt x="500" y="189"/>
                </a:cubicBezTo>
                <a:cubicBezTo>
                  <a:pt x="500" y="189"/>
                  <a:pt x="500" y="189"/>
                  <a:pt x="500" y="189"/>
                </a:cubicBezTo>
                <a:cubicBezTo>
                  <a:pt x="500" y="189"/>
                  <a:pt x="499" y="188"/>
                  <a:pt x="499" y="188"/>
                </a:cubicBezTo>
                <a:cubicBezTo>
                  <a:pt x="499" y="188"/>
                  <a:pt x="499" y="188"/>
                  <a:pt x="499" y="188"/>
                </a:cubicBezTo>
                <a:cubicBezTo>
                  <a:pt x="500" y="188"/>
                  <a:pt x="500" y="188"/>
                  <a:pt x="500" y="188"/>
                </a:cubicBezTo>
                <a:cubicBezTo>
                  <a:pt x="500" y="188"/>
                  <a:pt x="500" y="188"/>
                  <a:pt x="501" y="188"/>
                </a:cubicBezTo>
                <a:cubicBezTo>
                  <a:pt x="501" y="188"/>
                  <a:pt x="501" y="188"/>
                  <a:pt x="501" y="189"/>
                </a:cubicBezTo>
                <a:cubicBezTo>
                  <a:pt x="502" y="189"/>
                  <a:pt x="502" y="189"/>
                  <a:pt x="503" y="189"/>
                </a:cubicBezTo>
                <a:cubicBezTo>
                  <a:pt x="503" y="189"/>
                  <a:pt x="503" y="189"/>
                  <a:pt x="504" y="189"/>
                </a:cubicBezTo>
                <a:cubicBezTo>
                  <a:pt x="504" y="189"/>
                  <a:pt x="504" y="189"/>
                  <a:pt x="504" y="188"/>
                </a:cubicBezTo>
                <a:cubicBezTo>
                  <a:pt x="503" y="188"/>
                  <a:pt x="503" y="188"/>
                  <a:pt x="503" y="188"/>
                </a:cubicBezTo>
                <a:cubicBezTo>
                  <a:pt x="503" y="188"/>
                  <a:pt x="503" y="188"/>
                  <a:pt x="503" y="188"/>
                </a:cubicBezTo>
                <a:cubicBezTo>
                  <a:pt x="503" y="187"/>
                  <a:pt x="503" y="187"/>
                  <a:pt x="503" y="187"/>
                </a:cubicBezTo>
                <a:cubicBezTo>
                  <a:pt x="503" y="187"/>
                  <a:pt x="503" y="187"/>
                  <a:pt x="502" y="187"/>
                </a:cubicBezTo>
                <a:cubicBezTo>
                  <a:pt x="502" y="186"/>
                  <a:pt x="502" y="186"/>
                  <a:pt x="502" y="186"/>
                </a:cubicBezTo>
                <a:cubicBezTo>
                  <a:pt x="502" y="185"/>
                  <a:pt x="502" y="185"/>
                  <a:pt x="501" y="185"/>
                </a:cubicBezTo>
                <a:cubicBezTo>
                  <a:pt x="501" y="185"/>
                  <a:pt x="501" y="185"/>
                  <a:pt x="500" y="185"/>
                </a:cubicBezTo>
                <a:cubicBezTo>
                  <a:pt x="500" y="184"/>
                  <a:pt x="500" y="184"/>
                  <a:pt x="500" y="184"/>
                </a:cubicBezTo>
                <a:cubicBezTo>
                  <a:pt x="500" y="184"/>
                  <a:pt x="500" y="184"/>
                  <a:pt x="500" y="184"/>
                </a:cubicBezTo>
                <a:cubicBezTo>
                  <a:pt x="499" y="184"/>
                  <a:pt x="499" y="185"/>
                  <a:pt x="498" y="185"/>
                </a:cubicBezTo>
                <a:cubicBezTo>
                  <a:pt x="498" y="185"/>
                  <a:pt x="498" y="185"/>
                  <a:pt x="498" y="185"/>
                </a:cubicBezTo>
                <a:cubicBezTo>
                  <a:pt x="498" y="185"/>
                  <a:pt x="498" y="184"/>
                  <a:pt x="499" y="184"/>
                </a:cubicBezTo>
                <a:cubicBezTo>
                  <a:pt x="499" y="184"/>
                  <a:pt x="499" y="184"/>
                  <a:pt x="500" y="183"/>
                </a:cubicBezTo>
                <a:cubicBezTo>
                  <a:pt x="500" y="183"/>
                  <a:pt x="500" y="184"/>
                  <a:pt x="500" y="184"/>
                </a:cubicBezTo>
                <a:cubicBezTo>
                  <a:pt x="500" y="183"/>
                  <a:pt x="501" y="183"/>
                  <a:pt x="501" y="183"/>
                </a:cubicBezTo>
                <a:cubicBezTo>
                  <a:pt x="501" y="183"/>
                  <a:pt x="502" y="183"/>
                  <a:pt x="502" y="183"/>
                </a:cubicBezTo>
                <a:cubicBezTo>
                  <a:pt x="502" y="183"/>
                  <a:pt x="502" y="183"/>
                  <a:pt x="502" y="183"/>
                </a:cubicBezTo>
                <a:cubicBezTo>
                  <a:pt x="503" y="184"/>
                  <a:pt x="503" y="184"/>
                  <a:pt x="503" y="185"/>
                </a:cubicBezTo>
                <a:cubicBezTo>
                  <a:pt x="503" y="185"/>
                  <a:pt x="503" y="185"/>
                  <a:pt x="503" y="185"/>
                </a:cubicBezTo>
                <a:cubicBezTo>
                  <a:pt x="504" y="184"/>
                  <a:pt x="504" y="184"/>
                  <a:pt x="504" y="184"/>
                </a:cubicBezTo>
                <a:cubicBezTo>
                  <a:pt x="504" y="184"/>
                  <a:pt x="504" y="185"/>
                  <a:pt x="504" y="185"/>
                </a:cubicBezTo>
                <a:cubicBezTo>
                  <a:pt x="504" y="185"/>
                  <a:pt x="504" y="185"/>
                  <a:pt x="504" y="186"/>
                </a:cubicBezTo>
                <a:cubicBezTo>
                  <a:pt x="504" y="186"/>
                  <a:pt x="503" y="186"/>
                  <a:pt x="503" y="186"/>
                </a:cubicBezTo>
                <a:cubicBezTo>
                  <a:pt x="503" y="186"/>
                  <a:pt x="503" y="186"/>
                  <a:pt x="503" y="186"/>
                </a:cubicBezTo>
                <a:cubicBezTo>
                  <a:pt x="504" y="186"/>
                  <a:pt x="504" y="186"/>
                  <a:pt x="504" y="187"/>
                </a:cubicBezTo>
                <a:cubicBezTo>
                  <a:pt x="504" y="187"/>
                  <a:pt x="505" y="187"/>
                  <a:pt x="505" y="187"/>
                </a:cubicBezTo>
                <a:cubicBezTo>
                  <a:pt x="505" y="188"/>
                  <a:pt x="505" y="188"/>
                  <a:pt x="504" y="188"/>
                </a:cubicBezTo>
                <a:cubicBezTo>
                  <a:pt x="505" y="188"/>
                  <a:pt x="505" y="188"/>
                  <a:pt x="505" y="188"/>
                </a:cubicBezTo>
                <a:cubicBezTo>
                  <a:pt x="506" y="188"/>
                  <a:pt x="507" y="187"/>
                  <a:pt x="508" y="187"/>
                </a:cubicBezTo>
                <a:cubicBezTo>
                  <a:pt x="508" y="187"/>
                  <a:pt x="508" y="186"/>
                  <a:pt x="508" y="186"/>
                </a:cubicBezTo>
                <a:cubicBezTo>
                  <a:pt x="508" y="186"/>
                  <a:pt x="509" y="186"/>
                  <a:pt x="509" y="186"/>
                </a:cubicBezTo>
                <a:cubicBezTo>
                  <a:pt x="509" y="186"/>
                  <a:pt x="509" y="186"/>
                  <a:pt x="510" y="186"/>
                </a:cubicBezTo>
                <a:cubicBezTo>
                  <a:pt x="510" y="185"/>
                  <a:pt x="511" y="185"/>
                  <a:pt x="511" y="184"/>
                </a:cubicBezTo>
                <a:cubicBezTo>
                  <a:pt x="511" y="184"/>
                  <a:pt x="512" y="184"/>
                  <a:pt x="512" y="184"/>
                </a:cubicBezTo>
                <a:cubicBezTo>
                  <a:pt x="512" y="184"/>
                  <a:pt x="512" y="184"/>
                  <a:pt x="512" y="184"/>
                </a:cubicBezTo>
                <a:cubicBezTo>
                  <a:pt x="513" y="183"/>
                  <a:pt x="513" y="183"/>
                  <a:pt x="513" y="183"/>
                </a:cubicBezTo>
                <a:cubicBezTo>
                  <a:pt x="513" y="183"/>
                  <a:pt x="513" y="182"/>
                  <a:pt x="513" y="182"/>
                </a:cubicBezTo>
                <a:cubicBezTo>
                  <a:pt x="514" y="182"/>
                  <a:pt x="514" y="182"/>
                  <a:pt x="514" y="182"/>
                </a:cubicBezTo>
                <a:cubicBezTo>
                  <a:pt x="515" y="181"/>
                  <a:pt x="515" y="181"/>
                  <a:pt x="516" y="181"/>
                </a:cubicBezTo>
                <a:cubicBezTo>
                  <a:pt x="516" y="181"/>
                  <a:pt x="517" y="181"/>
                  <a:pt x="517" y="181"/>
                </a:cubicBezTo>
                <a:cubicBezTo>
                  <a:pt x="517" y="181"/>
                  <a:pt x="517" y="181"/>
                  <a:pt x="517" y="181"/>
                </a:cubicBezTo>
                <a:cubicBezTo>
                  <a:pt x="517" y="180"/>
                  <a:pt x="517" y="180"/>
                  <a:pt x="517" y="180"/>
                </a:cubicBezTo>
                <a:cubicBezTo>
                  <a:pt x="517" y="180"/>
                  <a:pt x="518" y="179"/>
                  <a:pt x="518" y="179"/>
                </a:cubicBezTo>
                <a:cubicBezTo>
                  <a:pt x="518" y="179"/>
                  <a:pt x="518" y="178"/>
                  <a:pt x="518" y="178"/>
                </a:cubicBezTo>
                <a:cubicBezTo>
                  <a:pt x="518" y="178"/>
                  <a:pt x="519" y="178"/>
                  <a:pt x="519" y="178"/>
                </a:cubicBezTo>
                <a:cubicBezTo>
                  <a:pt x="519" y="178"/>
                  <a:pt x="519" y="177"/>
                  <a:pt x="519" y="177"/>
                </a:cubicBezTo>
                <a:cubicBezTo>
                  <a:pt x="518" y="177"/>
                  <a:pt x="518" y="176"/>
                  <a:pt x="517" y="176"/>
                </a:cubicBezTo>
                <a:cubicBezTo>
                  <a:pt x="517" y="176"/>
                  <a:pt x="517" y="175"/>
                  <a:pt x="517" y="175"/>
                </a:cubicBezTo>
                <a:cubicBezTo>
                  <a:pt x="517" y="175"/>
                  <a:pt x="516" y="175"/>
                  <a:pt x="516" y="175"/>
                </a:cubicBezTo>
                <a:cubicBezTo>
                  <a:pt x="515" y="175"/>
                  <a:pt x="515" y="174"/>
                  <a:pt x="515" y="174"/>
                </a:cubicBezTo>
                <a:cubicBezTo>
                  <a:pt x="515" y="174"/>
                  <a:pt x="515" y="174"/>
                  <a:pt x="516" y="173"/>
                </a:cubicBezTo>
                <a:cubicBezTo>
                  <a:pt x="516" y="173"/>
                  <a:pt x="516" y="173"/>
                  <a:pt x="517" y="173"/>
                </a:cubicBezTo>
                <a:cubicBezTo>
                  <a:pt x="517" y="173"/>
                  <a:pt x="517" y="172"/>
                  <a:pt x="517" y="172"/>
                </a:cubicBezTo>
                <a:cubicBezTo>
                  <a:pt x="517" y="172"/>
                  <a:pt x="517" y="172"/>
                  <a:pt x="517" y="172"/>
                </a:cubicBezTo>
                <a:cubicBezTo>
                  <a:pt x="516" y="172"/>
                  <a:pt x="516" y="173"/>
                  <a:pt x="516" y="173"/>
                </a:cubicBezTo>
                <a:cubicBezTo>
                  <a:pt x="516" y="173"/>
                  <a:pt x="516" y="173"/>
                  <a:pt x="516" y="173"/>
                </a:cubicBezTo>
                <a:cubicBezTo>
                  <a:pt x="516" y="173"/>
                  <a:pt x="516" y="173"/>
                  <a:pt x="515" y="172"/>
                </a:cubicBezTo>
                <a:cubicBezTo>
                  <a:pt x="516" y="172"/>
                  <a:pt x="516" y="172"/>
                  <a:pt x="516" y="172"/>
                </a:cubicBezTo>
                <a:cubicBezTo>
                  <a:pt x="516" y="172"/>
                  <a:pt x="515" y="172"/>
                  <a:pt x="515" y="172"/>
                </a:cubicBezTo>
                <a:cubicBezTo>
                  <a:pt x="515" y="172"/>
                  <a:pt x="515" y="171"/>
                  <a:pt x="516" y="171"/>
                </a:cubicBezTo>
                <a:cubicBezTo>
                  <a:pt x="516" y="171"/>
                  <a:pt x="516" y="171"/>
                  <a:pt x="516" y="171"/>
                </a:cubicBezTo>
                <a:cubicBezTo>
                  <a:pt x="516" y="171"/>
                  <a:pt x="515" y="171"/>
                  <a:pt x="515" y="171"/>
                </a:cubicBezTo>
                <a:cubicBezTo>
                  <a:pt x="515" y="171"/>
                  <a:pt x="514" y="171"/>
                  <a:pt x="514" y="171"/>
                </a:cubicBezTo>
                <a:cubicBezTo>
                  <a:pt x="514" y="170"/>
                  <a:pt x="514" y="170"/>
                  <a:pt x="514" y="170"/>
                </a:cubicBezTo>
                <a:cubicBezTo>
                  <a:pt x="514" y="170"/>
                  <a:pt x="514" y="170"/>
                  <a:pt x="514" y="170"/>
                </a:cubicBezTo>
                <a:cubicBezTo>
                  <a:pt x="515" y="170"/>
                  <a:pt x="515" y="170"/>
                  <a:pt x="515" y="169"/>
                </a:cubicBezTo>
                <a:cubicBezTo>
                  <a:pt x="515" y="170"/>
                  <a:pt x="515" y="170"/>
                  <a:pt x="515" y="170"/>
                </a:cubicBezTo>
                <a:cubicBezTo>
                  <a:pt x="516" y="170"/>
                  <a:pt x="516" y="170"/>
                  <a:pt x="517" y="170"/>
                </a:cubicBezTo>
                <a:cubicBezTo>
                  <a:pt x="517" y="170"/>
                  <a:pt x="517" y="170"/>
                  <a:pt x="518" y="170"/>
                </a:cubicBezTo>
                <a:cubicBezTo>
                  <a:pt x="518" y="170"/>
                  <a:pt x="518" y="170"/>
                  <a:pt x="519" y="170"/>
                </a:cubicBezTo>
                <a:cubicBezTo>
                  <a:pt x="519" y="170"/>
                  <a:pt x="519" y="170"/>
                  <a:pt x="519" y="169"/>
                </a:cubicBezTo>
                <a:cubicBezTo>
                  <a:pt x="519" y="169"/>
                  <a:pt x="520" y="169"/>
                  <a:pt x="520" y="169"/>
                </a:cubicBezTo>
                <a:cubicBezTo>
                  <a:pt x="520" y="169"/>
                  <a:pt x="521" y="169"/>
                  <a:pt x="521" y="169"/>
                </a:cubicBezTo>
                <a:cubicBezTo>
                  <a:pt x="522" y="168"/>
                  <a:pt x="522" y="168"/>
                  <a:pt x="523" y="168"/>
                </a:cubicBezTo>
                <a:cubicBezTo>
                  <a:pt x="522" y="168"/>
                  <a:pt x="522" y="168"/>
                  <a:pt x="522" y="168"/>
                </a:cubicBezTo>
                <a:cubicBezTo>
                  <a:pt x="522" y="167"/>
                  <a:pt x="522" y="167"/>
                  <a:pt x="523" y="167"/>
                </a:cubicBezTo>
                <a:cubicBezTo>
                  <a:pt x="522" y="167"/>
                  <a:pt x="522" y="167"/>
                  <a:pt x="522" y="167"/>
                </a:cubicBezTo>
                <a:cubicBezTo>
                  <a:pt x="522" y="167"/>
                  <a:pt x="522" y="167"/>
                  <a:pt x="522" y="167"/>
                </a:cubicBezTo>
                <a:cubicBezTo>
                  <a:pt x="522" y="167"/>
                  <a:pt x="522" y="166"/>
                  <a:pt x="522" y="166"/>
                </a:cubicBezTo>
                <a:cubicBezTo>
                  <a:pt x="521" y="166"/>
                  <a:pt x="521" y="166"/>
                  <a:pt x="521" y="166"/>
                </a:cubicBezTo>
                <a:cubicBezTo>
                  <a:pt x="520" y="166"/>
                  <a:pt x="520" y="166"/>
                  <a:pt x="519" y="167"/>
                </a:cubicBezTo>
                <a:cubicBezTo>
                  <a:pt x="520" y="166"/>
                  <a:pt x="520" y="166"/>
                  <a:pt x="520" y="166"/>
                </a:cubicBezTo>
                <a:cubicBezTo>
                  <a:pt x="520" y="166"/>
                  <a:pt x="521" y="166"/>
                  <a:pt x="521" y="166"/>
                </a:cubicBezTo>
                <a:cubicBezTo>
                  <a:pt x="522" y="165"/>
                  <a:pt x="522" y="165"/>
                  <a:pt x="523" y="164"/>
                </a:cubicBezTo>
                <a:cubicBezTo>
                  <a:pt x="523" y="164"/>
                  <a:pt x="523" y="164"/>
                  <a:pt x="523" y="164"/>
                </a:cubicBezTo>
                <a:cubicBezTo>
                  <a:pt x="523" y="164"/>
                  <a:pt x="523" y="163"/>
                  <a:pt x="523" y="163"/>
                </a:cubicBezTo>
                <a:cubicBezTo>
                  <a:pt x="523" y="163"/>
                  <a:pt x="523" y="163"/>
                  <a:pt x="522" y="163"/>
                </a:cubicBezTo>
                <a:cubicBezTo>
                  <a:pt x="522" y="163"/>
                  <a:pt x="522" y="163"/>
                  <a:pt x="522" y="163"/>
                </a:cubicBezTo>
                <a:cubicBezTo>
                  <a:pt x="521" y="163"/>
                  <a:pt x="521" y="163"/>
                  <a:pt x="520" y="163"/>
                </a:cubicBezTo>
                <a:cubicBezTo>
                  <a:pt x="520" y="163"/>
                  <a:pt x="519" y="163"/>
                  <a:pt x="519" y="164"/>
                </a:cubicBezTo>
                <a:cubicBezTo>
                  <a:pt x="519" y="164"/>
                  <a:pt x="519" y="163"/>
                  <a:pt x="519" y="163"/>
                </a:cubicBezTo>
                <a:cubicBezTo>
                  <a:pt x="519" y="163"/>
                  <a:pt x="519" y="163"/>
                  <a:pt x="519" y="163"/>
                </a:cubicBezTo>
                <a:cubicBezTo>
                  <a:pt x="519" y="163"/>
                  <a:pt x="519" y="163"/>
                  <a:pt x="519" y="162"/>
                </a:cubicBezTo>
                <a:cubicBezTo>
                  <a:pt x="518" y="162"/>
                  <a:pt x="517" y="162"/>
                  <a:pt x="516" y="162"/>
                </a:cubicBezTo>
                <a:cubicBezTo>
                  <a:pt x="516" y="162"/>
                  <a:pt x="516" y="162"/>
                  <a:pt x="516" y="161"/>
                </a:cubicBezTo>
                <a:cubicBezTo>
                  <a:pt x="517" y="161"/>
                  <a:pt x="517" y="161"/>
                  <a:pt x="517" y="161"/>
                </a:cubicBezTo>
                <a:cubicBezTo>
                  <a:pt x="517" y="161"/>
                  <a:pt x="518" y="162"/>
                  <a:pt x="518" y="162"/>
                </a:cubicBezTo>
                <a:cubicBezTo>
                  <a:pt x="518" y="162"/>
                  <a:pt x="518" y="161"/>
                  <a:pt x="519" y="161"/>
                </a:cubicBezTo>
                <a:cubicBezTo>
                  <a:pt x="518" y="161"/>
                  <a:pt x="518" y="161"/>
                  <a:pt x="518" y="161"/>
                </a:cubicBezTo>
                <a:cubicBezTo>
                  <a:pt x="518" y="161"/>
                  <a:pt x="518" y="161"/>
                  <a:pt x="518" y="161"/>
                </a:cubicBezTo>
                <a:cubicBezTo>
                  <a:pt x="518" y="160"/>
                  <a:pt x="518" y="160"/>
                  <a:pt x="518" y="160"/>
                </a:cubicBezTo>
                <a:cubicBezTo>
                  <a:pt x="518" y="160"/>
                  <a:pt x="517" y="160"/>
                  <a:pt x="517" y="160"/>
                </a:cubicBezTo>
                <a:cubicBezTo>
                  <a:pt x="516" y="160"/>
                  <a:pt x="516" y="160"/>
                  <a:pt x="516" y="160"/>
                </a:cubicBezTo>
                <a:cubicBezTo>
                  <a:pt x="515" y="160"/>
                  <a:pt x="515" y="160"/>
                  <a:pt x="515" y="161"/>
                </a:cubicBezTo>
                <a:cubicBezTo>
                  <a:pt x="514" y="160"/>
                  <a:pt x="513" y="160"/>
                  <a:pt x="512" y="160"/>
                </a:cubicBezTo>
                <a:cubicBezTo>
                  <a:pt x="512" y="160"/>
                  <a:pt x="512" y="160"/>
                  <a:pt x="512" y="160"/>
                </a:cubicBezTo>
                <a:cubicBezTo>
                  <a:pt x="512" y="160"/>
                  <a:pt x="512" y="160"/>
                  <a:pt x="511" y="160"/>
                </a:cubicBezTo>
                <a:cubicBezTo>
                  <a:pt x="511" y="160"/>
                  <a:pt x="510" y="159"/>
                  <a:pt x="510" y="159"/>
                </a:cubicBezTo>
                <a:cubicBezTo>
                  <a:pt x="509" y="159"/>
                  <a:pt x="509" y="160"/>
                  <a:pt x="508" y="160"/>
                </a:cubicBezTo>
                <a:cubicBezTo>
                  <a:pt x="508" y="160"/>
                  <a:pt x="507" y="160"/>
                  <a:pt x="507" y="160"/>
                </a:cubicBezTo>
                <a:cubicBezTo>
                  <a:pt x="507" y="160"/>
                  <a:pt x="507" y="160"/>
                  <a:pt x="506" y="160"/>
                </a:cubicBezTo>
                <a:cubicBezTo>
                  <a:pt x="506" y="160"/>
                  <a:pt x="506" y="160"/>
                  <a:pt x="506" y="160"/>
                </a:cubicBezTo>
                <a:cubicBezTo>
                  <a:pt x="505" y="160"/>
                  <a:pt x="505" y="160"/>
                  <a:pt x="505" y="160"/>
                </a:cubicBezTo>
                <a:cubicBezTo>
                  <a:pt x="505" y="160"/>
                  <a:pt x="505" y="160"/>
                  <a:pt x="505" y="160"/>
                </a:cubicBezTo>
                <a:cubicBezTo>
                  <a:pt x="505" y="160"/>
                  <a:pt x="506" y="160"/>
                  <a:pt x="506" y="160"/>
                </a:cubicBezTo>
                <a:cubicBezTo>
                  <a:pt x="506" y="161"/>
                  <a:pt x="506" y="161"/>
                  <a:pt x="506" y="161"/>
                </a:cubicBezTo>
                <a:cubicBezTo>
                  <a:pt x="505" y="161"/>
                  <a:pt x="505" y="161"/>
                  <a:pt x="505" y="161"/>
                </a:cubicBezTo>
                <a:cubicBezTo>
                  <a:pt x="505" y="161"/>
                  <a:pt x="505" y="162"/>
                  <a:pt x="505" y="162"/>
                </a:cubicBezTo>
                <a:cubicBezTo>
                  <a:pt x="505" y="162"/>
                  <a:pt x="505" y="162"/>
                  <a:pt x="505" y="162"/>
                </a:cubicBezTo>
                <a:cubicBezTo>
                  <a:pt x="505" y="162"/>
                  <a:pt x="505" y="162"/>
                  <a:pt x="504" y="162"/>
                </a:cubicBezTo>
                <a:cubicBezTo>
                  <a:pt x="504" y="163"/>
                  <a:pt x="504" y="163"/>
                  <a:pt x="504" y="163"/>
                </a:cubicBezTo>
                <a:cubicBezTo>
                  <a:pt x="505" y="163"/>
                  <a:pt x="505" y="163"/>
                  <a:pt x="505" y="163"/>
                </a:cubicBezTo>
                <a:cubicBezTo>
                  <a:pt x="505" y="164"/>
                  <a:pt x="505" y="164"/>
                  <a:pt x="504" y="164"/>
                </a:cubicBezTo>
                <a:cubicBezTo>
                  <a:pt x="504" y="164"/>
                  <a:pt x="504" y="164"/>
                  <a:pt x="504" y="164"/>
                </a:cubicBezTo>
                <a:cubicBezTo>
                  <a:pt x="504" y="165"/>
                  <a:pt x="504" y="165"/>
                  <a:pt x="504" y="165"/>
                </a:cubicBezTo>
                <a:cubicBezTo>
                  <a:pt x="504" y="165"/>
                  <a:pt x="504" y="166"/>
                  <a:pt x="504" y="166"/>
                </a:cubicBezTo>
                <a:cubicBezTo>
                  <a:pt x="504" y="166"/>
                  <a:pt x="504" y="166"/>
                  <a:pt x="505" y="166"/>
                </a:cubicBezTo>
                <a:cubicBezTo>
                  <a:pt x="505" y="166"/>
                  <a:pt x="505" y="166"/>
                  <a:pt x="505" y="166"/>
                </a:cubicBezTo>
                <a:cubicBezTo>
                  <a:pt x="505" y="166"/>
                  <a:pt x="506" y="166"/>
                  <a:pt x="506" y="166"/>
                </a:cubicBezTo>
                <a:cubicBezTo>
                  <a:pt x="506" y="167"/>
                  <a:pt x="506" y="167"/>
                  <a:pt x="507" y="167"/>
                </a:cubicBezTo>
                <a:cubicBezTo>
                  <a:pt x="506" y="167"/>
                  <a:pt x="506" y="167"/>
                  <a:pt x="506" y="167"/>
                </a:cubicBezTo>
                <a:cubicBezTo>
                  <a:pt x="506" y="167"/>
                  <a:pt x="506" y="167"/>
                  <a:pt x="505" y="167"/>
                </a:cubicBezTo>
                <a:cubicBezTo>
                  <a:pt x="505" y="167"/>
                  <a:pt x="505" y="168"/>
                  <a:pt x="505" y="168"/>
                </a:cubicBezTo>
                <a:cubicBezTo>
                  <a:pt x="505" y="168"/>
                  <a:pt x="504" y="168"/>
                  <a:pt x="504" y="168"/>
                </a:cubicBezTo>
                <a:cubicBezTo>
                  <a:pt x="504" y="168"/>
                  <a:pt x="503" y="168"/>
                  <a:pt x="503" y="168"/>
                </a:cubicBezTo>
                <a:cubicBezTo>
                  <a:pt x="503" y="168"/>
                  <a:pt x="503" y="168"/>
                  <a:pt x="503" y="168"/>
                </a:cubicBezTo>
                <a:cubicBezTo>
                  <a:pt x="503" y="169"/>
                  <a:pt x="503" y="169"/>
                  <a:pt x="504" y="169"/>
                </a:cubicBezTo>
                <a:cubicBezTo>
                  <a:pt x="504" y="169"/>
                  <a:pt x="504" y="169"/>
                  <a:pt x="504" y="169"/>
                </a:cubicBezTo>
                <a:cubicBezTo>
                  <a:pt x="504" y="169"/>
                  <a:pt x="504" y="169"/>
                  <a:pt x="504" y="169"/>
                </a:cubicBezTo>
                <a:cubicBezTo>
                  <a:pt x="504" y="169"/>
                  <a:pt x="504" y="169"/>
                  <a:pt x="503" y="169"/>
                </a:cubicBezTo>
                <a:cubicBezTo>
                  <a:pt x="503" y="169"/>
                  <a:pt x="503" y="169"/>
                  <a:pt x="503" y="169"/>
                </a:cubicBezTo>
                <a:cubicBezTo>
                  <a:pt x="502" y="169"/>
                  <a:pt x="502" y="170"/>
                  <a:pt x="502" y="170"/>
                </a:cubicBezTo>
                <a:cubicBezTo>
                  <a:pt x="502" y="170"/>
                  <a:pt x="501" y="170"/>
                  <a:pt x="501" y="169"/>
                </a:cubicBezTo>
                <a:cubicBezTo>
                  <a:pt x="501" y="170"/>
                  <a:pt x="500" y="170"/>
                  <a:pt x="500" y="170"/>
                </a:cubicBezTo>
                <a:cubicBezTo>
                  <a:pt x="500" y="171"/>
                  <a:pt x="500" y="171"/>
                  <a:pt x="499" y="172"/>
                </a:cubicBezTo>
                <a:cubicBezTo>
                  <a:pt x="499" y="172"/>
                  <a:pt x="499" y="173"/>
                  <a:pt x="499" y="173"/>
                </a:cubicBezTo>
                <a:cubicBezTo>
                  <a:pt x="498" y="174"/>
                  <a:pt x="498" y="174"/>
                  <a:pt x="498" y="175"/>
                </a:cubicBezTo>
                <a:cubicBezTo>
                  <a:pt x="497" y="176"/>
                  <a:pt x="497" y="176"/>
                  <a:pt x="496" y="176"/>
                </a:cubicBezTo>
                <a:cubicBezTo>
                  <a:pt x="496" y="177"/>
                  <a:pt x="496" y="177"/>
                  <a:pt x="495" y="177"/>
                </a:cubicBezTo>
                <a:cubicBezTo>
                  <a:pt x="495" y="177"/>
                  <a:pt x="495" y="177"/>
                  <a:pt x="495" y="177"/>
                </a:cubicBezTo>
                <a:cubicBezTo>
                  <a:pt x="495" y="178"/>
                  <a:pt x="495" y="178"/>
                  <a:pt x="494" y="179"/>
                </a:cubicBezTo>
                <a:cubicBezTo>
                  <a:pt x="494" y="179"/>
                  <a:pt x="494" y="179"/>
                  <a:pt x="493" y="179"/>
                </a:cubicBezTo>
                <a:cubicBezTo>
                  <a:pt x="493" y="179"/>
                  <a:pt x="493" y="180"/>
                  <a:pt x="494" y="180"/>
                </a:cubicBezTo>
                <a:cubicBezTo>
                  <a:pt x="493" y="180"/>
                  <a:pt x="493" y="181"/>
                  <a:pt x="493" y="181"/>
                </a:cubicBezTo>
                <a:cubicBezTo>
                  <a:pt x="493" y="181"/>
                  <a:pt x="493" y="182"/>
                  <a:pt x="493" y="182"/>
                </a:cubicBezTo>
                <a:cubicBezTo>
                  <a:pt x="493" y="182"/>
                  <a:pt x="492" y="182"/>
                  <a:pt x="492" y="182"/>
                </a:cubicBezTo>
                <a:cubicBezTo>
                  <a:pt x="492" y="182"/>
                  <a:pt x="492" y="182"/>
                  <a:pt x="491" y="181"/>
                </a:cubicBezTo>
                <a:cubicBezTo>
                  <a:pt x="491" y="181"/>
                  <a:pt x="491" y="181"/>
                  <a:pt x="491" y="182"/>
                </a:cubicBezTo>
                <a:cubicBezTo>
                  <a:pt x="491" y="182"/>
                  <a:pt x="490" y="182"/>
                  <a:pt x="490" y="182"/>
                </a:cubicBezTo>
                <a:cubicBezTo>
                  <a:pt x="490" y="182"/>
                  <a:pt x="490" y="182"/>
                  <a:pt x="490" y="182"/>
                </a:cubicBezTo>
                <a:cubicBezTo>
                  <a:pt x="491" y="183"/>
                  <a:pt x="491" y="183"/>
                  <a:pt x="491" y="183"/>
                </a:cubicBezTo>
                <a:cubicBezTo>
                  <a:pt x="491" y="183"/>
                  <a:pt x="490" y="183"/>
                  <a:pt x="490" y="183"/>
                </a:cubicBezTo>
                <a:cubicBezTo>
                  <a:pt x="490" y="183"/>
                  <a:pt x="489" y="183"/>
                  <a:pt x="489" y="183"/>
                </a:cubicBezTo>
                <a:cubicBezTo>
                  <a:pt x="489" y="183"/>
                  <a:pt x="489" y="183"/>
                  <a:pt x="489" y="182"/>
                </a:cubicBezTo>
                <a:cubicBezTo>
                  <a:pt x="489" y="182"/>
                  <a:pt x="488" y="182"/>
                  <a:pt x="488" y="181"/>
                </a:cubicBezTo>
                <a:cubicBezTo>
                  <a:pt x="488" y="181"/>
                  <a:pt x="487" y="180"/>
                  <a:pt x="487" y="179"/>
                </a:cubicBezTo>
                <a:cubicBezTo>
                  <a:pt x="486" y="179"/>
                  <a:pt x="486" y="178"/>
                  <a:pt x="486" y="178"/>
                </a:cubicBezTo>
                <a:cubicBezTo>
                  <a:pt x="486" y="178"/>
                  <a:pt x="486" y="178"/>
                  <a:pt x="486" y="178"/>
                </a:cubicBezTo>
                <a:cubicBezTo>
                  <a:pt x="486" y="177"/>
                  <a:pt x="486" y="177"/>
                  <a:pt x="486" y="177"/>
                </a:cubicBezTo>
                <a:cubicBezTo>
                  <a:pt x="486" y="176"/>
                  <a:pt x="486" y="176"/>
                  <a:pt x="487" y="176"/>
                </a:cubicBezTo>
                <a:cubicBezTo>
                  <a:pt x="487" y="176"/>
                  <a:pt x="486" y="175"/>
                  <a:pt x="486" y="175"/>
                </a:cubicBezTo>
                <a:cubicBezTo>
                  <a:pt x="486" y="175"/>
                  <a:pt x="486" y="175"/>
                  <a:pt x="487" y="174"/>
                </a:cubicBezTo>
                <a:cubicBezTo>
                  <a:pt x="487" y="174"/>
                  <a:pt x="487" y="174"/>
                  <a:pt x="487" y="174"/>
                </a:cubicBezTo>
                <a:cubicBezTo>
                  <a:pt x="487" y="174"/>
                  <a:pt x="488" y="174"/>
                  <a:pt x="488" y="174"/>
                </a:cubicBezTo>
                <a:cubicBezTo>
                  <a:pt x="488" y="174"/>
                  <a:pt x="488" y="174"/>
                  <a:pt x="489" y="174"/>
                </a:cubicBezTo>
                <a:cubicBezTo>
                  <a:pt x="489" y="173"/>
                  <a:pt x="489" y="173"/>
                  <a:pt x="489" y="173"/>
                </a:cubicBezTo>
                <a:cubicBezTo>
                  <a:pt x="489" y="172"/>
                  <a:pt x="489" y="172"/>
                  <a:pt x="488" y="171"/>
                </a:cubicBezTo>
                <a:cubicBezTo>
                  <a:pt x="488" y="171"/>
                  <a:pt x="489" y="171"/>
                  <a:pt x="489" y="171"/>
                </a:cubicBezTo>
                <a:cubicBezTo>
                  <a:pt x="489" y="170"/>
                  <a:pt x="489" y="170"/>
                  <a:pt x="488" y="170"/>
                </a:cubicBezTo>
                <a:cubicBezTo>
                  <a:pt x="488" y="170"/>
                  <a:pt x="488" y="169"/>
                  <a:pt x="487" y="169"/>
                </a:cubicBezTo>
                <a:cubicBezTo>
                  <a:pt x="487" y="169"/>
                  <a:pt x="487" y="169"/>
                  <a:pt x="487" y="168"/>
                </a:cubicBezTo>
                <a:cubicBezTo>
                  <a:pt x="486" y="168"/>
                  <a:pt x="486" y="168"/>
                  <a:pt x="486" y="167"/>
                </a:cubicBezTo>
                <a:cubicBezTo>
                  <a:pt x="485" y="167"/>
                  <a:pt x="485" y="167"/>
                  <a:pt x="485" y="167"/>
                </a:cubicBezTo>
                <a:cubicBezTo>
                  <a:pt x="485" y="167"/>
                  <a:pt x="485" y="167"/>
                  <a:pt x="485" y="167"/>
                </a:cubicBezTo>
                <a:cubicBezTo>
                  <a:pt x="484" y="167"/>
                  <a:pt x="484" y="167"/>
                  <a:pt x="484" y="167"/>
                </a:cubicBezTo>
                <a:cubicBezTo>
                  <a:pt x="484" y="167"/>
                  <a:pt x="484" y="167"/>
                  <a:pt x="484" y="168"/>
                </a:cubicBezTo>
                <a:cubicBezTo>
                  <a:pt x="484" y="168"/>
                  <a:pt x="483" y="169"/>
                  <a:pt x="483" y="169"/>
                </a:cubicBezTo>
                <a:cubicBezTo>
                  <a:pt x="482" y="170"/>
                  <a:pt x="482" y="170"/>
                  <a:pt x="482" y="170"/>
                </a:cubicBezTo>
                <a:cubicBezTo>
                  <a:pt x="482" y="171"/>
                  <a:pt x="482" y="171"/>
                  <a:pt x="482" y="171"/>
                </a:cubicBezTo>
                <a:cubicBezTo>
                  <a:pt x="482" y="171"/>
                  <a:pt x="482" y="172"/>
                  <a:pt x="482" y="172"/>
                </a:cubicBezTo>
                <a:cubicBezTo>
                  <a:pt x="482" y="172"/>
                  <a:pt x="482" y="173"/>
                  <a:pt x="481" y="173"/>
                </a:cubicBezTo>
                <a:cubicBezTo>
                  <a:pt x="481" y="173"/>
                  <a:pt x="481" y="173"/>
                  <a:pt x="481" y="173"/>
                </a:cubicBezTo>
                <a:cubicBezTo>
                  <a:pt x="481" y="173"/>
                  <a:pt x="480" y="173"/>
                  <a:pt x="480" y="173"/>
                </a:cubicBezTo>
                <a:cubicBezTo>
                  <a:pt x="480" y="173"/>
                  <a:pt x="480" y="173"/>
                  <a:pt x="480" y="173"/>
                </a:cubicBezTo>
                <a:cubicBezTo>
                  <a:pt x="480" y="174"/>
                  <a:pt x="480" y="174"/>
                  <a:pt x="480" y="174"/>
                </a:cubicBezTo>
                <a:cubicBezTo>
                  <a:pt x="480" y="174"/>
                  <a:pt x="479" y="174"/>
                  <a:pt x="479" y="175"/>
                </a:cubicBezTo>
                <a:cubicBezTo>
                  <a:pt x="479" y="175"/>
                  <a:pt x="479" y="175"/>
                  <a:pt x="479" y="175"/>
                </a:cubicBezTo>
                <a:cubicBezTo>
                  <a:pt x="478" y="175"/>
                  <a:pt x="478" y="176"/>
                  <a:pt x="478" y="176"/>
                </a:cubicBezTo>
                <a:cubicBezTo>
                  <a:pt x="478" y="176"/>
                  <a:pt x="477" y="176"/>
                  <a:pt x="477" y="176"/>
                </a:cubicBezTo>
                <a:cubicBezTo>
                  <a:pt x="477" y="176"/>
                  <a:pt x="477" y="176"/>
                  <a:pt x="477" y="176"/>
                </a:cubicBezTo>
                <a:cubicBezTo>
                  <a:pt x="477" y="176"/>
                  <a:pt x="477" y="176"/>
                  <a:pt x="478" y="175"/>
                </a:cubicBezTo>
                <a:cubicBezTo>
                  <a:pt x="478" y="175"/>
                  <a:pt x="477" y="175"/>
                  <a:pt x="477" y="175"/>
                </a:cubicBezTo>
                <a:cubicBezTo>
                  <a:pt x="477" y="175"/>
                  <a:pt x="477" y="174"/>
                  <a:pt x="477" y="174"/>
                </a:cubicBezTo>
                <a:cubicBezTo>
                  <a:pt x="477" y="174"/>
                  <a:pt x="478" y="174"/>
                  <a:pt x="478" y="173"/>
                </a:cubicBezTo>
                <a:cubicBezTo>
                  <a:pt x="478" y="173"/>
                  <a:pt x="478" y="173"/>
                  <a:pt x="478" y="172"/>
                </a:cubicBezTo>
                <a:cubicBezTo>
                  <a:pt x="478" y="172"/>
                  <a:pt x="478" y="172"/>
                  <a:pt x="478" y="172"/>
                </a:cubicBezTo>
                <a:cubicBezTo>
                  <a:pt x="478" y="172"/>
                  <a:pt x="478" y="171"/>
                  <a:pt x="478" y="171"/>
                </a:cubicBezTo>
                <a:cubicBezTo>
                  <a:pt x="478" y="171"/>
                  <a:pt x="478" y="171"/>
                  <a:pt x="478" y="171"/>
                </a:cubicBezTo>
                <a:cubicBezTo>
                  <a:pt x="478" y="170"/>
                  <a:pt x="478" y="170"/>
                  <a:pt x="478" y="170"/>
                </a:cubicBezTo>
                <a:cubicBezTo>
                  <a:pt x="478" y="170"/>
                  <a:pt x="478" y="170"/>
                  <a:pt x="478" y="169"/>
                </a:cubicBezTo>
                <a:cubicBezTo>
                  <a:pt x="478" y="169"/>
                  <a:pt x="477" y="169"/>
                  <a:pt x="477" y="169"/>
                </a:cubicBezTo>
                <a:cubicBezTo>
                  <a:pt x="477" y="169"/>
                  <a:pt x="477" y="168"/>
                  <a:pt x="477" y="168"/>
                </a:cubicBezTo>
                <a:cubicBezTo>
                  <a:pt x="476" y="168"/>
                  <a:pt x="476" y="168"/>
                  <a:pt x="476" y="168"/>
                </a:cubicBezTo>
                <a:cubicBezTo>
                  <a:pt x="476" y="168"/>
                  <a:pt x="476" y="167"/>
                  <a:pt x="476" y="167"/>
                </a:cubicBezTo>
                <a:cubicBezTo>
                  <a:pt x="476" y="167"/>
                  <a:pt x="476" y="167"/>
                  <a:pt x="476" y="167"/>
                </a:cubicBezTo>
                <a:cubicBezTo>
                  <a:pt x="476" y="167"/>
                  <a:pt x="477" y="167"/>
                  <a:pt x="477" y="167"/>
                </a:cubicBezTo>
                <a:cubicBezTo>
                  <a:pt x="477" y="167"/>
                  <a:pt x="477" y="168"/>
                  <a:pt x="477" y="168"/>
                </a:cubicBezTo>
                <a:cubicBezTo>
                  <a:pt x="477" y="168"/>
                  <a:pt x="477" y="168"/>
                  <a:pt x="478" y="168"/>
                </a:cubicBezTo>
                <a:cubicBezTo>
                  <a:pt x="478" y="167"/>
                  <a:pt x="478" y="167"/>
                  <a:pt x="479" y="167"/>
                </a:cubicBezTo>
                <a:cubicBezTo>
                  <a:pt x="479" y="166"/>
                  <a:pt x="479" y="166"/>
                  <a:pt x="480" y="166"/>
                </a:cubicBezTo>
                <a:cubicBezTo>
                  <a:pt x="480" y="166"/>
                  <a:pt x="480" y="166"/>
                  <a:pt x="480" y="166"/>
                </a:cubicBezTo>
                <a:cubicBezTo>
                  <a:pt x="480" y="166"/>
                  <a:pt x="480" y="165"/>
                  <a:pt x="479" y="165"/>
                </a:cubicBezTo>
                <a:cubicBezTo>
                  <a:pt x="479" y="166"/>
                  <a:pt x="479" y="166"/>
                  <a:pt x="478" y="166"/>
                </a:cubicBezTo>
                <a:cubicBezTo>
                  <a:pt x="478" y="166"/>
                  <a:pt x="478" y="166"/>
                  <a:pt x="478" y="166"/>
                </a:cubicBezTo>
                <a:cubicBezTo>
                  <a:pt x="477" y="166"/>
                  <a:pt x="477" y="166"/>
                  <a:pt x="477" y="166"/>
                </a:cubicBezTo>
                <a:cubicBezTo>
                  <a:pt x="477" y="166"/>
                  <a:pt x="476" y="166"/>
                  <a:pt x="476" y="166"/>
                </a:cubicBezTo>
                <a:cubicBezTo>
                  <a:pt x="477" y="166"/>
                  <a:pt x="477" y="165"/>
                  <a:pt x="477" y="165"/>
                </a:cubicBezTo>
                <a:cubicBezTo>
                  <a:pt x="477" y="165"/>
                  <a:pt x="477" y="165"/>
                  <a:pt x="476" y="165"/>
                </a:cubicBezTo>
                <a:cubicBezTo>
                  <a:pt x="476" y="165"/>
                  <a:pt x="476" y="165"/>
                  <a:pt x="476" y="165"/>
                </a:cubicBezTo>
                <a:cubicBezTo>
                  <a:pt x="476" y="166"/>
                  <a:pt x="476" y="166"/>
                  <a:pt x="476" y="166"/>
                </a:cubicBezTo>
                <a:cubicBezTo>
                  <a:pt x="475" y="166"/>
                  <a:pt x="475" y="166"/>
                  <a:pt x="474" y="167"/>
                </a:cubicBezTo>
                <a:cubicBezTo>
                  <a:pt x="474" y="167"/>
                  <a:pt x="473" y="166"/>
                  <a:pt x="473" y="166"/>
                </a:cubicBezTo>
                <a:cubicBezTo>
                  <a:pt x="473" y="166"/>
                  <a:pt x="473" y="166"/>
                  <a:pt x="473" y="166"/>
                </a:cubicBezTo>
                <a:cubicBezTo>
                  <a:pt x="472" y="166"/>
                  <a:pt x="472" y="166"/>
                  <a:pt x="472" y="166"/>
                </a:cubicBezTo>
                <a:cubicBezTo>
                  <a:pt x="472" y="166"/>
                  <a:pt x="471" y="166"/>
                  <a:pt x="471" y="166"/>
                </a:cubicBezTo>
                <a:cubicBezTo>
                  <a:pt x="471" y="166"/>
                  <a:pt x="470" y="166"/>
                  <a:pt x="470" y="166"/>
                </a:cubicBezTo>
                <a:cubicBezTo>
                  <a:pt x="470" y="166"/>
                  <a:pt x="470" y="165"/>
                  <a:pt x="470" y="165"/>
                </a:cubicBezTo>
                <a:cubicBezTo>
                  <a:pt x="471" y="165"/>
                  <a:pt x="471" y="165"/>
                  <a:pt x="471" y="165"/>
                </a:cubicBezTo>
                <a:cubicBezTo>
                  <a:pt x="471" y="165"/>
                  <a:pt x="471" y="164"/>
                  <a:pt x="471" y="164"/>
                </a:cubicBezTo>
                <a:cubicBezTo>
                  <a:pt x="471" y="164"/>
                  <a:pt x="472" y="164"/>
                  <a:pt x="472" y="164"/>
                </a:cubicBezTo>
                <a:cubicBezTo>
                  <a:pt x="473" y="163"/>
                  <a:pt x="474" y="163"/>
                  <a:pt x="475" y="162"/>
                </a:cubicBezTo>
                <a:cubicBezTo>
                  <a:pt x="475" y="162"/>
                  <a:pt x="475" y="162"/>
                  <a:pt x="475" y="162"/>
                </a:cubicBezTo>
                <a:cubicBezTo>
                  <a:pt x="474" y="161"/>
                  <a:pt x="474" y="161"/>
                  <a:pt x="474" y="161"/>
                </a:cubicBezTo>
                <a:cubicBezTo>
                  <a:pt x="473" y="161"/>
                  <a:pt x="473" y="162"/>
                  <a:pt x="472" y="162"/>
                </a:cubicBezTo>
                <a:cubicBezTo>
                  <a:pt x="472" y="162"/>
                  <a:pt x="472" y="162"/>
                  <a:pt x="472" y="162"/>
                </a:cubicBezTo>
                <a:cubicBezTo>
                  <a:pt x="473" y="161"/>
                  <a:pt x="473" y="161"/>
                  <a:pt x="473" y="161"/>
                </a:cubicBezTo>
                <a:cubicBezTo>
                  <a:pt x="473" y="161"/>
                  <a:pt x="473" y="160"/>
                  <a:pt x="474" y="160"/>
                </a:cubicBezTo>
                <a:cubicBezTo>
                  <a:pt x="474" y="160"/>
                  <a:pt x="474" y="160"/>
                  <a:pt x="475" y="159"/>
                </a:cubicBezTo>
                <a:cubicBezTo>
                  <a:pt x="475" y="160"/>
                  <a:pt x="475" y="160"/>
                  <a:pt x="475" y="160"/>
                </a:cubicBezTo>
                <a:cubicBezTo>
                  <a:pt x="475" y="160"/>
                  <a:pt x="475" y="161"/>
                  <a:pt x="475" y="161"/>
                </a:cubicBezTo>
                <a:cubicBezTo>
                  <a:pt x="476" y="161"/>
                  <a:pt x="476" y="161"/>
                  <a:pt x="476" y="160"/>
                </a:cubicBezTo>
                <a:cubicBezTo>
                  <a:pt x="477" y="160"/>
                  <a:pt x="477" y="161"/>
                  <a:pt x="477" y="161"/>
                </a:cubicBezTo>
                <a:cubicBezTo>
                  <a:pt x="477" y="160"/>
                  <a:pt x="478" y="160"/>
                  <a:pt x="478" y="160"/>
                </a:cubicBezTo>
                <a:cubicBezTo>
                  <a:pt x="478" y="160"/>
                  <a:pt x="478" y="159"/>
                  <a:pt x="478" y="159"/>
                </a:cubicBezTo>
                <a:cubicBezTo>
                  <a:pt x="477" y="159"/>
                  <a:pt x="477" y="159"/>
                  <a:pt x="477" y="159"/>
                </a:cubicBezTo>
                <a:cubicBezTo>
                  <a:pt x="477" y="159"/>
                  <a:pt x="476" y="159"/>
                  <a:pt x="476" y="159"/>
                </a:cubicBezTo>
                <a:cubicBezTo>
                  <a:pt x="476" y="159"/>
                  <a:pt x="476" y="158"/>
                  <a:pt x="476" y="158"/>
                </a:cubicBezTo>
                <a:cubicBezTo>
                  <a:pt x="476" y="158"/>
                  <a:pt x="476" y="158"/>
                  <a:pt x="476" y="158"/>
                </a:cubicBezTo>
                <a:cubicBezTo>
                  <a:pt x="476" y="157"/>
                  <a:pt x="476" y="157"/>
                  <a:pt x="476" y="157"/>
                </a:cubicBezTo>
                <a:cubicBezTo>
                  <a:pt x="476" y="157"/>
                  <a:pt x="476" y="157"/>
                  <a:pt x="476" y="157"/>
                </a:cubicBezTo>
                <a:cubicBezTo>
                  <a:pt x="476" y="157"/>
                  <a:pt x="476" y="156"/>
                  <a:pt x="476" y="156"/>
                </a:cubicBezTo>
                <a:cubicBezTo>
                  <a:pt x="475" y="156"/>
                  <a:pt x="475" y="156"/>
                  <a:pt x="474" y="156"/>
                </a:cubicBezTo>
                <a:cubicBezTo>
                  <a:pt x="474" y="155"/>
                  <a:pt x="475" y="155"/>
                  <a:pt x="475" y="155"/>
                </a:cubicBezTo>
                <a:cubicBezTo>
                  <a:pt x="474" y="155"/>
                  <a:pt x="474" y="154"/>
                  <a:pt x="474" y="154"/>
                </a:cubicBezTo>
                <a:cubicBezTo>
                  <a:pt x="474" y="154"/>
                  <a:pt x="474" y="154"/>
                  <a:pt x="474" y="154"/>
                </a:cubicBezTo>
                <a:cubicBezTo>
                  <a:pt x="474" y="154"/>
                  <a:pt x="474" y="153"/>
                  <a:pt x="474" y="153"/>
                </a:cubicBezTo>
                <a:cubicBezTo>
                  <a:pt x="474" y="153"/>
                  <a:pt x="475" y="152"/>
                  <a:pt x="475" y="152"/>
                </a:cubicBezTo>
                <a:cubicBezTo>
                  <a:pt x="475" y="152"/>
                  <a:pt x="475" y="152"/>
                  <a:pt x="475" y="151"/>
                </a:cubicBezTo>
                <a:cubicBezTo>
                  <a:pt x="475" y="151"/>
                  <a:pt x="475" y="151"/>
                  <a:pt x="475" y="150"/>
                </a:cubicBezTo>
                <a:cubicBezTo>
                  <a:pt x="475" y="150"/>
                  <a:pt x="475" y="150"/>
                  <a:pt x="475" y="150"/>
                </a:cubicBezTo>
                <a:cubicBezTo>
                  <a:pt x="475" y="150"/>
                  <a:pt x="475" y="150"/>
                  <a:pt x="475" y="150"/>
                </a:cubicBezTo>
                <a:cubicBezTo>
                  <a:pt x="475" y="150"/>
                  <a:pt x="474" y="149"/>
                  <a:pt x="474" y="149"/>
                </a:cubicBezTo>
                <a:cubicBezTo>
                  <a:pt x="474" y="149"/>
                  <a:pt x="474" y="148"/>
                  <a:pt x="474" y="148"/>
                </a:cubicBezTo>
                <a:cubicBezTo>
                  <a:pt x="474" y="148"/>
                  <a:pt x="473" y="148"/>
                  <a:pt x="473" y="148"/>
                </a:cubicBezTo>
                <a:cubicBezTo>
                  <a:pt x="473" y="148"/>
                  <a:pt x="473" y="148"/>
                  <a:pt x="473" y="147"/>
                </a:cubicBezTo>
                <a:cubicBezTo>
                  <a:pt x="473" y="147"/>
                  <a:pt x="473" y="147"/>
                  <a:pt x="473" y="147"/>
                </a:cubicBezTo>
                <a:cubicBezTo>
                  <a:pt x="473" y="147"/>
                  <a:pt x="473" y="147"/>
                  <a:pt x="473" y="146"/>
                </a:cubicBezTo>
                <a:cubicBezTo>
                  <a:pt x="473" y="146"/>
                  <a:pt x="473" y="146"/>
                  <a:pt x="473" y="146"/>
                </a:cubicBezTo>
                <a:cubicBezTo>
                  <a:pt x="473" y="146"/>
                  <a:pt x="473" y="146"/>
                  <a:pt x="472" y="146"/>
                </a:cubicBezTo>
                <a:cubicBezTo>
                  <a:pt x="472" y="145"/>
                  <a:pt x="472" y="145"/>
                  <a:pt x="471" y="145"/>
                </a:cubicBezTo>
                <a:cubicBezTo>
                  <a:pt x="471" y="145"/>
                  <a:pt x="471" y="145"/>
                  <a:pt x="470" y="145"/>
                </a:cubicBezTo>
                <a:cubicBezTo>
                  <a:pt x="471" y="145"/>
                  <a:pt x="471" y="145"/>
                  <a:pt x="471" y="145"/>
                </a:cubicBezTo>
                <a:cubicBezTo>
                  <a:pt x="471" y="145"/>
                  <a:pt x="470" y="144"/>
                  <a:pt x="470" y="144"/>
                </a:cubicBezTo>
                <a:cubicBezTo>
                  <a:pt x="470" y="144"/>
                  <a:pt x="469" y="144"/>
                  <a:pt x="468" y="144"/>
                </a:cubicBezTo>
                <a:cubicBezTo>
                  <a:pt x="468" y="144"/>
                  <a:pt x="467" y="144"/>
                  <a:pt x="467" y="144"/>
                </a:cubicBezTo>
                <a:cubicBezTo>
                  <a:pt x="467" y="145"/>
                  <a:pt x="466" y="145"/>
                  <a:pt x="466" y="145"/>
                </a:cubicBezTo>
                <a:cubicBezTo>
                  <a:pt x="466" y="145"/>
                  <a:pt x="466" y="145"/>
                  <a:pt x="466" y="145"/>
                </a:cubicBezTo>
                <a:cubicBezTo>
                  <a:pt x="466" y="146"/>
                  <a:pt x="465" y="146"/>
                  <a:pt x="465" y="146"/>
                </a:cubicBezTo>
                <a:cubicBezTo>
                  <a:pt x="465" y="147"/>
                  <a:pt x="465" y="147"/>
                  <a:pt x="465" y="147"/>
                </a:cubicBezTo>
                <a:cubicBezTo>
                  <a:pt x="464" y="147"/>
                  <a:pt x="464" y="147"/>
                  <a:pt x="463" y="147"/>
                </a:cubicBezTo>
                <a:cubicBezTo>
                  <a:pt x="463" y="148"/>
                  <a:pt x="463" y="148"/>
                  <a:pt x="462" y="148"/>
                </a:cubicBezTo>
                <a:cubicBezTo>
                  <a:pt x="463" y="148"/>
                  <a:pt x="463" y="148"/>
                  <a:pt x="463" y="149"/>
                </a:cubicBezTo>
                <a:cubicBezTo>
                  <a:pt x="463" y="149"/>
                  <a:pt x="464" y="149"/>
                  <a:pt x="464" y="149"/>
                </a:cubicBezTo>
                <a:cubicBezTo>
                  <a:pt x="465" y="149"/>
                  <a:pt x="465" y="149"/>
                  <a:pt x="465" y="149"/>
                </a:cubicBezTo>
                <a:cubicBezTo>
                  <a:pt x="465" y="149"/>
                  <a:pt x="465" y="149"/>
                  <a:pt x="465" y="149"/>
                </a:cubicBezTo>
                <a:cubicBezTo>
                  <a:pt x="465" y="149"/>
                  <a:pt x="465" y="150"/>
                  <a:pt x="464" y="150"/>
                </a:cubicBezTo>
                <a:cubicBezTo>
                  <a:pt x="464" y="151"/>
                  <a:pt x="464" y="151"/>
                  <a:pt x="464" y="151"/>
                </a:cubicBezTo>
                <a:cubicBezTo>
                  <a:pt x="464" y="151"/>
                  <a:pt x="463" y="151"/>
                  <a:pt x="463" y="152"/>
                </a:cubicBezTo>
                <a:cubicBezTo>
                  <a:pt x="463" y="151"/>
                  <a:pt x="463" y="151"/>
                  <a:pt x="463" y="151"/>
                </a:cubicBezTo>
                <a:cubicBezTo>
                  <a:pt x="463" y="151"/>
                  <a:pt x="463" y="151"/>
                  <a:pt x="462" y="151"/>
                </a:cubicBezTo>
                <a:cubicBezTo>
                  <a:pt x="463" y="150"/>
                  <a:pt x="463" y="150"/>
                  <a:pt x="463" y="150"/>
                </a:cubicBezTo>
                <a:cubicBezTo>
                  <a:pt x="462" y="150"/>
                  <a:pt x="462" y="150"/>
                  <a:pt x="462" y="150"/>
                </a:cubicBezTo>
                <a:cubicBezTo>
                  <a:pt x="461" y="150"/>
                  <a:pt x="461" y="150"/>
                  <a:pt x="460" y="150"/>
                </a:cubicBezTo>
                <a:cubicBezTo>
                  <a:pt x="460" y="151"/>
                  <a:pt x="460" y="151"/>
                  <a:pt x="460" y="151"/>
                </a:cubicBezTo>
                <a:cubicBezTo>
                  <a:pt x="460" y="151"/>
                  <a:pt x="459" y="152"/>
                  <a:pt x="459" y="152"/>
                </a:cubicBezTo>
                <a:cubicBezTo>
                  <a:pt x="459" y="152"/>
                  <a:pt x="459" y="152"/>
                  <a:pt x="459" y="153"/>
                </a:cubicBezTo>
                <a:cubicBezTo>
                  <a:pt x="458" y="153"/>
                  <a:pt x="458" y="153"/>
                  <a:pt x="458" y="153"/>
                </a:cubicBezTo>
                <a:cubicBezTo>
                  <a:pt x="458" y="154"/>
                  <a:pt x="457" y="154"/>
                  <a:pt x="457" y="155"/>
                </a:cubicBezTo>
                <a:cubicBezTo>
                  <a:pt x="457" y="155"/>
                  <a:pt x="456" y="155"/>
                  <a:pt x="456" y="156"/>
                </a:cubicBezTo>
                <a:cubicBezTo>
                  <a:pt x="456" y="156"/>
                  <a:pt x="456" y="156"/>
                  <a:pt x="456" y="157"/>
                </a:cubicBezTo>
                <a:cubicBezTo>
                  <a:pt x="456" y="157"/>
                  <a:pt x="457" y="157"/>
                  <a:pt x="457" y="157"/>
                </a:cubicBezTo>
                <a:cubicBezTo>
                  <a:pt x="457" y="158"/>
                  <a:pt x="457" y="158"/>
                  <a:pt x="457" y="158"/>
                </a:cubicBezTo>
                <a:cubicBezTo>
                  <a:pt x="457" y="158"/>
                  <a:pt x="457" y="158"/>
                  <a:pt x="457" y="158"/>
                </a:cubicBezTo>
                <a:cubicBezTo>
                  <a:pt x="458" y="158"/>
                  <a:pt x="458" y="157"/>
                  <a:pt x="458" y="157"/>
                </a:cubicBezTo>
                <a:cubicBezTo>
                  <a:pt x="459" y="157"/>
                  <a:pt x="459" y="157"/>
                  <a:pt x="459" y="157"/>
                </a:cubicBezTo>
                <a:cubicBezTo>
                  <a:pt x="459" y="157"/>
                  <a:pt x="459" y="157"/>
                  <a:pt x="459" y="158"/>
                </a:cubicBezTo>
                <a:cubicBezTo>
                  <a:pt x="459" y="158"/>
                  <a:pt x="458" y="158"/>
                  <a:pt x="458" y="158"/>
                </a:cubicBezTo>
                <a:cubicBezTo>
                  <a:pt x="458" y="158"/>
                  <a:pt x="458" y="158"/>
                  <a:pt x="458" y="158"/>
                </a:cubicBezTo>
                <a:cubicBezTo>
                  <a:pt x="458" y="159"/>
                  <a:pt x="457" y="159"/>
                  <a:pt x="457" y="159"/>
                </a:cubicBezTo>
                <a:cubicBezTo>
                  <a:pt x="457" y="159"/>
                  <a:pt x="456" y="159"/>
                  <a:pt x="456" y="159"/>
                </a:cubicBezTo>
                <a:cubicBezTo>
                  <a:pt x="456" y="160"/>
                  <a:pt x="455" y="160"/>
                  <a:pt x="454" y="161"/>
                </a:cubicBezTo>
                <a:cubicBezTo>
                  <a:pt x="454" y="161"/>
                  <a:pt x="454" y="161"/>
                  <a:pt x="454" y="162"/>
                </a:cubicBezTo>
                <a:cubicBezTo>
                  <a:pt x="454" y="162"/>
                  <a:pt x="454" y="163"/>
                  <a:pt x="454" y="163"/>
                </a:cubicBezTo>
                <a:cubicBezTo>
                  <a:pt x="454" y="164"/>
                  <a:pt x="455" y="164"/>
                  <a:pt x="455" y="164"/>
                </a:cubicBezTo>
                <a:cubicBezTo>
                  <a:pt x="455" y="164"/>
                  <a:pt x="455" y="164"/>
                  <a:pt x="455" y="164"/>
                </a:cubicBezTo>
                <a:cubicBezTo>
                  <a:pt x="455" y="165"/>
                  <a:pt x="455" y="165"/>
                  <a:pt x="455" y="165"/>
                </a:cubicBezTo>
                <a:cubicBezTo>
                  <a:pt x="455" y="165"/>
                  <a:pt x="455" y="165"/>
                  <a:pt x="455" y="165"/>
                </a:cubicBezTo>
                <a:cubicBezTo>
                  <a:pt x="455" y="166"/>
                  <a:pt x="455" y="166"/>
                  <a:pt x="455" y="166"/>
                </a:cubicBezTo>
                <a:cubicBezTo>
                  <a:pt x="456" y="166"/>
                  <a:pt x="456" y="166"/>
                  <a:pt x="456" y="166"/>
                </a:cubicBezTo>
                <a:cubicBezTo>
                  <a:pt x="456" y="166"/>
                  <a:pt x="457" y="166"/>
                  <a:pt x="457" y="166"/>
                </a:cubicBezTo>
                <a:cubicBezTo>
                  <a:pt x="457" y="166"/>
                  <a:pt x="457" y="166"/>
                  <a:pt x="457" y="166"/>
                </a:cubicBezTo>
                <a:cubicBezTo>
                  <a:pt x="458" y="166"/>
                  <a:pt x="458" y="166"/>
                  <a:pt x="458" y="167"/>
                </a:cubicBezTo>
                <a:cubicBezTo>
                  <a:pt x="459" y="167"/>
                  <a:pt x="459" y="167"/>
                  <a:pt x="459" y="167"/>
                </a:cubicBezTo>
                <a:cubicBezTo>
                  <a:pt x="459" y="167"/>
                  <a:pt x="460" y="167"/>
                  <a:pt x="460" y="167"/>
                </a:cubicBezTo>
                <a:cubicBezTo>
                  <a:pt x="460" y="167"/>
                  <a:pt x="460" y="166"/>
                  <a:pt x="460" y="166"/>
                </a:cubicBezTo>
                <a:cubicBezTo>
                  <a:pt x="460" y="166"/>
                  <a:pt x="460" y="166"/>
                  <a:pt x="460" y="167"/>
                </a:cubicBezTo>
                <a:cubicBezTo>
                  <a:pt x="461" y="167"/>
                  <a:pt x="461" y="167"/>
                  <a:pt x="461" y="168"/>
                </a:cubicBezTo>
                <a:cubicBezTo>
                  <a:pt x="462" y="168"/>
                  <a:pt x="462" y="168"/>
                  <a:pt x="463" y="167"/>
                </a:cubicBezTo>
                <a:cubicBezTo>
                  <a:pt x="463" y="168"/>
                  <a:pt x="463" y="168"/>
                  <a:pt x="464" y="168"/>
                </a:cubicBezTo>
                <a:cubicBezTo>
                  <a:pt x="464" y="168"/>
                  <a:pt x="464" y="167"/>
                  <a:pt x="465" y="167"/>
                </a:cubicBezTo>
                <a:cubicBezTo>
                  <a:pt x="465" y="167"/>
                  <a:pt x="466" y="167"/>
                  <a:pt x="466" y="167"/>
                </a:cubicBezTo>
                <a:cubicBezTo>
                  <a:pt x="466" y="167"/>
                  <a:pt x="466" y="168"/>
                  <a:pt x="466" y="168"/>
                </a:cubicBezTo>
                <a:cubicBezTo>
                  <a:pt x="466" y="168"/>
                  <a:pt x="466" y="169"/>
                  <a:pt x="465" y="169"/>
                </a:cubicBezTo>
                <a:cubicBezTo>
                  <a:pt x="465" y="170"/>
                  <a:pt x="465" y="170"/>
                  <a:pt x="464" y="170"/>
                </a:cubicBezTo>
                <a:cubicBezTo>
                  <a:pt x="464" y="170"/>
                  <a:pt x="464" y="170"/>
                  <a:pt x="464" y="170"/>
                </a:cubicBezTo>
                <a:cubicBezTo>
                  <a:pt x="464" y="170"/>
                  <a:pt x="464" y="169"/>
                  <a:pt x="464" y="169"/>
                </a:cubicBezTo>
                <a:cubicBezTo>
                  <a:pt x="464" y="169"/>
                  <a:pt x="465" y="169"/>
                  <a:pt x="465" y="169"/>
                </a:cubicBezTo>
                <a:cubicBezTo>
                  <a:pt x="464" y="169"/>
                  <a:pt x="464" y="169"/>
                  <a:pt x="463" y="169"/>
                </a:cubicBezTo>
                <a:cubicBezTo>
                  <a:pt x="463" y="169"/>
                  <a:pt x="463" y="169"/>
                  <a:pt x="462" y="169"/>
                </a:cubicBezTo>
                <a:cubicBezTo>
                  <a:pt x="462" y="170"/>
                  <a:pt x="462" y="170"/>
                  <a:pt x="461" y="170"/>
                </a:cubicBezTo>
                <a:cubicBezTo>
                  <a:pt x="462" y="170"/>
                  <a:pt x="462" y="170"/>
                  <a:pt x="462" y="170"/>
                </a:cubicBezTo>
                <a:cubicBezTo>
                  <a:pt x="462" y="171"/>
                  <a:pt x="462" y="171"/>
                  <a:pt x="462" y="171"/>
                </a:cubicBezTo>
                <a:cubicBezTo>
                  <a:pt x="462" y="171"/>
                  <a:pt x="461" y="171"/>
                  <a:pt x="461" y="172"/>
                </a:cubicBezTo>
                <a:cubicBezTo>
                  <a:pt x="461" y="172"/>
                  <a:pt x="460" y="172"/>
                  <a:pt x="460" y="172"/>
                </a:cubicBezTo>
                <a:cubicBezTo>
                  <a:pt x="460" y="172"/>
                  <a:pt x="460" y="172"/>
                  <a:pt x="460" y="172"/>
                </a:cubicBezTo>
                <a:cubicBezTo>
                  <a:pt x="459" y="173"/>
                  <a:pt x="459" y="173"/>
                  <a:pt x="459" y="174"/>
                </a:cubicBezTo>
                <a:cubicBezTo>
                  <a:pt x="459" y="174"/>
                  <a:pt x="459" y="174"/>
                  <a:pt x="459" y="174"/>
                </a:cubicBezTo>
                <a:cubicBezTo>
                  <a:pt x="460" y="174"/>
                  <a:pt x="460" y="174"/>
                  <a:pt x="460" y="174"/>
                </a:cubicBezTo>
                <a:cubicBezTo>
                  <a:pt x="460" y="174"/>
                  <a:pt x="461" y="174"/>
                  <a:pt x="461" y="174"/>
                </a:cubicBezTo>
                <a:cubicBezTo>
                  <a:pt x="461" y="174"/>
                  <a:pt x="461" y="174"/>
                  <a:pt x="462" y="173"/>
                </a:cubicBezTo>
                <a:cubicBezTo>
                  <a:pt x="462" y="173"/>
                  <a:pt x="462" y="173"/>
                  <a:pt x="462" y="173"/>
                </a:cubicBezTo>
                <a:cubicBezTo>
                  <a:pt x="462" y="173"/>
                  <a:pt x="462" y="172"/>
                  <a:pt x="462" y="172"/>
                </a:cubicBezTo>
                <a:cubicBezTo>
                  <a:pt x="462" y="172"/>
                  <a:pt x="462" y="172"/>
                  <a:pt x="463" y="172"/>
                </a:cubicBezTo>
                <a:cubicBezTo>
                  <a:pt x="463" y="172"/>
                  <a:pt x="463" y="172"/>
                  <a:pt x="463" y="172"/>
                </a:cubicBezTo>
                <a:cubicBezTo>
                  <a:pt x="464" y="172"/>
                  <a:pt x="464" y="172"/>
                  <a:pt x="464" y="172"/>
                </a:cubicBezTo>
                <a:cubicBezTo>
                  <a:pt x="464" y="172"/>
                  <a:pt x="464" y="172"/>
                  <a:pt x="464" y="173"/>
                </a:cubicBezTo>
                <a:cubicBezTo>
                  <a:pt x="464" y="173"/>
                  <a:pt x="463" y="173"/>
                  <a:pt x="463" y="174"/>
                </a:cubicBezTo>
                <a:cubicBezTo>
                  <a:pt x="463" y="174"/>
                  <a:pt x="463" y="174"/>
                  <a:pt x="463" y="175"/>
                </a:cubicBezTo>
                <a:cubicBezTo>
                  <a:pt x="463" y="175"/>
                  <a:pt x="463" y="175"/>
                  <a:pt x="463" y="175"/>
                </a:cubicBezTo>
                <a:cubicBezTo>
                  <a:pt x="463" y="175"/>
                  <a:pt x="463" y="176"/>
                  <a:pt x="463" y="176"/>
                </a:cubicBezTo>
                <a:cubicBezTo>
                  <a:pt x="462" y="176"/>
                  <a:pt x="462" y="176"/>
                  <a:pt x="461" y="176"/>
                </a:cubicBezTo>
                <a:cubicBezTo>
                  <a:pt x="461" y="177"/>
                  <a:pt x="461" y="177"/>
                  <a:pt x="460" y="177"/>
                </a:cubicBezTo>
                <a:cubicBezTo>
                  <a:pt x="460" y="177"/>
                  <a:pt x="460" y="177"/>
                  <a:pt x="460" y="178"/>
                </a:cubicBezTo>
                <a:cubicBezTo>
                  <a:pt x="460" y="178"/>
                  <a:pt x="460" y="178"/>
                  <a:pt x="460" y="178"/>
                </a:cubicBezTo>
                <a:cubicBezTo>
                  <a:pt x="460" y="178"/>
                  <a:pt x="460" y="178"/>
                  <a:pt x="459" y="179"/>
                </a:cubicBezTo>
                <a:cubicBezTo>
                  <a:pt x="459" y="179"/>
                  <a:pt x="458" y="180"/>
                  <a:pt x="457" y="180"/>
                </a:cubicBezTo>
                <a:cubicBezTo>
                  <a:pt x="457" y="180"/>
                  <a:pt x="457" y="181"/>
                  <a:pt x="456" y="181"/>
                </a:cubicBezTo>
                <a:cubicBezTo>
                  <a:pt x="456" y="181"/>
                  <a:pt x="456" y="181"/>
                  <a:pt x="455" y="181"/>
                </a:cubicBezTo>
                <a:cubicBezTo>
                  <a:pt x="455" y="181"/>
                  <a:pt x="455" y="181"/>
                  <a:pt x="455" y="181"/>
                </a:cubicBezTo>
                <a:cubicBezTo>
                  <a:pt x="455" y="181"/>
                  <a:pt x="455" y="181"/>
                  <a:pt x="455" y="181"/>
                </a:cubicBezTo>
                <a:cubicBezTo>
                  <a:pt x="454" y="181"/>
                  <a:pt x="454" y="181"/>
                  <a:pt x="454" y="181"/>
                </a:cubicBezTo>
                <a:cubicBezTo>
                  <a:pt x="454" y="181"/>
                  <a:pt x="454" y="181"/>
                  <a:pt x="454" y="181"/>
                </a:cubicBezTo>
                <a:cubicBezTo>
                  <a:pt x="454" y="182"/>
                  <a:pt x="453" y="182"/>
                  <a:pt x="453" y="182"/>
                </a:cubicBezTo>
                <a:cubicBezTo>
                  <a:pt x="453" y="182"/>
                  <a:pt x="453" y="181"/>
                  <a:pt x="453" y="181"/>
                </a:cubicBezTo>
                <a:cubicBezTo>
                  <a:pt x="453" y="181"/>
                  <a:pt x="453" y="181"/>
                  <a:pt x="453" y="181"/>
                </a:cubicBezTo>
                <a:cubicBezTo>
                  <a:pt x="453" y="181"/>
                  <a:pt x="452" y="182"/>
                  <a:pt x="452" y="182"/>
                </a:cubicBezTo>
                <a:cubicBezTo>
                  <a:pt x="452" y="182"/>
                  <a:pt x="452" y="183"/>
                  <a:pt x="452" y="183"/>
                </a:cubicBezTo>
                <a:cubicBezTo>
                  <a:pt x="452" y="183"/>
                  <a:pt x="451" y="184"/>
                  <a:pt x="451" y="184"/>
                </a:cubicBezTo>
                <a:cubicBezTo>
                  <a:pt x="451" y="184"/>
                  <a:pt x="451" y="184"/>
                  <a:pt x="451" y="185"/>
                </a:cubicBezTo>
                <a:cubicBezTo>
                  <a:pt x="451" y="185"/>
                  <a:pt x="451" y="185"/>
                  <a:pt x="451" y="185"/>
                </a:cubicBezTo>
                <a:cubicBezTo>
                  <a:pt x="452" y="185"/>
                  <a:pt x="452" y="185"/>
                  <a:pt x="452" y="185"/>
                </a:cubicBezTo>
                <a:cubicBezTo>
                  <a:pt x="452" y="186"/>
                  <a:pt x="451" y="186"/>
                  <a:pt x="451" y="187"/>
                </a:cubicBezTo>
                <a:cubicBezTo>
                  <a:pt x="451" y="187"/>
                  <a:pt x="451" y="187"/>
                  <a:pt x="451" y="187"/>
                </a:cubicBezTo>
                <a:cubicBezTo>
                  <a:pt x="452" y="187"/>
                  <a:pt x="452" y="187"/>
                  <a:pt x="452" y="187"/>
                </a:cubicBezTo>
                <a:cubicBezTo>
                  <a:pt x="452" y="188"/>
                  <a:pt x="452" y="188"/>
                  <a:pt x="451" y="188"/>
                </a:cubicBezTo>
                <a:cubicBezTo>
                  <a:pt x="451" y="188"/>
                  <a:pt x="451" y="189"/>
                  <a:pt x="451" y="189"/>
                </a:cubicBezTo>
                <a:cubicBezTo>
                  <a:pt x="451" y="189"/>
                  <a:pt x="451" y="189"/>
                  <a:pt x="451" y="189"/>
                </a:cubicBezTo>
                <a:cubicBezTo>
                  <a:pt x="452" y="189"/>
                  <a:pt x="452" y="188"/>
                  <a:pt x="452" y="188"/>
                </a:cubicBezTo>
                <a:cubicBezTo>
                  <a:pt x="452" y="188"/>
                  <a:pt x="452" y="188"/>
                  <a:pt x="452" y="188"/>
                </a:cubicBezTo>
                <a:cubicBezTo>
                  <a:pt x="453" y="188"/>
                  <a:pt x="453" y="188"/>
                  <a:pt x="454" y="188"/>
                </a:cubicBezTo>
                <a:cubicBezTo>
                  <a:pt x="454" y="187"/>
                  <a:pt x="454" y="187"/>
                  <a:pt x="454" y="187"/>
                </a:cubicBezTo>
                <a:cubicBezTo>
                  <a:pt x="454" y="187"/>
                  <a:pt x="454" y="187"/>
                  <a:pt x="454" y="188"/>
                </a:cubicBezTo>
                <a:cubicBezTo>
                  <a:pt x="453" y="188"/>
                  <a:pt x="453" y="188"/>
                  <a:pt x="453" y="188"/>
                </a:cubicBezTo>
                <a:cubicBezTo>
                  <a:pt x="452" y="188"/>
                  <a:pt x="452" y="189"/>
                  <a:pt x="452" y="189"/>
                </a:cubicBezTo>
                <a:cubicBezTo>
                  <a:pt x="451" y="189"/>
                  <a:pt x="451" y="189"/>
                  <a:pt x="451" y="190"/>
                </a:cubicBezTo>
                <a:cubicBezTo>
                  <a:pt x="451" y="190"/>
                  <a:pt x="451" y="190"/>
                  <a:pt x="451" y="190"/>
                </a:cubicBezTo>
                <a:cubicBezTo>
                  <a:pt x="450" y="191"/>
                  <a:pt x="450" y="191"/>
                  <a:pt x="450" y="191"/>
                </a:cubicBezTo>
                <a:cubicBezTo>
                  <a:pt x="450" y="191"/>
                  <a:pt x="449" y="191"/>
                  <a:pt x="449" y="191"/>
                </a:cubicBezTo>
                <a:cubicBezTo>
                  <a:pt x="448" y="191"/>
                  <a:pt x="448" y="191"/>
                  <a:pt x="448" y="191"/>
                </a:cubicBezTo>
                <a:cubicBezTo>
                  <a:pt x="447" y="191"/>
                  <a:pt x="447" y="191"/>
                  <a:pt x="447" y="191"/>
                </a:cubicBezTo>
                <a:cubicBezTo>
                  <a:pt x="447" y="191"/>
                  <a:pt x="446" y="191"/>
                  <a:pt x="446" y="191"/>
                </a:cubicBezTo>
                <a:cubicBezTo>
                  <a:pt x="446" y="192"/>
                  <a:pt x="447" y="192"/>
                  <a:pt x="447" y="192"/>
                </a:cubicBezTo>
                <a:cubicBezTo>
                  <a:pt x="447" y="193"/>
                  <a:pt x="446" y="194"/>
                  <a:pt x="446" y="194"/>
                </a:cubicBezTo>
                <a:cubicBezTo>
                  <a:pt x="446" y="194"/>
                  <a:pt x="446" y="193"/>
                  <a:pt x="446" y="193"/>
                </a:cubicBezTo>
                <a:cubicBezTo>
                  <a:pt x="446" y="192"/>
                  <a:pt x="446" y="192"/>
                  <a:pt x="446" y="192"/>
                </a:cubicBezTo>
                <a:cubicBezTo>
                  <a:pt x="445" y="192"/>
                  <a:pt x="445" y="191"/>
                  <a:pt x="445" y="191"/>
                </a:cubicBezTo>
                <a:cubicBezTo>
                  <a:pt x="445" y="191"/>
                  <a:pt x="445" y="190"/>
                  <a:pt x="445" y="190"/>
                </a:cubicBezTo>
                <a:cubicBezTo>
                  <a:pt x="445" y="190"/>
                  <a:pt x="445" y="190"/>
                  <a:pt x="445" y="190"/>
                </a:cubicBezTo>
                <a:cubicBezTo>
                  <a:pt x="445" y="190"/>
                  <a:pt x="446" y="191"/>
                  <a:pt x="446" y="191"/>
                </a:cubicBezTo>
                <a:cubicBezTo>
                  <a:pt x="446" y="191"/>
                  <a:pt x="447" y="190"/>
                  <a:pt x="447" y="190"/>
                </a:cubicBezTo>
                <a:cubicBezTo>
                  <a:pt x="447" y="190"/>
                  <a:pt x="448" y="190"/>
                  <a:pt x="448" y="191"/>
                </a:cubicBezTo>
                <a:cubicBezTo>
                  <a:pt x="448" y="191"/>
                  <a:pt x="449" y="191"/>
                  <a:pt x="449" y="191"/>
                </a:cubicBezTo>
                <a:cubicBezTo>
                  <a:pt x="449" y="190"/>
                  <a:pt x="450" y="190"/>
                  <a:pt x="450" y="190"/>
                </a:cubicBezTo>
                <a:cubicBezTo>
                  <a:pt x="450" y="190"/>
                  <a:pt x="450" y="190"/>
                  <a:pt x="450" y="189"/>
                </a:cubicBezTo>
                <a:cubicBezTo>
                  <a:pt x="450" y="189"/>
                  <a:pt x="450" y="189"/>
                  <a:pt x="450" y="188"/>
                </a:cubicBezTo>
                <a:cubicBezTo>
                  <a:pt x="450" y="188"/>
                  <a:pt x="450" y="189"/>
                  <a:pt x="449" y="189"/>
                </a:cubicBezTo>
                <a:cubicBezTo>
                  <a:pt x="449" y="189"/>
                  <a:pt x="449" y="189"/>
                  <a:pt x="448" y="189"/>
                </a:cubicBezTo>
                <a:cubicBezTo>
                  <a:pt x="449" y="189"/>
                  <a:pt x="449" y="188"/>
                  <a:pt x="449" y="188"/>
                </a:cubicBezTo>
                <a:cubicBezTo>
                  <a:pt x="449" y="188"/>
                  <a:pt x="450" y="188"/>
                  <a:pt x="450" y="187"/>
                </a:cubicBezTo>
                <a:cubicBezTo>
                  <a:pt x="449" y="187"/>
                  <a:pt x="449" y="187"/>
                  <a:pt x="449" y="187"/>
                </a:cubicBezTo>
                <a:cubicBezTo>
                  <a:pt x="449" y="188"/>
                  <a:pt x="448" y="188"/>
                  <a:pt x="448" y="188"/>
                </a:cubicBezTo>
                <a:cubicBezTo>
                  <a:pt x="448" y="188"/>
                  <a:pt x="447" y="189"/>
                  <a:pt x="447" y="189"/>
                </a:cubicBezTo>
                <a:cubicBezTo>
                  <a:pt x="447" y="189"/>
                  <a:pt x="447" y="189"/>
                  <a:pt x="447" y="188"/>
                </a:cubicBezTo>
                <a:cubicBezTo>
                  <a:pt x="447" y="188"/>
                  <a:pt x="447" y="188"/>
                  <a:pt x="448" y="188"/>
                </a:cubicBezTo>
                <a:cubicBezTo>
                  <a:pt x="448" y="187"/>
                  <a:pt x="448" y="187"/>
                  <a:pt x="448" y="187"/>
                </a:cubicBezTo>
                <a:cubicBezTo>
                  <a:pt x="447" y="187"/>
                  <a:pt x="447" y="187"/>
                  <a:pt x="447" y="187"/>
                </a:cubicBezTo>
                <a:cubicBezTo>
                  <a:pt x="447" y="187"/>
                  <a:pt x="446" y="187"/>
                  <a:pt x="446" y="188"/>
                </a:cubicBezTo>
                <a:cubicBezTo>
                  <a:pt x="446" y="188"/>
                  <a:pt x="446" y="187"/>
                  <a:pt x="446" y="187"/>
                </a:cubicBezTo>
                <a:cubicBezTo>
                  <a:pt x="446" y="187"/>
                  <a:pt x="446" y="186"/>
                  <a:pt x="446" y="186"/>
                </a:cubicBezTo>
                <a:cubicBezTo>
                  <a:pt x="446" y="186"/>
                  <a:pt x="446" y="185"/>
                  <a:pt x="447" y="185"/>
                </a:cubicBezTo>
                <a:cubicBezTo>
                  <a:pt x="447" y="185"/>
                  <a:pt x="447" y="185"/>
                  <a:pt x="447" y="186"/>
                </a:cubicBezTo>
                <a:cubicBezTo>
                  <a:pt x="447" y="185"/>
                  <a:pt x="447" y="185"/>
                  <a:pt x="447" y="185"/>
                </a:cubicBezTo>
                <a:cubicBezTo>
                  <a:pt x="447" y="185"/>
                  <a:pt x="447" y="185"/>
                  <a:pt x="447" y="185"/>
                </a:cubicBezTo>
                <a:cubicBezTo>
                  <a:pt x="448" y="184"/>
                  <a:pt x="448" y="184"/>
                  <a:pt x="449" y="183"/>
                </a:cubicBezTo>
                <a:cubicBezTo>
                  <a:pt x="449" y="183"/>
                  <a:pt x="449" y="183"/>
                  <a:pt x="449" y="183"/>
                </a:cubicBezTo>
                <a:cubicBezTo>
                  <a:pt x="449" y="182"/>
                  <a:pt x="450" y="182"/>
                  <a:pt x="450" y="182"/>
                </a:cubicBezTo>
                <a:cubicBezTo>
                  <a:pt x="450" y="181"/>
                  <a:pt x="450" y="181"/>
                  <a:pt x="450" y="181"/>
                </a:cubicBezTo>
                <a:cubicBezTo>
                  <a:pt x="450" y="181"/>
                  <a:pt x="450" y="181"/>
                  <a:pt x="451" y="180"/>
                </a:cubicBezTo>
                <a:cubicBezTo>
                  <a:pt x="451" y="180"/>
                  <a:pt x="451" y="180"/>
                  <a:pt x="451" y="180"/>
                </a:cubicBezTo>
                <a:cubicBezTo>
                  <a:pt x="451" y="180"/>
                  <a:pt x="451" y="180"/>
                  <a:pt x="451" y="180"/>
                </a:cubicBezTo>
                <a:cubicBezTo>
                  <a:pt x="451" y="180"/>
                  <a:pt x="451" y="180"/>
                  <a:pt x="450" y="180"/>
                </a:cubicBezTo>
                <a:cubicBezTo>
                  <a:pt x="450" y="180"/>
                  <a:pt x="449" y="180"/>
                  <a:pt x="449" y="180"/>
                </a:cubicBezTo>
                <a:cubicBezTo>
                  <a:pt x="449" y="181"/>
                  <a:pt x="448" y="181"/>
                  <a:pt x="448" y="181"/>
                </a:cubicBezTo>
                <a:cubicBezTo>
                  <a:pt x="448" y="182"/>
                  <a:pt x="448" y="182"/>
                  <a:pt x="447" y="182"/>
                </a:cubicBezTo>
                <a:cubicBezTo>
                  <a:pt x="447" y="182"/>
                  <a:pt x="447" y="182"/>
                  <a:pt x="446" y="182"/>
                </a:cubicBezTo>
                <a:cubicBezTo>
                  <a:pt x="446" y="182"/>
                  <a:pt x="446" y="182"/>
                  <a:pt x="446" y="182"/>
                </a:cubicBezTo>
                <a:cubicBezTo>
                  <a:pt x="447" y="182"/>
                  <a:pt x="447" y="181"/>
                  <a:pt x="448" y="181"/>
                </a:cubicBezTo>
                <a:cubicBezTo>
                  <a:pt x="448" y="181"/>
                  <a:pt x="448" y="181"/>
                  <a:pt x="448" y="181"/>
                </a:cubicBezTo>
                <a:cubicBezTo>
                  <a:pt x="448" y="181"/>
                  <a:pt x="447" y="181"/>
                  <a:pt x="447" y="181"/>
                </a:cubicBezTo>
                <a:cubicBezTo>
                  <a:pt x="447" y="181"/>
                  <a:pt x="446" y="181"/>
                  <a:pt x="446" y="181"/>
                </a:cubicBezTo>
                <a:cubicBezTo>
                  <a:pt x="446" y="181"/>
                  <a:pt x="446" y="181"/>
                  <a:pt x="445" y="181"/>
                </a:cubicBezTo>
                <a:cubicBezTo>
                  <a:pt x="445" y="180"/>
                  <a:pt x="445" y="180"/>
                  <a:pt x="446" y="180"/>
                </a:cubicBezTo>
                <a:cubicBezTo>
                  <a:pt x="446" y="180"/>
                  <a:pt x="446" y="179"/>
                  <a:pt x="445" y="179"/>
                </a:cubicBezTo>
                <a:cubicBezTo>
                  <a:pt x="445" y="179"/>
                  <a:pt x="445" y="179"/>
                  <a:pt x="444" y="179"/>
                </a:cubicBezTo>
                <a:cubicBezTo>
                  <a:pt x="444" y="179"/>
                  <a:pt x="444" y="179"/>
                  <a:pt x="444" y="179"/>
                </a:cubicBezTo>
                <a:cubicBezTo>
                  <a:pt x="444" y="179"/>
                  <a:pt x="444" y="180"/>
                  <a:pt x="444" y="180"/>
                </a:cubicBezTo>
                <a:cubicBezTo>
                  <a:pt x="444" y="180"/>
                  <a:pt x="444" y="179"/>
                  <a:pt x="444" y="179"/>
                </a:cubicBezTo>
                <a:cubicBezTo>
                  <a:pt x="444" y="179"/>
                  <a:pt x="444" y="179"/>
                  <a:pt x="444" y="179"/>
                </a:cubicBezTo>
                <a:cubicBezTo>
                  <a:pt x="444" y="179"/>
                  <a:pt x="443" y="179"/>
                  <a:pt x="443" y="178"/>
                </a:cubicBezTo>
                <a:cubicBezTo>
                  <a:pt x="443" y="178"/>
                  <a:pt x="443" y="179"/>
                  <a:pt x="442" y="179"/>
                </a:cubicBezTo>
                <a:cubicBezTo>
                  <a:pt x="442" y="179"/>
                  <a:pt x="442" y="179"/>
                  <a:pt x="442" y="179"/>
                </a:cubicBezTo>
                <a:cubicBezTo>
                  <a:pt x="442" y="180"/>
                  <a:pt x="441" y="180"/>
                  <a:pt x="441" y="180"/>
                </a:cubicBezTo>
                <a:cubicBezTo>
                  <a:pt x="441" y="180"/>
                  <a:pt x="441" y="180"/>
                  <a:pt x="441" y="181"/>
                </a:cubicBezTo>
                <a:cubicBezTo>
                  <a:pt x="441" y="181"/>
                  <a:pt x="440" y="180"/>
                  <a:pt x="440" y="180"/>
                </a:cubicBezTo>
                <a:cubicBezTo>
                  <a:pt x="440" y="180"/>
                  <a:pt x="440" y="180"/>
                  <a:pt x="440" y="180"/>
                </a:cubicBezTo>
                <a:cubicBezTo>
                  <a:pt x="440" y="180"/>
                  <a:pt x="440" y="180"/>
                  <a:pt x="439" y="180"/>
                </a:cubicBezTo>
                <a:cubicBezTo>
                  <a:pt x="439" y="180"/>
                  <a:pt x="439" y="180"/>
                  <a:pt x="439" y="180"/>
                </a:cubicBezTo>
                <a:cubicBezTo>
                  <a:pt x="439" y="180"/>
                  <a:pt x="439" y="180"/>
                  <a:pt x="438" y="180"/>
                </a:cubicBezTo>
                <a:cubicBezTo>
                  <a:pt x="439" y="180"/>
                  <a:pt x="439" y="181"/>
                  <a:pt x="439" y="181"/>
                </a:cubicBezTo>
                <a:cubicBezTo>
                  <a:pt x="439" y="181"/>
                  <a:pt x="439" y="181"/>
                  <a:pt x="439" y="181"/>
                </a:cubicBezTo>
                <a:cubicBezTo>
                  <a:pt x="439" y="181"/>
                  <a:pt x="439" y="181"/>
                  <a:pt x="439" y="182"/>
                </a:cubicBezTo>
                <a:cubicBezTo>
                  <a:pt x="439" y="182"/>
                  <a:pt x="439" y="182"/>
                  <a:pt x="439" y="182"/>
                </a:cubicBezTo>
                <a:cubicBezTo>
                  <a:pt x="439" y="182"/>
                  <a:pt x="439" y="182"/>
                  <a:pt x="439" y="183"/>
                </a:cubicBezTo>
                <a:cubicBezTo>
                  <a:pt x="439" y="182"/>
                  <a:pt x="439" y="182"/>
                  <a:pt x="438" y="182"/>
                </a:cubicBezTo>
                <a:cubicBezTo>
                  <a:pt x="438" y="182"/>
                  <a:pt x="438" y="182"/>
                  <a:pt x="438" y="182"/>
                </a:cubicBezTo>
                <a:cubicBezTo>
                  <a:pt x="438" y="182"/>
                  <a:pt x="438" y="182"/>
                  <a:pt x="438" y="182"/>
                </a:cubicBezTo>
                <a:cubicBezTo>
                  <a:pt x="438" y="182"/>
                  <a:pt x="438" y="182"/>
                  <a:pt x="438" y="183"/>
                </a:cubicBezTo>
                <a:cubicBezTo>
                  <a:pt x="438" y="183"/>
                  <a:pt x="438" y="183"/>
                  <a:pt x="439" y="184"/>
                </a:cubicBezTo>
                <a:cubicBezTo>
                  <a:pt x="439" y="184"/>
                  <a:pt x="439" y="184"/>
                  <a:pt x="439" y="185"/>
                </a:cubicBezTo>
                <a:cubicBezTo>
                  <a:pt x="440" y="185"/>
                  <a:pt x="440" y="185"/>
                  <a:pt x="441" y="185"/>
                </a:cubicBezTo>
                <a:cubicBezTo>
                  <a:pt x="441" y="185"/>
                  <a:pt x="441" y="185"/>
                  <a:pt x="442" y="185"/>
                </a:cubicBezTo>
                <a:cubicBezTo>
                  <a:pt x="442" y="186"/>
                  <a:pt x="442" y="186"/>
                  <a:pt x="442" y="187"/>
                </a:cubicBezTo>
                <a:cubicBezTo>
                  <a:pt x="442" y="186"/>
                  <a:pt x="442" y="186"/>
                  <a:pt x="441" y="186"/>
                </a:cubicBezTo>
                <a:cubicBezTo>
                  <a:pt x="441" y="186"/>
                  <a:pt x="441" y="186"/>
                  <a:pt x="440" y="186"/>
                </a:cubicBezTo>
                <a:cubicBezTo>
                  <a:pt x="440" y="185"/>
                  <a:pt x="439" y="185"/>
                  <a:pt x="439" y="185"/>
                </a:cubicBezTo>
                <a:cubicBezTo>
                  <a:pt x="438" y="185"/>
                  <a:pt x="438" y="184"/>
                  <a:pt x="438" y="184"/>
                </a:cubicBezTo>
                <a:cubicBezTo>
                  <a:pt x="438" y="184"/>
                  <a:pt x="437" y="183"/>
                  <a:pt x="437" y="183"/>
                </a:cubicBezTo>
                <a:cubicBezTo>
                  <a:pt x="437" y="183"/>
                  <a:pt x="437" y="183"/>
                  <a:pt x="436" y="183"/>
                </a:cubicBezTo>
                <a:cubicBezTo>
                  <a:pt x="436" y="183"/>
                  <a:pt x="436" y="183"/>
                  <a:pt x="436" y="184"/>
                </a:cubicBezTo>
                <a:cubicBezTo>
                  <a:pt x="436" y="184"/>
                  <a:pt x="436" y="184"/>
                  <a:pt x="437" y="184"/>
                </a:cubicBezTo>
                <a:cubicBezTo>
                  <a:pt x="437" y="185"/>
                  <a:pt x="437" y="185"/>
                  <a:pt x="438" y="185"/>
                </a:cubicBezTo>
                <a:cubicBezTo>
                  <a:pt x="438" y="185"/>
                  <a:pt x="438" y="185"/>
                  <a:pt x="438" y="186"/>
                </a:cubicBezTo>
                <a:cubicBezTo>
                  <a:pt x="438" y="186"/>
                  <a:pt x="438" y="186"/>
                  <a:pt x="438" y="186"/>
                </a:cubicBezTo>
                <a:cubicBezTo>
                  <a:pt x="437" y="186"/>
                  <a:pt x="437" y="186"/>
                  <a:pt x="437" y="186"/>
                </a:cubicBezTo>
                <a:cubicBezTo>
                  <a:pt x="436" y="186"/>
                  <a:pt x="435" y="186"/>
                  <a:pt x="435" y="186"/>
                </a:cubicBezTo>
                <a:cubicBezTo>
                  <a:pt x="435" y="186"/>
                  <a:pt x="434" y="187"/>
                  <a:pt x="434" y="187"/>
                </a:cubicBezTo>
                <a:cubicBezTo>
                  <a:pt x="434" y="187"/>
                  <a:pt x="434" y="187"/>
                  <a:pt x="433" y="186"/>
                </a:cubicBezTo>
                <a:cubicBezTo>
                  <a:pt x="433" y="186"/>
                  <a:pt x="433" y="186"/>
                  <a:pt x="432" y="187"/>
                </a:cubicBezTo>
                <a:cubicBezTo>
                  <a:pt x="432" y="186"/>
                  <a:pt x="431" y="186"/>
                  <a:pt x="430" y="186"/>
                </a:cubicBezTo>
                <a:cubicBezTo>
                  <a:pt x="429" y="186"/>
                  <a:pt x="429" y="187"/>
                  <a:pt x="428" y="187"/>
                </a:cubicBezTo>
                <a:cubicBezTo>
                  <a:pt x="428" y="187"/>
                  <a:pt x="428" y="187"/>
                  <a:pt x="428" y="186"/>
                </a:cubicBezTo>
                <a:cubicBezTo>
                  <a:pt x="427" y="186"/>
                  <a:pt x="427" y="187"/>
                  <a:pt x="427" y="187"/>
                </a:cubicBezTo>
                <a:cubicBezTo>
                  <a:pt x="427" y="187"/>
                  <a:pt x="426" y="187"/>
                  <a:pt x="426" y="187"/>
                </a:cubicBezTo>
                <a:cubicBezTo>
                  <a:pt x="426" y="188"/>
                  <a:pt x="426" y="188"/>
                  <a:pt x="425" y="188"/>
                </a:cubicBezTo>
                <a:cubicBezTo>
                  <a:pt x="425" y="188"/>
                  <a:pt x="424" y="188"/>
                  <a:pt x="423" y="189"/>
                </a:cubicBezTo>
                <a:cubicBezTo>
                  <a:pt x="423" y="189"/>
                  <a:pt x="423" y="189"/>
                  <a:pt x="422" y="189"/>
                </a:cubicBezTo>
                <a:cubicBezTo>
                  <a:pt x="422" y="189"/>
                  <a:pt x="421" y="189"/>
                  <a:pt x="421" y="189"/>
                </a:cubicBezTo>
                <a:cubicBezTo>
                  <a:pt x="421" y="189"/>
                  <a:pt x="421" y="189"/>
                  <a:pt x="421" y="189"/>
                </a:cubicBezTo>
                <a:cubicBezTo>
                  <a:pt x="421" y="189"/>
                  <a:pt x="420" y="189"/>
                  <a:pt x="420" y="189"/>
                </a:cubicBezTo>
                <a:cubicBezTo>
                  <a:pt x="420" y="189"/>
                  <a:pt x="420" y="188"/>
                  <a:pt x="420" y="188"/>
                </a:cubicBezTo>
                <a:cubicBezTo>
                  <a:pt x="419" y="189"/>
                  <a:pt x="419" y="189"/>
                  <a:pt x="419" y="189"/>
                </a:cubicBezTo>
                <a:cubicBezTo>
                  <a:pt x="419" y="189"/>
                  <a:pt x="419" y="189"/>
                  <a:pt x="419" y="189"/>
                </a:cubicBezTo>
                <a:cubicBezTo>
                  <a:pt x="418" y="189"/>
                  <a:pt x="417" y="188"/>
                  <a:pt x="417" y="188"/>
                </a:cubicBezTo>
                <a:cubicBezTo>
                  <a:pt x="417" y="188"/>
                  <a:pt x="417" y="188"/>
                  <a:pt x="416" y="188"/>
                </a:cubicBezTo>
                <a:cubicBezTo>
                  <a:pt x="416" y="188"/>
                  <a:pt x="416" y="188"/>
                  <a:pt x="416" y="188"/>
                </a:cubicBezTo>
                <a:cubicBezTo>
                  <a:pt x="416" y="188"/>
                  <a:pt x="416" y="188"/>
                  <a:pt x="416" y="188"/>
                </a:cubicBezTo>
                <a:cubicBezTo>
                  <a:pt x="416" y="187"/>
                  <a:pt x="416" y="187"/>
                  <a:pt x="416" y="187"/>
                </a:cubicBezTo>
                <a:cubicBezTo>
                  <a:pt x="416" y="187"/>
                  <a:pt x="415" y="187"/>
                  <a:pt x="415" y="187"/>
                </a:cubicBezTo>
                <a:cubicBezTo>
                  <a:pt x="415" y="187"/>
                  <a:pt x="415" y="187"/>
                  <a:pt x="415" y="187"/>
                </a:cubicBezTo>
                <a:cubicBezTo>
                  <a:pt x="415" y="187"/>
                  <a:pt x="414" y="187"/>
                  <a:pt x="414" y="187"/>
                </a:cubicBezTo>
                <a:cubicBezTo>
                  <a:pt x="414" y="187"/>
                  <a:pt x="414" y="187"/>
                  <a:pt x="414" y="186"/>
                </a:cubicBezTo>
                <a:cubicBezTo>
                  <a:pt x="414" y="186"/>
                  <a:pt x="414" y="186"/>
                  <a:pt x="414" y="186"/>
                </a:cubicBezTo>
                <a:cubicBezTo>
                  <a:pt x="414" y="187"/>
                  <a:pt x="413" y="187"/>
                  <a:pt x="413" y="187"/>
                </a:cubicBezTo>
                <a:cubicBezTo>
                  <a:pt x="413" y="187"/>
                  <a:pt x="412" y="187"/>
                  <a:pt x="412" y="187"/>
                </a:cubicBezTo>
                <a:cubicBezTo>
                  <a:pt x="411" y="187"/>
                  <a:pt x="411" y="187"/>
                  <a:pt x="411" y="187"/>
                </a:cubicBezTo>
                <a:cubicBezTo>
                  <a:pt x="411" y="187"/>
                  <a:pt x="411" y="187"/>
                  <a:pt x="410" y="187"/>
                </a:cubicBezTo>
                <a:cubicBezTo>
                  <a:pt x="410" y="187"/>
                  <a:pt x="410" y="187"/>
                  <a:pt x="410" y="187"/>
                </a:cubicBezTo>
                <a:cubicBezTo>
                  <a:pt x="410" y="187"/>
                  <a:pt x="409" y="187"/>
                  <a:pt x="409" y="187"/>
                </a:cubicBezTo>
                <a:cubicBezTo>
                  <a:pt x="409" y="187"/>
                  <a:pt x="408" y="187"/>
                  <a:pt x="408" y="187"/>
                </a:cubicBezTo>
                <a:cubicBezTo>
                  <a:pt x="408" y="187"/>
                  <a:pt x="408" y="187"/>
                  <a:pt x="408" y="187"/>
                </a:cubicBezTo>
                <a:cubicBezTo>
                  <a:pt x="408" y="187"/>
                  <a:pt x="408" y="186"/>
                  <a:pt x="408" y="186"/>
                </a:cubicBezTo>
                <a:cubicBezTo>
                  <a:pt x="408" y="186"/>
                  <a:pt x="409" y="186"/>
                  <a:pt x="409" y="186"/>
                </a:cubicBezTo>
                <a:cubicBezTo>
                  <a:pt x="409" y="185"/>
                  <a:pt x="409" y="185"/>
                  <a:pt x="409" y="185"/>
                </a:cubicBezTo>
                <a:cubicBezTo>
                  <a:pt x="409" y="185"/>
                  <a:pt x="408" y="185"/>
                  <a:pt x="408" y="185"/>
                </a:cubicBezTo>
                <a:cubicBezTo>
                  <a:pt x="408" y="185"/>
                  <a:pt x="407" y="185"/>
                  <a:pt x="407" y="185"/>
                </a:cubicBezTo>
                <a:cubicBezTo>
                  <a:pt x="407" y="185"/>
                  <a:pt x="407" y="185"/>
                  <a:pt x="406" y="184"/>
                </a:cubicBezTo>
                <a:cubicBezTo>
                  <a:pt x="406" y="184"/>
                  <a:pt x="406" y="184"/>
                  <a:pt x="406" y="184"/>
                </a:cubicBezTo>
                <a:cubicBezTo>
                  <a:pt x="406" y="184"/>
                  <a:pt x="406" y="184"/>
                  <a:pt x="406" y="184"/>
                </a:cubicBezTo>
                <a:cubicBezTo>
                  <a:pt x="406" y="184"/>
                  <a:pt x="406" y="183"/>
                  <a:pt x="407" y="183"/>
                </a:cubicBezTo>
                <a:cubicBezTo>
                  <a:pt x="407" y="183"/>
                  <a:pt x="407" y="183"/>
                  <a:pt x="407" y="183"/>
                </a:cubicBezTo>
                <a:cubicBezTo>
                  <a:pt x="406" y="183"/>
                  <a:pt x="406" y="183"/>
                  <a:pt x="406" y="183"/>
                </a:cubicBezTo>
                <a:cubicBezTo>
                  <a:pt x="406" y="183"/>
                  <a:pt x="406" y="182"/>
                  <a:pt x="406" y="182"/>
                </a:cubicBezTo>
                <a:cubicBezTo>
                  <a:pt x="406" y="182"/>
                  <a:pt x="406" y="181"/>
                  <a:pt x="406" y="181"/>
                </a:cubicBezTo>
                <a:cubicBezTo>
                  <a:pt x="406" y="181"/>
                  <a:pt x="406" y="180"/>
                  <a:pt x="405" y="180"/>
                </a:cubicBezTo>
                <a:cubicBezTo>
                  <a:pt x="405" y="180"/>
                  <a:pt x="405" y="180"/>
                  <a:pt x="405" y="180"/>
                </a:cubicBezTo>
                <a:cubicBezTo>
                  <a:pt x="405" y="180"/>
                  <a:pt x="404" y="180"/>
                  <a:pt x="404" y="180"/>
                </a:cubicBezTo>
                <a:cubicBezTo>
                  <a:pt x="404" y="180"/>
                  <a:pt x="404" y="180"/>
                  <a:pt x="403" y="180"/>
                </a:cubicBezTo>
                <a:cubicBezTo>
                  <a:pt x="403" y="180"/>
                  <a:pt x="403" y="180"/>
                  <a:pt x="402" y="181"/>
                </a:cubicBezTo>
                <a:cubicBezTo>
                  <a:pt x="402" y="181"/>
                  <a:pt x="402" y="181"/>
                  <a:pt x="401" y="181"/>
                </a:cubicBezTo>
                <a:cubicBezTo>
                  <a:pt x="400" y="181"/>
                  <a:pt x="399" y="182"/>
                  <a:pt x="398" y="182"/>
                </a:cubicBezTo>
                <a:cubicBezTo>
                  <a:pt x="397" y="183"/>
                  <a:pt x="396" y="183"/>
                  <a:pt x="394" y="183"/>
                </a:cubicBezTo>
                <a:cubicBezTo>
                  <a:pt x="394" y="183"/>
                  <a:pt x="393" y="184"/>
                  <a:pt x="393" y="184"/>
                </a:cubicBezTo>
                <a:cubicBezTo>
                  <a:pt x="393" y="184"/>
                  <a:pt x="392" y="184"/>
                  <a:pt x="392" y="184"/>
                </a:cubicBezTo>
                <a:cubicBezTo>
                  <a:pt x="392" y="184"/>
                  <a:pt x="391" y="185"/>
                  <a:pt x="391" y="186"/>
                </a:cubicBezTo>
                <a:cubicBezTo>
                  <a:pt x="391" y="186"/>
                  <a:pt x="390" y="186"/>
                  <a:pt x="390" y="186"/>
                </a:cubicBezTo>
                <a:cubicBezTo>
                  <a:pt x="390" y="186"/>
                  <a:pt x="390" y="187"/>
                  <a:pt x="390" y="187"/>
                </a:cubicBezTo>
                <a:cubicBezTo>
                  <a:pt x="390" y="187"/>
                  <a:pt x="390" y="187"/>
                  <a:pt x="391" y="187"/>
                </a:cubicBezTo>
                <a:cubicBezTo>
                  <a:pt x="391" y="187"/>
                  <a:pt x="391" y="187"/>
                  <a:pt x="391" y="187"/>
                </a:cubicBezTo>
                <a:cubicBezTo>
                  <a:pt x="391" y="186"/>
                  <a:pt x="392" y="186"/>
                  <a:pt x="392" y="186"/>
                </a:cubicBezTo>
                <a:cubicBezTo>
                  <a:pt x="392" y="187"/>
                  <a:pt x="392" y="187"/>
                  <a:pt x="392" y="187"/>
                </a:cubicBezTo>
                <a:cubicBezTo>
                  <a:pt x="391" y="187"/>
                  <a:pt x="391" y="188"/>
                  <a:pt x="391" y="188"/>
                </a:cubicBezTo>
                <a:cubicBezTo>
                  <a:pt x="391" y="188"/>
                  <a:pt x="391" y="188"/>
                  <a:pt x="391" y="188"/>
                </a:cubicBezTo>
                <a:cubicBezTo>
                  <a:pt x="392" y="188"/>
                  <a:pt x="392" y="188"/>
                  <a:pt x="393" y="188"/>
                </a:cubicBezTo>
                <a:cubicBezTo>
                  <a:pt x="393" y="188"/>
                  <a:pt x="393" y="188"/>
                  <a:pt x="393" y="188"/>
                </a:cubicBezTo>
                <a:cubicBezTo>
                  <a:pt x="394" y="188"/>
                  <a:pt x="394" y="188"/>
                  <a:pt x="394" y="187"/>
                </a:cubicBezTo>
                <a:cubicBezTo>
                  <a:pt x="394" y="187"/>
                  <a:pt x="394" y="187"/>
                  <a:pt x="394" y="187"/>
                </a:cubicBezTo>
                <a:cubicBezTo>
                  <a:pt x="394" y="187"/>
                  <a:pt x="394" y="187"/>
                  <a:pt x="393" y="187"/>
                </a:cubicBezTo>
                <a:cubicBezTo>
                  <a:pt x="393" y="187"/>
                  <a:pt x="393" y="186"/>
                  <a:pt x="393" y="186"/>
                </a:cubicBezTo>
                <a:cubicBezTo>
                  <a:pt x="394" y="186"/>
                  <a:pt x="394" y="186"/>
                  <a:pt x="394" y="186"/>
                </a:cubicBezTo>
                <a:cubicBezTo>
                  <a:pt x="394" y="186"/>
                  <a:pt x="394" y="186"/>
                  <a:pt x="394" y="186"/>
                </a:cubicBezTo>
                <a:cubicBezTo>
                  <a:pt x="395" y="186"/>
                  <a:pt x="395" y="186"/>
                  <a:pt x="395" y="186"/>
                </a:cubicBezTo>
                <a:cubicBezTo>
                  <a:pt x="396" y="186"/>
                  <a:pt x="396" y="186"/>
                  <a:pt x="396" y="186"/>
                </a:cubicBezTo>
                <a:cubicBezTo>
                  <a:pt x="397" y="186"/>
                  <a:pt x="397" y="186"/>
                  <a:pt x="397" y="186"/>
                </a:cubicBezTo>
                <a:cubicBezTo>
                  <a:pt x="397" y="185"/>
                  <a:pt x="397" y="185"/>
                  <a:pt x="397" y="185"/>
                </a:cubicBezTo>
                <a:cubicBezTo>
                  <a:pt x="397" y="185"/>
                  <a:pt x="398" y="185"/>
                  <a:pt x="398" y="184"/>
                </a:cubicBezTo>
                <a:cubicBezTo>
                  <a:pt x="398" y="185"/>
                  <a:pt x="398" y="185"/>
                  <a:pt x="398" y="185"/>
                </a:cubicBezTo>
                <a:cubicBezTo>
                  <a:pt x="398" y="185"/>
                  <a:pt x="399" y="185"/>
                  <a:pt x="399" y="186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399" y="185"/>
                  <a:pt x="400" y="184"/>
                  <a:pt x="400" y="184"/>
                </a:cubicBezTo>
                <a:cubicBezTo>
                  <a:pt x="400" y="184"/>
                  <a:pt x="400" y="184"/>
                  <a:pt x="400" y="184"/>
                </a:cubicBezTo>
                <a:cubicBezTo>
                  <a:pt x="400" y="184"/>
                  <a:pt x="401" y="184"/>
                  <a:pt x="401" y="184"/>
                </a:cubicBezTo>
                <a:cubicBezTo>
                  <a:pt x="402" y="183"/>
                  <a:pt x="402" y="183"/>
                  <a:pt x="403" y="182"/>
                </a:cubicBezTo>
                <a:cubicBezTo>
                  <a:pt x="403" y="182"/>
                  <a:pt x="404" y="182"/>
                  <a:pt x="404" y="182"/>
                </a:cubicBezTo>
                <a:cubicBezTo>
                  <a:pt x="404" y="182"/>
                  <a:pt x="404" y="182"/>
                  <a:pt x="404" y="182"/>
                </a:cubicBezTo>
                <a:cubicBezTo>
                  <a:pt x="404" y="182"/>
                  <a:pt x="405" y="182"/>
                  <a:pt x="405" y="182"/>
                </a:cubicBezTo>
                <a:cubicBezTo>
                  <a:pt x="405" y="182"/>
                  <a:pt x="405" y="183"/>
                  <a:pt x="405" y="183"/>
                </a:cubicBezTo>
                <a:cubicBezTo>
                  <a:pt x="405" y="183"/>
                  <a:pt x="405" y="183"/>
                  <a:pt x="405" y="183"/>
                </a:cubicBezTo>
                <a:cubicBezTo>
                  <a:pt x="405" y="184"/>
                  <a:pt x="404" y="184"/>
                  <a:pt x="404" y="184"/>
                </a:cubicBezTo>
                <a:cubicBezTo>
                  <a:pt x="404" y="184"/>
                  <a:pt x="404" y="184"/>
                  <a:pt x="403" y="184"/>
                </a:cubicBezTo>
                <a:cubicBezTo>
                  <a:pt x="403" y="184"/>
                  <a:pt x="403" y="185"/>
                  <a:pt x="403" y="185"/>
                </a:cubicBezTo>
                <a:cubicBezTo>
                  <a:pt x="402" y="185"/>
                  <a:pt x="402" y="185"/>
                  <a:pt x="402" y="185"/>
                </a:cubicBezTo>
                <a:cubicBezTo>
                  <a:pt x="402" y="185"/>
                  <a:pt x="401" y="185"/>
                  <a:pt x="401" y="185"/>
                </a:cubicBezTo>
                <a:cubicBezTo>
                  <a:pt x="401" y="185"/>
                  <a:pt x="401" y="185"/>
                  <a:pt x="400" y="185"/>
                </a:cubicBezTo>
                <a:cubicBezTo>
                  <a:pt x="400" y="186"/>
                  <a:pt x="400" y="186"/>
                  <a:pt x="400" y="186"/>
                </a:cubicBezTo>
                <a:cubicBezTo>
                  <a:pt x="400" y="187"/>
                  <a:pt x="400" y="187"/>
                  <a:pt x="400" y="187"/>
                </a:cubicBezTo>
                <a:cubicBezTo>
                  <a:pt x="400" y="187"/>
                  <a:pt x="401" y="188"/>
                  <a:pt x="401" y="188"/>
                </a:cubicBezTo>
                <a:cubicBezTo>
                  <a:pt x="401" y="188"/>
                  <a:pt x="400" y="187"/>
                  <a:pt x="400" y="187"/>
                </a:cubicBezTo>
                <a:cubicBezTo>
                  <a:pt x="400" y="187"/>
                  <a:pt x="400" y="187"/>
                  <a:pt x="400" y="187"/>
                </a:cubicBezTo>
                <a:cubicBezTo>
                  <a:pt x="399" y="187"/>
                  <a:pt x="399" y="187"/>
                  <a:pt x="399" y="187"/>
                </a:cubicBezTo>
                <a:cubicBezTo>
                  <a:pt x="399" y="187"/>
                  <a:pt x="399" y="187"/>
                  <a:pt x="398" y="187"/>
                </a:cubicBezTo>
                <a:cubicBezTo>
                  <a:pt x="398" y="187"/>
                  <a:pt x="398" y="188"/>
                  <a:pt x="398" y="188"/>
                </a:cubicBezTo>
                <a:cubicBezTo>
                  <a:pt x="398" y="188"/>
                  <a:pt x="397" y="188"/>
                  <a:pt x="397" y="188"/>
                </a:cubicBezTo>
                <a:cubicBezTo>
                  <a:pt x="397" y="188"/>
                  <a:pt x="396" y="189"/>
                  <a:pt x="396" y="189"/>
                </a:cubicBezTo>
                <a:cubicBezTo>
                  <a:pt x="396" y="189"/>
                  <a:pt x="396" y="188"/>
                  <a:pt x="396" y="188"/>
                </a:cubicBezTo>
                <a:cubicBezTo>
                  <a:pt x="396" y="188"/>
                  <a:pt x="396" y="188"/>
                  <a:pt x="396" y="188"/>
                </a:cubicBezTo>
                <a:cubicBezTo>
                  <a:pt x="395" y="189"/>
                  <a:pt x="395" y="189"/>
                  <a:pt x="395" y="189"/>
                </a:cubicBezTo>
                <a:cubicBezTo>
                  <a:pt x="395" y="189"/>
                  <a:pt x="395" y="189"/>
                  <a:pt x="394" y="190"/>
                </a:cubicBezTo>
                <a:cubicBezTo>
                  <a:pt x="394" y="190"/>
                  <a:pt x="394" y="189"/>
                  <a:pt x="394" y="189"/>
                </a:cubicBezTo>
                <a:cubicBezTo>
                  <a:pt x="393" y="189"/>
                  <a:pt x="393" y="190"/>
                  <a:pt x="393" y="190"/>
                </a:cubicBezTo>
                <a:cubicBezTo>
                  <a:pt x="393" y="190"/>
                  <a:pt x="393" y="190"/>
                  <a:pt x="393" y="190"/>
                </a:cubicBezTo>
                <a:cubicBezTo>
                  <a:pt x="393" y="190"/>
                  <a:pt x="393" y="190"/>
                  <a:pt x="393" y="191"/>
                </a:cubicBezTo>
                <a:cubicBezTo>
                  <a:pt x="392" y="191"/>
                  <a:pt x="392" y="191"/>
                  <a:pt x="391" y="191"/>
                </a:cubicBezTo>
                <a:cubicBezTo>
                  <a:pt x="391" y="191"/>
                  <a:pt x="391" y="191"/>
                  <a:pt x="390" y="192"/>
                </a:cubicBezTo>
                <a:cubicBezTo>
                  <a:pt x="390" y="192"/>
                  <a:pt x="390" y="192"/>
                  <a:pt x="391" y="192"/>
                </a:cubicBezTo>
                <a:cubicBezTo>
                  <a:pt x="391" y="192"/>
                  <a:pt x="391" y="193"/>
                  <a:pt x="391" y="193"/>
                </a:cubicBezTo>
                <a:cubicBezTo>
                  <a:pt x="391" y="193"/>
                  <a:pt x="391" y="194"/>
                  <a:pt x="391" y="195"/>
                </a:cubicBezTo>
                <a:cubicBezTo>
                  <a:pt x="391" y="195"/>
                  <a:pt x="390" y="196"/>
                  <a:pt x="390" y="196"/>
                </a:cubicBezTo>
                <a:cubicBezTo>
                  <a:pt x="390" y="196"/>
                  <a:pt x="390" y="197"/>
                  <a:pt x="390" y="197"/>
                </a:cubicBezTo>
                <a:cubicBezTo>
                  <a:pt x="391" y="197"/>
                  <a:pt x="391" y="197"/>
                  <a:pt x="392" y="197"/>
                </a:cubicBezTo>
                <a:cubicBezTo>
                  <a:pt x="392" y="197"/>
                  <a:pt x="392" y="197"/>
                  <a:pt x="392" y="197"/>
                </a:cubicBezTo>
                <a:cubicBezTo>
                  <a:pt x="391" y="198"/>
                  <a:pt x="391" y="198"/>
                  <a:pt x="390" y="198"/>
                </a:cubicBezTo>
                <a:cubicBezTo>
                  <a:pt x="391" y="198"/>
                  <a:pt x="391" y="198"/>
                  <a:pt x="391" y="198"/>
                </a:cubicBezTo>
                <a:cubicBezTo>
                  <a:pt x="391" y="198"/>
                  <a:pt x="391" y="199"/>
                  <a:pt x="392" y="199"/>
                </a:cubicBezTo>
                <a:cubicBezTo>
                  <a:pt x="392" y="199"/>
                  <a:pt x="392" y="199"/>
                  <a:pt x="392" y="199"/>
                </a:cubicBezTo>
                <a:cubicBezTo>
                  <a:pt x="392" y="200"/>
                  <a:pt x="391" y="200"/>
                  <a:pt x="391" y="200"/>
                </a:cubicBezTo>
                <a:cubicBezTo>
                  <a:pt x="391" y="200"/>
                  <a:pt x="391" y="200"/>
                  <a:pt x="391" y="200"/>
                </a:cubicBezTo>
                <a:cubicBezTo>
                  <a:pt x="391" y="200"/>
                  <a:pt x="391" y="200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200"/>
                  <a:pt x="390" y="199"/>
                  <a:pt x="390" y="199"/>
                </a:cubicBezTo>
                <a:cubicBezTo>
                  <a:pt x="390" y="199"/>
                  <a:pt x="390" y="199"/>
                  <a:pt x="390" y="199"/>
                </a:cubicBezTo>
                <a:cubicBezTo>
                  <a:pt x="390" y="199"/>
                  <a:pt x="390" y="199"/>
                  <a:pt x="389" y="199"/>
                </a:cubicBezTo>
                <a:cubicBezTo>
                  <a:pt x="389" y="200"/>
                  <a:pt x="389" y="200"/>
                  <a:pt x="388" y="201"/>
                </a:cubicBezTo>
                <a:cubicBezTo>
                  <a:pt x="388" y="201"/>
                  <a:pt x="388" y="202"/>
                  <a:pt x="389" y="202"/>
                </a:cubicBezTo>
                <a:cubicBezTo>
                  <a:pt x="389" y="203"/>
                  <a:pt x="389" y="203"/>
                  <a:pt x="390" y="204"/>
                </a:cubicBezTo>
                <a:cubicBezTo>
                  <a:pt x="390" y="205"/>
                  <a:pt x="390" y="205"/>
                  <a:pt x="390" y="206"/>
                </a:cubicBezTo>
                <a:cubicBezTo>
                  <a:pt x="390" y="206"/>
                  <a:pt x="390" y="205"/>
                  <a:pt x="389" y="204"/>
                </a:cubicBezTo>
                <a:cubicBezTo>
                  <a:pt x="389" y="204"/>
                  <a:pt x="389" y="204"/>
                  <a:pt x="388" y="203"/>
                </a:cubicBezTo>
                <a:cubicBezTo>
                  <a:pt x="388" y="203"/>
                  <a:pt x="388" y="203"/>
                  <a:pt x="388" y="203"/>
                </a:cubicBezTo>
                <a:cubicBezTo>
                  <a:pt x="388" y="203"/>
                  <a:pt x="388" y="203"/>
                  <a:pt x="388" y="202"/>
                </a:cubicBezTo>
                <a:cubicBezTo>
                  <a:pt x="388" y="202"/>
                  <a:pt x="388" y="202"/>
                  <a:pt x="388" y="202"/>
                </a:cubicBezTo>
                <a:cubicBezTo>
                  <a:pt x="388" y="202"/>
                  <a:pt x="387" y="202"/>
                  <a:pt x="387" y="202"/>
                </a:cubicBezTo>
                <a:cubicBezTo>
                  <a:pt x="387" y="201"/>
                  <a:pt x="387" y="201"/>
                  <a:pt x="387" y="201"/>
                </a:cubicBezTo>
                <a:cubicBezTo>
                  <a:pt x="387" y="200"/>
                  <a:pt x="387" y="200"/>
                  <a:pt x="386" y="199"/>
                </a:cubicBezTo>
                <a:cubicBezTo>
                  <a:pt x="386" y="199"/>
                  <a:pt x="386" y="199"/>
                  <a:pt x="385" y="199"/>
                </a:cubicBezTo>
                <a:cubicBezTo>
                  <a:pt x="385" y="198"/>
                  <a:pt x="385" y="198"/>
                  <a:pt x="385" y="198"/>
                </a:cubicBezTo>
                <a:cubicBezTo>
                  <a:pt x="385" y="197"/>
                  <a:pt x="385" y="197"/>
                  <a:pt x="386" y="197"/>
                </a:cubicBezTo>
                <a:cubicBezTo>
                  <a:pt x="386" y="196"/>
                  <a:pt x="386" y="196"/>
                  <a:pt x="386" y="195"/>
                </a:cubicBezTo>
                <a:cubicBezTo>
                  <a:pt x="386" y="195"/>
                  <a:pt x="386" y="195"/>
                  <a:pt x="386" y="194"/>
                </a:cubicBezTo>
                <a:cubicBezTo>
                  <a:pt x="386" y="194"/>
                  <a:pt x="386" y="194"/>
                  <a:pt x="386" y="194"/>
                </a:cubicBezTo>
                <a:cubicBezTo>
                  <a:pt x="385" y="195"/>
                  <a:pt x="385" y="195"/>
                  <a:pt x="385" y="195"/>
                </a:cubicBezTo>
                <a:cubicBezTo>
                  <a:pt x="385" y="195"/>
                  <a:pt x="385" y="196"/>
                  <a:pt x="385" y="196"/>
                </a:cubicBezTo>
                <a:cubicBezTo>
                  <a:pt x="385" y="196"/>
                  <a:pt x="385" y="196"/>
                  <a:pt x="385" y="197"/>
                </a:cubicBezTo>
                <a:cubicBezTo>
                  <a:pt x="385" y="197"/>
                  <a:pt x="384" y="197"/>
                  <a:pt x="384" y="197"/>
                </a:cubicBezTo>
                <a:cubicBezTo>
                  <a:pt x="384" y="196"/>
                  <a:pt x="384" y="196"/>
                  <a:pt x="384" y="196"/>
                </a:cubicBezTo>
                <a:cubicBezTo>
                  <a:pt x="384" y="195"/>
                  <a:pt x="384" y="195"/>
                  <a:pt x="384" y="195"/>
                </a:cubicBezTo>
                <a:cubicBezTo>
                  <a:pt x="384" y="194"/>
                  <a:pt x="384" y="194"/>
                  <a:pt x="384" y="194"/>
                </a:cubicBezTo>
                <a:cubicBezTo>
                  <a:pt x="384" y="194"/>
                  <a:pt x="384" y="194"/>
                  <a:pt x="383" y="194"/>
                </a:cubicBezTo>
                <a:cubicBezTo>
                  <a:pt x="383" y="194"/>
                  <a:pt x="383" y="194"/>
                  <a:pt x="383" y="194"/>
                </a:cubicBezTo>
                <a:cubicBezTo>
                  <a:pt x="383" y="194"/>
                  <a:pt x="383" y="194"/>
                  <a:pt x="382" y="194"/>
                </a:cubicBezTo>
                <a:cubicBezTo>
                  <a:pt x="382" y="194"/>
                  <a:pt x="382" y="194"/>
                  <a:pt x="382" y="194"/>
                </a:cubicBezTo>
                <a:cubicBezTo>
                  <a:pt x="382" y="194"/>
                  <a:pt x="382" y="194"/>
                  <a:pt x="382" y="193"/>
                </a:cubicBezTo>
                <a:cubicBezTo>
                  <a:pt x="382" y="193"/>
                  <a:pt x="382" y="193"/>
                  <a:pt x="382" y="193"/>
                </a:cubicBezTo>
                <a:cubicBezTo>
                  <a:pt x="382" y="193"/>
                  <a:pt x="381" y="193"/>
                  <a:pt x="381" y="193"/>
                </a:cubicBezTo>
                <a:cubicBezTo>
                  <a:pt x="381" y="193"/>
                  <a:pt x="381" y="193"/>
                  <a:pt x="381" y="193"/>
                </a:cubicBezTo>
                <a:cubicBezTo>
                  <a:pt x="381" y="192"/>
                  <a:pt x="381" y="192"/>
                  <a:pt x="381" y="192"/>
                </a:cubicBezTo>
                <a:cubicBezTo>
                  <a:pt x="381" y="192"/>
                  <a:pt x="381" y="192"/>
                  <a:pt x="381" y="191"/>
                </a:cubicBezTo>
                <a:cubicBezTo>
                  <a:pt x="381" y="192"/>
                  <a:pt x="381" y="192"/>
                  <a:pt x="380" y="192"/>
                </a:cubicBezTo>
                <a:cubicBezTo>
                  <a:pt x="379" y="192"/>
                  <a:pt x="378" y="193"/>
                  <a:pt x="377" y="193"/>
                </a:cubicBezTo>
                <a:cubicBezTo>
                  <a:pt x="377" y="194"/>
                  <a:pt x="376" y="194"/>
                  <a:pt x="376" y="195"/>
                </a:cubicBezTo>
                <a:cubicBezTo>
                  <a:pt x="375" y="195"/>
                  <a:pt x="375" y="195"/>
                  <a:pt x="375" y="195"/>
                </a:cubicBezTo>
                <a:cubicBezTo>
                  <a:pt x="375" y="195"/>
                  <a:pt x="375" y="194"/>
                  <a:pt x="375" y="194"/>
                </a:cubicBezTo>
                <a:cubicBezTo>
                  <a:pt x="375" y="194"/>
                  <a:pt x="375" y="194"/>
                  <a:pt x="374" y="194"/>
                </a:cubicBezTo>
                <a:cubicBezTo>
                  <a:pt x="374" y="195"/>
                  <a:pt x="374" y="195"/>
                  <a:pt x="374" y="195"/>
                </a:cubicBezTo>
                <a:cubicBezTo>
                  <a:pt x="374" y="195"/>
                  <a:pt x="373" y="195"/>
                  <a:pt x="373" y="195"/>
                </a:cubicBezTo>
                <a:cubicBezTo>
                  <a:pt x="373" y="195"/>
                  <a:pt x="373" y="195"/>
                  <a:pt x="372" y="195"/>
                </a:cubicBezTo>
                <a:cubicBezTo>
                  <a:pt x="372" y="196"/>
                  <a:pt x="372" y="196"/>
                  <a:pt x="371" y="197"/>
                </a:cubicBezTo>
                <a:cubicBezTo>
                  <a:pt x="371" y="196"/>
                  <a:pt x="371" y="196"/>
                  <a:pt x="371" y="196"/>
                </a:cubicBezTo>
                <a:cubicBezTo>
                  <a:pt x="371" y="196"/>
                  <a:pt x="370" y="196"/>
                  <a:pt x="370" y="196"/>
                </a:cubicBezTo>
                <a:cubicBezTo>
                  <a:pt x="370" y="196"/>
                  <a:pt x="369" y="196"/>
                  <a:pt x="369" y="196"/>
                </a:cubicBezTo>
                <a:cubicBezTo>
                  <a:pt x="369" y="196"/>
                  <a:pt x="369" y="196"/>
                  <a:pt x="369" y="197"/>
                </a:cubicBezTo>
                <a:cubicBezTo>
                  <a:pt x="369" y="197"/>
                  <a:pt x="368" y="197"/>
                  <a:pt x="368" y="197"/>
                </a:cubicBezTo>
                <a:cubicBezTo>
                  <a:pt x="367" y="197"/>
                  <a:pt x="366" y="197"/>
                  <a:pt x="365" y="197"/>
                </a:cubicBezTo>
                <a:cubicBezTo>
                  <a:pt x="365" y="197"/>
                  <a:pt x="364" y="197"/>
                  <a:pt x="363" y="197"/>
                </a:cubicBezTo>
                <a:cubicBezTo>
                  <a:pt x="363" y="197"/>
                  <a:pt x="362" y="197"/>
                  <a:pt x="361" y="197"/>
                </a:cubicBezTo>
                <a:cubicBezTo>
                  <a:pt x="361" y="197"/>
                  <a:pt x="360" y="198"/>
                  <a:pt x="360" y="198"/>
                </a:cubicBezTo>
                <a:cubicBezTo>
                  <a:pt x="360" y="198"/>
                  <a:pt x="360" y="197"/>
                  <a:pt x="360" y="197"/>
                </a:cubicBezTo>
                <a:cubicBezTo>
                  <a:pt x="359" y="197"/>
                  <a:pt x="359" y="197"/>
                  <a:pt x="358" y="197"/>
                </a:cubicBezTo>
                <a:cubicBezTo>
                  <a:pt x="358" y="197"/>
                  <a:pt x="358" y="197"/>
                  <a:pt x="357" y="197"/>
                </a:cubicBezTo>
                <a:cubicBezTo>
                  <a:pt x="357" y="197"/>
                  <a:pt x="357" y="197"/>
                  <a:pt x="356" y="197"/>
                </a:cubicBezTo>
                <a:cubicBezTo>
                  <a:pt x="356" y="197"/>
                  <a:pt x="356" y="197"/>
                  <a:pt x="356" y="197"/>
                </a:cubicBezTo>
                <a:cubicBezTo>
                  <a:pt x="355" y="197"/>
                  <a:pt x="355" y="197"/>
                  <a:pt x="355" y="197"/>
                </a:cubicBezTo>
                <a:cubicBezTo>
                  <a:pt x="354" y="197"/>
                  <a:pt x="354" y="196"/>
                  <a:pt x="354" y="196"/>
                </a:cubicBezTo>
                <a:cubicBezTo>
                  <a:pt x="354" y="196"/>
                  <a:pt x="355" y="196"/>
                  <a:pt x="355" y="196"/>
                </a:cubicBezTo>
                <a:cubicBezTo>
                  <a:pt x="355" y="196"/>
                  <a:pt x="356" y="196"/>
                  <a:pt x="356" y="196"/>
                </a:cubicBezTo>
                <a:cubicBezTo>
                  <a:pt x="356" y="195"/>
                  <a:pt x="356" y="195"/>
                  <a:pt x="356" y="195"/>
                </a:cubicBezTo>
                <a:cubicBezTo>
                  <a:pt x="356" y="195"/>
                  <a:pt x="357" y="194"/>
                  <a:pt x="357" y="194"/>
                </a:cubicBezTo>
                <a:cubicBezTo>
                  <a:pt x="357" y="194"/>
                  <a:pt x="357" y="194"/>
                  <a:pt x="356" y="194"/>
                </a:cubicBezTo>
                <a:cubicBezTo>
                  <a:pt x="357" y="194"/>
                  <a:pt x="357" y="193"/>
                  <a:pt x="357" y="193"/>
                </a:cubicBezTo>
                <a:cubicBezTo>
                  <a:pt x="358" y="193"/>
                  <a:pt x="358" y="193"/>
                  <a:pt x="359" y="193"/>
                </a:cubicBezTo>
                <a:cubicBezTo>
                  <a:pt x="359" y="193"/>
                  <a:pt x="359" y="193"/>
                  <a:pt x="359" y="193"/>
                </a:cubicBezTo>
                <a:cubicBezTo>
                  <a:pt x="359" y="193"/>
                  <a:pt x="359" y="193"/>
                  <a:pt x="359" y="193"/>
                </a:cubicBezTo>
                <a:cubicBezTo>
                  <a:pt x="360" y="193"/>
                  <a:pt x="360" y="192"/>
                  <a:pt x="361" y="192"/>
                </a:cubicBezTo>
                <a:cubicBezTo>
                  <a:pt x="362" y="192"/>
                  <a:pt x="362" y="192"/>
                  <a:pt x="363" y="192"/>
                </a:cubicBezTo>
                <a:cubicBezTo>
                  <a:pt x="364" y="192"/>
                  <a:pt x="364" y="191"/>
                  <a:pt x="364" y="191"/>
                </a:cubicBezTo>
                <a:cubicBezTo>
                  <a:pt x="364" y="191"/>
                  <a:pt x="364" y="191"/>
                  <a:pt x="364" y="190"/>
                </a:cubicBezTo>
                <a:cubicBezTo>
                  <a:pt x="364" y="190"/>
                  <a:pt x="364" y="190"/>
                  <a:pt x="364" y="189"/>
                </a:cubicBezTo>
                <a:cubicBezTo>
                  <a:pt x="364" y="189"/>
                  <a:pt x="364" y="189"/>
                  <a:pt x="364" y="189"/>
                </a:cubicBezTo>
                <a:cubicBezTo>
                  <a:pt x="363" y="188"/>
                  <a:pt x="363" y="188"/>
                  <a:pt x="363" y="188"/>
                </a:cubicBezTo>
                <a:cubicBezTo>
                  <a:pt x="363" y="188"/>
                  <a:pt x="363" y="188"/>
                  <a:pt x="362" y="187"/>
                </a:cubicBezTo>
                <a:cubicBezTo>
                  <a:pt x="362" y="187"/>
                  <a:pt x="362" y="187"/>
                  <a:pt x="361" y="187"/>
                </a:cubicBezTo>
                <a:cubicBezTo>
                  <a:pt x="361" y="187"/>
                  <a:pt x="361" y="187"/>
                  <a:pt x="361" y="187"/>
                </a:cubicBezTo>
                <a:cubicBezTo>
                  <a:pt x="360" y="187"/>
                  <a:pt x="360" y="187"/>
                  <a:pt x="360" y="186"/>
                </a:cubicBezTo>
                <a:cubicBezTo>
                  <a:pt x="360" y="186"/>
                  <a:pt x="359" y="186"/>
                  <a:pt x="358" y="186"/>
                </a:cubicBezTo>
                <a:cubicBezTo>
                  <a:pt x="358" y="186"/>
                  <a:pt x="358" y="186"/>
                  <a:pt x="358" y="186"/>
                </a:cubicBezTo>
                <a:cubicBezTo>
                  <a:pt x="358" y="186"/>
                  <a:pt x="358" y="187"/>
                  <a:pt x="358" y="187"/>
                </a:cubicBezTo>
                <a:cubicBezTo>
                  <a:pt x="358" y="187"/>
                  <a:pt x="357" y="187"/>
                  <a:pt x="357" y="187"/>
                </a:cubicBezTo>
                <a:cubicBezTo>
                  <a:pt x="357" y="187"/>
                  <a:pt x="357" y="187"/>
                  <a:pt x="357" y="187"/>
                </a:cubicBezTo>
                <a:cubicBezTo>
                  <a:pt x="356" y="187"/>
                  <a:pt x="356" y="187"/>
                  <a:pt x="355" y="187"/>
                </a:cubicBezTo>
                <a:cubicBezTo>
                  <a:pt x="355" y="187"/>
                  <a:pt x="355" y="187"/>
                  <a:pt x="355" y="187"/>
                </a:cubicBezTo>
                <a:cubicBezTo>
                  <a:pt x="355" y="187"/>
                  <a:pt x="356" y="187"/>
                  <a:pt x="356" y="187"/>
                </a:cubicBezTo>
                <a:cubicBezTo>
                  <a:pt x="356" y="187"/>
                  <a:pt x="356" y="187"/>
                  <a:pt x="356" y="188"/>
                </a:cubicBezTo>
                <a:cubicBezTo>
                  <a:pt x="356" y="188"/>
                  <a:pt x="357" y="188"/>
                  <a:pt x="357" y="188"/>
                </a:cubicBezTo>
                <a:cubicBezTo>
                  <a:pt x="357" y="188"/>
                  <a:pt x="357" y="188"/>
                  <a:pt x="357" y="189"/>
                </a:cubicBezTo>
                <a:cubicBezTo>
                  <a:pt x="356" y="188"/>
                  <a:pt x="356" y="188"/>
                  <a:pt x="356" y="188"/>
                </a:cubicBezTo>
                <a:cubicBezTo>
                  <a:pt x="356" y="188"/>
                  <a:pt x="355" y="188"/>
                  <a:pt x="355" y="188"/>
                </a:cubicBezTo>
                <a:cubicBezTo>
                  <a:pt x="355" y="188"/>
                  <a:pt x="355" y="188"/>
                  <a:pt x="354" y="188"/>
                </a:cubicBezTo>
                <a:cubicBezTo>
                  <a:pt x="354" y="188"/>
                  <a:pt x="353" y="188"/>
                  <a:pt x="352" y="188"/>
                </a:cubicBezTo>
                <a:cubicBezTo>
                  <a:pt x="352" y="188"/>
                  <a:pt x="352" y="187"/>
                  <a:pt x="352" y="187"/>
                </a:cubicBezTo>
                <a:cubicBezTo>
                  <a:pt x="352" y="188"/>
                  <a:pt x="352" y="188"/>
                  <a:pt x="352" y="188"/>
                </a:cubicBezTo>
                <a:cubicBezTo>
                  <a:pt x="351" y="188"/>
                  <a:pt x="351" y="188"/>
                  <a:pt x="351" y="188"/>
                </a:cubicBezTo>
                <a:cubicBezTo>
                  <a:pt x="350" y="188"/>
                  <a:pt x="350" y="187"/>
                  <a:pt x="350" y="187"/>
                </a:cubicBezTo>
                <a:cubicBezTo>
                  <a:pt x="350" y="187"/>
                  <a:pt x="349" y="187"/>
                  <a:pt x="349" y="187"/>
                </a:cubicBezTo>
                <a:cubicBezTo>
                  <a:pt x="349" y="187"/>
                  <a:pt x="348" y="187"/>
                  <a:pt x="348" y="187"/>
                </a:cubicBezTo>
                <a:cubicBezTo>
                  <a:pt x="347" y="187"/>
                  <a:pt x="347" y="187"/>
                  <a:pt x="346" y="187"/>
                </a:cubicBezTo>
                <a:cubicBezTo>
                  <a:pt x="346" y="187"/>
                  <a:pt x="345" y="187"/>
                  <a:pt x="344" y="187"/>
                </a:cubicBezTo>
                <a:cubicBezTo>
                  <a:pt x="344" y="187"/>
                  <a:pt x="344" y="186"/>
                  <a:pt x="344" y="186"/>
                </a:cubicBezTo>
                <a:cubicBezTo>
                  <a:pt x="342" y="186"/>
                  <a:pt x="340" y="186"/>
                  <a:pt x="339" y="186"/>
                </a:cubicBezTo>
                <a:cubicBezTo>
                  <a:pt x="338" y="186"/>
                  <a:pt x="337" y="185"/>
                  <a:pt x="337" y="185"/>
                </a:cubicBezTo>
                <a:cubicBezTo>
                  <a:pt x="337" y="185"/>
                  <a:pt x="337" y="185"/>
                  <a:pt x="337" y="184"/>
                </a:cubicBezTo>
                <a:cubicBezTo>
                  <a:pt x="336" y="184"/>
                  <a:pt x="335" y="183"/>
                  <a:pt x="335" y="183"/>
                </a:cubicBezTo>
                <a:cubicBezTo>
                  <a:pt x="335" y="183"/>
                  <a:pt x="335" y="182"/>
                  <a:pt x="335" y="182"/>
                </a:cubicBezTo>
                <a:cubicBezTo>
                  <a:pt x="334" y="182"/>
                  <a:pt x="334" y="182"/>
                  <a:pt x="334" y="182"/>
                </a:cubicBezTo>
                <a:cubicBezTo>
                  <a:pt x="333" y="182"/>
                  <a:pt x="333" y="182"/>
                  <a:pt x="332" y="182"/>
                </a:cubicBezTo>
                <a:cubicBezTo>
                  <a:pt x="332" y="182"/>
                  <a:pt x="331" y="182"/>
                  <a:pt x="331" y="183"/>
                </a:cubicBezTo>
                <a:cubicBezTo>
                  <a:pt x="331" y="182"/>
                  <a:pt x="330" y="182"/>
                  <a:pt x="330" y="182"/>
                </a:cubicBezTo>
                <a:cubicBezTo>
                  <a:pt x="330" y="182"/>
                  <a:pt x="329" y="183"/>
                  <a:pt x="329" y="183"/>
                </a:cubicBezTo>
                <a:cubicBezTo>
                  <a:pt x="329" y="183"/>
                  <a:pt x="328" y="183"/>
                  <a:pt x="328" y="182"/>
                </a:cubicBezTo>
                <a:cubicBezTo>
                  <a:pt x="328" y="183"/>
                  <a:pt x="327" y="183"/>
                  <a:pt x="327" y="183"/>
                </a:cubicBezTo>
                <a:cubicBezTo>
                  <a:pt x="326" y="184"/>
                  <a:pt x="326" y="184"/>
                  <a:pt x="326" y="184"/>
                </a:cubicBezTo>
                <a:cubicBezTo>
                  <a:pt x="325" y="185"/>
                  <a:pt x="325" y="185"/>
                  <a:pt x="325" y="186"/>
                </a:cubicBezTo>
                <a:cubicBezTo>
                  <a:pt x="325" y="186"/>
                  <a:pt x="324" y="186"/>
                  <a:pt x="324" y="187"/>
                </a:cubicBezTo>
                <a:cubicBezTo>
                  <a:pt x="324" y="187"/>
                  <a:pt x="323" y="187"/>
                  <a:pt x="323" y="187"/>
                </a:cubicBezTo>
                <a:cubicBezTo>
                  <a:pt x="323" y="188"/>
                  <a:pt x="322" y="188"/>
                  <a:pt x="322" y="188"/>
                </a:cubicBezTo>
                <a:cubicBezTo>
                  <a:pt x="322" y="188"/>
                  <a:pt x="321" y="188"/>
                  <a:pt x="321" y="188"/>
                </a:cubicBezTo>
                <a:cubicBezTo>
                  <a:pt x="320" y="188"/>
                  <a:pt x="320" y="188"/>
                  <a:pt x="319" y="188"/>
                </a:cubicBezTo>
                <a:cubicBezTo>
                  <a:pt x="319" y="188"/>
                  <a:pt x="319" y="188"/>
                  <a:pt x="318" y="188"/>
                </a:cubicBezTo>
                <a:cubicBezTo>
                  <a:pt x="319" y="188"/>
                  <a:pt x="319" y="187"/>
                  <a:pt x="319" y="187"/>
                </a:cubicBezTo>
                <a:cubicBezTo>
                  <a:pt x="319" y="187"/>
                  <a:pt x="319" y="187"/>
                  <a:pt x="319" y="187"/>
                </a:cubicBezTo>
                <a:cubicBezTo>
                  <a:pt x="320" y="186"/>
                  <a:pt x="320" y="186"/>
                  <a:pt x="320" y="186"/>
                </a:cubicBezTo>
                <a:cubicBezTo>
                  <a:pt x="320" y="186"/>
                  <a:pt x="321" y="186"/>
                  <a:pt x="321" y="185"/>
                </a:cubicBezTo>
                <a:cubicBezTo>
                  <a:pt x="321" y="185"/>
                  <a:pt x="321" y="185"/>
                  <a:pt x="322" y="185"/>
                </a:cubicBezTo>
                <a:cubicBezTo>
                  <a:pt x="322" y="185"/>
                  <a:pt x="322" y="185"/>
                  <a:pt x="322" y="184"/>
                </a:cubicBezTo>
                <a:cubicBezTo>
                  <a:pt x="322" y="184"/>
                  <a:pt x="321" y="184"/>
                  <a:pt x="321" y="184"/>
                </a:cubicBezTo>
                <a:cubicBezTo>
                  <a:pt x="321" y="184"/>
                  <a:pt x="321" y="184"/>
                  <a:pt x="321" y="185"/>
                </a:cubicBezTo>
                <a:cubicBezTo>
                  <a:pt x="320" y="185"/>
                  <a:pt x="320" y="185"/>
                  <a:pt x="320" y="184"/>
                </a:cubicBezTo>
                <a:cubicBezTo>
                  <a:pt x="320" y="184"/>
                  <a:pt x="320" y="184"/>
                  <a:pt x="320" y="184"/>
                </a:cubicBezTo>
                <a:cubicBezTo>
                  <a:pt x="320" y="184"/>
                  <a:pt x="321" y="183"/>
                  <a:pt x="321" y="183"/>
                </a:cubicBezTo>
                <a:cubicBezTo>
                  <a:pt x="321" y="183"/>
                  <a:pt x="321" y="183"/>
                  <a:pt x="321" y="183"/>
                </a:cubicBezTo>
                <a:cubicBezTo>
                  <a:pt x="321" y="182"/>
                  <a:pt x="321" y="182"/>
                  <a:pt x="322" y="182"/>
                </a:cubicBezTo>
                <a:cubicBezTo>
                  <a:pt x="321" y="182"/>
                  <a:pt x="321" y="181"/>
                  <a:pt x="321" y="181"/>
                </a:cubicBezTo>
                <a:cubicBezTo>
                  <a:pt x="321" y="181"/>
                  <a:pt x="321" y="181"/>
                  <a:pt x="321" y="181"/>
                </a:cubicBezTo>
                <a:cubicBezTo>
                  <a:pt x="320" y="181"/>
                  <a:pt x="320" y="181"/>
                  <a:pt x="320" y="181"/>
                </a:cubicBezTo>
                <a:cubicBezTo>
                  <a:pt x="320" y="181"/>
                  <a:pt x="320" y="182"/>
                  <a:pt x="320" y="182"/>
                </a:cubicBezTo>
                <a:cubicBezTo>
                  <a:pt x="319" y="182"/>
                  <a:pt x="319" y="183"/>
                  <a:pt x="318" y="183"/>
                </a:cubicBezTo>
                <a:cubicBezTo>
                  <a:pt x="318" y="183"/>
                  <a:pt x="317" y="183"/>
                  <a:pt x="317" y="183"/>
                </a:cubicBezTo>
                <a:cubicBezTo>
                  <a:pt x="317" y="184"/>
                  <a:pt x="318" y="184"/>
                  <a:pt x="318" y="184"/>
                </a:cubicBezTo>
                <a:cubicBezTo>
                  <a:pt x="318" y="185"/>
                  <a:pt x="318" y="185"/>
                  <a:pt x="318" y="185"/>
                </a:cubicBezTo>
                <a:cubicBezTo>
                  <a:pt x="318" y="185"/>
                  <a:pt x="317" y="185"/>
                  <a:pt x="317" y="185"/>
                </a:cubicBezTo>
                <a:cubicBezTo>
                  <a:pt x="317" y="185"/>
                  <a:pt x="316" y="185"/>
                  <a:pt x="316" y="185"/>
                </a:cubicBezTo>
                <a:cubicBezTo>
                  <a:pt x="315" y="185"/>
                  <a:pt x="315" y="186"/>
                  <a:pt x="315" y="186"/>
                </a:cubicBezTo>
                <a:cubicBezTo>
                  <a:pt x="315" y="186"/>
                  <a:pt x="315" y="186"/>
                  <a:pt x="316" y="186"/>
                </a:cubicBezTo>
                <a:cubicBezTo>
                  <a:pt x="316" y="186"/>
                  <a:pt x="316" y="187"/>
                  <a:pt x="316" y="187"/>
                </a:cubicBezTo>
                <a:cubicBezTo>
                  <a:pt x="315" y="187"/>
                  <a:pt x="315" y="187"/>
                  <a:pt x="314" y="187"/>
                </a:cubicBezTo>
                <a:cubicBezTo>
                  <a:pt x="314" y="187"/>
                  <a:pt x="314" y="188"/>
                  <a:pt x="313" y="188"/>
                </a:cubicBezTo>
                <a:cubicBezTo>
                  <a:pt x="314" y="188"/>
                  <a:pt x="314" y="188"/>
                  <a:pt x="314" y="188"/>
                </a:cubicBezTo>
                <a:cubicBezTo>
                  <a:pt x="314" y="188"/>
                  <a:pt x="315" y="188"/>
                  <a:pt x="315" y="188"/>
                </a:cubicBezTo>
                <a:cubicBezTo>
                  <a:pt x="315" y="188"/>
                  <a:pt x="315" y="188"/>
                  <a:pt x="316" y="188"/>
                </a:cubicBezTo>
                <a:cubicBezTo>
                  <a:pt x="315" y="189"/>
                  <a:pt x="315" y="189"/>
                  <a:pt x="314" y="189"/>
                </a:cubicBezTo>
                <a:cubicBezTo>
                  <a:pt x="314" y="189"/>
                  <a:pt x="313" y="189"/>
                  <a:pt x="313" y="189"/>
                </a:cubicBezTo>
                <a:cubicBezTo>
                  <a:pt x="313" y="189"/>
                  <a:pt x="312" y="189"/>
                  <a:pt x="312" y="189"/>
                </a:cubicBezTo>
                <a:cubicBezTo>
                  <a:pt x="311" y="188"/>
                  <a:pt x="311" y="188"/>
                  <a:pt x="311" y="188"/>
                </a:cubicBezTo>
                <a:cubicBezTo>
                  <a:pt x="311" y="187"/>
                  <a:pt x="310" y="186"/>
                  <a:pt x="310" y="185"/>
                </a:cubicBezTo>
                <a:cubicBezTo>
                  <a:pt x="310" y="184"/>
                  <a:pt x="310" y="184"/>
                  <a:pt x="310" y="183"/>
                </a:cubicBezTo>
                <a:cubicBezTo>
                  <a:pt x="310" y="183"/>
                  <a:pt x="310" y="182"/>
                  <a:pt x="309" y="181"/>
                </a:cubicBezTo>
                <a:cubicBezTo>
                  <a:pt x="310" y="181"/>
                  <a:pt x="310" y="180"/>
                  <a:pt x="310" y="180"/>
                </a:cubicBezTo>
                <a:cubicBezTo>
                  <a:pt x="309" y="179"/>
                  <a:pt x="309" y="178"/>
                  <a:pt x="309" y="178"/>
                </a:cubicBezTo>
                <a:cubicBezTo>
                  <a:pt x="308" y="177"/>
                  <a:pt x="308" y="177"/>
                  <a:pt x="308" y="177"/>
                </a:cubicBezTo>
                <a:cubicBezTo>
                  <a:pt x="308" y="177"/>
                  <a:pt x="307" y="177"/>
                  <a:pt x="307" y="178"/>
                </a:cubicBezTo>
                <a:cubicBezTo>
                  <a:pt x="307" y="178"/>
                  <a:pt x="306" y="178"/>
                  <a:pt x="306" y="179"/>
                </a:cubicBezTo>
                <a:cubicBezTo>
                  <a:pt x="306" y="179"/>
                  <a:pt x="307" y="179"/>
                  <a:pt x="307" y="179"/>
                </a:cubicBezTo>
                <a:cubicBezTo>
                  <a:pt x="307" y="179"/>
                  <a:pt x="307" y="180"/>
                  <a:pt x="306" y="180"/>
                </a:cubicBezTo>
                <a:cubicBezTo>
                  <a:pt x="307" y="180"/>
                  <a:pt x="307" y="180"/>
                  <a:pt x="307" y="180"/>
                </a:cubicBezTo>
                <a:cubicBezTo>
                  <a:pt x="307" y="181"/>
                  <a:pt x="307" y="181"/>
                  <a:pt x="307" y="181"/>
                </a:cubicBezTo>
                <a:cubicBezTo>
                  <a:pt x="307" y="182"/>
                  <a:pt x="307" y="182"/>
                  <a:pt x="306" y="182"/>
                </a:cubicBezTo>
                <a:cubicBezTo>
                  <a:pt x="306" y="182"/>
                  <a:pt x="306" y="181"/>
                  <a:pt x="305" y="181"/>
                </a:cubicBezTo>
                <a:cubicBezTo>
                  <a:pt x="305" y="182"/>
                  <a:pt x="305" y="182"/>
                  <a:pt x="305" y="182"/>
                </a:cubicBezTo>
                <a:cubicBezTo>
                  <a:pt x="305" y="182"/>
                  <a:pt x="305" y="182"/>
                  <a:pt x="305" y="182"/>
                </a:cubicBezTo>
                <a:cubicBezTo>
                  <a:pt x="305" y="183"/>
                  <a:pt x="305" y="183"/>
                  <a:pt x="304" y="183"/>
                </a:cubicBezTo>
                <a:cubicBezTo>
                  <a:pt x="304" y="183"/>
                  <a:pt x="304" y="183"/>
                  <a:pt x="303" y="183"/>
                </a:cubicBezTo>
                <a:cubicBezTo>
                  <a:pt x="304" y="184"/>
                  <a:pt x="304" y="184"/>
                  <a:pt x="304" y="184"/>
                </a:cubicBezTo>
                <a:cubicBezTo>
                  <a:pt x="304" y="184"/>
                  <a:pt x="303" y="184"/>
                  <a:pt x="303" y="184"/>
                </a:cubicBezTo>
                <a:cubicBezTo>
                  <a:pt x="302" y="185"/>
                  <a:pt x="302" y="185"/>
                  <a:pt x="301" y="186"/>
                </a:cubicBezTo>
                <a:cubicBezTo>
                  <a:pt x="300" y="186"/>
                  <a:pt x="300" y="187"/>
                  <a:pt x="300" y="187"/>
                </a:cubicBezTo>
                <a:cubicBezTo>
                  <a:pt x="299" y="187"/>
                  <a:pt x="299" y="187"/>
                  <a:pt x="299" y="187"/>
                </a:cubicBezTo>
                <a:cubicBezTo>
                  <a:pt x="299" y="187"/>
                  <a:pt x="298" y="187"/>
                  <a:pt x="298" y="186"/>
                </a:cubicBezTo>
                <a:cubicBezTo>
                  <a:pt x="299" y="186"/>
                  <a:pt x="299" y="186"/>
                  <a:pt x="300" y="186"/>
                </a:cubicBezTo>
                <a:cubicBezTo>
                  <a:pt x="300" y="185"/>
                  <a:pt x="300" y="185"/>
                  <a:pt x="300" y="185"/>
                </a:cubicBezTo>
                <a:cubicBezTo>
                  <a:pt x="300" y="185"/>
                  <a:pt x="299" y="185"/>
                  <a:pt x="299" y="185"/>
                </a:cubicBezTo>
                <a:cubicBezTo>
                  <a:pt x="299" y="185"/>
                  <a:pt x="298" y="186"/>
                  <a:pt x="298" y="186"/>
                </a:cubicBezTo>
                <a:cubicBezTo>
                  <a:pt x="297" y="186"/>
                  <a:pt x="297" y="186"/>
                  <a:pt x="296" y="187"/>
                </a:cubicBezTo>
                <a:cubicBezTo>
                  <a:pt x="296" y="187"/>
                  <a:pt x="295" y="187"/>
                  <a:pt x="295" y="188"/>
                </a:cubicBezTo>
                <a:cubicBezTo>
                  <a:pt x="294" y="188"/>
                  <a:pt x="294" y="188"/>
                  <a:pt x="293" y="188"/>
                </a:cubicBezTo>
                <a:cubicBezTo>
                  <a:pt x="292" y="189"/>
                  <a:pt x="291" y="190"/>
                  <a:pt x="290" y="191"/>
                </a:cubicBezTo>
                <a:cubicBezTo>
                  <a:pt x="290" y="191"/>
                  <a:pt x="289" y="191"/>
                  <a:pt x="289" y="192"/>
                </a:cubicBezTo>
                <a:cubicBezTo>
                  <a:pt x="288" y="192"/>
                  <a:pt x="288" y="193"/>
                  <a:pt x="288" y="193"/>
                </a:cubicBezTo>
                <a:cubicBezTo>
                  <a:pt x="288" y="193"/>
                  <a:pt x="288" y="193"/>
                  <a:pt x="287" y="193"/>
                </a:cubicBezTo>
                <a:cubicBezTo>
                  <a:pt x="288" y="192"/>
                  <a:pt x="288" y="192"/>
                  <a:pt x="288" y="191"/>
                </a:cubicBezTo>
                <a:cubicBezTo>
                  <a:pt x="288" y="191"/>
                  <a:pt x="288" y="191"/>
                  <a:pt x="288" y="191"/>
                </a:cubicBezTo>
                <a:cubicBezTo>
                  <a:pt x="287" y="191"/>
                  <a:pt x="287" y="192"/>
                  <a:pt x="286" y="192"/>
                </a:cubicBezTo>
                <a:cubicBezTo>
                  <a:pt x="286" y="192"/>
                  <a:pt x="286" y="192"/>
                  <a:pt x="286" y="192"/>
                </a:cubicBezTo>
                <a:cubicBezTo>
                  <a:pt x="286" y="192"/>
                  <a:pt x="286" y="192"/>
                  <a:pt x="285" y="192"/>
                </a:cubicBezTo>
                <a:cubicBezTo>
                  <a:pt x="285" y="193"/>
                  <a:pt x="285" y="193"/>
                  <a:pt x="285" y="193"/>
                </a:cubicBezTo>
                <a:cubicBezTo>
                  <a:pt x="284" y="193"/>
                  <a:pt x="284" y="193"/>
                  <a:pt x="284" y="193"/>
                </a:cubicBezTo>
                <a:cubicBezTo>
                  <a:pt x="283" y="193"/>
                  <a:pt x="283" y="193"/>
                  <a:pt x="283" y="193"/>
                </a:cubicBezTo>
                <a:cubicBezTo>
                  <a:pt x="283" y="193"/>
                  <a:pt x="283" y="194"/>
                  <a:pt x="283" y="194"/>
                </a:cubicBezTo>
                <a:cubicBezTo>
                  <a:pt x="282" y="195"/>
                  <a:pt x="281" y="195"/>
                  <a:pt x="280" y="196"/>
                </a:cubicBezTo>
                <a:cubicBezTo>
                  <a:pt x="280" y="196"/>
                  <a:pt x="280" y="196"/>
                  <a:pt x="279" y="196"/>
                </a:cubicBezTo>
                <a:cubicBezTo>
                  <a:pt x="279" y="197"/>
                  <a:pt x="278" y="197"/>
                  <a:pt x="277" y="197"/>
                </a:cubicBezTo>
                <a:cubicBezTo>
                  <a:pt x="277" y="198"/>
                  <a:pt x="277" y="198"/>
                  <a:pt x="276" y="199"/>
                </a:cubicBezTo>
                <a:cubicBezTo>
                  <a:pt x="277" y="199"/>
                  <a:pt x="277" y="199"/>
                  <a:pt x="277" y="199"/>
                </a:cubicBezTo>
                <a:cubicBezTo>
                  <a:pt x="277" y="199"/>
                  <a:pt x="276" y="199"/>
                  <a:pt x="276" y="199"/>
                </a:cubicBezTo>
                <a:cubicBezTo>
                  <a:pt x="276" y="199"/>
                  <a:pt x="276" y="200"/>
                  <a:pt x="275" y="200"/>
                </a:cubicBezTo>
                <a:cubicBezTo>
                  <a:pt x="275" y="200"/>
                  <a:pt x="275" y="200"/>
                  <a:pt x="274" y="200"/>
                </a:cubicBezTo>
                <a:cubicBezTo>
                  <a:pt x="274" y="200"/>
                  <a:pt x="274" y="200"/>
                  <a:pt x="274" y="200"/>
                </a:cubicBezTo>
                <a:cubicBezTo>
                  <a:pt x="275" y="200"/>
                  <a:pt x="275" y="201"/>
                  <a:pt x="276" y="201"/>
                </a:cubicBezTo>
                <a:cubicBezTo>
                  <a:pt x="275" y="201"/>
                  <a:pt x="275" y="201"/>
                  <a:pt x="274" y="201"/>
                </a:cubicBezTo>
                <a:cubicBezTo>
                  <a:pt x="274" y="201"/>
                  <a:pt x="274" y="200"/>
                  <a:pt x="273" y="200"/>
                </a:cubicBezTo>
                <a:cubicBezTo>
                  <a:pt x="273" y="200"/>
                  <a:pt x="273" y="200"/>
                  <a:pt x="274" y="199"/>
                </a:cubicBezTo>
                <a:cubicBezTo>
                  <a:pt x="274" y="199"/>
                  <a:pt x="274" y="199"/>
                  <a:pt x="274" y="199"/>
                </a:cubicBezTo>
                <a:cubicBezTo>
                  <a:pt x="274" y="199"/>
                  <a:pt x="275" y="199"/>
                  <a:pt x="275" y="198"/>
                </a:cubicBezTo>
                <a:cubicBezTo>
                  <a:pt x="275" y="198"/>
                  <a:pt x="275" y="198"/>
                  <a:pt x="276" y="197"/>
                </a:cubicBezTo>
                <a:cubicBezTo>
                  <a:pt x="276" y="197"/>
                  <a:pt x="276" y="197"/>
                  <a:pt x="276" y="197"/>
                </a:cubicBezTo>
                <a:cubicBezTo>
                  <a:pt x="277" y="197"/>
                  <a:pt x="277" y="197"/>
                  <a:pt x="277" y="197"/>
                </a:cubicBezTo>
                <a:cubicBezTo>
                  <a:pt x="277" y="197"/>
                  <a:pt x="277" y="197"/>
                  <a:pt x="277" y="196"/>
                </a:cubicBezTo>
                <a:cubicBezTo>
                  <a:pt x="277" y="196"/>
                  <a:pt x="278" y="196"/>
                  <a:pt x="278" y="195"/>
                </a:cubicBezTo>
                <a:cubicBezTo>
                  <a:pt x="278" y="195"/>
                  <a:pt x="278" y="195"/>
                  <a:pt x="279" y="196"/>
                </a:cubicBezTo>
                <a:cubicBezTo>
                  <a:pt x="279" y="195"/>
                  <a:pt x="280" y="194"/>
                  <a:pt x="281" y="194"/>
                </a:cubicBezTo>
                <a:cubicBezTo>
                  <a:pt x="281" y="194"/>
                  <a:pt x="281" y="193"/>
                  <a:pt x="281" y="193"/>
                </a:cubicBezTo>
                <a:cubicBezTo>
                  <a:pt x="282" y="193"/>
                  <a:pt x="282" y="192"/>
                  <a:pt x="283" y="192"/>
                </a:cubicBezTo>
                <a:cubicBezTo>
                  <a:pt x="283" y="192"/>
                  <a:pt x="284" y="192"/>
                  <a:pt x="285" y="191"/>
                </a:cubicBezTo>
                <a:cubicBezTo>
                  <a:pt x="285" y="191"/>
                  <a:pt x="285" y="191"/>
                  <a:pt x="285" y="191"/>
                </a:cubicBezTo>
                <a:cubicBezTo>
                  <a:pt x="285" y="191"/>
                  <a:pt x="286" y="191"/>
                  <a:pt x="287" y="191"/>
                </a:cubicBezTo>
                <a:cubicBezTo>
                  <a:pt x="287" y="190"/>
                  <a:pt x="288" y="190"/>
                  <a:pt x="288" y="189"/>
                </a:cubicBezTo>
                <a:cubicBezTo>
                  <a:pt x="288" y="190"/>
                  <a:pt x="289" y="190"/>
                  <a:pt x="289" y="190"/>
                </a:cubicBezTo>
                <a:cubicBezTo>
                  <a:pt x="289" y="190"/>
                  <a:pt x="289" y="190"/>
                  <a:pt x="289" y="190"/>
                </a:cubicBezTo>
                <a:cubicBezTo>
                  <a:pt x="290" y="189"/>
                  <a:pt x="290" y="189"/>
                  <a:pt x="290" y="189"/>
                </a:cubicBezTo>
                <a:cubicBezTo>
                  <a:pt x="290" y="189"/>
                  <a:pt x="291" y="189"/>
                  <a:pt x="291" y="189"/>
                </a:cubicBezTo>
                <a:cubicBezTo>
                  <a:pt x="291" y="188"/>
                  <a:pt x="292" y="188"/>
                  <a:pt x="292" y="188"/>
                </a:cubicBezTo>
                <a:cubicBezTo>
                  <a:pt x="293" y="188"/>
                  <a:pt x="293" y="187"/>
                  <a:pt x="293" y="187"/>
                </a:cubicBezTo>
                <a:cubicBezTo>
                  <a:pt x="294" y="187"/>
                  <a:pt x="294" y="186"/>
                  <a:pt x="295" y="186"/>
                </a:cubicBezTo>
                <a:cubicBezTo>
                  <a:pt x="296" y="186"/>
                  <a:pt x="297" y="185"/>
                  <a:pt x="297" y="185"/>
                </a:cubicBezTo>
                <a:cubicBezTo>
                  <a:pt x="297" y="184"/>
                  <a:pt x="297" y="184"/>
                  <a:pt x="297" y="184"/>
                </a:cubicBezTo>
                <a:cubicBezTo>
                  <a:pt x="298" y="184"/>
                  <a:pt x="298" y="184"/>
                  <a:pt x="298" y="184"/>
                </a:cubicBezTo>
                <a:cubicBezTo>
                  <a:pt x="298" y="184"/>
                  <a:pt x="298" y="183"/>
                  <a:pt x="298" y="183"/>
                </a:cubicBezTo>
                <a:cubicBezTo>
                  <a:pt x="298" y="183"/>
                  <a:pt x="298" y="183"/>
                  <a:pt x="298" y="183"/>
                </a:cubicBezTo>
                <a:cubicBezTo>
                  <a:pt x="298" y="183"/>
                  <a:pt x="297" y="183"/>
                  <a:pt x="297" y="183"/>
                </a:cubicBezTo>
                <a:cubicBezTo>
                  <a:pt x="297" y="182"/>
                  <a:pt x="297" y="182"/>
                  <a:pt x="296" y="182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4"/>
                  <a:pt x="296" y="184"/>
                  <a:pt x="295" y="184"/>
                </a:cubicBezTo>
                <a:cubicBezTo>
                  <a:pt x="295" y="184"/>
                  <a:pt x="295" y="184"/>
                  <a:pt x="295" y="184"/>
                </a:cubicBezTo>
                <a:cubicBezTo>
                  <a:pt x="295" y="184"/>
                  <a:pt x="295" y="184"/>
                  <a:pt x="294" y="184"/>
                </a:cubicBezTo>
                <a:cubicBezTo>
                  <a:pt x="294" y="184"/>
                  <a:pt x="294" y="184"/>
                  <a:pt x="294" y="184"/>
                </a:cubicBezTo>
                <a:cubicBezTo>
                  <a:pt x="294" y="184"/>
                  <a:pt x="293" y="184"/>
                  <a:pt x="293" y="184"/>
                </a:cubicBezTo>
                <a:cubicBezTo>
                  <a:pt x="292" y="184"/>
                  <a:pt x="292" y="185"/>
                  <a:pt x="291" y="185"/>
                </a:cubicBezTo>
                <a:cubicBezTo>
                  <a:pt x="291" y="185"/>
                  <a:pt x="291" y="186"/>
                  <a:pt x="291" y="186"/>
                </a:cubicBezTo>
                <a:cubicBezTo>
                  <a:pt x="291" y="186"/>
                  <a:pt x="290" y="186"/>
                  <a:pt x="290" y="187"/>
                </a:cubicBezTo>
                <a:cubicBezTo>
                  <a:pt x="290" y="186"/>
                  <a:pt x="290" y="186"/>
                  <a:pt x="289" y="186"/>
                </a:cubicBezTo>
                <a:cubicBezTo>
                  <a:pt x="289" y="186"/>
                  <a:pt x="289" y="186"/>
                  <a:pt x="289" y="186"/>
                </a:cubicBezTo>
                <a:cubicBezTo>
                  <a:pt x="289" y="187"/>
                  <a:pt x="288" y="187"/>
                  <a:pt x="288" y="187"/>
                </a:cubicBezTo>
                <a:cubicBezTo>
                  <a:pt x="287" y="188"/>
                  <a:pt x="286" y="188"/>
                  <a:pt x="286" y="189"/>
                </a:cubicBezTo>
                <a:cubicBezTo>
                  <a:pt x="284" y="189"/>
                  <a:pt x="283" y="189"/>
                  <a:pt x="282" y="190"/>
                </a:cubicBezTo>
                <a:cubicBezTo>
                  <a:pt x="282" y="190"/>
                  <a:pt x="282" y="190"/>
                  <a:pt x="282" y="190"/>
                </a:cubicBezTo>
                <a:cubicBezTo>
                  <a:pt x="281" y="190"/>
                  <a:pt x="281" y="190"/>
                  <a:pt x="281" y="190"/>
                </a:cubicBezTo>
                <a:cubicBezTo>
                  <a:pt x="281" y="190"/>
                  <a:pt x="281" y="190"/>
                  <a:pt x="281" y="190"/>
                </a:cubicBezTo>
                <a:cubicBezTo>
                  <a:pt x="281" y="190"/>
                  <a:pt x="281" y="191"/>
                  <a:pt x="281" y="191"/>
                </a:cubicBezTo>
                <a:cubicBezTo>
                  <a:pt x="280" y="191"/>
                  <a:pt x="280" y="191"/>
                  <a:pt x="280" y="191"/>
                </a:cubicBezTo>
                <a:cubicBezTo>
                  <a:pt x="279" y="191"/>
                  <a:pt x="279" y="191"/>
                  <a:pt x="279" y="191"/>
                </a:cubicBezTo>
                <a:cubicBezTo>
                  <a:pt x="279" y="192"/>
                  <a:pt x="279" y="192"/>
                  <a:pt x="279" y="192"/>
                </a:cubicBezTo>
                <a:cubicBezTo>
                  <a:pt x="278" y="193"/>
                  <a:pt x="278" y="193"/>
                  <a:pt x="277" y="194"/>
                </a:cubicBezTo>
                <a:cubicBezTo>
                  <a:pt x="277" y="194"/>
                  <a:pt x="277" y="194"/>
                  <a:pt x="277" y="194"/>
                </a:cubicBezTo>
                <a:cubicBezTo>
                  <a:pt x="276" y="194"/>
                  <a:pt x="276" y="194"/>
                  <a:pt x="276" y="194"/>
                </a:cubicBezTo>
                <a:cubicBezTo>
                  <a:pt x="276" y="194"/>
                  <a:pt x="276" y="194"/>
                  <a:pt x="275" y="194"/>
                </a:cubicBezTo>
                <a:cubicBezTo>
                  <a:pt x="275" y="194"/>
                  <a:pt x="275" y="194"/>
                  <a:pt x="274" y="194"/>
                </a:cubicBezTo>
                <a:cubicBezTo>
                  <a:pt x="274" y="195"/>
                  <a:pt x="274" y="195"/>
                  <a:pt x="273" y="195"/>
                </a:cubicBezTo>
                <a:cubicBezTo>
                  <a:pt x="273" y="195"/>
                  <a:pt x="273" y="195"/>
                  <a:pt x="273" y="195"/>
                </a:cubicBezTo>
                <a:cubicBezTo>
                  <a:pt x="272" y="196"/>
                  <a:pt x="272" y="196"/>
                  <a:pt x="272" y="196"/>
                </a:cubicBezTo>
                <a:cubicBezTo>
                  <a:pt x="272" y="196"/>
                  <a:pt x="272" y="196"/>
                  <a:pt x="271" y="197"/>
                </a:cubicBezTo>
                <a:cubicBezTo>
                  <a:pt x="271" y="197"/>
                  <a:pt x="271" y="197"/>
                  <a:pt x="270" y="197"/>
                </a:cubicBezTo>
                <a:cubicBezTo>
                  <a:pt x="270" y="198"/>
                  <a:pt x="270" y="198"/>
                  <a:pt x="269" y="198"/>
                </a:cubicBezTo>
                <a:cubicBezTo>
                  <a:pt x="269" y="199"/>
                  <a:pt x="268" y="199"/>
                  <a:pt x="267" y="199"/>
                </a:cubicBezTo>
                <a:cubicBezTo>
                  <a:pt x="267" y="200"/>
                  <a:pt x="267" y="200"/>
                  <a:pt x="267" y="200"/>
                </a:cubicBezTo>
                <a:cubicBezTo>
                  <a:pt x="267" y="201"/>
                  <a:pt x="267" y="201"/>
                  <a:pt x="267" y="201"/>
                </a:cubicBezTo>
                <a:cubicBezTo>
                  <a:pt x="268" y="202"/>
                  <a:pt x="268" y="203"/>
                  <a:pt x="268" y="203"/>
                </a:cubicBezTo>
                <a:cubicBezTo>
                  <a:pt x="268" y="204"/>
                  <a:pt x="268" y="204"/>
                  <a:pt x="268" y="204"/>
                </a:cubicBezTo>
                <a:cubicBezTo>
                  <a:pt x="268" y="204"/>
                  <a:pt x="268" y="204"/>
                  <a:pt x="268" y="204"/>
                </a:cubicBezTo>
                <a:cubicBezTo>
                  <a:pt x="268" y="205"/>
                  <a:pt x="267" y="205"/>
                  <a:pt x="267" y="205"/>
                </a:cubicBezTo>
                <a:cubicBezTo>
                  <a:pt x="266" y="206"/>
                  <a:pt x="266" y="206"/>
                  <a:pt x="265" y="207"/>
                </a:cubicBezTo>
                <a:cubicBezTo>
                  <a:pt x="265" y="207"/>
                  <a:pt x="265" y="207"/>
                  <a:pt x="266" y="206"/>
                </a:cubicBezTo>
                <a:cubicBezTo>
                  <a:pt x="266" y="206"/>
                  <a:pt x="266" y="205"/>
                  <a:pt x="266" y="205"/>
                </a:cubicBezTo>
                <a:cubicBezTo>
                  <a:pt x="266" y="205"/>
                  <a:pt x="266" y="205"/>
                  <a:pt x="266" y="204"/>
                </a:cubicBezTo>
                <a:cubicBezTo>
                  <a:pt x="266" y="204"/>
                  <a:pt x="266" y="204"/>
                  <a:pt x="266" y="204"/>
                </a:cubicBezTo>
                <a:cubicBezTo>
                  <a:pt x="266" y="204"/>
                  <a:pt x="266" y="204"/>
                  <a:pt x="266" y="204"/>
                </a:cubicBezTo>
                <a:cubicBezTo>
                  <a:pt x="265" y="204"/>
                  <a:pt x="264" y="204"/>
                  <a:pt x="264" y="203"/>
                </a:cubicBezTo>
                <a:cubicBezTo>
                  <a:pt x="264" y="203"/>
                  <a:pt x="263" y="204"/>
                  <a:pt x="263" y="204"/>
                </a:cubicBezTo>
                <a:cubicBezTo>
                  <a:pt x="263" y="204"/>
                  <a:pt x="263" y="203"/>
                  <a:pt x="262" y="203"/>
                </a:cubicBezTo>
                <a:cubicBezTo>
                  <a:pt x="262" y="203"/>
                  <a:pt x="262" y="203"/>
                  <a:pt x="262" y="203"/>
                </a:cubicBezTo>
                <a:cubicBezTo>
                  <a:pt x="261" y="203"/>
                  <a:pt x="261" y="203"/>
                  <a:pt x="261" y="203"/>
                </a:cubicBezTo>
                <a:cubicBezTo>
                  <a:pt x="261" y="202"/>
                  <a:pt x="260" y="202"/>
                  <a:pt x="260" y="202"/>
                </a:cubicBezTo>
                <a:cubicBezTo>
                  <a:pt x="259" y="202"/>
                  <a:pt x="259" y="202"/>
                  <a:pt x="259" y="202"/>
                </a:cubicBezTo>
                <a:cubicBezTo>
                  <a:pt x="259" y="202"/>
                  <a:pt x="259" y="202"/>
                  <a:pt x="258" y="202"/>
                </a:cubicBezTo>
                <a:cubicBezTo>
                  <a:pt x="258" y="202"/>
                  <a:pt x="258" y="202"/>
                  <a:pt x="258" y="202"/>
                </a:cubicBezTo>
                <a:cubicBezTo>
                  <a:pt x="258" y="202"/>
                  <a:pt x="258" y="202"/>
                  <a:pt x="257" y="202"/>
                </a:cubicBezTo>
                <a:cubicBezTo>
                  <a:pt x="257" y="202"/>
                  <a:pt x="257" y="202"/>
                  <a:pt x="257" y="202"/>
                </a:cubicBezTo>
                <a:cubicBezTo>
                  <a:pt x="257" y="202"/>
                  <a:pt x="256" y="202"/>
                  <a:pt x="256" y="202"/>
                </a:cubicBezTo>
                <a:cubicBezTo>
                  <a:pt x="255" y="202"/>
                  <a:pt x="254" y="201"/>
                  <a:pt x="253" y="201"/>
                </a:cubicBezTo>
                <a:cubicBezTo>
                  <a:pt x="253" y="201"/>
                  <a:pt x="253" y="201"/>
                  <a:pt x="253" y="200"/>
                </a:cubicBezTo>
                <a:cubicBezTo>
                  <a:pt x="252" y="200"/>
                  <a:pt x="252" y="200"/>
                  <a:pt x="252" y="199"/>
                </a:cubicBezTo>
                <a:cubicBezTo>
                  <a:pt x="252" y="199"/>
                  <a:pt x="252" y="199"/>
                  <a:pt x="252" y="199"/>
                </a:cubicBezTo>
                <a:cubicBezTo>
                  <a:pt x="252" y="200"/>
                  <a:pt x="252" y="200"/>
                  <a:pt x="251" y="200"/>
                </a:cubicBezTo>
                <a:cubicBezTo>
                  <a:pt x="251" y="200"/>
                  <a:pt x="251" y="200"/>
                  <a:pt x="251" y="200"/>
                </a:cubicBezTo>
                <a:cubicBezTo>
                  <a:pt x="251" y="200"/>
                  <a:pt x="250" y="199"/>
                  <a:pt x="250" y="199"/>
                </a:cubicBezTo>
                <a:cubicBezTo>
                  <a:pt x="250" y="199"/>
                  <a:pt x="250" y="199"/>
                  <a:pt x="250" y="198"/>
                </a:cubicBezTo>
                <a:cubicBezTo>
                  <a:pt x="250" y="198"/>
                  <a:pt x="250" y="198"/>
                  <a:pt x="250" y="198"/>
                </a:cubicBezTo>
                <a:cubicBezTo>
                  <a:pt x="250" y="198"/>
                  <a:pt x="250" y="198"/>
                  <a:pt x="250" y="198"/>
                </a:cubicBezTo>
                <a:cubicBezTo>
                  <a:pt x="250" y="198"/>
                  <a:pt x="249" y="197"/>
                  <a:pt x="249" y="197"/>
                </a:cubicBezTo>
                <a:cubicBezTo>
                  <a:pt x="248" y="197"/>
                  <a:pt x="248" y="197"/>
                  <a:pt x="248" y="197"/>
                </a:cubicBezTo>
                <a:cubicBezTo>
                  <a:pt x="248" y="197"/>
                  <a:pt x="247" y="197"/>
                  <a:pt x="247" y="197"/>
                </a:cubicBezTo>
                <a:cubicBezTo>
                  <a:pt x="247" y="197"/>
                  <a:pt x="247" y="197"/>
                  <a:pt x="247" y="197"/>
                </a:cubicBezTo>
                <a:cubicBezTo>
                  <a:pt x="246" y="197"/>
                  <a:pt x="246" y="197"/>
                  <a:pt x="246" y="196"/>
                </a:cubicBezTo>
                <a:cubicBezTo>
                  <a:pt x="246" y="196"/>
                  <a:pt x="245" y="196"/>
                  <a:pt x="245" y="196"/>
                </a:cubicBezTo>
                <a:cubicBezTo>
                  <a:pt x="244" y="196"/>
                  <a:pt x="244" y="197"/>
                  <a:pt x="244" y="197"/>
                </a:cubicBezTo>
                <a:cubicBezTo>
                  <a:pt x="242" y="197"/>
                  <a:pt x="241" y="196"/>
                  <a:pt x="240" y="196"/>
                </a:cubicBezTo>
                <a:cubicBezTo>
                  <a:pt x="240" y="196"/>
                  <a:pt x="239" y="197"/>
                  <a:pt x="239" y="197"/>
                </a:cubicBezTo>
                <a:cubicBezTo>
                  <a:pt x="239" y="197"/>
                  <a:pt x="239" y="196"/>
                  <a:pt x="239" y="196"/>
                </a:cubicBezTo>
                <a:cubicBezTo>
                  <a:pt x="239" y="196"/>
                  <a:pt x="239" y="196"/>
                  <a:pt x="239" y="196"/>
                </a:cubicBezTo>
                <a:cubicBezTo>
                  <a:pt x="238" y="196"/>
                  <a:pt x="238" y="196"/>
                  <a:pt x="237" y="196"/>
                </a:cubicBezTo>
                <a:cubicBezTo>
                  <a:pt x="237" y="196"/>
                  <a:pt x="237" y="197"/>
                  <a:pt x="236" y="197"/>
                </a:cubicBezTo>
                <a:cubicBezTo>
                  <a:pt x="236" y="197"/>
                  <a:pt x="236" y="197"/>
                  <a:pt x="236" y="197"/>
                </a:cubicBezTo>
                <a:cubicBezTo>
                  <a:pt x="235" y="196"/>
                  <a:pt x="235" y="196"/>
                  <a:pt x="235" y="195"/>
                </a:cubicBezTo>
                <a:cubicBezTo>
                  <a:pt x="234" y="195"/>
                  <a:pt x="234" y="195"/>
                  <a:pt x="234" y="195"/>
                </a:cubicBezTo>
                <a:cubicBezTo>
                  <a:pt x="233" y="195"/>
                  <a:pt x="233" y="195"/>
                  <a:pt x="233" y="195"/>
                </a:cubicBezTo>
                <a:cubicBezTo>
                  <a:pt x="233" y="195"/>
                  <a:pt x="232" y="194"/>
                  <a:pt x="232" y="194"/>
                </a:cubicBezTo>
                <a:cubicBezTo>
                  <a:pt x="232" y="194"/>
                  <a:pt x="232" y="194"/>
                  <a:pt x="231" y="194"/>
                </a:cubicBezTo>
                <a:cubicBezTo>
                  <a:pt x="231" y="194"/>
                  <a:pt x="231" y="193"/>
                  <a:pt x="231" y="193"/>
                </a:cubicBezTo>
                <a:cubicBezTo>
                  <a:pt x="230" y="194"/>
                  <a:pt x="229" y="194"/>
                  <a:pt x="229" y="194"/>
                </a:cubicBezTo>
                <a:cubicBezTo>
                  <a:pt x="228" y="194"/>
                  <a:pt x="228" y="194"/>
                  <a:pt x="228" y="194"/>
                </a:cubicBezTo>
                <a:cubicBezTo>
                  <a:pt x="228" y="195"/>
                  <a:pt x="227" y="195"/>
                  <a:pt x="227" y="195"/>
                </a:cubicBezTo>
                <a:cubicBezTo>
                  <a:pt x="226" y="195"/>
                  <a:pt x="226" y="195"/>
                  <a:pt x="225" y="196"/>
                </a:cubicBezTo>
                <a:cubicBezTo>
                  <a:pt x="225" y="196"/>
                  <a:pt x="225" y="196"/>
                  <a:pt x="224" y="196"/>
                </a:cubicBezTo>
                <a:cubicBezTo>
                  <a:pt x="224" y="196"/>
                  <a:pt x="224" y="196"/>
                  <a:pt x="224" y="196"/>
                </a:cubicBezTo>
                <a:cubicBezTo>
                  <a:pt x="224" y="196"/>
                  <a:pt x="224" y="196"/>
                  <a:pt x="223" y="196"/>
                </a:cubicBezTo>
                <a:cubicBezTo>
                  <a:pt x="223" y="196"/>
                  <a:pt x="223" y="196"/>
                  <a:pt x="223" y="196"/>
                </a:cubicBezTo>
                <a:cubicBezTo>
                  <a:pt x="223" y="196"/>
                  <a:pt x="223" y="196"/>
                  <a:pt x="222" y="196"/>
                </a:cubicBezTo>
                <a:cubicBezTo>
                  <a:pt x="222" y="196"/>
                  <a:pt x="222" y="196"/>
                  <a:pt x="222" y="196"/>
                </a:cubicBezTo>
                <a:cubicBezTo>
                  <a:pt x="222" y="196"/>
                  <a:pt x="223" y="196"/>
                  <a:pt x="223" y="196"/>
                </a:cubicBezTo>
                <a:cubicBezTo>
                  <a:pt x="223" y="196"/>
                  <a:pt x="223" y="196"/>
                  <a:pt x="223" y="196"/>
                </a:cubicBezTo>
                <a:cubicBezTo>
                  <a:pt x="222" y="196"/>
                  <a:pt x="222" y="196"/>
                  <a:pt x="222" y="196"/>
                </a:cubicBezTo>
                <a:cubicBezTo>
                  <a:pt x="221" y="196"/>
                  <a:pt x="221" y="196"/>
                  <a:pt x="221" y="196"/>
                </a:cubicBezTo>
                <a:cubicBezTo>
                  <a:pt x="221" y="196"/>
                  <a:pt x="220" y="196"/>
                  <a:pt x="220" y="196"/>
                </a:cubicBezTo>
                <a:cubicBezTo>
                  <a:pt x="220" y="196"/>
                  <a:pt x="220" y="196"/>
                  <a:pt x="220" y="196"/>
                </a:cubicBezTo>
                <a:cubicBezTo>
                  <a:pt x="220" y="196"/>
                  <a:pt x="221" y="196"/>
                  <a:pt x="221" y="196"/>
                </a:cubicBezTo>
                <a:cubicBezTo>
                  <a:pt x="221" y="196"/>
                  <a:pt x="220" y="195"/>
                  <a:pt x="220" y="195"/>
                </a:cubicBezTo>
                <a:cubicBezTo>
                  <a:pt x="220" y="196"/>
                  <a:pt x="220" y="196"/>
                  <a:pt x="220" y="196"/>
                </a:cubicBezTo>
                <a:cubicBezTo>
                  <a:pt x="219" y="196"/>
                  <a:pt x="219" y="196"/>
                  <a:pt x="219" y="196"/>
                </a:cubicBezTo>
                <a:cubicBezTo>
                  <a:pt x="219" y="196"/>
                  <a:pt x="219" y="196"/>
                  <a:pt x="219" y="196"/>
                </a:cubicBezTo>
                <a:cubicBezTo>
                  <a:pt x="218" y="196"/>
                  <a:pt x="218" y="195"/>
                  <a:pt x="218" y="195"/>
                </a:cubicBezTo>
                <a:cubicBezTo>
                  <a:pt x="217" y="195"/>
                  <a:pt x="216" y="195"/>
                  <a:pt x="216" y="195"/>
                </a:cubicBezTo>
                <a:cubicBezTo>
                  <a:pt x="215" y="195"/>
                  <a:pt x="215" y="195"/>
                  <a:pt x="215" y="196"/>
                </a:cubicBezTo>
                <a:cubicBezTo>
                  <a:pt x="215" y="196"/>
                  <a:pt x="215" y="196"/>
                  <a:pt x="215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3" y="196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2" y="196"/>
                  <a:pt x="212" y="196"/>
                  <a:pt x="212" y="197"/>
                </a:cubicBezTo>
                <a:cubicBezTo>
                  <a:pt x="212" y="197"/>
                  <a:pt x="212" y="197"/>
                  <a:pt x="211" y="197"/>
                </a:cubicBezTo>
                <a:cubicBezTo>
                  <a:pt x="211" y="196"/>
                  <a:pt x="211" y="196"/>
                  <a:pt x="211" y="196"/>
                </a:cubicBezTo>
                <a:cubicBezTo>
                  <a:pt x="211" y="196"/>
                  <a:pt x="212" y="196"/>
                  <a:pt x="212" y="196"/>
                </a:cubicBezTo>
                <a:cubicBezTo>
                  <a:pt x="212" y="196"/>
                  <a:pt x="211" y="196"/>
                  <a:pt x="211" y="196"/>
                </a:cubicBezTo>
                <a:cubicBezTo>
                  <a:pt x="211" y="196"/>
                  <a:pt x="211" y="196"/>
                  <a:pt x="210" y="196"/>
                </a:cubicBezTo>
                <a:cubicBezTo>
                  <a:pt x="210" y="196"/>
                  <a:pt x="210" y="196"/>
                  <a:pt x="209" y="196"/>
                </a:cubicBezTo>
                <a:cubicBezTo>
                  <a:pt x="209" y="196"/>
                  <a:pt x="210" y="196"/>
                  <a:pt x="210" y="196"/>
                </a:cubicBezTo>
                <a:cubicBezTo>
                  <a:pt x="210" y="196"/>
                  <a:pt x="209" y="196"/>
                  <a:pt x="209" y="196"/>
                </a:cubicBezTo>
                <a:cubicBezTo>
                  <a:pt x="209" y="196"/>
                  <a:pt x="209" y="196"/>
                  <a:pt x="208" y="196"/>
                </a:cubicBezTo>
                <a:cubicBezTo>
                  <a:pt x="208" y="195"/>
                  <a:pt x="208" y="195"/>
                  <a:pt x="207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7" y="195"/>
                  <a:pt x="206" y="195"/>
                  <a:pt x="206" y="195"/>
                </a:cubicBezTo>
                <a:cubicBezTo>
                  <a:pt x="206" y="195"/>
                  <a:pt x="206" y="195"/>
                  <a:pt x="206" y="196"/>
                </a:cubicBezTo>
                <a:cubicBezTo>
                  <a:pt x="205" y="196"/>
                  <a:pt x="205" y="197"/>
                  <a:pt x="204" y="198"/>
                </a:cubicBezTo>
                <a:cubicBezTo>
                  <a:pt x="203" y="198"/>
                  <a:pt x="203" y="199"/>
                  <a:pt x="202" y="199"/>
                </a:cubicBezTo>
                <a:cubicBezTo>
                  <a:pt x="202" y="199"/>
                  <a:pt x="203" y="198"/>
                  <a:pt x="204" y="198"/>
                </a:cubicBezTo>
                <a:cubicBezTo>
                  <a:pt x="204" y="197"/>
                  <a:pt x="204" y="196"/>
                  <a:pt x="204" y="196"/>
                </a:cubicBezTo>
                <a:cubicBezTo>
                  <a:pt x="205" y="195"/>
                  <a:pt x="205" y="195"/>
                  <a:pt x="205" y="195"/>
                </a:cubicBezTo>
                <a:cubicBezTo>
                  <a:pt x="205" y="194"/>
                  <a:pt x="205" y="194"/>
                  <a:pt x="205" y="194"/>
                </a:cubicBezTo>
                <a:cubicBezTo>
                  <a:pt x="205" y="194"/>
                  <a:pt x="205" y="194"/>
                  <a:pt x="204" y="194"/>
                </a:cubicBezTo>
                <a:cubicBezTo>
                  <a:pt x="204" y="194"/>
                  <a:pt x="203" y="194"/>
                  <a:pt x="203" y="194"/>
                </a:cubicBezTo>
                <a:cubicBezTo>
                  <a:pt x="202" y="194"/>
                  <a:pt x="202" y="194"/>
                  <a:pt x="201" y="194"/>
                </a:cubicBezTo>
                <a:cubicBezTo>
                  <a:pt x="201" y="194"/>
                  <a:pt x="200" y="195"/>
                  <a:pt x="200" y="195"/>
                </a:cubicBezTo>
                <a:cubicBezTo>
                  <a:pt x="200" y="195"/>
                  <a:pt x="199" y="195"/>
                  <a:pt x="199" y="195"/>
                </a:cubicBezTo>
                <a:cubicBezTo>
                  <a:pt x="199" y="196"/>
                  <a:pt x="199" y="196"/>
                  <a:pt x="199" y="196"/>
                </a:cubicBezTo>
                <a:cubicBezTo>
                  <a:pt x="198" y="196"/>
                  <a:pt x="198" y="196"/>
                  <a:pt x="197" y="197"/>
                </a:cubicBezTo>
                <a:cubicBezTo>
                  <a:pt x="197" y="197"/>
                  <a:pt x="196" y="198"/>
                  <a:pt x="196" y="198"/>
                </a:cubicBezTo>
                <a:cubicBezTo>
                  <a:pt x="196" y="199"/>
                  <a:pt x="195" y="199"/>
                  <a:pt x="195" y="199"/>
                </a:cubicBezTo>
                <a:cubicBezTo>
                  <a:pt x="195" y="199"/>
                  <a:pt x="195" y="199"/>
                  <a:pt x="196" y="198"/>
                </a:cubicBezTo>
                <a:cubicBezTo>
                  <a:pt x="196" y="198"/>
                  <a:pt x="195" y="198"/>
                  <a:pt x="195" y="197"/>
                </a:cubicBezTo>
                <a:cubicBezTo>
                  <a:pt x="195" y="197"/>
                  <a:pt x="195" y="197"/>
                  <a:pt x="195" y="196"/>
                </a:cubicBezTo>
                <a:cubicBezTo>
                  <a:pt x="195" y="196"/>
                  <a:pt x="195" y="196"/>
                  <a:pt x="195" y="196"/>
                </a:cubicBezTo>
                <a:cubicBezTo>
                  <a:pt x="194" y="196"/>
                  <a:pt x="193" y="196"/>
                  <a:pt x="193" y="196"/>
                </a:cubicBezTo>
                <a:cubicBezTo>
                  <a:pt x="193" y="196"/>
                  <a:pt x="193" y="196"/>
                  <a:pt x="193" y="196"/>
                </a:cubicBezTo>
                <a:cubicBezTo>
                  <a:pt x="193" y="195"/>
                  <a:pt x="193" y="195"/>
                  <a:pt x="194" y="195"/>
                </a:cubicBezTo>
                <a:cubicBezTo>
                  <a:pt x="194" y="195"/>
                  <a:pt x="194" y="195"/>
                  <a:pt x="194" y="195"/>
                </a:cubicBezTo>
                <a:cubicBezTo>
                  <a:pt x="194" y="195"/>
                  <a:pt x="194" y="194"/>
                  <a:pt x="194" y="194"/>
                </a:cubicBezTo>
                <a:cubicBezTo>
                  <a:pt x="193" y="194"/>
                  <a:pt x="192" y="195"/>
                  <a:pt x="191" y="195"/>
                </a:cubicBezTo>
                <a:cubicBezTo>
                  <a:pt x="191" y="194"/>
                  <a:pt x="191" y="194"/>
                  <a:pt x="191" y="194"/>
                </a:cubicBezTo>
                <a:cubicBezTo>
                  <a:pt x="191" y="194"/>
                  <a:pt x="191" y="194"/>
                  <a:pt x="191" y="193"/>
                </a:cubicBezTo>
                <a:cubicBezTo>
                  <a:pt x="191" y="193"/>
                  <a:pt x="192" y="193"/>
                  <a:pt x="192" y="192"/>
                </a:cubicBezTo>
                <a:cubicBezTo>
                  <a:pt x="193" y="192"/>
                  <a:pt x="193" y="192"/>
                  <a:pt x="193" y="192"/>
                </a:cubicBezTo>
                <a:cubicBezTo>
                  <a:pt x="193" y="192"/>
                  <a:pt x="192" y="191"/>
                  <a:pt x="192" y="191"/>
                </a:cubicBezTo>
                <a:cubicBezTo>
                  <a:pt x="192" y="191"/>
                  <a:pt x="192" y="191"/>
                  <a:pt x="191" y="191"/>
                </a:cubicBezTo>
                <a:cubicBezTo>
                  <a:pt x="191" y="191"/>
                  <a:pt x="191" y="191"/>
                  <a:pt x="191" y="191"/>
                </a:cubicBezTo>
                <a:cubicBezTo>
                  <a:pt x="190" y="191"/>
                  <a:pt x="190" y="191"/>
                  <a:pt x="190" y="192"/>
                </a:cubicBezTo>
                <a:cubicBezTo>
                  <a:pt x="190" y="191"/>
                  <a:pt x="190" y="191"/>
                  <a:pt x="190" y="191"/>
                </a:cubicBezTo>
                <a:cubicBezTo>
                  <a:pt x="189" y="191"/>
                  <a:pt x="189" y="191"/>
                  <a:pt x="189" y="191"/>
                </a:cubicBezTo>
                <a:cubicBezTo>
                  <a:pt x="188" y="192"/>
                  <a:pt x="188" y="192"/>
                  <a:pt x="187" y="192"/>
                </a:cubicBezTo>
                <a:cubicBezTo>
                  <a:pt x="187" y="192"/>
                  <a:pt x="186" y="192"/>
                  <a:pt x="186" y="192"/>
                </a:cubicBezTo>
                <a:cubicBezTo>
                  <a:pt x="186" y="192"/>
                  <a:pt x="186" y="192"/>
                  <a:pt x="185" y="192"/>
                </a:cubicBezTo>
                <a:cubicBezTo>
                  <a:pt x="185" y="192"/>
                  <a:pt x="185" y="192"/>
                  <a:pt x="185" y="193"/>
                </a:cubicBezTo>
                <a:cubicBezTo>
                  <a:pt x="184" y="193"/>
                  <a:pt x="184" y="193"/>
                  <a:pt x="183" y="193"/>
                </a:cubicBezTo>
                <a:cubicBezTo>
                  <a:pt x="183" y="193"/>
                  <a:pt x="183" y="194"/>
                  <a:pt x="183" y="194"/>
                </a:cubicBezTo>
                <a:cubicBezTo>
                  <a:pt x="183" y="194"/>
                  <a:pt x="183" y="194"/>
                  <a:pt x="183" y="194"/>
                </a:cubicBezTo>
                <a:cubicBezTo>
                  <a:pt x="183" y="194"/>
                  <a:pt x="182" y="194"/>
                  <a:pt x="182" y="194"/>
                </a:cubicBezTo>
                <a:cubicBezTo>
                  <a:pt x="182" y="194"/>
                  <a:pt x="182" y="194"/>
                  <a:pt x="182" y="193"/>
                </a:cubicBezTo>
                <a:cubicBezTo>
                  <a:pt x="182" y="193"/>
                  <a:pt x="183" y="193"/>
                  <a:pt x="183" y="193"/>
                </a:cubicBezTo>
                <a:cubicBezTo>
                  <a:pt x="183" y="193"/>
                  <a:pt x="182" y="193"/>
                  <a:pt x="182" y="192"/>
                </a:cubicBezTo>
                <a:cubicBezTo>
                  <a:pt x="182" y="192"/>
                  <a:pt x="182" y="192"/>
                  <a:pt x="183" y="192"/>
                </a:cubicBezTo>
                <a:cubicBezTo>
                  <a:pt x="183" y="192"/>
                  <a:pt x="183" y="191"/>
                  <a:pt x="183" y="191"/>
                </a:cubicBezTo>
                <a:cubicBezTo>
                  <a:pt x="183" y="191"/>
                  <a:pt x="183" y="191"/>
                  <a:pt x="183" y="191"/>
                </a:cubicBezTo>
                <a:cubicBezTo>
                  <a:pt x="183" y="190"/>
                  <a:pt x="183" y="190"/>
                  <a:pt x="183" y="190"/>
                </a:cubicBezTo>
                <a:cubicBezTo>
                  <a:pt x="183" y="190"/>
                  <a:pt x="183" y="190"/>
                  <a:pt x="182" y="190"/>
                </a:cubicBezTo>
                <a:cubicBezTo>
                  <a:pt x="182" y="190"/>
                  <a:pt x="182" y="190"/>
                  <a:pt x="182" y="190"/>
                </a:cubicBezTo>
                <a:cubicBezTo>
                  <a:pt x="182" y="190"/>
                  <a:pt x="181" y="191"/>
                  <a:pt x="181" y="191"/>
                </a:cubicBezTo>
                <a:cubicBezTo>
                  <a:pt x="181" y="191"/>
                  <a:pt x="181" y="192"/>
                  <a:pt x="181" y="192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180" y="192"/>
                  <a:pt x="180" y="192"/>
                  <a:pt x="180" y="192"/>
                </a:cubicBezTo>
                <a:cubicBezTo>
                  <a:pt x="179" y="192"/>
                  <a:pt x="179" y="192"/>
                  <a:pt x="179" y="193"/>
                </a:cubicBezTo>
                <a:cubicBezTo>
                  <a:pt x="179" y="193"/>
                  <a:pt x="179" y="193"/>
                  <a:pt x="179" y="193"/>
                </a:cubicBezTo>
                <a:cubicBezTo>
                  <a:pt x="179" y="193"/>
                  <a:pt x="179" y="193"/>
                  <a:pt x="179" y="194"/>
                </a:cubicBezTo>
                <a:cubicBezTo>
                  <a:pt x="179" y="194"/>
                  <a:pt x="179" y="194"/>
                  <a:pt x="179" y="194"/>
                </a:cubicBezTo>
                <a:cubicBezTo>
                  <a:pt x="178" y="194"/>
                  <a:pt x="178" y="195"/>
                  <a:pt x="178" y="195"/>
                </a:cubicBezTo>
                <a:cubicBezTo>
                  <a:pt x="178" y="195"/>
                  <a:pt x="178" y="195"/>
                  <a:pt x="178" y="195"/>
                </a:cubicBezTo>
                <a:cubicBezTo>
                  <a:pt x="178" y="195"/>
                  <a:pt x="178" y="195"/>
                  <a:pt x="177" y="196"/>
                </a:cubicBezTo>
                <a:cubicBezTo>
                  <a:pt x="178" y="196"/>
                  <a:pt x="178" y="196"/>
                  <a:pt x="178" y="196"/>
                </a:cubicBezTo>
                <a:cubicBezTo>
                  <a:pt x="177" y="196"/>
                  <a:pt x="177" y="196"/>
                  <a:pt x="177" y="196"/>
                </a:cubicBezTo>
                <a:cubicBezTo>
                  <a:pt x="177" y="196"/>
                  <a:pt x="177" y="195"/>
                  <a:pt x="177" y="195"/>
                </a:cubicBezTo>
                <a:cubicBezTo>
                  <a:pt x="177" y="195"/>
                  <a:pt x="177" y="195"/>
                  <a:pt x="177" y="194"/>
                </a:cubicBezTo>
                <a:cubicBezTo>
                  <a:pt x="177" y="194"/>
                  <a:pt x="177" y="194"/>
                  <a:pt x="176" y="194"/>
                </a:cubicBezTo>
                <a:cubicBezTo>
                  <a:pt x="176" y="195"/>
                  <a:pt x="176" y="195"/>
                  <a:pt x="176" y="195"/>
                </a:cubicBezTo>
                <a:cubicBezTo>
                  <a:pt x="176" y="195"/>
                  <a:pt x="176" y="196"/>
                  <a:pt x="176" y="196"/>
                </a:cubicBezTo>
                <a:cubicBezTo>
                  <a:pt x="175" y="196"/>
                  <a:pt x="175" y="196"/>
                  <a:pt x="175" y="196"/>
                </a:cubicBezTo>
                <a:cubicBezTo>
                  <a:pt x="175" y="196"/>
                  <a:pt x="175" y="195"/>
                  <a:pt x="175" y="195"/>
                </a:cubicBezTo>
                <a:cubicBezTo>
                  <a:pt x="175" y="195"/>
                  <a:pt x="175" y="195"/>
                  <a:pt x="174" y="195"/>
                </a:cubicBezTo>
                <a:cubicBezTo>
                  <a:pt x="174" y="195"/>
                  <a:pt x="174" y="195"/>
                  <a:pt x="173" y="195"/>
                </a:cubicBezTo>
                <a:cubicBezTo>
                  <a:pt x="173" y="195"/>
                  <a:pt x="173" y="195"/>
                  <a:pt x="173" y="195"/>
                </a:cubicBezTo>
                <a:cubicBezTo>
                  <a:pt x="174" y="194"/>
                  <a:pt x="174" y="194"/>
                  <a:pt x="174" y="193"/>
                </a:cubicBezTo>
                <a:cubicBezTo>
                  <a:pt x="175" y="193"/>
                  <a:pt x="175" y="193"/>
                  <a:pt x="175" y="193"/>
                </a:cubicBezTo>
                <a:cubicBezTo>
                  <a:pt x="176" y="193"/>
                  <a:pt x="176" y="193"/>
                  <a:pt x="177" y="193"/>
                </a:cubicBezTo>
                <a:cubicBezTo>
                  <a:pt x="177" y="193"/>
                  <a:pt x="178" y="192"/>
                  <a:pt x="178" y="192"/>
                </a:cubicBezTo>
                <a:cubicBezTo>
                  <a:pt x="179" y="192"/>
                  <a:pt x="179" y="191"/>
                  <a:pt x="179" y="191"/>
                </a:cubicBezTo>
                <a:cubicBezTo>
                  <a:pt x="179" y="191"/>
                  <a:pt x="180" y="190"/>
                  <a:pt x="180" y="190"/>
                </a:cubicBezTo>
                <a:cubicBezTo>
                  <a:pt x="180" y="190"/>
                  <a:pt x="180" y="190"/>
                  <a:pt x="180" y="190"/>
                </a:cubicBezTo>
                <a:cubicBezTo>
                  <a:pt x="180" y="190"/>
                  <a:pt x="180" y="189"/>
                  <a:pt x="180" y="189"/>
                </a:cubicBezTo>
                <a:cubicBezTo>
                  <a:pt x="180" y="189"/>
                  <a:pt x="180" y="189"/>
                  <a:pt x="180" y="189"/>
                </a:cubicBezTo>
                <a:cubicBezTo>
                  <a:pt x="179" y="189"/>
                  <a:pt x="179" y="189"/>
                  <a:pt x="178" y="189"/>
                </a:cubicBezTo>
                <a:cubicBezTo>
                  <a:pt x="178" y="189"/>
                  <a:pt x="178" y="189"/>
                  <a:pt x="178" y="190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6" y="188"/>
                  <a:pt x="176" y="189"/>
                  <a:pt x="175" y="189"/>
                </a:cubicBezTo>
                <a:cubicBezTo>
                  <a:pt x="175" y="190"/>
                  <a:pt x="175" y="190"/>
                  <a:pt x="174" y="190"/>
                </a:cubicBezTo>
                <a:cubicBezTo>
                  <a:pt x="174" y="190"/>
                  <a:pt x="174" y="190"/>
                  <a:pt x="173" y="191"/>
                </a:cubicBezTo>
                <a:cubicBezTo>
                  <a:pt x="173" y="191"/>
                  <a:pt x="172" y="191"/>
                  <a:pt x="172" y="192"/>
                </a:cubicBezTo>
                <a:cubicBezTo>
                  <a:pt x="171" y="192"/>
                  <a:pt x="171" y="193"/>
                  <a:pt x="170" y="194"/>
                </a:cubicBezTo>
                <a:cubicBezTo>
                  <a:pt x="170" y="194"/>
                  <a:pt x="169" y="194"/>
                  <a:pt x="169" y="195"/>
                </a:cubicBezTo>
                <a:cubicBezTo>
                  <a:pt x="168" y="195"/>
                  <a:pt x="167" y="195"/>
                  <a:pt x="166" y="196"/>
                </a:cubicBezTo>
                <a:cubicBezTo>
                  <a:pt x="165" y="196"/>
                  <a:pt x="165" y="196"/>
                  <a:pt x="164" y="196"/>
                </a:cubicBezTo>
                <a:cubicBezTo>
                  <a:pt x="164" y="196"/>
                  <a:pt x="164" y="196"/>
                  <a:pt x="164" y="196"/>
                </a:cubicBezTo>
                <a:cubicBezTo>
                  <a:pt x="164" y="196"/>
                  <a:pt x="164" y="196"/>
                  <a:pt x="164" y="196"/>
                </a:cubicBezTo>
                <a:cubicBezTo>
                  <a:pt x="163" y="196"/>
                  <a:pt x="163" y="196"/>
                  <a:pt x="163" y="196"/>
                </a:cubicBezTo>
                <a:cubicBezTo>
                  <a:pt x="162" y="196"/>
                  <a:pt x="162" y="196"/>
                  <a:pt x="161" y="196"/>
                </a:cubicBezTo>
                <a:cubicBezTo>
                  <a:pt x="161" y="197"/>
                  <a:pt x="161" y="197"/>
                  <a:pt x="160" y="197"/>
                </a:cubicBezTo>
                <a:cubicBezTo>
                  <a:pt x="160" y="197"/>
                  <a:pt x="160" y="197"/>
                  <a:pt x="160" y="198"/>
                </a:cubicBezTo>
                <a:cubicBezTo>
                  <a:pt x="160" y="198"/>
                  <a:pt x="160" y="198"/>
                  <a:pt x="160" y="198"/>
                </a:cubicBezTo>
                <a:cubicBezTo>
                  <a:pt x="160" y="198"/>
                  <a:pt x="159" y="198"/>
                  <a:pt x="159" y="198"/>
                </a:cubicBezTo>
                <a:cubicBezTo>
                  <a:pt x="159" y="197"/>
                  <a:pt x="159" y="197"/>
                  <a:pt x="159" y="197"/>
                </a:cubicBezTo>
                <a:cubicBezTo>
                  <a:pt x="160" y="197"/>
                  <a:pt x="160" y="197"/>
                  <a:pt x="160" y="196"/>
                </a:cubicBezTo>
                <a:cubicBezTo>
                  <a:pt x="160" y="196"/>
                  <a:pt x="160" y="196"/>
                  <a:pt x="160" y="196"/>
                </a:cubicBezTo>
                <a:cubicBezTo>
                  <a:pt x="159" y="197"/>
                  <a:pt x="159" y="197"/>
                  <a:pt x="158" y="197"/>
                </a:cubicBezTo>
                <a:cubicBezTo>
                  <a:pt x="158" y="198"/>
                  <a:pt x="157" y="198"/>
                  <a:pt x="156" y="199"/>
                </a:cubicBezTo>
                <a:cubicBezTo>
                  <a:pt x="156" y="199"/>
                  <a:pt x="156" y="199"/>
                  <a:pt x="155" y="200"/>
                </a:cubicBezTo>
                <a:cubicBezTo>
                  <a:pt x="155" y="200"/>
                  <a:pt x="155" y="201"/>
                  <a:pt x="155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56" y="201"/>
                  <a:pt x="156" y="201"/>
                  <a:pt x="157" y="201"/>
                </a:cubicBezTo>
                <a:cubicBezTo>
                  <a:pt x="157" y="201"/>
                  <a:pt x="156" y="201"/>
                  <a:pt x="156" y="202"/>
                </a:cubicBezTo>
                <a:cubicBezTo>
                  <a:pt x="156" y="202"/>
                  <a:pt x="155" y="202"/>
                  <a:pt x="155" y="202"/>
                </a:cubicBezTo>
                <a:cubicBezTo>
                  <a:pt x="154" y="203"/>
                  <a:pt x="154" y="203"/>
                  <a:pt x="154" y="204"/>
                </a:cubicBezTo>
                <a:cubicBezTo>
                  <a:pt x="153" y="204"/>
                  <a:pt x="153" y="205"/>
                  <a:pt x="153" y="206"/>
                </a:cubicBezTo>
                <a:cubicBezTo>
                  <a:pt x="153" y="206"/>
                  <a:pt x="153" y="206"/>
                  <a:pt x="153" y="207"/>
                </a:cubicBezTo>
                <a:cubicBezTo>
                  <a:pt x="153" y="207"/>
                  <a:pt x="153" y="207"/>
                  <a:pt x="153" y="207"/>
                </a:cubicBezTo>
                <a:cubicBezTo>
                  <a:pt x="152" y="207"/>
                  <a:pt x="152" y="207"/>
                  <a:pt x="152" y="207"/>
                </a:cubicBezTo>
                <a:cubicBezTo>
                  <a:pt x="152" y="207"/>
                  <a:pt x="152" y="206"/>
                  <a:pt x="152" y="206"/>
                </a:cubicBezTo>
                <a:cubicBezTo>
                  <a:pt x="152" y="205"/>
                  <a:pt x="153" y="204"/>
                  <a:pt x="153" y="204"/>
                </a:cubicBezTo>
                <a:cubicBezTo>
                  <a:pt x="153" y="203"/>
                  <a:pt x="153" y="203"/>
                  <a:pt x="153" y="203"/>
                </a:cubicBezTo>
                <a:cubicBezTo>
                  <a:pt x="153" y="203"/>
                  <a:pt x="153" y="203"/>
                  <a:pt x="152" y="203"/>
                </a:cubicBezTo>
                <a:cubicBezTo>
                  <a:pt x="151" y="204"/>
                  <a:pt x="151" y="205"/>
                  <a:pt x="150" y="205"/>
                </a:cubicBezTo>
                <a:cubicBezTo>
                  <a:pt x="149" y="205"/>
                  <a:pt x="149" y="206"/>
                  <a:pt x="149" y="206"/>
                </a:cubicBezTo>
                <a:cubicBezTo>
                  <a:pt x="148" y="206"/>
                  <a:pt x="148" y="206"/>
                  <a:pt x="148" y="206"/>
                </a:cubicBezTo>
                <a:cubicBezTo>
                  <a:pt x="147" y="206"/>
                  <a:pt x="147" y="206"/>
                  <a:pt x="147" y="206"/>
                </a:cubicBezTo>
                <a:cubicBezTo>
                  <a:pt x="146" y="206"/>
                  <a:pt x="146" y="206"/>
                  <a:pt x="145" y="206"/>
                </a:cubicBezTo>
                <a:cubicBezTo>
                  <a:pt x="145" y="206"/>
                  <a:pt x="145" y="206"/>
                  <a:pt x="144" y="206"/>
                </a:cubicBezTo>
                <a:cubicBezTo>
                  <a:pt x="144" y="206"/>
                  <a:pt x="145" y="206"/>
                  <a:pt x="145" y="206"/>
                </a:cubicBezTo>
                <a:cubicBezTo>
                  <a:pt x="145" y="206"/>
                  <a:pt x="146" y="206"/>
                  <a:pt x="147" y="206"/>
                </a:cubicBezTo>
                <a:cubicBezTo>
                  <a:pt x="147" y="206"/>
                  <a:pt x="147" y="206"/>
                  <a:pt x="147" y="206"/>
                </a:cubicBezTo>
                <a:cubicBezTo>
                  <a:pt x="147" y="206"/>
                  <a:pt x="147" y="207"/>
                  <a:pt x="147" y="207"/>
                </a:cubicBezTo>
                <a:cubicBezTo>
                  <a:pt x="146" y="207"/>
                  <a:pt x="146" y="207"/>
                  <a:pt x="145" y="207"/>
                </a:cubicBezTo>
                <a:cubicBezTo>
                  <a:pt x="144" y="207"/>
                  <a:pt x="144" y="208"/>
                  <a:pt x="143" y="208"/>
                </a:cubicBezTo>
                <a:cubicBezTo>
                  <a:pt x="142" y="208"/>
                  <a:pt x="142" y="209"/>
                  <a:pt x="141" y="210"/>
                </a:cubicBezTo>
                <a:cubicBezTo>
                  <a:pt x="140" y="210"/>
                  <a:pt x="139" y="211"/>
                  <a:pt x="139" y="212"/>
                </a:cubicBezTo>
                <a:cubicBezTo>
                  <a:pt x="138" y="213"/>
                  <a:pt x="137" y="214"/>
                  <a:pt x="136" y="215"/>
                </a:cubicBezTo>
                <a:cubicBezTo>
                  <a:pt x="135" y="215"/>
                  <a:pt x="135" y="216"/>
                  <a:pt x="134" y="217"/>
                </a:cubicBezTo>
                <a:cubicBezTo>
                  <a:pt x="133" y="217"/>
                  <a:pt x="133" y="218"/>
                  <a:pt x="132" y="219"/>
                </a:cubicBezTo>
                <a:cubicBezTo>
                  <a:pt x="132" y="220"/>
                  <a:pt x="131" y="221"/>
                  <a:pt x="130" y="222"/>
                </a:cubicBezTo>
                <a:cubicBezTo>
                  <a:pt x="130" y="222"/>
                  <a:pt x="129" y="222"/>
                  <a:pt x="128" y="223"/>
                </a:cubicBezTo>
                <a:cubicBezTo>
                  <a:pt x="128" y="223"/>
                  <a:pt x="128" y="223"/>
                  <a:pt x="127" y="223"/>
                </a:cubicBezTo>
                <a:cubicBezTo>
                  <a:pt x="127" y="224"/>
                  <a:pt x="127" y="224"/>
                  <a:pt x="126" y="225"/>
                </a:cubicBezTo>
                <a:cubicBezTo>
                  <a:pt x="126" y="225"/>
                  <a:pt x="125" y="225"/>
                  <a:pt x="125" y="225"/>
                </a:cubicBezTo>
                <a:cubicBezTo>
                  <a:pt x="124" y="226"/>
                  <a:pt x="124" y="226"/>
                  <a:pt x="123" y="227"/>
                </a:cubicBezTo>
                <a:cubicBezTo>
                  <a:pt x="123" y="227"/>
                  <a:pt x="122" y="227"/>
                  <a:pt x="122" y="228"/>
                </a:cubicBezTo>
                <a:cubicBezTo>
                  <a:pt x="121" y="228"/>
                  <a:pt x="121" y="228"/>
                  <a:pt x="121" y="228"/>
                </a:cubicBezTo>
                <a:cubicBezTo>
                  <a:pt x="120" y="228"/>
                  <a:pt x="119" y="228"/>
                  <a:pt x="119" y="228"/>
                </a:cubicBezTo>
                <a:cubicBezTo>
                  <a:pt x="118" y="228"/>
                  <a:pt x="118" y="228"/>
                  <a:pt x="117" y="228"/>
                </a:cubicBezTo>
                <a:cubicBezTo>
                  <a:pt x="117" y="228"/>
                  <a:pt x="116" y="228"/>
                  <a:pt x="116" y="228"/>
                </a:cubicBezTo>
                <a:cubicBezTo>
                  <a:pt x="115" y="229"/>
                  <a:pt x="114" y="229"/>
                  <a:pt x="114" y="229"/>
                </a:cubicBezTo>
                <a:cubicBezTo>
                  <a:pt x="114" y="229"/>
                  <a:pt x="113" y="229"/>
                  <a:pt x="113" y="229"/>
                </a:cubicBezTo>
                <a:cubicBezTo>
                  <a:pt x="113" y="230"/>
                  <a:pt x="113" y="230"/>
                  <a:pt x="112" y="230"/>
                </a:cubicBezTo>
                <a:cubicBezTo>
                  <a:pt x="112" y="231"/>
                  <a:pt x="111" y="232"/>
                  <a:pt x="111" y="233"/>
                </a:cubicBezTo>
                <a:cubicBezTo>
                  <a:pt x="111" y="233"/>
                  <a:pt x="111" y="233"/>
                  <a:pt x="111" y="234"/>
                </a:cubicBezTo>
                <a:cubicBezTo>
                  <a:pt x="110" y="234"/>
                  <a:pt x="110" y="234"/>
                  <a:pt x="110" y="235"/>
                </a:cubicBezTo>
                <a:cubicBezTo>
                  <a:pt x="110" y="235"/>
                  <a:pt x="110" y="235"/>
                  <a:pt x="110" y="236"/>
                </a:cubicBezTo>
                <a:cubicBezTo>
                  <a:pt x="109" y="236"/>
                  <a:pt x="109" y="236"/>
                  <a:pt x="109" y="236"/>
                </a:cubicBezTo>
                <a:cubicBezTo>
                  <a:pt x="108" y="236"/>
                  <a:pt x="108" y="236"/>
                  <a:pt x="108" y="236"/>
                </a:cubicBezTo>
                <a:cubicBezTo>
                  <a:pt x="108" y="236"/>
                  <a:pt x="108" y="237"/>
                  <a:pt x="107" y="237"/>
                </a:cubicBezTo>
                <a:cubicBezTo>
                  <a:pt x="108" y="237"/>
                  <a:pt x="109" y="237"/>
                  <a:pt x="109" y="238"/>
                </a:cubicBezTo>
                <a:cubicBezTo>
                  <a:pt x="110" y="238"/>
                  <a:pt x="111" y="239"/>
                  <a:pt x="112" y="240"/>
                </a:cubicBezTo>
                <a:cubicBezTo>
                  <a:pt x="113" y="241"/>
                  <a:pt x="114" y="241"/>
                  <a:pt x="114" y="242"/>
                </a:cubicBezTo>
                <a:cubicBezTo>
                  <a:pt x="115" y="242"/>
                  <a:pt x="115" y="243"/>
                  <a:pt x="116" y="243"/>
                </a:cubicBezTo>
                <a:cubicBezTo>
                  <a:pt x="116" y="244"/>
                  <a:pt x="116" y="245"/>
                  <a:pt x="116" y="245"/>
                </a:cubicBezTo>
                <a:cubicBezTo>
                  <a:pt x="116" y="246"/>
                  <a:pt x="116" y="247"/>
                  <a:pt x="116" y="247"/>
                </a:cubicBezTo>
                <a:cubicBezTo>
                  <a:pt x="116" y="248"/>
                  <a:pt x="115" y="248"/>
                  <a:pt x="115" y="249"/>
                </a:cubicBezTo>
                <a:cubicBezTo>
                  <a:pt x="115" y="249"/>
                  <a:pt x="115" y="249"/>
                  <a:pt x="115" y="249"/>
                </a:cubicBezTo>
                <a:cubicBezTo>
                  <a:pt x="116" y="249"/>
                  <a:pt x="117" y="249"/>
                  <a:pt x="118" y="250"/>
                </a:cubicBezTo>
                <a:cubicBezTo>
                  <a:pt x="119" y="250"/>
                  <a:pt x="119" y="250"/>
                  <a:pt x="120" y="249"/>
                </a:cubicBezTo>
                <a:cubicBezTo>
                  <a:pt x="119" y="249"/>
                  <a:pt x="119" y="249"/>
                  <a:pt x="119" y="249"/>
                </a:cubicBezTo>
                <a:cubicBezTo>
                  <a:pt x="119" y="249"/>
                  <a:pt x="120" y="249"/>
                  <a:pt x="120" y="249"/>
                </a:cubicBezTo>
                <a:cubicBezTo>
                  <a:pt x="120" y="249"/>
                  <a:pt x="120" y="248"/>
                  <a:pt x="121" y="248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121" y="249"/>
                  <a:pt x="121" y="249"/>
                  <a:pt x="121" y="249"/>
                </a:cubicBezTo>
                <a:cubicBezTo>
                  <a:pt x="122" y="249"/>
                  <a:pt x="123" y="249"/>
                  <a:pt x="124" y="249"/>
                </a:cubicBezTo>
                <a:cubicBezTo>
                  <a:pt x="124" y="249"/>
                  <a:pt x="124" y="249"/>
                  <a:pt x="124" y="250"/>
                </a:cubicBezTo>
                <a:cubicBezTo>
                  <a:pt x="123" y="250"/>
                  <a:pt x="123" y="250"/>
                  <a:pt x="123" y="250"/>
                </a:cubicBezTo>
                <a:cubicBezTo>
                  <a:pt x="123" y="250"/>
                  <a:pt x="123" y="250"/>
                  <a:pt x="122" y="251"/>
                </a:cubicBezTo>
                <a:cubicBezTo>
                  <a:pt x="123" y="251"/>
                  <a:pt x="123" y="252"/>
                  <a:pt x="123" y="252"/>
                </a:cubicBezTo>
                <a:cubicBezTo>
                  <a:pt x="123" y="253"/>
                  <a:pt x="123" y="253"/>
                  <a:pt x="124" y="253"/>
                </a:cubicBezTo>
                <a:cubicBezTo>
                  <a:pt x="124" y="253"/>
                  <a:pt x="124" y="253"/>
                  <a:pt x="124" y="253"/>
                </a:cubicBezTo>
                <a:cubicBezTo>
                  <a:pt x="125" y="253"/>
                  <a:pt x="125" y="253"/>
                  <a:pt x="125" y="252"/>
                </a:cubicBezTo>
                <a:cubicBezTo>
                  <a:pt x="125" y="252"/>
                  <a:pt x="126" y="252"/>
                  <a:pt x="126" y="252"/>
                </a:cubicBezTo>
                <a:cubicBezTo>
                  <a:pt x="126" y="252"/>
                  <a:pt x="127" y="252"/>
                  <a:pt x="127" y="252"/>
                </a:cubicBezTo>
                <a:cubicBezTo>
                  <a:pt x="127" y="252"/>
                  <a:pt x="128" y="252"/>
                  <a:pt x="128" y="252"/>
                </a:cubicBezTo>
                <a:cubicBezTo>
                  <a:pt x="128" y="251"/>
                  <a:pt x="129" y="251"/>
                  <a:pt x="129" y="251"/>
                </a:cubicBezTo>
                <a:cubicBezTo>
                  <a:pt x="130" y="251"/>
                  <a:pt x="130" y="251"/>
                  <a:pt x="131" y="250"/>
                </a:cubicBezTo>
                <a:cubicBezTo>
                  <a:pt x="132" y="250"/>
                  <a:pt x="132" y="250"/>
                  <a:pt x="133" y="250"/>
                </a:cubicBezTo>
                <a:cubicBezTo>
                  <a:pt x="132" y="251"/>
                  <a:pt x="132" y="251"/>
                  <a:pt x="131" y="251"/>
                </a:cubicBezTo>
                <a:cubicBezTo>
                  <a:pt x="132" y="252"/>
                  <a:pt x="132" y="252"/>
                  <a:pt x="132" y="252"/>
                </a:cubicBezTo>
                <a:cubicBezTo>
                  <a:pt x="132" y="252"/>
                  <a:pt x="132" y="253"/>
                  <a:pt x="132" y="253"/>
                </a:cubicBezTo>
                <a:cubicBezTo>
                  <a:pt x="131" y="253"/>
                  <a:pt x="131" y="253"/>
                  <a:pt x="130" y="254"/>
                </a:cubicBezTo>
                <a:cubicBezTo>
                  <a:pt x="130" y="254"/>
                  <a:pt x="130" y="253"/>
                  <a:pt x="130" y="253"/>
                </a:cubicBezTo>
                <a:cubicBezTo>
                  <a:pt x="130" y="253"/>
                  <a:pt x="129" y="253"/>
                  <a:pt x="129" y="253"/>
                </a:cubicBezTo>
                <a:cubicBezTo>
                  <a:pt x="129" y="253"/>
                  <a:pt x="129" y="254"/>
                  <a:pt x="128" y="254"/>
                </a:cubicBezTo>
                <a:cubicBezTo>
                  <a:pt x="128" y="254"/>
                  <a:pt x="127" y="254"/>
                  <a:pt x="127" y="254"/>
                </a:cubicBezTo>
                <a:cubicBezTo>
                  <a:pt x="127" y="254"/>
                  <a:pt x="126" y="254"/>
                  <a:pt x="126" y="254"/>
                </a:cubicBezTo>
                <a:cubicBezTo>
                  <a:pt x="126" y="254"/>
                  <a:pt x="125" y="254"/>
                  <a:pt x="125" y="254"/>
                </a:cubicBezTo>
                <a:cubicBezTo>
                  <a:pt x="125" y="254"/>
                  <a:pt x="124" y="254"/>
                  <a:pt x="124" y="254"/>
                </a:cubicBezTo>
                <a:cubicBezTo>
                  <a:pt x="124" y="254"/>
                  <a:pt x="124" y="254"/>
                  <a:pt x="124" y="254"/>
                </a:cubicBezTo>
                <a:cubicBezTo>
                  <a:pt x="123" y="254"/>
                  <a:pt x="122" y="254"/>
                  <a:pt x="122" y="254"/>
                </a:cubicBezTo>
                <a:cubicBezTo>
                  <a:pt x="122" y="254"/>
                  <a:pt x="122" y="253"/>
                  <a:pt x="122" y="253"/>
                </a:cubicBezTo>
                <a:cubicBezTo>
                  <a:pt x="122" y="252"/>
                  <a:pt x="122" y="251"/>
                  <a:pt x="122" y="250"/>
                </a:cubicBezTo>
                <a:cubicBezTo>
                  <a:pt x="122" y="250"/>
                  <a:pt x="122" y="250"/>
                  <a:pt x="121" y="250"/>
                </a:cubicBezTo>
                <a:cubicBezTo>
                  <a:pt x="121" y="250"/>
                  <a:pt x="121" y="250"/>
                  <a:pt x="121" y="250"/>
                </a:cubicBezTo>
                <a:cubicBezTo>
                  <a:pt x="121" y="250"/>
                  <a:pt x="120" y="251"/>
                  <a:pt x="120" y="251"/>
                </a:cubicBezTo>
                <a:cubicBezTo>
                  <a:pt x="121" y="252"/>
                  <a:pt x="121" y="252"/>
                  <a:pt x="121" y="253"/>
                </a:cubicBezTo>
                <a:cubicBezTo>
                  <a:pt x="121" y="254"/>
                  <a:pt x="121" y="254"/>
                  <a:pt x="121" y="255"/>
                </a:cubicBezTo>
                <a:cubicBezTo>
                  <a:pt x="121" y="255"/>
                  <a:pt x="121" y="255"/>
                  <a:pt x="120" y="256"/>
                </a:cubicBezTo>
                <a:cubicBezTo>
                  <a:pt x="121" y="256"/>
                  <a:pt x="121" y="256"/>
                  <a:pt x="121" y="256"/>
                </a:cubicBezTo>
                <a:cubicBezTo>
                  <a:pt x="121" y="256"/>
                  <a:pt x="121" y="256"/>
                  <a:pt x="121" y="255"/>
                </a:cubicBezTo>
                <a:cubicBezTo>
                  <a:pt x="121" y="255"/>
                  <a:pt x="122" y="255"/>
                  <a:pt x="122" y="255"/>
                </a:cubicBezTo>
                <a:cubicBezTo>
                  <a:pt x="122" y="255"/>
                  <a:pt x="122" y="255"/>
                  <a:pt x="123" y="255"/>
                </a:cubicBezTo>
                <a:cubicBezTo>
                  <a:pt x="123" y="255"/>
                  <a:pt x="123" y="255"/>
                  <a:pt x="124" y="254"/>
                </a:cubicBezTo>
                <a:cubicBezTo>
                  <a:pt x="124" y="255"/>
                  <a:pt x="125" y="255"/>
                  <a:pt x="125" y="255"/>
                </a:cubicBezTo>
                <a:cubicBezTo>
                  <a:pt x="125" y="255"/>
                  <a:pt x="125" y="256"/>
                  <a:pt x="125" y="256"/>
                </a:cubicBezTo>
                <a:cubicBezTo>
                  <a:pt x="125" y="257"/>
                  <a:pt x="125" y="257"/>
                  <a:pt x="125" y="257"/>
                </a:cubicBezTo>
                <a:cubicBezTo>
                  <a:pt x="124" y="258"/>
                  <a:pt x="124" y="258"/>
                  <a:pt x="123" y="258"/>
                </a:cubicBezTo>
                <a:cubicBezTo>
                  <a:pt x="123" y="258"/>
                  <a:pt x="124" y="257"/>
                  <a:pt x="124" y="257"/>
                </a:cubicBezTo>
                <a:cubicBezTo>
                  <a:pt x="124" y="257"/>
                  <a:pt x="124" y="256"/>
                  <a:pt x="124" y="256"/>
                </a:cubicBezTo>
                <a:cubicBezTo>
                  <a:pt x="124" y="256"/>
                  <a:pt x="123" y="256"/>
                  <a:pt x="123" y="256"/>
                </a:cubicBezTo>
                <a:cubicBezTo>
                  <a:pt x="123" y="256"/>
                  <a:pt x="123" y="256"/>
                  <a:pt x="122" y="256"/>
                </a:cubicBezTo>
                <a:cubicBezTo>
                  <a:pt x="122" y="257"/>
                  <a:pt x="122" y="257"/>
                  <a:pt x="122" y="257"/>
                </a:cubicBezTo>
                <a:cubicBezTo>
                  <a:pt x="121" y="258"/>
                  <a:pt x="121" y="258"/>
                  <a:pt x="121" y="259"/>
                </a:cubicBezTo>
                <a:cubicBezTo>
                  <a:pt x="121" y="259"/>
                  <a:pt x="121" y="259"/>
                  <a:pt x="121" y="259"/>
                </a:cubicBezTo>
                <a:cubicBezTo>
                  <a:pt x="120" y="259"/>
                  <a:pt x="120" y="260"/>
                  <a:pt x="120" y="260"/>
                </a:cubicBezTo>
                <a:cubicBezTo>
                  <a:pt x="120" y="260"/>
                  <a:pt x="119" y="260"/>
                  <a:pt x="119" y="261"/>
                </a:cubicBezTo>
                <a:cubicBezTo>
                  <a:pt x="119" y="260"/>
                  <a:pt x="119" y="260"/>
                  <a:pt x="118" y="260"/>
                </a:cubicBezTo>
                <a:cubicBezTo>
                  <a:pt x="118" y="260"/>
                  <a:pt x="118" y="260"/>
                  <a:pt x="118" y="260"/>
                </a:cubicBezTo>
                <a:cubicBezTo>
                  <a:pt x="117" y="260"/>
                  <a:pt x="117" y="261"/>
                  <a:pt x="117" y="261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16" y="261"/>
                  <a:pt x="115" y="261"/>
                  <a:pt x="115" y="260"/>
                </a:cubicBezTo>
                <a:cubicBezTo>
                  <a:pt x="115" y="260"/>
                  <a:pt x="115" y="261"/>
                  <a:pt x="114" y="261"/>
                </a:cubicBezTo>
                <a:cubicBezTo>
                  <a:pt x="114" y="261"/>
                  <a:pt x="114" y="261"/>
                  <a:pt x="114" y="261"/>
                </a:cubicBezTo>
                <a:cubicBezTo>
                  <a:pt x="114" y="261"/>
                  <a:pt x="113" y="261"/>
                  <a:pt x="113" y="261"/>
                </a:cubicBezTo>
                <a:cubicBezTo>
                  <a:pt x="113" y="261"/>
                  <a:pt x="113" y="261"/>
                  <a:pt x="113" y="261"/>
                </a:cubicBezTo>
                <a:cubicBezTo>
                  <a:pt x="112" y="261"/>
                  <a:pt x="112" y="261"/>
                  <a:pt x="112" y="261"/>
                </a:cubicBezTo>
                <a:cubicBezTo>
                  <a:pt x="111" y="261"/>
                  <a:pt x="111" y="261"/>
                  <a:pt x="111" y="262"/>
                </a:cubicBezTo>
                <a:cubicBezTo>
                  <a:pt x="111" y="262"/>
                  <a:pt x="111" y="262"/>
                  <a:pt x="110" y="262"/>
                </a:cubicBezTo>
                <a:cubicBezTo>
                  <a:pt x="110" y="262"/>
                  <a:pt x="110" y="261"/>
                  <a:pt x="110" y="261"/>
                </a:cubicBezTo>
                <a:cubicBezTo>
                  <a:pt x="110" y="261"/>
                  <a:pt x="110" y="261"/>
                  <a:pt x="109" y="261"/>
                </a:cubicBezTo>
                <a:cubicBezTo>
                  <a:pt x="109" y="261"/>
                  <a:pt x="109" y="260"/>
                  <a:pt x="109" y="260"/>
                </a:cubicBezTo>
                <a:cubicBezTo>
                  <a:pt x="109" y="260"/>
                  <a:pt x="110" y="260"/>
                  <a:pt x="110" y="260"/>
                </a:cubicBezTo>
                <a:cubicBezTo>
                  <a:pt x="110" y="259"/>
                  <a:pt x="111" y="259"/>
                  <a:pt x="111" y="258"/>
                </a:cubicBezTo>
                <a:cubicBezTo>
                  <a:pt x="111" y="258"/>
                  <a:pt x="111" y="258"/>
                  <a:pt x="111" y="258"/>
                </a:cubicBezTo>
                <a:cubicBezTo>
                  <a:pt x="111" y="258"/>
                  <a:pt x="112" y="257"/>
                  <a:pt x="112" y="257"/>
                </a:cubicBezTo>
                <a:cubicBezTo>
                  <a:pt x="112" y="257"/>
                  <a:pt x="112" y="257"/>
                  <a:pt x="112" y="257"/>
                </a:cubicBezTo>
                <a:cubicBezTo>
                  <a:pt x="111" y="257"/>
                  <a:pt x="110" y="256"/>
                  <a:pt x="110" y="256"/>
                </a:cubicBezTo>
                <a:cubicBezTo>
                  <a:pt x="109" y="256"/>
                  <a:pt x="109" y="256"/>
                  <a:pt x="109" y="256"/>
                </a:cubicBezTo>
                <a:cubicBezTo>
                  <a:pt x="108" y="257"/>
                  <a:pt x="108" y="257"/>
                  <a:pt x="108" y="257"/>
                </a:cubicBezTo>
                <a:cubicBezTo>
                  <a:pt x="107" y="257"/>
                  <a:pt x="107" y="258"/>
                  <a:pt x="106" y="258"/>
                </a:cubicBezTo>
                <a:cubicBezTo>
                  <a:pt x="106" y="259"/>
                  <a:pt x="105" y="259"/>
                  <a:pt x="105" y="259"/>
                </a:cubicBezTo>
                <a:cubicBezTo>
                  <a:pt x="105" y="259"/>
                  <a:pt x="104" y="259"/>
                  <a:pt x="104" y="259"/>
                </a:cubicBezTo>
                <a:cubicBezTo>
                  <a:pt x="104" y="259"/>
                  <a:pt x="103" y="259"/>
                  <a:pt x="103" y="259"/>
                </a:cubicBezTo>
                <a:cubicBezTo>
                  <a:pt x="102" y="260"/>
                  <a:pt x="101" y="261"/>
                  <a:pt x="100" y="262"/>
                </a:cubicBezTo>
                <a:cubicBezTo>
                  <a:pt x="100" y="262"/>
                  <a:pt x="100" y="262"/>
                  <a:pt x="100" y="262"/>
                </a:cubicBezTo>
                <a:cubicBezTo>
                  <a:pt x="100" y="262"/>
                  <a:pt x="100" y="262"/>
                  <a:pt x="101" y="262"/>
                </a:cubicBezTo>
                <a:cubicBezTo>
                  <a:pt x="101" y="262"/>
                  <a:pt x="102" y="262"/>
                  <a:pt x="102" y="262"/>
                </a:cubicBezTo>
                <a:cubicBezTo>
                  <a:pt x="102" y="262"/>
                  <a:pt x="102" y="263"/>
                  <a:pt x="102" y="263"/>
                </a:cubicBezTo>
                <a:cubicBezTo>
                  <a:pt x="102" y="263"/>
                  <a:pt x="101" y="263"/>
                  <a:pt x="101" y="263"/>
                </a:cubicBezTo>
                <a:cubicBezTo>
                  <a:pt x="101" y="263"/>
                  <a:pt x="101" y="263"/>
                  <a:pt x="100" y="263"/>
                </a:cubicBezTo>
                <a:cubicBezTo>
                  <a:pt x="100" y="263"/>
                  <a:pt x="100" y="263"/>
                  <a:pt x="100" y="263"/>
                </a:cubicBezTo>
                <a:cubicBezTo>
                  <a:pt x="99" y="263"/>
                  <a:pt x="99" y="263"/>
                  <a:pt x="98" y="264"/>
                </a:cubicBezTo>
                <a:cubicBezTo>
                  <a:pt x="98" y="264"/>
                  <a:pt x="97" y="264"/>
                  <a:pt x="96" y="264"/>
                </a:cubicBezTo>
                <a:cubicBezTo>
                  <a:pt x="96" y="265"/>
                  <a:pt x="95" y="265"/>
                  <a:pt x="94" y="265"/>
                </a:cubicBezTo>
                <a:cubicBezTo>
                  <a:pt x="94" y="266"/>
                  <a:pt x="94" y="266"/>
                  <a:pt x="94" y="266"/>
                </a:cubicBezTo>
                <a:cubicBezTo>
                  <a:pt x="94" y="266"/>
                  <a:pt x="94" y="266"/>
                  <a:pt x="94" y="266"/>
                </a:cubicBezTo>
                <a:cubicBezTo>
                  <a:pt x="94" y="267"/>
                  <a:pt x="93" y="267"/>
                  <a:pt x="93" y="267"/>
                </a:cubicBezTo>
                <a:cubicBezTo>
                  <a:pt x="93" y="267"/>
                  <a:pt x="93" y="267"/>
                  <a:pt x="92" y="267"/>
                </a:cubicBezTo>
                <a:cubicBezTo>
                  <a:pt x="92" y="267"/>
                  <a:pt x="92" y="267"/>
                  <a:pt x="92" y="267"/>
                </a:cubicBezTo>
                <a:cubicBezTo>
                  <a:pt x="91" y="268"/>
                  <a:pt x="91" y="268"/>
                  <a:pt x="90" y="269"/>
                </a:cubicBezTo>
                <a:cubicBezTo>
                  <a:pt x="90" y="269"/>
                  <a:pt x="90" y="269"/>
                  <a:pt x="91" y="269"/>
                </a:cubicBezTo>
                <a:cubicBezTo>
                  <a:pt x="90" y="269"/>
                  <a:pt x="90" y="269"/>
                  <a:pt x="90" y="270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8" y="271"/>
                  <a:pt x="88" y="271"/>
                  <a:pt x="87" y="272"/>
                </a:cubicBezTo>
                <a:cubicBezTo>
                  <a:pt x="87" y="272"/>
                  <a:pt x="87" y="272"/>
                  <a:pt x="87" y="272"/>
                </a:cubicBezTo>
                <a:cubicBezTo>
                  <a:pt x="87" y="272"/>
                  <a:pt x="87" y="272"/>
                  <a:pt x="87" y="272"/>
                </a:cubicBezTo>
                <a:cubicBezTo>
                  <a:pt x="87" y="272"/>
                  <a:pt x="87" y="271"/>
                  <a:pt x="87" y="271"/>
                </a:cubicBezTo>
                <a:cubicBezTo>
                  <a:pt x="87" y="271"/>
                  <a:pt x="86" y="272"/>
                  <a:pt x="86" y="272"/>
                </a:cubicBezTo>
                <a:cubicBezTo>
                  <a:pt x="86" y="272"/>
                  <a:pt x="86" y="273"/>
                  <a:pt x="86" y="273"/>
                </a:cubicBezTo>
                <a:cubicBezTo>
                  <a:pt x="86" y="273"/>
                  <a:pt x="86" y="273"/>
                  <a:pt x="86" y="273"/>
                </a:cubicBezTo>
                <a:cubicBezTo>
                  <a:pt x="86" y="273"/>
                  <a:pt x="87" y="274"/>
                  <a:pt x="88" y="274"/>
                </a:cubicBezTo>
                <a:cubicBezTo>
                  <a:pt x="89" y="274"/>
                  <a:pt x="89" y="274"/>
                  <a:pt x="90" y="274"/>
                </a:cubicBezTo>
                <a:cubicBezTo>
                  <a:pt x="91" y="274"/>
                  <a:pt x="91" y="274"/>
                  <a:pt x="92" y="274"/>
                </a:cubicBezTo>
                <a:cubicBezTo>
                  <a:pt x="92" y="274"/>
                  <a:pt x="93" y="274"/>
                  <a:pt x="93" y="274"/>
                </a:cubicBezTo>
                <a:cubicBezTo>
                  <a:pt x="94" y="274"/>
                  <a:pt x="94" y="274"/>
                  <a:pt x="95" y="274"/>
                </a:cubicBezTo>
                <a:cubicBezTo>
                  <a:pt x="95" y="274"/>
                  <a:pt x="95" y="275"/>
                  <a:pt x="96" y="275"/>
                </a:cubicBezTo>
                <a:cubicBezTo>
                  <a:pt x="96" y="275"/>
                  <a:pt x="96" y="275"/>
                  <a:pt x="97" y="274"/>
                </a:cubicBezTo>
                <a:cubicBezTo>
                  <a:pt x="97" y="274"/>
                  <a:pt x="98" y="274"/>
                  <a:pt x="98" y="274"/>
                </a:cubicBezTo>
                <a:cubicBezTo>
                  <a:pt x="98" y="274"/>
                  <a:pt x="98" y="274"/>
                  <a:pt x="98" y="275"/>
                </a:cubicBezTo>
                <a:cubicBezTo>
                  <a:pt x="97" y="275"/>
                  <a:pt x="97" y="275"/>
                  <a:pt x="96" y="276"/>
                </a:cubicBezTo>
                <a:cubicBezTo>
                  <a:pt x="96" y="275"/>
                  <a:pt x="96" y="275"/>
                  <a:pt x="96" y="275"/>
                </a:cubicBezTo>
                <a:cubicBezTo>
                  <a:pt x="95" y="275"/>
                  <a:pt x="95" y="275"/>
                  <a:pt x="94" y="275"/>
                </a:cubicBezTo>
                <a:cubicBezTo>
                  <a:pt x="94" y="275"/>
                  <a:pt x="93" y="275"/>
                  <a:pt x="93" y="275"/>
                </a:cubicBezTo>
                <a:cubicBezTo>
                  <a:pt x="93" y="275"/>
                  <a:pt x="93" y="275"/>
                  <a:pt x="93" y="275"/>
                </a:cubicBezTo>
                <a:cubicBezTo>
                  <a:pt x="92" y="276"/>
                  <a:pt x="92" y="276"/>
                  <a:pt x="92" y="277"/>
                </a:cubicBezTo>
                <a:cubicBezTo>
                  <a:pt x="92" y="277"/>
                  <a:pt x="91" y="277"/>
                  <a:pt x="91" y="277"/>
                </a:cubicBezTo>
                <a:cubicBezTo>
                  <a:pt x="91" y="277"/>
                  <a:pt x="90" y="277"/>
                  <a:pt x="90" y="277"/>
                </a:cubicBezTo>
                <a:cubicBezTo>
                  <a:pt x="90" y="276"/>
                  <a:pt x="90" y="276"/>
                  <a:pt x="91" y="276"/>
                </a:cubicBezTo>
                <a:cubicBezTo>
                  <a:pt x="91" y="275"/>
                  <a:pt x="91" y="275"/>
                  <a:pt x="90" y="275"/>
                </a:cubicBezTo>
                <a:cubicBezTo>
                  <a:pt x="90" y="275"/>
                  <a:pt x="90" y="276"/>
                  <a:pt x="90" y="276"/>
                </a:cubicBezTo>
                <a:cubicBezTo>
                  <a:pt x="89" y="276"/>
                  <a:pt x="89" y="276"/>
                  <a:pt x="89" y="277"/>
                </a:cubicBezTo>
                <a:cubicBezTo>
                  <a:pt x="89" y="277"/>
                  <a:pt x="90" y="278"/>
                  <a:pt x="90" y="278"/>
                </a:cubicBezTo>
                <a:cubicBezTo>
                  <a:pt x="90" y="278"/>
                  <a:pt x="90" y="278"/>
                  <a:pt x="90" y="278"/>
                </a:cubicBezTo>
                <a:cubicBezTo>
                  <a:pt x="91" y="278"/>
                  <a:pt x="91" y="279"/>
                  <a:pt x="91" y="279"/>
                </a:cubicBezTo>
                <a:cubicBezTo>
                  <a:pt x="91" y="279"/>
                  <a:pt x="90" y="279"/>
                  <a:pt x="90" y="280"/>
                </a:cubicBezTo>
                <a:cubicBezTo>
                  <a:pt x="90" y="280"/>
                  <a:pt x="90" y="281"/>
                  <a:pt x="89" y="281"/>
                </a:cubicBezTo>
                <a:cubicBezTo>
                  <a:pt x="90" y="281"/>
                  <a:pt x="90" y="282"/>
                  <a:pt x="90" y="282"/>
                </a:cubicBezTo>
                <a:cubicBezTo>
                  <a:pt x="90" y="282"/>
                  <a:pt x="90" y="283"/>
                  <a:pt x="90" y="283"/>
                </a:cubicBezTo>
                <a:cubicBezTo>
                  <a:pt x="91" y="283"/>
                  <a:pt x="92" y="283"/>
                  <a:pt x="93" y="283"/>
                </a:cubicBezTo>
                <a:cubicBezTo>
                  <a:pt x="94" y="283"/>
                  <a:pt x="94" y="283"/>
                  <a:pt x="95" y="283"/>
                </a:cubicBezTo>
                <a:cubicBezTo>
                  <a:pt x="95" y="283"/>
                  <a:pt x="96" y="283"/>
                  <a:pt x="96" y="283"/>
                </a:cubicBezTo>
                <a:cubicBezTo>
                  <a:pt x="97" y="283"/>
                  <a:pt x="97" y="283"/>
                  <a:pt x="97" y="283"/>
                </a:cubicBezTo>
                <a:cubicBezTo>
                  <a:pt x="98" y="283"/>
                  <a:pt x="98" y="282"/>
                  <a:pt x="98" y="282"/>
                </a:cubicBezTo>
                <a:cubicBezTo>
                  <a:pt x="99" y="281"/>
                  <a:pt x="99" y="281"/>
                  <a:pt x="100" y="281"/>
                </a:cubicBezTo>
                <a:cubicBezTo>
                  <a:pt x="100" y="281"/>
                  <a:pt x="101" y="281"/>
                  <a:pt x="101" y="280"/>
                </a:cubicBezTo>
                <a:cubicBezTo>
                  <a:pt x="102" y="280"/>
                  <a:pt x="103" y="280"/>
                  <a:pt x="104" y="280"/>
                </a:cubicBezTo>
                <a:cubicBezTo>
                  <a:pt x="104" y="279"/>
                  <a:pt x="104" y="279"/>
                  <a:pt x="105" y="279"/>
                </a:cubicBezTo>
                <a:cubicBezTo>
                  <a:pt x="105" y="280"/>
                  <a:pt x="105" y="280"/>
                  <a:pt x="106" y="280"/>
                </a:cubicBezTo>
                <a:cubicBezTo>
                  <a:pt x="106" y="280"/>
                  <a:pt x="106" y="280"/>
                  <a:pt x="106" y="280"/>
                </a:cubicBezTo>
                <a:cubicBezTo>
                  <a:pt x="106" y="280"/>
                  <a:pt x="107" y="280"/>
                  <a:pt x="107" y="279"/>
                </a:cubicBezTo>
                <a:cubicBezTo>
                  <a:pt x="106" y="279"/>
                  <a:pt x="106" y="279"/>
                  <a:pt x="106" y="279"/>
                </a:cubicBezTo>
                <a:cubicBezTo>
                  <a:pt x="106" y="278"/>
                  <a:pt x="106" y="278"/>
                  <a:pt x="106" y="278"/>
                </a:cubicBezTo>
                <a:cubicBezTo>
                  <a:pt x="107" y="278"/>
                  <a:pt x="107" y="278"/>
                  <a:pt x="108" y="278"/>
                </a:cubicBezTo>
                <a:cubicBezTo>
                  <a:pt x="108" y="278"/>
                  <a:pt x="108" y="278"/>
                  <a:pt x="108" y="278"/>
                </a:cubicBezTo>
                <a:cubicBezTo>
                  <a:pt x="107" y="279"/>
                  <a:pt x="107" y="279"/>
                  <a:pt x="107" y="280"/>
                </a:cubicBezTo>
                <a:cubicBezTo>
                  <a:pt x="107" y="280"/>
                  <a:pt x="107" y="280"/>
                  <a:pt x="107" y="280"/>
                </a:cubicBezTo>
                <a:cubicBezTo>
                  <a:pt x="108" y="280"/>
                  <a:pt x="108" y="280"/>
                  <a:pt x="108" y="280"/>
                </a:cubicBezTo>
                <a:cubicBezTo>
                  <a:pt x="108" y="279"/>
                  <a:pt x="109" y="279"/>
                  <a:pt x="109" y="279"/>
                </a:cubicBezTo>
                <a:cubicBezTo>
                  <a:pt x="109" y="278"/>
                  <a:pt x="109" y="278"/>
                  <a:pt x="109" y="278"/>
                </a:cubicBezTo>
                <a:cubicBezTo>
                  <a:pt x="110" y="278"/>
                  <a:pt x="110" y="277"/>
                  <a:pt x="111" y="277"/>
                </a:cubicBezTo>
                <a:cubicBezTo>
                  <a:pt x="111" y="276"/>
                  <a:pt x="112" y="276"/>
                  <a:pt x="113" y="275"/>
                </a:cubicBezTo>
                <a:cubicBezTo>
                  <a:pt x="113" y="275"/>
                  <a:pt x="114" y="275"/>
                  <a:pt x="114" y="274"/>
                </a:cubicBezTo>
                <a:cubicBezTo>
                  <a:pt x="114" y="274"/>
                  <a:pt x="114" y="274"/>
                  <a:pt x="115" y="273"/>
                </a:cubicBezTo>
                <a:cubicBezTo>
                  <a:pt x="115" y="273"/>
                  <a:pt x="115" y="273"/>
                  <a:pt x="115" y="273"/>
                </a:cubicBezTo>
                <a:cubicBezTo>
                  <a:pt x="115" y="273"/>
                  <a:pt x="115" y="273"/>
                  <a:pt x="115" y="273"/>
                </a:cubicBezTo>
                <a:cubicBezTo>
                  <a:pt x="116" y="273"/>
                  <a:pt x="116" y="273"/>
                  <a:pt x="116" y="273"/>
                </a:cubicBezTo>
                <a:cubicBezTo>
                  <a:pt x="117" y="273"/>
                  <a:pt x="117" y="272"/>
                  <a:pt x="118" y="272"/>
                </a:cubicBezTo>
                <a:cubicBezTo>
                  <a:pt x="118" y="271"/>
                  <a:pt x="119" y="271"/>
                  <a:pt x="119" y="271"/>
                </a:cubicBezTo>
                <a:cubicBezTo>
                  <a:pt x="119" y="271"/>
                  <a:pt x="119" y="271"/>
                  <a:pt x="120" y="270"/>
                </a:cubicBezTo>
                <a:cubicBezTo>
                  <a:pt x="119" y="271"/>
                  <a:pt x="119" y="271"/>
                  <a:pt x="119" y="271"/>
                </a:cubicBezTo>
                <a:cubicBezTo>
                  <a:pt x="119" y="272"/>
                  <a:pt x="119" y="272"/>
                  <a:pt x="118" y="272"/>
                </a:cubicBezTo>
                <a:cubicBezTo>
                  <a:pt x="118" y="272"/>
                  <a:pt x="118" y="272"/>
                  <a:pt x="118" y="273"/>
                </a:cubicBezTo>
                <a:cubicBezTo>
                  <a:pt x="119" y="272"/>
                  <a:pt x="119" y="272"/>
                  <a:pt x="119" y="272"/>
                </a:cubicBezTo>
                <a:cubicBezTo>
                  <a:pt x="119" y="273"/>
                  <a:pt x="119" y="273"/>
                  <a:pt x="119" y="274"/>
                </a:cubicBezTo>
                <a:cubicBezTo>
                  <a:pt x="118" y="274"/>
                  <a:pt x="118" y="275"/>
                  <a:pt x="117" y="275"/>
                </a:cubicBezTo>
                <a:cubicBezTo>
                  <a:pt x="117" y="275"/>
                  <a:pt x="117" y="275"/>
                  <a:pt x="116" y="275"/>
                </a:cubicBezTo>
                <a:cubicBezTo>
                  <a:pt x="116" y="275"/>
                  <a:pt x="116" y="275"/>
                  <a:pt x="116" y="275"/>
                </a:cubicBezTo>
                <a:cubicBezTo>
                  <a:pt x="115" y="275"/>
                  <a:pt x="115" y="276"/>
                  <a:pt x="115" y="276"/>
                </a:cubicBezTo>
                <a:cubicBezTo>
                  <a:pt x="115" y="276"/>
                  <a:pt x="115" y="276"/>
                  <a:pt x="115" y="277"/>
                </a:cubicBezTo>
                <a:cubicBezTo>
                  <a:pt x="115" y="276"/>
                  <a:pt x="116" y="276"/>
                  <a:pt x="116" y="276"/>
                </a:cubicBezTo>
                <a:cubicBezTo>
                  <a:pt x="116" y="276"/>
                  <a:pt x="117" y="276"/>
                  <a:pt x="117" y="276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17" y="278"/>
                  <a:pt x="117" y="279"/>
                  <a:pt x="116" y="279"/>
                </a:cubicBezTo>
                <a:cubicBezTo>
                  <a:pt x="116" y="279"/>
                  <a:pt x="116" y="280"/>
                  <a:pt x="116" y="280"/>
                </a:cubicBezTo>
                <a:cubicBezTo>
                  <a:pt x="116" y="280"/>
                  <a:pt x="116" y="281"/>
                  <a:pt x="116" y="281"/>
                </a:cubicBezTo>
                <a:cubicBezTo>
                  <a:pt x="116" y="281"/>
                  <a:pt x="116" y="281"/>
                  <a:pt x="116" y="281"/>
                </a:cubicBezTo>
                <a:cubicBezTo>
                  <a:pt x="116" y="281"/>
                  <a:pt x="116" y="281"/>
                  <a:pt x="116" y="282"/>
                </a:cubicBezTo>
                <a:cubicBezTo>
                  <a:pt x="116" y="282"/>
                  <a:pt x="117" y="282"/>
                  <a:pt x="117" y="282"/>
                </a:cubicBezTo>
                <a:cubicBezTo>
                  <a:pt x="117" y="282"/>
                  <a:pt x="117" y="283"/>
                  <a:pt x="117" y="283"/>
                </a:cubicBezTo>
                <a:cubicBezTo>
                  <a:pt x="117" y="283"/>
                  <a:pt x="116" y="284"/>
                  <a:pt x="116" y="284"/>
                </a:cubicBezTo>
                <a:cubicBezTo>
                  <a:pt x="116" y="284"/>
                  <a:pt x="116" y="285"/>
                  <a:pt x="115" y="285"/>
                </a:cubicBezTo>
                <a:cubicBezTo>
                  <a:pt x="115" y="285"/>
                  <a:pt x="115" y="285"/>
                  <a:pt x="114" y="285"/>
                </a:cubicBezTo>
                <a:cubicBezTo>
                  <a:pt x="114" y="286"/>
                  <a:pt x="114" y="286"/>
                  <a:pt x="114" y="286"/>
                </a:cubicBezTo>
                <a:cubicBezTo>
                  <a:pt x="113" y="286"/>
                  <a:pt x="113" y="287"/>
                  <a:pt x="113" y="287"/>
                </a:cubicBezTo>
                <a:cubicBezTo>
                  <a:pt x="113" y="287"/>
                  <a:pt x="112" y="287"/>
                  <a:pt x="112" y="288"/>
                </a:cubicBezTo>
                <a:cubicBezTo>
                  <a:pt x="112" y="288"/>
                  <a:pt x="111" y="288"/>
                  <a:pt x="111" y="288"/>
                </a:cubicBezTo>
                <a:cubicBezTo>
                  <a:pt x="110" y="288"/>
                  <a:pt x="110" y="288"/>
                  <a:pt x="109" y="288"/>
                </a:cubicBezTo>
                <a:cubicBezTo>
                  <a:pt x="109" y="288"/>
                  <a:pt x="109" y="288"/>
                  <a:pt x="109" y="289"/>
                </a:cubicBezTo>
                <a:cubicBezTo>
                  <a:pt x="108" y="288"/>
                  <a:pt x="108" y="288"/>
                  <a:pt x="108" y="288"/>
                </a:cubicBezTo>
                <a:cubicBezTo>
                  <a:pt x="108" y="288"/>
                  <a:pt x="107" y="288"/>
                  <a:pt x="107" y="288"/>
                </a:cubicBezTo>
                <a:cubicBezTo>
                  <a:pt x="107" y="288"/>
                  <a:pt x="107" y="288"/>
                  <a:pt x="107" y="288"/>
                </a:cubicBezTo>
                <a:cubicBezTo>
                  <a:pt x="106" y="289"/>
                  <a:pt x="106" y="289"/>
                  <a:pt x="106" y="290"/>
                </a:cubicBezTo>
                <a:cubicBezTo>
                  <a:pt x="106" y="290"/>
                  <a:pt x="105" y="291"/>
                  <a:pt x="105" y="291"/>
                </a:cubicBezTo>
                <a:cubicBezTo>
                  <a:pt x="105" y="291"/>
                  <a:pt x="105" y="292"/>
                  <a:pt x="104" y="292"/>
                </a:cubicBezTo>
                <a:cubicBezTo>
                  <a:pt x="104" y="292"/>
                  <a:pt x="103" y="293"/>
                  <a:pt x="102" y="293"/>
                </a:cubicBezTo>
                <a:cubicBezTo>
                  <a:pt x="102" y="294"/>
                  <a:pt x="102" y="294"/>
                  <a:pt x="102" y="294"/>
                </a:cubicBezTo>
                <a:cubicBezTo>
                  <a:pt x="102" y="294"/>
                  <a:pt x="101" y="294"/>
                  <a:pt x="101" y="295"/>
                </a:cubicBezTo>
                <a:cubicBezTo>
                  <a:pt x="101" y="295"/>
                  <a:pt x="100" y="295"/>
                  <a:pt x="100" y="295"/>
                </a:cubicBezTo>
                <a:cubicBezTo>
                  <a:pt x="99" y="295"/>
                  <a:pt x="99" y="295"/>
                  <a:pt x="98" y="296"/>
                </a:cubicBezTo>
                <a:cubicBezTo>
                  <a:pt x="98" y="296"/>
                  <a:pt x="98" y="296"/>
                  <a:pt x="97" y="297"/>
                </a:cubicBezTo>
                <a:cubicBezTo>
                  <a:pt x="97" y="297"/>
                  <a:pt x="96" y="297"/>
                  <a:pt x="96" y="298"/>
                </a:cubicBezTo>
                <a:cubicBezTo>
                  <a:pt x="96" y="298"/>
                  <a:pt x="96" y="298"/>
                  <a:pt x="95" y="298"/>
                </a:cubicBezTo>
                <a:cubicBezTo>
                  <a:pt x="96" y="298"/>
                  <a:pt x="96" y="299"/>
                  <a:pt x="96" y="299"/>
                </a:cubicBezTo>
                <a:cubicBezTo>
                  <a:pt x="96" y="300"/>
                  <a:pt x="96" y="300"/>
                  <a:pt x="96" y="301"/>
                </a:cubicBezTo>
                <a:cubicBezTo>
                  <a:pt x="95" y="301"/>
                  <a:pt x="95" y="301"/>
                  <a:pt x="95" y="301"/>
                </a:cubicBezTo>
                <a:cubicBezTo>
                  <a:pt x="95" y="301"/>
                  <a:pt x="95" y="301"/>
                  <a:pt x="95" y="301"/>
                </a:cubicBezTo>
                <a:cubicBezTo>
                  <a:pt x="94" y="301"/>
                  <a:pt x="94" y="301"/>
                  <a:pt x="93" y="301"/>
                </a:cubicBezTo>
                <a:cubicBezTo>
                  <a:pt x="93" y="301"/>
                  <a:pt x="92" y="301"/>
                  <a:pt x="91" y="301"/>
                </a:cubicBezTo>
                <a:cubicBezTo>
                  <a:pt x="91" y="302"/>
                  <a:pt x="91" y="302"/>
                  <a:pt x="91" y="302"/>
                </a:cubicBezTo>
                <a:cubicBezTo>
                  <a:pt x="91" y="302"/>
                  <a:pt x="91" y="302"/>
                  <a:pt x="91" y="302"/>
                </a:cubicBezTo>
                <a:cubicBezTo>
                  <a:pt x="92" y="302"/>
                  <a:pt x="92" y="302"/>
                  <a:pt x="92" y="302"/>
                </a:cubicBezTo>
                <a:cubicBezTo>
                  <a:pt x="92" y="303"/>
                  <a:pt x="92" y="303"/>
                  <a:pt x="92" y="303"/>
                </a:cubicBezTo>
                <a:cubicBezTo>
                  <a:pt x="92" y="303"/>
                  <a:pt x="92" y="303"/>
                  <a:pt x="91" y="303"/>
                </a:cubicBezTo>
                <a:cubicBezTo>
                  <a:pt x="91" y="303"/>
                  <a:pt x="91" y="303"/>
                  <a:pt x="91" y="303"/>
                </a:cubicBezTo>
                <a:cubicBezTo>
                  <a:pt x="90" y="303"/>
                  <a:pt x="90" y="303"/>
                  <a:pt x="90" y="303"/>
                </a:cubicBezTo>
                <a:cubicBezTo>
                  <a:pt x="89" y="303"/>
                  <a:pt x="89" y="303"/>
                  <a:pt x="89" y="303"/>
                </a:cubicBezTo>
                <a:cubicBezTo>
                  <a:pt x="89" y="304"/>
                  <a:pt x="88" y="304"/>
                  <a:pt x="88" y="305"/>
                </a:cubicBezTo>
                <a:cubicBezTo>
                  <a:pt x="88" y="305"/>
                  <a:pt x="88" y="305"/>
                  <a:pt x="88" y="306"/>
                </a:cubicBezTo>
                <a:cubicBezTo>
                  <a:pt x="88" y="306"/>
                  <a:pt x="87" y="306"/>
                  <a:pt x="87" y="306"/>
                </a:cubicBezTo>
                <a:cubicBezTo>
                  <a:pt x="87" y="306"/>
                  <a:pt x="87" y="307"/>
                  <a:pt x="87" y="307"/>
                </a:cubicBezTo>
                <a:cubicBezTo>
                  <a:pt x="86" y="308"/>
                  <a:pt x="85" y="308"/>
                  <a:pt x="85" y="309"/>
                </a:cubicBezTo>
                <a:cubicBezTo>
                  <a:pt x="85" y="310"/>
                  <a:pt x="85" y="310"/>
                  <a:pt x="85" y="310"/>
                </a:cubicBezTo>
                <a:cubicBezTo>
                  <a:pt x="85" y="311"/>
                  <a:pt x="85" y="311"/>
                  <a:pt x="85" y="311"/>
                </a:cubicBezTo>
                <a:cubicBezTo>
                  <a:pt x="84" y="311"/>
                  <a:pt x="84" y="311"/>
                  <a:pt x="84" y="312"/>
                </a:cubicBezTo>
                <a:cubicBezTo>
                  <a:pt x="83" y="312"/>
                  <a:pt x="83" y="312"/>
                  <a:pt x="82" y="312"/>
                </a:cubicBezTo>
                <a:cubicBezTo>
                  <a:pt x="82" y="312"/>
                  <a:pt x="82" y="312"/>
                  <a:pt x="82" y="312"/>
                </a:cubicBezTo>
                <a:cubicBezTo>
                  <a:pt x="83" y="312"/>
                  <a:pt x="83" y="312"/>
                  <a:pt x="84" y="312"/>
                </a:cubicBezTo>
                <a:cubicBezTo>
                  <a:pt x="84" y="313"/>
                  <a:pt x="84" y="313"/>
                  <a:pt x="84" y="313"/>
                </a:cubicBezTo>
                <a:cubicBezTo>
                  <a:pt x="83" y="313"/>
                  <a:pt x="83" y="313"/>
                  <a:pt x="83" y="313"/>
                </a:cubicBezTo>
                <a:cubicBezTo>
                  <a:pt x="83" y="313"/>
                  <a:pt x="82" y="313"/>
                  <a:pt x="82" y="313"/>
                </a:cubicBezTo>
                <a:cubicBezTo>
                  <a:pt x="82" y="313"/>
                  <a:pt x="82" y="313"/>
                  <a:pt x="82" y="313"/>
                </a:cubicBezTo>
                <a:cubicBezTo>
                  <a:pt x="82" y="314"/>
                  <a:pt x="82" y="314"/>
                  <a:pt x="82" y="314"/>
                </a:cubicBezTo>
                <a:cubicBezTo>
                  <a:pt x="81" y="315"/>
                  <a:pt x="81" y="315"/>
                  <a:pt x="81" y="316"/>
                </a:cubicBezTo>
                <a:cubicBezTo>
                  <a:pt x="81" y="316"/>
                  <a:pt x="81" y="316"/>
                  <a:pt x="81" y="316"/>
                </a:cubicBezTo>
                <a:cubicBezTo>
                  <a:pt x="81" y="316"/>
                  <a:pt x="82" y="316"/>
                  <a:pt x="82" y="316"/>
                </a:cubicBezTo>
                <a:cubicBezTo>
                  <a:pt x="83" y="317"/>
                  <a:pt x="83" y="317"/>
                  <a:pt x="83" y="317"/>
                </a:cubicBezTo>
                <a:cubicBezTo>
                  <a:pt x="83" y="317"/>
                  <a:pt x="83" y="318"/>
                  <a:pt x="83" y="318"/>
                </a:cubicBezTo>
                <a:cubicBezTo>
                  <a:pt x="83" y="318"/>
                  <a:pt x="83" y="318"/>
                  <a:pt x="83" y="319"/>
                </a:cubicBezTo>
                <a:cubicBezTo>
                  <a:pt x="83" y="319"/>
                  <a:pt x="83" y="319"/>
                  <a:pt x="83" y="319"/>
                </a:cubicBezTo>
                <a:cubicBezTo>
                  <a:pt x="84" y="319"/>
                  <a:pt x="84" y="319"/>
                  <a:pt x="84" y="319"/>
                </a:cubicBezTo>
                <a:cubicBezTo>
                  <a:pt x="84" y="318"/>
                  <a:pt x="84" y="318"/>
                  <a:pt x="84" y="318"/>
                </a:cubicBezTo>
                <a:cubicBezTo>
                  <a:pt x="84" y="318"/>
                  <a:pt x="85" y="318"/>
                  <a:pt x="85" y="318"/>
                </a:cubicBezTo>
                <a:cubicBezTo>
                  <a:pt x="85" y="318"/>
                  <a:pt x="85" y="319"/>
                  <a:pt x="85" y="319"/>
                </a:cubicBezTo>
                <a:cubicBezTo>
                  <a:pt x="85" y="319"/>
                  <a:pt x="85" y="319"/>
                  <a:pt x="85" y="319"/>
                </a:cubicBezTo>
                <a:cubicBezTo>
                  <a:pt x="85" y="320"/>
                  <a:pt x="85" y="320"/>
                  <a:pt x="85" y="320"/>
                </a:cubicBezTo>
                <a:cubicBezTo>
                  <a:pt x="85" y="320"/>
                  <a:pt x="85" y="320"/>
                  <a:pt x="85" y="320"/>
                </a:cubicBezTo>
                <a:cubicBezTo>
                  <a:pt x="85" y="320"/>
                  <a:pt x="86" y="320"/>
                  <a:pt x="86" y="320"/>
                </a:cubicBezTo>
                <a:cubicBezTo>
                  <a:pt x="86" y="319"/>
                  <a:pt x="86" y="319"/>
                  <a:pt x="86" y="319"/>
                </a:cubicBezTo>
                <a:cubicBezTo>
                  <a:pt x="86" y="319"/>
                  <a:pt x="87" y="319"/>
                  <a:pt x="87" y="319"/>
                </a:cubicBezTo>
                <a:cubicBezTo>
                  <a:pt x="87" y="319"/>
                  <a:pt x="87" y="319"/>
                  <a:pt x="87" y="319"/>
                </a:cubicBezTo>
                <a:cubicBezTo>
                  <a:pt x="87" y="319"/>
                  <a:pt x="87" y="319"/>
                  <a:pt x="88" y="319"/>
                </a:cubicBezTo>
                <a:cubicBezTo>
                  <a:pt x="88" y="319"/>
                  <a:pt x="88" y="319"/>
                  <a:pt x="89" y="319"/>
                </a:cubicBezTo>
                <a:cubicBezTo>
                  <a:pt x="89" y="319"/>
                  <a:pt x="90" y="319"/>
                  <a:pt x="90" y="319"/>
                </a:cubicBezTo>
                <a:cubicBezTo>
                  <a:pt x="90" y="318"/>
                  <a:pt x="91" y="318"/>
                  <a:pt x="91" y="318"/>
                </a:cubicBezTo>
                <a:cubicBezTo>
                  <a:pt x="91" y="318"/>
                  <a:pt x="91" y="317"/>
                  <a:pt x="92" y="317"/>
                </a:cubicBezTo>
                <a:cubicBezTo>
                  <a:pt x="92" y="317"/>
                  <a:pt x="91" y="316"/>
                  <a:pt x="91" y="316"/>
                </a:cubicBezTo>
                <a:cubicBezTo>
                  <a:pt x="92" y="315"/>
                  <a:pt x="92" y="315"/>
                  <a:pt x="92" y="315"/>
                </a:cubicBezTo>
                <a:cubicBezTo>
                  <a:pt x="92" y="315"/>
                  <a:pt x="93" y="314"/>
                  <a:pt x="94" y="314"/>
                </a:cubicBezTo>
                <a:cubicBezTo>
                  <a:pt x="94" y="314"/>
                  <a:pt x="94" y="313"/>
                  <a:pt x="94" y="313"/>
                </a:cubicBezTo>
                <a:cubicBezTo>
                  <a:pt x="94" y="314"/>
                  <a:pt x="94" y="314"/>
                  <a:pt x="94" y="314"/>
                </a:cubicBezTo>
                <a:cubicBezTo>
                  <a:pt x="94" y="315"/>
                  <a:pt x="93" y="315"/>
                  <a:pt x="93" y="315"/>
                </a:cubicBezTo>
                <a:cubicBezTo>
                  <a:pt x="93" y="315"/>
                  <a:pt x="92" y="316"/>
                  <a:pt x="92" y="317"/>
                </a:cubicBezTo>
                <a:cubicBezTo>
                  <a:pt x="92" y="317"/>
                  <a:pt x="92" y="317"/>
                  <a:pt x="92" y="317"/>
                </a:cubicBezTo>
                <a:cubicBezTo>
                  <a:pt x="92" y="318"/>
                  <a:pt x="92" y="318"/>
                  <a:pt x="91" y="318"/>
                </a:cubicBezTo>
                <a:cubicBezTo>
                  <a:pt x="92" y="318"/>
                  <a:pt x="92" y="318"/>
                  <a:pt x="93" y="318"/>
                </a:cubicBezTo>
                <a:cubicBezTo>
                  <a:pt x="93" y="319"/>
                  <a:pt x="93" y="319"/>
                  <a:pt x="93" y="319"/>
                </a:cubicBezTo>
                <a:cubicBezTo>
                  <a:pt x="93" y="319"/>
                  <a:pt x="92" y="319"/>
                  <a:pt x="92" y="320"/>
                </a:cubicBezTo>
                <a:cubicBezTo>
                  <a:pt x="92" y="320"/>
                  <a:pt x="91" y="320"/>
                  <a:pt x="91" y="320"/>
                </a:cubicBezTo>
                <a:cubicBezTo>
                  <a:pt x="91" y="320"/>
                  <a:pt x="91" y="319"/>
                  <a:pt x="91" y="319"/>
                </a:cubicBezTo>
                <a:cubicBezTo>
                  <a:pt x="91" y="319"/>
                  <a:pt x="91" y="319"/>
                  <a:pt x="90" y="319"/>
                </a:cubicBezTo>
                <a:cubicBezTo>
                  <a:pt x="90" y="319"/>
                  <a:pt x="90" y="320"/>
                  <a:pt x="89" y="320"/>
                </a:cubicBezTo>
                <a:cubicBezTo>
                  <a:pt x="89" y="320"/>
                  <a:pt x="89" y="319"/>
                  <a:pt x="89" y="319"/>
                </a:cubicBezTo>
                <a:cubicBezTo>
                  <a:pt x="88" y="320"/>
                  <a:pt x="88" y="320"/>
                  <a:pt x="87" y="320"/>
                </a:cubicBezTo>
                <a:cubicBezTo>
                  <a:pt x="87" y="320"/>
                  <a:pt x="87" y="320"/>
                  <a:pt x="86" y="320"/>
                </a:cubicBezTo>
                <a:cubicBezTo>
                  <a:pt x="86" y="320"/>
                  <a:pt x="86" y="320"/>
                  <a:pt x="86" y="321"/>
                </a:cubicBezTo>
                <a:cubicBezTo>
                  <a:pt x="85" y="321"/>
                  <a:pt x="85" y="321"/>
                  <a:pt x="85" y="321"/>
                </a:cubicBezTo>
                <a:cubicBezTo>
                  <a:pt x="85" y="321"/>
                  <a:pt x="85" y="322"/>
                  <a:pt x="85" y="322"/>
                </a:cubicBezTo>
                <a:cubicBezTo>
                  <a:pt x="85" y="322"/>
                  <a:pt x="84" y="322"/>
                  <a:pt x="84" y="323"/>
                </a:cubicBezTo>
                <a:cubicBezTo>
                  <a:pt x="84" y="323"/>
                  <a:pt x="83" y="323"/>
                  <a:pt x="83" y="323"/>
                </a:cubicBezTo>
                <a:cubicBezTo>
                  <a:pt x="83" y="323"/>
                  <a:pt x="83" y="323"/>
                  <a:pt x="83" y="323"/>
                </a:cubicBezTo>
                <a:cubicBezTo>
                  <a:pt x="83" y="324"/>
                  <a:pt x="84" y="324"/>
                  <a:pt x="84" y="324"/>
                </a:cubicBezTo>
                <a:cubicBezTo>
                  <a:pt x="84" y="324"/>
                  <a:pt x="84" y="324"/>
                  <a:pt x="84" y="323"/>
                </a:cubicBezTo>
                <a:cubicBezTo>
                  <a:pt x="84" y="324"/>
                  <a:pt x="84" y="324"/>
                  <a:pt x="84" y="324"/>
                </a:cubicBezTo>
                <a:cubicBezTo>
                  <a:pt x="84" y="325"/>
                  <a:pt x="84" y="325"/>
                  <a:pt x="84" y="325"/>
                </a:cubicBezTo>
                <a:cubicBezTo>
                  <a:pt x="85" y="325"/>
                  <a:pt x="85" y="326"/>
                  <a:pt x="85" y="326"/>
                </a:cubicBezTo>
                <a:cubicBezTo>
                  <a:pt x="85" y="326"/>
                  <a:pt x="85" y="326"/>
                  <a:pt x="86" y="325"/>
                </a:cubicBezTo>
                <a:cubicBezTo>
                  <a:pt x="86" y="326"/>
                  <a:pt x="86" y="326"/>
                  <a:pt x="86" y="326"/>
                </a:cubicBezTo>
                <a:cubicBezTo>
                  <a:pt x="86" y="327"/>
                  <a:pt x="87" y="327"/>
                  <a:pt x="87" y="327"/>
                </a:cubicBezTo>
                <a:cubicBezTo>
                  <a:pt x="87" y="327"/>
                  <a:pt x="87" y="327"/>
                  <a:pt x="87" y="327"/>
                </a:cubicBezTo>
                <a:cubicBezTo>
                  <a:pt x="87" y="327"/>
                  <a:pt x="88" y="327"/>
                  <a:pt x="88" y="327"/>
                </a:cubicBezTo>
                <a:cubicBezTo>
                  <a:pt x="88" y="327"/>
                  <a:pt x="88" y="327"/>
                  <a:pt x="88" y="328"/>
                </a:cubicBezTo>
                <a:cubicBezTo>
                  <a:pt x="88" y="328"/>
                  <a:pt x="88" y="328"/>
                  <a:pt x="87" y="328"/>
                </a:cubicBezTo>
                <a:cubicBezTo>
                  <a:pt x="87" y="328"/>
                  <a:pt x="87" y="329"/>
                  <a:pt x="87" y="329"/>
                </a:cubicBezTo>
                <a:cubicBezTo>
                  <a:pt x="88" y="328"/>
                  <a:pt x="90" y="328"/>
                  <a:pt x="91" y="328"/>
                </a:cubicBezTo>
                <a:cubicBezTo>
                  <a:pt x="92" y="328"/>
                  <a:pt x="92" y="328"/>
                  <a:pt x="93" y="327"/>
                </a:cubicBezTo>
                <a:cubicBezTo>
                  <a:pt x="93" y="327"/>
                  <a:pt x="93" y="327"/>
                  <a:pt x="94" y="326"/>
                </a:cubicBezTo>
                <a:cubicBezTo>
                  <a:pt x="94" y="326"/>
                  <a:pt x="94" y="326"/>
                  <a:pt x="95" y="326"/>
                </a:cubicBezTo>
                <a:cubicBezTo>
                  <a:pt x="95" y="326"/>
                  <a:pt x="95" y="326"/>
                  <a:pt x="95" y="326"/>
                </a:cubicBezTo>
                <a:cubicBezTo>
                  <a:pt x="96" y="325"/>
                  <a:pt x="96" y="325"/>
                  <a:pt x="96" y="325"/>
                </a:cubicBezTo>
                <a:cubicBezTo>
                  <a:pt x="96" y="325"/>
                  <a:pt x="97" y="324"/>
                  <a:pt x="97" y="323"/>
                </a:cubicBezTo>
                <a:cubicBezTo>
                  <a:pt x="97" y="323"/>
                  <a:pt x="97" y="323"/>
                  <a:pt x="97" y="323"/>
                </a:cubicBezTo>
                <a:cubicBezTo>
                  <a:pt x="96" y="323"/>
                  <a:pt x="96" y="323"/>
                  <a:pt x="96" y="322"/>
                </a:cubicBezTo>
                <a:cubicBezTo>
                  <a:pt x="96" y="322"/>
                  <a:pt x="96" y="322"/>
                  <a:pt x="96" y="322"/>
                </a:cubicBezTo>
                <a:cubicBezTo>
                  <a:pt x="96" y="322"/>
                  <a:pt x="96" y="321"/>
                  <a:pt x="97" y="321"/>
                </a:cubicBezTo>
                <a:cubicBezTo>
                  <a:pt x="97" y="321"/>
                  <a:pt x="98" y="320"/>
                  <a:pt x="98" y="320"/>
                </a:cubicBezTo>
                <a:cubicBezTo>
                  <a:pt x="99" y="319"/>
                  <a:pt x="99" y="318"/>
                  <a:pt x="100" y="317"/>
                </a:cubicBezTo>
                <a:cubicBezTo>
                  <a:pt x="100" y="317"/>
                  <a:pt x="101" y="317"/>
                  <a:pt x="101" y="317"/>
                </a:cubicBezTo>
                <a:cubicBezTo>
                  <a:pt x="101" y="317"/>
                  <a:pt x="100" y="318"/>
                  <a:pt x="100" y="318"/>
                </a:cubicBezTo>
                <a:cubicBezTo>
                  <a:pt x="99" y="319"/>
                  <a:pt x="99" y="319"/>
                  <a:pt x="98" y="320"/>
                </a:cubicBezTo>
                <a:cubicBezTo>
                  <a:pt x="98" y="321"/>
                  <a:pt x="98" y="321"/>
                  <a:pt x="97" y="321"/>
                </a:cubicBezTo>
                <a:cubicBezTo>
                  <a:pt x="97" y="321"/>
                  <a:pt x="97" y="322"/>
                  <a:pt x="97" y="322"/>
                </a:cubicBezTo>
                <a:cubicBezTo>
                  <a:pt x="98" y="322"/>
                  <a:pt x="98" y="322"/>
                  <a:pt x="98" y="322"/>
                </a:cubicBezTo>
                <a:cubicBezTo>
                  <a:pt x="99" y="322"/>
                  <a:pt x="99" y="322"/>
                  <a:pt x="99" y="322"/>
                </a:cubicBezTo>
                <a:cubicBezTo>
                  <a:pt x="99" y="323"/>
                  <a:pt x="98" y="323"/>
                  <a:pt x="98" y="324"/>
                </a:cubicBezTo>
                <a:cubicBezTo>
                  <a:pt x="98" y="324"/>
                  <a:pt x="98" y="324"/>
                  <a:pt x="97" y="325"/>
                </a:cubicBezTo>
                <a:cubicBezTo>
                  <a:pt x="97" y="325"/>
                  <a:pt x="97" y="325"/>
                  <a:pt x="98" y="325"/>
                </a:cubicBezTo>
                <a:cubicBezTo>
                  <a:pt x="98" y="326"/>
                  <a:pt x="98" y="326"/>
                  <a:pt x="98" y="326"/>
                </a:cubicBezTo>
                <a:cubicBezTo>
                  <a:pt x="98" y="326"/>
                  <a:pt x="98" y="327"/>
                  <a:pt x="98" y="327"/>
                </a:cubicBezTo>
                <a:cubicBezTo>
                  <a:pt x="98" y="327"/>
                  <a:pt x="98" y="327"/>
                  <a:pt x="98" y="327"/>
                </a:cubicBezTo>
                <a:cubicBezTo>
                  <a:pt x="99" y="327"/>
                  <a:pt x="99" y="328"/>
                  <a:pt x="99" y="328"/>
                </a:cubicBezTo>
                <a:cubicBezTo>
                  <a:pt x="99" y="328"/>
                  <a:pt x="99" y="328"/>
                  <a:pt x="99" y="328"/>
                </a:cubicBezTo>
                <a:cubicBezTo>
                  <a:pt x="99" y="329"/>
                  <a:pt x="98" y="329"/>
                  <a:pt x="98" y="329"/>
                </a:cubicBezTo>
                <a:cubicBezTo>
                  <a:pt x="98" y="330"/>
                  <a:pt x="98" y="330"/>
                  <a:pt x="97" y="330"/>
                </a:cubicBezTo>
                <a:cubicBezTo>
                  <a:pt x="97" y="330"/>
                  <a:pt x="97" y="330"/>
                  <a:pt x="97" y="331"/>
                </a:cubicBezTo>
                <a:cubicBezTo>
                  <a:pt x="97" y="331"/>
                  <a:pt x="97" y="331"/>
                  <a:pt x="97" y="331"/>
                </a:cubicBezTo>
                <a:cubicBezTo>
                  <a:pt x="97" y="331"/>
                  <a:pt x="97" y="331"/>
                  <a:pt x="97" y="331"/>
                </a:cubicBezTo>
                <a:cubicBezTo>
                  <a:pt x="97" y="331"/>
                  <a:pt x="97" y="332"/>
                  <a:pt x="97" y="332"/>
                </a:cubicBezTo>
                <a:cubicBezTo>
                  <a:pt x="97" y="332"/>
                  <a:pt x="98" y="332"/>
                  <a:pt x="98" y="332"/>
                </a:cubicBezTo>
                <a:cubicBezTo>
                  <a:pt x="98" y="332"/>
                  <a:pt x="98" y="332"/>
                  <a:pt x="98" y="332"/>
                </a:cubicBezTo>
                <a:cubicBezTo>
                  <a:pt x="98" y="332"/>
                  <a:pt x="99" y="332"/>
                  <a:pt x="99" y="332"/>
                </a:cubicBezTo>
                <a:cubicBezTo>
                  <a:pt x="99" y="331"/>
                  <a:pt x="100" y="331"/>
                  <a:pt x="100" y="331"/>
                </a:cubicBezTo>
                <a:cubicBezTo>
                  <a:pt x="100" y="331"/>
                  <a:pt x="100" y="331"/>
                  <a:pt x="100" y="331"/>
                </a:cubicBezTo>
                <a:cubicBezTo>
                  <a:pt x="100" y="332"/>
                  <a:pt x="100" y="332"/>
                  <a:pt x="100" y="332"/>
                </a:cubicBezTo>
                <a:cubicBezTo>
                  <a:pt x="99" y="332"/>
                  <a:pt x="99" y="333"/>
                  <a:pt x="99" y="333"/>
                </a:cubicBezTo>
                <a:cubicBezTo>
                  <a:pt x="98" y="333"/>
                  <a:pt x="98" y="333"/>
                  <a:pt x="98" y="333"/>
                </a:cubicBezTo>
                <a:cubicBezTo>
                  <a:pt x="98" y="333"/>
                  <a:pt x="99" y="333"/>
                  <a:pt x="99" y="333"/>
                </a:cubicBezTo>
                <a:cubicBezTo>
                  <a:pt x="99" y="334"/>
                  <a:pt x="99" y="334"/>
                  <a:pt x="99" y="334"/>
                </a:cubicBezTo>
                <a:cubicBezTo>
                  <a:pt x="99" y="334"/>
                  <a:pt x="99" y="334"/>
                  <a:pt x="99" y="334"/>
                </a:cubicBezTo>
                <a:cubicBezTo>
                  <a:pt x="99" y="334"/>
                  <a:pt x="99" y="335"/>
                  <a:pt x="99" y="335"/>
                </a:cubicBezTo>
                <a:cubicBezTo>
                  <a:pt x="99" y="335"/>
                  <a:pt x="98" y="335"/>
                  <a:pt x="98" y="335"/>
                </a:cubicBezTo>
                <a:cubicBezTo>
                  <a:pt x="98" y="336"/>
                  <a:pt x="97" y="336"/>
                  <a:pt x="97" y="336"/>
                </a:cubicBezTo>
                <a:cubicBezTo>
                  <a:pt x="97" y="336"/>
                  <a:pt x="97" y="336"/>
                  <a:pt x="96" y="336"/>
                </a:cubicBezTo>
                <a:cubicBezTo>
                  <a:pt x="96" y="336"/>
                  <a:pt x="96" y="337"/>
                  <a:pt x="96" y="337"/>
                </a:cubicBezTo>
                <a:cubicBezTo>
                  <a:pt x="96" y="337"/>
                  <a:pt x="97" y="337"/>
                  <a:pt x="97" y="337"/>
                </a:cubicBezTo>
                <a:cubicBezTo>
                  <a:pt x="97" y="337"/>
                  <a:pt x="98" y="336"/>
                  <a:pt x="98" y="336"/>
                </a:cubicBezTo>
                <a:cubicBezTo>
                  <a:pt x="98" y="336"/>
                  <a:pt x="99" y="336"/>
                  <a:pt x="99" y="336"/>
                </a:cubicBezTo>
                <a:cubicBezTo>
                  <a:pt x="99" y="336"/>
                  <a:pt x="99" y="335"/>
                  <a:pt x="100" y="335"/>
                </a:cubicBezTo>
                <a:cubicBezTo>
                  <a:pt x="100" y="334"/>
                  <a:pt x="101" y="334"/>
                  <a:pt x="101" y="333"/>
                </a:cubicBezTo>
                <a:cubicBezTo>
                  <a:pt x="101" y="333"/>
                  <a:pt x="102" y="333"/>
                  <a:pt x="102" y="333"/>
                </a:cubicBezTo>
                <a:cubicBezTo>
                  <a:pt x="102" y="333"/>
                  <a:pt x="102" y="333"/>
                  <a:pt x="103" y="333"/>
                </a:cubicBezTo>
                <a:cubicBezTo>
                  <a:pt x="103" y="332"/>
                  <a:pt x="103" y="332"/>
                  <a:pt x="103" y="332"/>
                </a:cubicBezTo>
                <a:cubicBezTo>
                  <a:pt x="104" y="331"/>
                  <a:pt x="104" y="331"/>
                  <a:pt x="105" y="331"/>
                </a:cubicBezTo>
                <a:cubicBezTo>
                  <a:pt x="105" y="331"/>
                  <a:pt x="105" y="331"/>
                  <a:pt x="105" y="331"/>
                </a:cubicBezTo>
                <a:cubicBezTo>
                  <a:pt x="104" y="331"/>
                  <a:pt x="104" y="332"/>
                  <a:pt x="104" y="332"/>
                </a:cubicBezTo>
                <a:cubicBezTo>
                  <a:pt x="104" y="332"/>
                  <a:pt x="104" y="332"/>
                  <a:pt x="104" y="332"/>
                </a:cubicBezTo>
                <a:cubicBezTo>
                  <a:pt x="105" y="332"/>
                  <a:pt x="105" y="332"/>
                  <a:pt x="105" y="332"/>
                </a:cubicBezTo>
                <a:cubicBezTo>
                  <a:pt x="105" y="332"/>
                  <a:pt x="105" y="332"/>
                  <a:pt x="106" y="332"/>
                </a:cubicBezTo>
                <a:cubicBezTo>
                  <a:pt x="106" y="332"/>
                  <a:pt x="106" y="333"/>
                  <a:pt x="106" y="333"/>
                </a:cubicBezTo>
                <a:cubicBezTo>
                  <a:pt x="106" y="333"/>
                  <a:pt x="106" y="333"/>
                  <a:pt x="107" y="333"/>
                </a:cubicBezTo>
                <a:cubicBezTo>
                  <a:pt x="107" y="332"/>
                  <a:pt x="107" y="332"/>
                  <a:pt x="107" y="332"/>
                </a:cubicBezTo>
                <a:cubicBezTo>
                  <a:pt x="107" y="332"/>
                  <a:pt x="107" y="331"/>
                  <a:pt x="108" y="331"/>
                </a:cubicBezTo>
                <a:cubicBezTo>
                  <a:pt x="108" y="331"/>
                  <a:pt x="108" y="331"/>
                  <a:pt x="108" y="331"/>
                </a:cubicBezTo>
                <a:cubicBezTo>
                  <a:pt x="108" y="331"/>
                  <a:pt x="108" y="332"/>
                  <a:pt x="108" y="332"/>
                </a:cubicBezTo>
                <a:cubicBezTo>
                  <a:pt x="108" y="332"/>
                  <a:pt x="109" y="332"/>
                  <a:pt x="109" y="332"/>
                </a:cubicBezTo>
                <a:cubicBezTo>
                  <a:pt x="109" y="332"/>
                  <a:pt x="110" y="333"/>
                  <a:pt x="110" y="333"/>
                </a:cubicBezTo>
                <a:cubicBezTo>
                  <a:pt x="110" y="333"/>
                  <a:pt x="110" y="334"/>
                  <a:pt x="110" y="334"/>
                </a:cubicBezTo>
                <a:cubicBezTo>
                  <a:pt x="110" y="334"/>
                  <a:pt x="110" y="334"/>
                  <a:pt x="111" y="334"/>
                </a:cubicBezTo>
                <a:cubicBezTo>
                  <a:pt x="111" y="334"/>
                  <a:pt x="111" y="334"/>
                  <a:pt x="111" y="334"/>
                </a:cubicBezTo>
                <a:cubicBezTo>
                  <a:pt x="111" y="334"/>
                  <a:pt x="112" y="333"/>
                  <a:pt x="112" y="333"/>
                </a:cubicBezTo>
                <a:cubicBezTo>
                  <a:pt x="111" y="333"/>
                  <a:pt x="111" y="333"/>
                  <a:pt x="111" y="333"/>
                </a:cubicBezTo>
                <a:cubicBezTo>
                  <a:pt x="111" y="332"/>
                  <a:pt x="111" y="332"/>
                  <a:pt x="112" y="331"/>
                </a:cubicBezTo>
                <a:cubicBezTo>
                  <a:pt x="112" y="331"/>
                  <a:pt x="111" y="331"/>
                  <a:pt x="111" y="330"/>
                </a:cubicBezTo>
                <a:cubicBezTo>
                  <a:pt x="112" y="330"/>
                  <a:pt x="112" y="330"/>
                  <a:pt x="112" y="329"/>
                </a:cubicBezTo>
                <a:cubicBezTo>
                  <a:pt x="112" y="329"/>
                  <a:pt x="113" y="329"/>
                  <a:pt x="113" y="329"/>
                </a:cubicBezTo>
                <a:cubicBezTo>
                  <a:pt x="113" y="329"/>
                  <a:pt x="113" y="328"/>
                  <a:pt x="113" y="328"/>
                </a:cubicBezTo>
                <a:cubicBezTo>
                  <a:pt x="114" y="328"/>
                  <a:pt x="114" y="328"/>
                  <a:pt x="115" y="327"/>
                </a:cubicBezTo>
                <a:cubicBezTo>
                  <a:pt x="115" y="328"/>
                  <a:pt x="114" y="328"/>
                  <a:pt x="114" y="328"/>
                </a:cubicBezTo>
                <a:cubicBezTo>
                  <a:pt x="114" y="329"/>
                  <a:pt x="113" y="330"/>
                  <a:pt x="113" y="330"/>
                </a:cubicBezTo>
                <a:cubicBezTo>
                  <a:pt x="113" y="330"/>
                  <a:pt x="113" y="330"/>
                  <a:pt x="113" y="330"/>
                </a:cubicBezTo>
                <a:cubicBezTo>
                  <a:pt x="114" y="331"/>
                  <a:pt x="114" y="331"/>
                  <a:pt x="115" y="331"/>
                </a:cubicBezTo>
                <a:cubicBezTo>
                  <a:pt x="115" y="331"/>
                  <a:pt x="115" y="331"/>
                  <a:pt x="116" y="331"/>
                </a:cubicBezTo>
                <a:cubicBezTo>
                  <a:pt x="116" y="330"/>
                  <a:pt x="116" y="330"/>
                  <a:pt x="117" y="329"/>
                </a:cubicBezTo>
                <a:cubicBezTo>
                  <a:pt x="117" y="329"/>
                  <a:pt x="118" y="329"/>
                  <a:pt x="119" y="328"/>
                </a:cubicBezTo>
                <a:cubicBezTo>
                  <a:pt x="119" y="328"/>
                  <a:pt x="119" y="328"/>
                  <a:pt x="120" y="327"/>
                </a:cubicBezTo>
                <a:cubicBezTo>
                  <a:pt x="120" y="327"/>
                  <a:pt x="120" y="327"/>
                  <a:pt x="120" y="327"/>
                </a:cubicBezTo>
                <a:cubicBezTo>
                  <a:pt x="121" y="326"/>
                  <a:pt x="121" y="326"/>
                  <a:pt x="122" y="326"/>
                </a:cubicBezTo>
                <a:cubicBezTo>
                  <a:pt x="122" y="325"/>
                  <a:pt x="122" y="325"/>
                  <a:pt x="122" y="325"/>
                </a:cubicBezTo>
                <a:cubicBezTo>
                  <a:pt x="122" y="325"/>
                  <a:pt x="122" y="326"/>
                  <a:pt x="122" y="326"/>
                </a:cubicBezTo>
                <a:cubicBezTo>
                  <a:pt x="122" y="326"/>
                  <a:pt x="121" y="327"/>
                  <a:pt x="121" y="327"/>
                </a:cubicBezTo>
                <a:cubicBezTo>
                  <a:pt x="121" y="327"/>
                  <a:pt x="121" y="327"/>
                  <a:pt x="121" y="327"/>
                </a:cubicBezTo>
                <a:cubicBezTo>
                  <a:pt x="121" y="328"/>
                  <a:pt x="121" y="328"/>
                  <a:pt x="121" y="328"/>
                </a:cubicBezTo>
                <a:cubicBezTo>
                  <a:pt x="120" y="329"/>
                  <a:pt x="119" y="330"/>
                  <a:pt x="118" y="331"/>
                </a:cubicBezTo>
                <a:cubicBezTo>
                  <a:pt x="118" y="331"/>
                  <a:pt x="118" y="331"/>
                  <a:pt x="117" y="332"/>
                </a:cubicBezTo>
                <a:cubicBezTo>
                  <a:pt x="117" y="332"/>
                  <a:pt x="117" y="333"/>
                  <a:pt x="117" y="333"/>
                </a:cubicBezTo>
                <a:cubicBezTo>
                  <a:pt x="117" y="334"/>
                  <a:pt x="117" y="334"/>
                  <a:pt x="117" y="334"/>
                </a:cubicBezTo>
                <a:cubicBezTo>
                  <a:pt x="117" y="334"/>
                  <a:pt x="118" y="334"/>
                  <a:pt x="118" y="334"/>
                </a:cubicBezTo>
                <a:cubicBezTo>
                  <a:pt x="118" y="334"/>
                  <a:pt x="119" y="334"/>
                  <a:pt x="119" y="334"/>
                </a:cubicBezTo>
                <a:cubicBezTo>
                  <a:pt x="118" y="335"/>
                  <a:pt x="118" y="335"/>
                  <a:pt x="117" y="335"/>
                </a:cubicBezTo>
                <a:cubicBezTo>
                  <a:pt x="117" y="335"/>
                  <a:pt x="117" y="335"/>
                  <a:pt x="117" y="336"/>
                </a:cubicBezTo>
                <a:cubicBezTo>
                  <a:pt x="116" y="336"/>
                  <a:pt x="116" y="336"/>
                  <a:pt x="116" y="337"/>
                </a:cubicBezTo>
                <a:cubicBezTo>
                  <a:pt x="116" y="337"/>
                  <a:pt x="116" y="337"/>
                  <a:pt x="116" y="338"/>
                </a:cubicBezTo>
                <a:cubicBezTo>
                  <a:pt x="116" y="338"/>
                  <a:pt x="116" y="339"/>
                  <a:pt x="115" y="339"/>
                </a:cubicBezTo>
                <a:cubicBezTo>
                  <a:pt x="115" y="340"/>
                  <a:pt x="115" y="340"/>
                  <a:pt x="115" y="340"/>
                </a:cubicBezTo>
                <a:cubicBezTo>
                  <a:pt x="115" y="340"/>
                  <a:pt x="115" y="340"/>
                  <a:pt x="115" y="340"/>
                </a:cubicBezTo>
                <a:cubicBezTo>
                  <a:pt x="116" y="340"/>
                  <a:pt x="116" y="340"/>
                  <a:pt x="116" y="341"/>
                </a:cubicBezTo>
                <a:cubicBezTo>
                  <a:pt x="116" y="341"/>
                  <a:pt x="116" y="341"/>
                  <a:pt x="116" y="341"/>
                </a:cubicBezTo>
                <a:cubicBezTo>
                  <a:pt x="116" y="341"/>
                  <a:pt x="115" y="341"/>
                  <a:pt x="115" y="341"/>
                </a:cubicBezTo>
                <a:cubicBezTo>
                  <a:pt x="115" y="341"/>
                  <a:pt x="115" y="341"/>
                  <a:pt x="115" y="341"/>
                </a:cubicBezTo>
                <a:cubicBezTo>
                  <a:pt x="114" y="341"/>
                  <a:pt x="114" y="341"/>
                  <a:pt x="114" y="341"/>
                </a:cubicBezTo>
                <a:cubicBezTo>
                  <a:pt x="114" y="342"/>
                  <a:pt x="114" y="342"/>
                  <a:pt x="113" y="342"/>
                </a:cubicBezTo>
                <a:cubicBezTo>
                  <a:pt x="113" y="343"/>
                  <a:pt x="113" y="343"/>
                  <a:pt x="112" y="343"/>
                </a:cubicBezTo>
                <a:cubicBezTo>
                  <a:pt x="113" y="343"/>
                  <a:pt x="113" y="344"/>
                  <a:pt x="113" y="344"/>
                </a:cubicBezTo>
                <a:cubicBezTo>
                  <a:pt x="113" y="344"/>
                  <a:pt x="113" y="344"/>
                  <a:pt x="113" y="344"/>
                </a:cubicBezTo>
                <a:cubicBezTo>
                  <a:pt x="112" y="344"/>
                  <a:pt x="112" y="344"/>
                  <a:pt x="112" y="345"/>
                </a:cubicBezTo>
                <a:cubicBezTo>
                  <a:pt x="112" y="344"/>
                  <a:pt x="112" y="344"/>
                  <a:pt x="112" y="344"/>
                </a:cubicBezTo>
                <a:cubicBezTo>
                  <a:pt x="111" y="344"/>
                  <a:pt x="111" y="345"/>
                  <a:pt x="111" y="345"/>
                </a:cubicBezTo>
                <a:cubicBezTo>
                  <a:pt x="110" y="346"/>
                  <a:pt x="110" y="346"/>
                  <a:pt x="109" y="347"/>
                </a:cubicBezTo>
                <a:cubicBezTo>
                  <a:pt x="109" y="347"/>
                  <a:pt x="109" y="348"/>
                  <a:pt x="109" y="348"/>
                </a:cubicBezTo>
                <a:cubicBezTo>
                  <a:pt x="109" y="348"/>
                  <a:pt x="109" y="348"/>
                  <a:pt x="109" y="348"/>
                </a:cubicBezTo>
                <a:cubicBezTo>
                  <a:pt x="109" y="349"/>
                  <a:pt x="109" y="349"/>
                  <a:pt x="109" y="349"/>
                </a:cubicBezTo>
                <a:cubicBezTo>
                  <a:pt x="109" y="349"/>
                  <a:pt x="109" y="349"/>
                  <a:pt x="108" y="349"/>
                </a:cubicBezTo>
                <a:cubicBezTo>
                  <a:pt x="108" y="349"/>
                  <a:pt x="108" y="349"/>
                  <a:pt x="108" y="348"/>
                </a:cubicBezTo>
                <a:cubicBezTo>
                  <a:pt x="108" y="349"/>
                  <a:pt x="107" y="349"/>
                  <a:pt x="107" y="350"/>
                </a:cubicBezTo>
                <a:cubicBezTo>
                  <a:pt x="106" y="350"/>
                  <a:pt x="106" y="350"/>
                  <a:pt x="106" y="351"/>
                </a:cubicBezTo>
                <a:cubicBezTo>
                  <a:pt x="105" y="351"/>
                  <a:pt x="105" y="351"/>
                  <a:pt x="105" y="351"/>
                </a:cubicBezTo>
                <a:cubicBezTo>
                  <a:pt x="105" y="352"/>
                  <a:pt x="105" y="352"/>
                  <a:pt x="105" y="352"/>
                </a:cubicBezTo>
                <a:cubicBezTo>
                  <a:pt x="105" y="352"/>
                  <a:pt x="104" y="352"/>
                  <a:pt x="104" y="353"/>
                </a:cubicBezTo>
                <a:cubicBezTo>
                  <a:pt x="104" y="353"/>
                  <a:pt x="103" y="353"/>
                  <a:pt x="103" y="353"/>
                </a:cubicBezTo>
                <a:cubicBezTo>
                  <a:pt x="102" y="354"/>
                  <a:pt x="102" y="354"/>
                  <a:pt x="102" y="355"/>
                </a:cubicBezTo>
                <a:cubicBezTo>
                  <a:pt x="101" y="355"/>
                  <a:pt x="100" y="356"/>
                  <a:pt x="100" y="357"/>
                </a:cubicBezTo>
                <a:cubicBezTo>
                  <a:pt x="99" y="357"/>
                  <a:pt x="99" y="358"/>
                  <a:pt x="98" y="358"/>
                </a:cubicBezTo>
                <a:cubicBezTo>
                  <a:pt x="98" y="359"/>
                  <a:pt x="98" y="359"/>
                  <a:pt x="98" y="359"/>
                </a:cubicBezTo>
                <a:cubicBezTo>
                  <a:pt x="98" y="360"/>
                  <a:pt x="98" y="360"/>
                  <a:pt x="98" y="360"/>
                </a:cubicBezTo>
                <a:cubicBezTo>
                  <a:pt x="99" y="360"/>
                  <a:pt x="99" y="360"/>
                  <a:pt x="99" y="360"/>
                </a:cubicBezTo>
                <a:cubicBezTo>
                  <a:pt x="99" y="360"/>
                  <a:pt x="99" y="360"/>
                  <a:pt x="99" y="361"/>
                </a:cubicBezTo>
                <a:cubicBezTo>
                  <a:pt x="99" y="361"/>
                  <a:pt x="99" y="361"/>
                  <a:pt x="99" y="361"/>
                </a:cubicBezTo>
                <a:cubicBezTo>
                  <a:pt x="99" y="361"/>
                  <a:pt x="98" y="361"/>
                  <a:pt x="98" y="361"/>
                </a:cubicBezTo>
                <a:cubicBezTo>
                  <a:pt x="98" y="361"/>
                  <a:pt x="98" y="361"/>
                  <a:pt x="97" y="361"/>
                </a:cubicBezTo>
                <a:cubicBezTo>
                  <a:pt x="97" y="361"/>
                  <a:pt x="97" y="361"/>
                  <a:pt x="97" y="361"/>
                </a:cubicBezTo>
                <a:cubicBezTo>
                  <a:pt x="98" y="361"/>
                  <a:pt x="98" y="362"/>
                  <a:pt x="98" y="362"/>
                </a:cubicBezTo>
                <a:cubicBezTo>
                  <a:pt x="98" y="362"/>
                  <a:pt x="98" y="362"/>
                  <a:pt x="97" y="362"/>
                </a:cubicBezTo>
                <a:cubicBezTo>
                  <a:pt x="97" y="362"/>
                  <a:pt x="97" y="362"/>
                  <a:pt x="97" y="362"/>
                </a:cubicBezTo>
                <a:cubicBezTo>
                  <a:pt x="97" y="362"/>
                  <a:pt x="96" y="362"/>
                  <a:pt x="96" y="361"/>
                </a:cubicBezTo>
                <a:cubicBezTo>
                  <a:pt x="96" y="361"/>
                  <a:pt x="96" y="361"/>
                  <a:pt x="96" y="361"/>
                </a:cubicBezTo>
                <a:cubicBezTo>
                  <a:pt x="96" y="361"/>
                  <a:pt x="96" y="361"/>
                  <a:pt x="96" y="361"/>
                </a:cubicBezTo>
                <a:cubicBezTo>
                  <a:pt x="95" y="361"/>
                  <a:pt x="95" y="361"/>
                  <a:pt x="95" y="361"/>
                </a:cubicBezTo>
                <a:cubicBezTo>
                  <a:pt x="94" y="361"/>
                  <a:pt x="94" y="362"/>
                  <a:pt x="94" y="362"/>
                </a:cubicBezTo>
                <a:cubicBezTo>
                  <a:pt x="94" y="362"/>
                  <a:pt x="93" y="362"/>
                  <a:pt x="93" y="362"/>
                </a:cubicBezTo>
                <a:cubicBezTo>
                  <a:pt x="93" y="363"/>
                  <a:pt x="92" y="363"/>
                  <a:pt x="92" y="363"/>
                </a:cubicBezTo>
                <a:cubicBezTo>
                  <a:pt x="91" y="363"/>
                  <a:pt x="91" y="364"/>
                  <a:pt x="91" y="364"/>
                </a:cubicBezTo>
                <a:cubicBezTo>
                  <a:pt x="91" y="364"/>
                  <a:pt x="91" y="364"/>
                  <a:pt x="90" y="365"/>
                </a:cubicBezTo>
                <a:cubicBezTo>
                  <a:pt x="90" y="365"/>
                  <a:pt x="90" y="365"/>
                  <a:pt x="89" y="366"/>
                </a:cubicBezTo>
                <a:cubicBezTo>
                  <a:pt x="89" y="366"/>
                  <a:pt x="89" y="366"/>
                  <a:pt x="88" y="367"/>
                </a:cubicBezTo>
                <a:cubicBezTo>
                  <a:pt x="88" y="367"/>
                  <a:pt x="88" y="368"/>
                  <a:pt x="87" y="368"/>
                </a:cubicBezTo>
                <a:cubicBezTo>
                  <a:pt x="88" y="368"/>
                  <a:pt x="88" y="368"/>
                  <a:pt x="88" y="368"/>
                </a:cubicBezTo>
                <a:cubicBezTo>
                  <a:pt x="88" y="369"/>
                  <a:pt x="88" y="369"/>
                  <a:pt x="88" y="36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369"/>
                  <a:pt x="86" y="370"/>
                  <a:pt x="86" y="370"/>
                </a:cubicBezTo>
                <a:cubicBezTo>
                  <a:pt x="86" y="370"/>
                  <a:pt x="86" y="371"/>
                  <a:pt x="85" y="371"/>
                </a:cubicBezTo>
                <a:cubicBezTo>
                  <a:pt x="86" y="371"/>
                  <a:pt x="86" y="371"/>
                  <a:pt x="86" y="371"/>
                </a:cubicBezTo>
                <a:cubicBezTo>
                  <a:pt x="85" y="371"/>
                  <a:pt x="85" y="371"/>
                  <a:pt x="85" y="371"/>
                </a:cubicBezTo>
                <a:cubicBezTo>
                  <a:pt x="85" y="372"/>
                  <a:pt x="85" y="372"/>
                  <a:pt x="84" y="372"/>
                </a:cubicBezTo>
                <a:cubicBezTo>
                  <a:pt x="84" y="372"/>
                  <a:pt x="84" y="372"/>
                  <a:pt x="83" y="372"/>
                </a:cubicBezTo>
                <a:cubicBezTo>
                  <a:pt x="83" y="373"/>
                  <a:pt x="83" y="373"/>
                  <a:pt x="83" y="373"/>
                </a:cubicBezTo>
                <a:cubicBezTo>
                  <a:pt x="83" y="373"/>
                  <a:pt x="83" y="374"/>
                  <a:pt x="83" y="374"/>
                </a:cubicBezTo>
                <a:cubicBezTo>
                  <a:pt x="83" y="374"/>
                  <a:pt x="84" y="374"/>
                  <a:pt x="84" y="374"/>
                </a:cubicBezTo>
                <a:cubicBezTo>
                  <a:pt x="84" y="374"/>
                  <a:pt x="84" y="374"/>
                  <a:pt x="84" y="374"/>
                </a:cubicBezTo>
                <a:cubicBezTo>
                  <a:pt x="84" y="373"/>
                  <a:pt x="84" y="373"/>
                  <a:pt x="84" y="373"/>
                </a:cubicBezTo>
                <a:cubicBezTo>
                  <a:pt x="84" y="373"/>
                  <a:pt x="84" y="373"/>
                  <a:pt x="84" y="373"/>
                </a:cubicBezTo>
                <a:cubicBezTo>
                  <a:pt x="84" y="372"/>
                  <a:pt x="84" y="372"/>
                  <a:pt x="85" y="372"/>
                </a:cubicBezTo>
                <a:cubicBezTo>
                  <a:pt x="85" y="372"/>
                  <a:pt x="85" y="372"/>
                  <a:pt x="85" y="372"/>
                </a:cubicBezTo>
                <a:cubicBezTo>
                  <a:pt x="85" y="372"/>
                  <a:pt x="85" y="372"/>
                  <a:pt x="85" y="373"/>
                </a:cubicBezTo>
                <a:cubicBezTo>
                  <a:pt x="85" y="373"/>
                  <a:pt x="85" y="373"/>
                  <a:pt x="85" y="373"/>
                </a:cubicBezTo>
                <a:cubicBezTo>
                  <a:pt x="86" y="373"/>
                  <a:pt x="86" y="372"/>
                  <a:pt x="86" y="372"/>
                </a:cubicBezTo>
                <a:cubicBezTo>
                  <a:pt x="86" y="372"/>
                  <a:pt x="87" y="371"/>
                  <a:pt x="87" y="371"/>
                </a:cubicBezTo>
                <a:cubicBezTo>
                  <a:pt x="87" y="371"/>
                  <a:pt x="87" y="371"/>
                  <a:pt x="87" y="371"/>
                </a:cubicBezTo>
                <a:cubicBezTo>
                  <a:pt x="87" y="371"/>
                  <a:pt x="87" y="371"/>
                  <a:pt x="88" y="371"/>
                </a:cubicBezTo>
                <a:cubicBezTo>
                  <a:pt x="88" y="371"/>
                  <a:pt x="88" y="371"/>
                  <a:pt x="88" y="371"/>
                </a:cubicBezTo>
                <a:cubicBezTo>
                  <a:pt x="88" y="371"/>
                  <a:pt x="88" y="371"/>
                  <a:pt x="88" y="371"/>
                </a:cubicBezTo>
                <a:cubicBezTo>
                  <a:pt x="88" y="371"/>
                  <a:pt x="89" y="371"/>
                  <a:pt x="89" y="371"/>
                </a:cubicBezTo>
                <a:cubicBezTo>
                  <a:pt x="89" y="371"/>
                  <a:pt x="89" y="370"/>
                  <a:pt x="89" y="370"/>
                </a:cubicBezTo>
                <a:cubicBezTo>
                  <a:pt x="89" y="370"/>
                  <a:pt x="89" y="370"/>
                  <a:pt x="89" y="370"/>
                </a:cubicBezTo>
                <a:cubicBezTo>
                  <a:pt x="90" y="370"/>
                  <a:pt x="90" y="370"/>
                  <a:pt x="90" y="370"/>
                </a:cubicBezTo>
                <a:cubicBezTo>
                  <a:pt x="90" y="370"/>
                  <a:pt x="90" y="370"/>
                  <a:pt x="90" y="370"/>
                </a:cubicBezTo>
                <a:cubicBezTo>
                  <a:pt x="90" y="370"/>
                  <a:pt x="90" y="369"/>
                  <a:pt x="90" y="369"/>
                </a:cubicBezTo>
                <a:cubicBezTo>
                  <a:pt x="91" y="369"/>
                  <a:pt x="91" y="369"/>
                  <a:pt x="91" y="369"/>
                </a:cubicBezTo>
                <a:cubicBezTo>
                  <a:pt x="92" y="368"/>
                  <a:pt x="92" y="368"/>
                  <a:pt x="92" y="368"/>
                </a:cubicBezTo>
                <a:cubicBezTo>
                  <a:pt x="92" y="367"/>
                  <a:pt x="92" y="367"/>
                  <a:pt x="92" y="367"/>
                </a:cubicBezTo>
                <a:cubicBezTo>
                  <a:pt x="92" y="367"/>
                  <a:pt x="92" y="366"/>
                  <a:pt x="92" y="366"/>
                </a:cubicBezTo>
                <a:cubicBezTo>
                  <a:pt x="92" y="366"/>
                  <a:pt x="92" y="366"/>
                  <a:pt x="92" y="366"/>
                </a:cubicBezTo>
                <a:cubicBezTo>
                  <a:pt x="93" y="365"/>
                  <a:pt x="93" y="365"/>
                  <a:pt x="93" y="365"/>
                </a:cubicBezTo>
                <a:cubicBezTo>
                  <a:pt x="93" y="364"/>
                  <a:pt x="93" y="364"/>
                  <a:pt x="94" y="364"/>
                </a:cubicBezTo>
                <a:cubicBezTo>
                  <a:pt x="94" y="364"/>
                  <a:pt x="94" y="364"/>
                  <a:pt x="95" y="364"/>
                </a:cubicBezTo>
                <a:cubicBezTo>
                  <a:pt x="95" y="364"/>
                  <a:pt x="95" y="365"/>
                  <a:pt x="95" y="365"/>
                </a:cubicBezTo>
                <a:cubicBezTo>
                  <a:pt x="94" y="365"/>
                  <a:pt x="94" y="365"/>
                  <a:pt x="94" y="365"/>
                </a:cubicBezTo>
                <a:cubicBezTo>
                  <a:pt x="94" y="365"/>
                  <a:pt x="94" y="366"/>
                  <a:pt x="94" y="366"/>
                </a:cubicBezTo>
                <a:cubicBezTo>
                  <a:pt x="94" y="366"/>
                  <a:pt x="94" y="366"/>
                  <a:pt x="94" y="367"/>
                </a:cubicBezTo>
                <a:cubicBezTo>
                  <a:pt x="94" y="367"/>
                  <a:pt x="94" y="367"/>
                  <a:pt x="94" y="367"/>
                </a:cubicBezTo>
                <a:cubicBezTo>
                  <a:pt x="95" y="366"/>
                  <a:pt x="95" y="366"/>
                  <a:pt x="96" y="365"/>
                </a:cubicBezTo>
                <a:cubicBezTo>
                  <a:pt x="96" y="365"/>
                  <a:pt x="96" y="365"/>
                  <a:pt x="96" y="365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96" y="364"/>
                  <a:pt x="97" y="364"/>
                  <a:pt x="97" y="364"/>
                </a:cubicBezTo>
                <a:cubicBezTo>
                  <a:pt x="97" y="364"/>
                  <a:pt x="97" y="364"/>
                  <a:pt x="97" y="364"/>
                </a:cubicBezTo>
                <a:cubicBezTo>
                  <a:pt x="97" y="364"/>
                  <a:pt x="97" y="364"/>
                  <a:pt x="98" y="364"/>
                </a:cubicBezTo>
                <a:cubicBezTo>
                  <a:pt x="97" y="364"/>
                  <a:pt x="97" y="364"/>
                  <a:pt x="97" y="364"/>
                </a:cubicBezTo>
                <a:cubicBezTo>
                  <a:pt x="98" y="364"/>
                  <a:pt x="98" y="364"/>
                  <a:pt x="98" y="364"/>
                </a:cubicBezTo>
                <a:cubicBezTo>
                  <a:pt x="98" y="364"/>
                  <a:pt x="98" y="364"/>
                  <a:pt x="98" y="363"/>
                </a:cubicBezTo>
                <a:cubicBezTo>
                  <a:pt x="98" y="363"/>
                  <a:pt x="99" y="363"/>
                  <a:pt x="99" y="363"/>
                </a:cubicBezTo>
                <a:cubicBezTo>
                  <a:pt x="99" y="363"/>
                  <a:pt x="99" y="362"/>
                  <a:pt x="100" y="362"/>
                </a:cubicBezTo>
                <a:cubicBezTo>
                  <a:pt x="100" y="362"/>
                  <a:pt x="100" y="362"/>
                  <a:pt x="100" y="362"/>
                </a:cubicBezTo>
                <a:cubicBezTo>
                  <a:pt x="101" y="361"/>
                  <a:pt x="101" y="361"/>
                  <a:pt x="101" y="360"/>
                </a:cubicBezTo>
                <a:cubicBezTo>
                  <a:pt x="101" y="360"/>
                  <a:pt x="102" y="360"/>
                  <a:pt x="102" y="360"/>
                </a:cubicBezTo>
                <a:cubicBezTo>
                  <a:pt x="102" y="360"/>
                  <a:pt x="102" y="360"/>
                  <a:pt x="103" y="359"/>
                </a:cubicBezTo>
                <a:cubicBezTo>
                  <a:pt x="103" y="360"/>
                  <a:pt x="103" y="360"/>
                  <a:pt x="103" y="360"/>
                </a:cubicBezTo>
                <a:cubicBezTo>
                  <a:pt x="103" y="360"/>
                  <a:pt x="102" y="360"/>
                  <a:pt x="102" y="361"/>
                </a:cubicBezTo>
                <a:cubicBezTo>
                  <a:pt x="102" y="361"/>
                  <a:pt x="102" y="361"/>
                  <a:pt x="102" y="362"/>
                </a:cubicBezTo>
                <a:cubicBezTo>
                  <a:pt x="102" y="362"/>
                  <a:pt x="102" y="362"/>
                  <a:pt x="102" y="362"/>
                </a:cubicBezTo>
                <a:cubicBezTo>
                  <a:pt x="102" y="362"/>
                  <a:pt x="103" y="362"/>
                  <a:pt x="103" y="362"/>
                </a:cubicBezTo>
                <a:cubicBezTo>
                  <a:pt x="103" y="361"/>
                  <a:pt x="103" y="361"/>
                  <a:pt x="104" y="360"/>
                </a:cubicBezTo>
                <a:cubicBezTo>
                  <a:pt x="104" y="360"/>
                  <a:pt x="103" y="359"/>
                  <a:pt x="103" y="359"/>
                </a:cubicBezTo>
                <a:cubicBezTo>
                  <a:pt x="103" y="359"/>
                  <a:pt x="103" y="359"/>
                  <a:pt x="103" y="359"/>
                </a:cubicBezTo>
                <a:cubicBezTo>
                  <a:pt x="104" y="359"/>
                  <a:pt x="104" y="359"/>
                  <a:pt x="104" y="359"/>
                </a:cubicBezTo>
                <a:cubicBezTo>
                  <a:pt x="104" y="359"/>
                  <a:pt x="104" y="359"/>
                  <a:pt x="105" y="358"/>
                </a:cubicBezTo>
                <a:cubicBezTo>
                  <a:pt x="105" y="358"/>
                  <a:pt x="105" y="358"/>
                  <a:pt x="105" y="358"/>
                </a:cubicBezTo>
                <a:cubicBezTo>
                  <a:pt x="106" y="358"/>
                  <a:pt x="106" y="358"/>
                  <a:pt x="106" y="358"/>
                </a:cubicBezTo>
                <a:cubicBezTo>
                  <a:pt x="107" y="357"/>
                  <a:pt x="107" y="357"/>
                  <a:pt x="107" y="356"/>
                </a:cubicBezTo>
                <a:cubicBezTo>
                  <a:pt x="107" y="356"/>
                  <a:pt x="107" y="356"/>
                  <a:pt x="107" y="356"/>
                </a:cubicBezTo>
                <a:cubicBezTo>
                  <a:pt x="107" y="356"/>
                  <a:pt x="108" y="356"/>
                  <a:pt x="108" y="356"/>
                </a:cubicBezTo>
                <a:cubicBezTo>
                  <a:pt x="108" y="356"/>
                  <a:pt x="108" y="356"/>
                  <a:pt x="108" y="355"/>
                </a:cubicBezTo>
                <a:cubicBezTo>
                  <a:pt x="108" y="355"/>
                  <a:pt x="108" y="355"/>
                  <a:pt x="108" y="355"/>
                </a:cubicBezTo>
                <a:cubicBezTo>
                  <a:pt x="108" y="355"/>
                  <a:pt x="108" y="355"/>
                  <a:pt x="109" y="355"/>
                </a:cubicBezTo>
                <a:cubicBezTo>
                  <a:pt x="109" y="355"/>
                  <a:pt x="109" y="355"/>
                  <a:pt x="109" y="355"/>
                </a:cubicBezTo>
                <a:cubicBezTo>
                  <a:pt x="109" y="356"/>
                  <a:pt x="109" y="356"/>
                  <a:pt x="109" y="356"/>
                </a:cubicBezTo>
                <a:cubicBezTo>
                  <a:pt x="109" y="356"/>
                  <a:pt x="109" y="356"/>
                  <a:pt x="109" y="355"/>
                </a:cubicBezTo>
                <a:cubicBezTo>
                  <a:pt x="110" y="355"/>
                  <a:pt x="110" y="355"/>
                  <a:pt x="110" y="355"/>
                </a:cubicBezTo>
                <a:cubicBezTo>
                  <a:pt x="110" y="355"/>
                  <a:pt x="110" y="355"/>
                  <a:pt x="109" y="355"/>
                </a:cubicBezTo>
                <a:cubicBezTo>
                  <a:pt x="110" y="354"/>
                  <a:pt x="110" y="354"/>
                  <a:pt x="110" y="354"/>
                </a:cubicBezTo>
                <a:cubicBezTo>
                  <a:pt x="110" y="354"/>
                  <a:pt x="110" y="354"/>
                  <a:pt x="110" y="354"/>
                </a:cubicBezTo>
                <a:cubicBezTo>
                  <a:pt x="109" y="354"/>
                  <a:pt x="109" y="354"/>
                  <a:pt x="108" y="354"/>
                </a:cubicBezTo>
                <a:cubicBezTo>
                  <a:pt x="108" y="354"/>
                  <a:pt x="108" y="354"/>
                  <a:pt x="108" y="354"/>
                </a:cubicBezTo>
                <a:cubicBezTo>
                  <a:pt x="108" y="354"/>
                  <a:pt x="109" y="354"/>
                  <a:pt x="109" y="353"/>
                </a:cubicBezTo>
                <a:cubicBezTo>
                  <a:pt x="109" y="353"/>
                  <a:pt x="110" y="353"/>
                  <a:pt x="110" y="352"/>
                </a:cubicBezTo>
                <a:cubicBezTo>
                  <a:pt x="111" y="352"/>
                  <a:pt x="112" y="351"/>
                  <a:pt x="112" y="351"/>
                </a:cubicBezTo>
                <a:cubicBezTo>
                  <a:pt x="113" y="351"/>
                  <a:pt x="113" y="351"/>
                  <a:pt x="113" y="351"/>
                </a:cubicBezTo>
                <a:cubicBezTo>
                  <a:pt x="113" y="350"/>
                  <a:pt x="113" y="350"/>
                  <a:pt x="112" y="350"/>
                </a:cubicBezTo>
                <a:cubicBezTo>
                  <a:pt x="112" y="350"/>
                  <a:pt x="112" y="350"/>
                  <a:pt x="112" y="350"/>
                </a:cubicBezTo>
                <a:cubicBezTo>
                  <a:pt x="112" y="350"/>
                  <a:pt x="112" y="350"/>
                  <a:pt x="112" y="350"/>
                </a:cubicBezTo>
                <a:cubicBezTo>
                  <a:pt x="113" y="350"/>
                  <a:pt x="113" y="350"/>
                  <a:pt x="113" y="349"/>
                </a:cubicBezTo>
                <a:cubicBezTo>
                  <a:pt x="113" y="349"/>
                  <a:pt x="113" y="349"/>
                  <a:pt x="114" y="349"/>
                </a:cubicBezTo>
                <a:cubicBezTo>
                  <a:pt x="114" y="349"/>
                  <a:pt x="114" y="349"/>
                  <a:pt x="114" y="349"/>
                </a:cubicBezTo>
                <a:cubicBezTo>
                  <a:pt x="114" y="349"/>
                  <a:pt x="115" y="349"/>
                  <a:pt x="115" y="349"/>
                </a:cubicBezTo>
                <a:cubicBezTo>
                  <a:pt x="115" y="349"/>
                  <a:pt x="115" y="349"/>
                  <a:pt x="115" y="349"/>
                </a:cubicBezTo>
                <a:cubicBezTo>
                  <a:pt x="115" y="349"/>
                  <a:pt x="115" y="348"/>
                  <a:pt x="115" y="348"/>
                </a:cubicBezTo>
                <a:cubicBezTo>
                  <a:pt x="115" y="348"/>
                  <a:pt x="115" y="348"/>
                  <a:pt x="115" y="348"/>
                </a:cubicBezTo>
                <a:cubicBezTo>
                  <a:pt x="115" y="348"/>
                  <a:pt x="115" y="348"/>
                  <a:pt x="116" y="347"/>
                </a:cubicBezTo>
                <a:cubicBezTo>
                  <a:pt x="116" y="347"/>
                  <a:pt x="115" y="347"/>
                  <a:pt x="115" y="347"/>
                </a:cubicBezTo>
                <a:cubicBezTo>
                  <a:pt x="116" y="347"/>
                  <a:pt x="116" y="346"/>
                  <a:pt x="116" y="346"/>
                </a:cubicBezTo>
                <a:cubicBezTo>
                  <a:pt x="116" y="346"/>
                  <a:pt x="116" y="346"/>
                  <a:pt x="116" y="346"/>
                </a:cubicBezTo>
                <a:cubicBezTo>
                  <a:pt x="116" y="346"/>
                  <a:pt x="116" y="347"/>
                  <a:pt x="116" y="347"/>
                </a:cubicBezTo>
                <a:cubicBezTo>
                  <a:pt x="117" y="347"/>
                  <a:pt x="117" y="347"/>
                  <a:pt x="117" y="347"/>
                </a:cubicBezTo>
                <a:cubicBezTo>
                  <a:pt x="117" y="346"/>
                  <a:pt x="118" y="346"/>
                  <a:pt x="118" y="346"/>
                </a:cubicBezTo>
                <a:cubicBezTo>
                  <a:pt x="118" y="345"/>
                  <a:pt x="118" y="345"/>
                  <a:pt x="118" y="345"/>
                </a:cubicBezTo>
                <a:cubicBezTo>
                  <a:pt x="119" y="345"/>
                  <a:pt x="119" y="345"/>
                  <a:pt x="119" y="345"/>
                </a:cubicBezTo>
                <a:cubicBezTo>
                  <a:pt x="119" y="344"/>
                  <a:pt x="119" y="344"/>
                  <a:pt x="119" y="344"/>
                </a:cubicBezTo>
                <a:cubicBezTo>
                  <a:pt x="120" y="344"/>
                  <a:pt x="120" y="344"/>
                  <a:pt x="120" y="343"/>
                </a:cubicBezTo>
                <a:cubicBezTo>
                  <a:pt x="120" y="344"/>
                  <a:pt x="120" y="344"/>
                  <a:pt x="120" y="344"/>
                </a:cubicBezTo>
                <a:cubicBezTo>
                  <a:pt x="121" y="343"/>
                  <a:pt x="121" y="343"/>
                  <a:pt x="121" y="343"/>
                </a:cubicBezTo>
                <a:cubicBezTo>
                  <a:pt x="121" y="343"/>
                  <a:pt x="122" y="342"/>
                  <a:pt x="122" y="342"/>
                </a:cubicBezTo>
                <a:cubicBezTo>
                  <a:pt x="122" y="342"/>
                  <a:pt x="122" y="341"/>
                  <a:pt x="122" y="341"/>
                </a:cubicBezTo>
                <a:cubicBezTo>
                  <a:pt x="122" y="341"/>
                  <a:pt x="121" y="341"/>
                  <a:pt x="121" y="341"/>
                </a:cubicBezTo>
                <a:cubicBezTo>
                  <a:pt x="121" y="341"/>
                  <a:pt x="121" y="342"/>
                  <a:pt x="121" y="342"/>
                </a:cubicBezTo>
                <a:cubicBezTo>
                  <a:pt x="121" y="342"/>
                  <a:pt x="120" y="342"/>
                  <a:pt x="120" y="342"/>
                </a:cubicBezTo>
                <a:cubicBezTo>
                  <a:pt x="121" y="341"/>
                  <a:pt x="121" y="341"/>
                  <a:pt x="121" y="340"/>
                </a:cubicBezTo>
                <a:cubicBezTo>
                  <a:pt x="122" y="340"/>
                  <a:pt x="122" y="340"/>
                  <a:pt x="122" y="340"/>
                </a:cubicBezTo>
                <a:cubicBezTo>
                  <a:pt x="123" y="339"/>
                  <a:pt x="123" y="339"/>
                  <a:pt x="123" y="339"/>
                </a:cubicBezTo>
                <a:cubicBezTo>
                  <a:pt x="123" y="339"/>
                  <a:pt x="123" y="339"/>
                  <a:pt x="123" y="339"/>
                </a:cubicBezTo>
                <a:cubicBezTo>
                  <a:pt x="123" y="339"/>
                  <a:pt x="124" y="339"/>
                  <a:pt x="124" y="339"/>
                </a:cubicBezTo>
                <a:cubicBezTo>
                  <a:pt x="124" y="338"/>
                  <a:pt x="124" y="338"/>
                  <a:pt x="124" y="337"/>
                </a:cubicBezTo>
                <a:cubicBezTo>
                  <a:pt x="125" y="337"/>
                  <a:pt x="125" y="337"/>
                  <a:pt x="125" y="337"/>
                </a:cubicBezTo>
                <a:cubicBezTo>
                  <a:pt x="125" y="336"/>
                  <a:pt x="125" y="336"/>
                  <a:pt x="125" y="336"/>
                </a:cubicBezTo>
                <a:cubicBezTo>
                  <a:pt x="126" y="336"/>
                  <a:pt x="126" y="336"/>
                  <a:pt x="126" y="336"/>
                </a:cubicBezTo>
                <a:cubicBezTo>
                  <a:pt x="126" y="335"/>
                  <a:pt x="126" y="335"/>
                  <a:pt x="126" y="335"/>
                </a:cubicBezTo>
                <a:cubicBezTo>
                  <a:pt x="126" y="335"/>
                  <a:pt x="127" y="335"/>
                  <a:pt x="127" y="335"/>
                </a:cubicBezTo>
                <a:cubicBezTo>
                  <a:pt x="127" y="335"/>
                  <a:pt x="127" y="335"/>
                  <a:pt x="127" y="335"/>
                </a:cubicBezTo>
                <a:cubicBezTo>
                  <a:pt x="127" y="335"/>
                  <a:pt x="128" y="335"/>
                  <a:pt x="128" y="335"/>
                </a:cubicBezTo>
                <a:cubicBezTo>
                  <a:pt x="128" y="335"/>
                  <a:pt x="128" y="334"/>
                  <a:pt x="128" y="334"/>
                </a:cubicBezTo>
                <a:cubicBezTo>
                  <a:pt x="128" y="334"/>
                  <a:pt x="128" y="334"/>
                  <a:pt x="129" y="334"/>
                </a:cubicBezTo>
                <a:cubicBezTo>
                  <a:pt x="129" y="334"/>
                  <a:pt x="129" y="334"/>
                  <a:pt x="129" y="333"/>
                </a:cubicBezTo>
                <a:cubicBezTo>
                  <a:pt x="129" y="333"/>
                  <a:pt x="129" y="333"/>
                  <a:pt x="129" y="333"/>
                </a:cubicBezTo>
                <a:cubicBezTo>
                  <a:pt x="129" y="333"/>
                  <a:pt x="129" y="333"/>
                  <a:pt x="130" y="333"/>
                </a:cubicBezTo>
                <a:cubicBezTo>
                  <a:pt x="130" y="332"/>
                  <a:pt x="130" y="332"/>
                  <a:pt x="130" y="332"/>
                </a:cubicBezTo>
                <a:cubicBezTo>
                  <a:pt x="130" y="332"/>
                  <a:pt x="130" y="332"/>
                  <a:pt x="130" y="332"/>
                </a:cubicBezTo>
                <a:cubicBezTo>
                  <a:pt x="131" y="332"/>
                  <a:pt x="131" y="332"/>
                  <a:pt x="132" y="332"/>
                </a:cubicBezTo>
                <a:cubicBezTo>
                  <a:pt x="132" y="331"/>
                  <a:pt x="132" y="331"/>
                  <a:pt x="132" y="331"/>
                </a:cubicBezTo>
                <a:cubicBezTo>
                  <a:pt x="132" y="331"/>
                  <a:pt x="132" y="331"/>
                  <a:pt x="132" y="331"/>
                </a:cubicBezTo>
                <a:cubicBezTo>
                  <a:pt x="132" y="331"/>
                  <a:pt x="132" y="331"/>
                  <a:pt x="133" y="331"/>
                </a:cubicBezTo>
                <a:cubicBezTo>
                  <a:pt x="133" y="331"/>
                  <a:pt x="133" y="331"/>
                  <a:pt x="133" y="331"/>
                </a:cubicBezTo>
                <a:cubicBezTo>
                  <a:pt x="133" y="331"/>
                  <a:pt x="133" y="330"/>
                  <a:pt x="133" y="330"/>
                </a:cubicBezTo>
                <a:cubicBezTo>
                  <a:pt x="134" y="330"/>
                  <a:pt x="134" y="330"/>
                  <a:pt x="134" y="330"/>
                </a:cubicBezTo>
                <a:cubicBezTo>
                  <a:pt x="134" y="330"/>
                  <a:pt x="134" y="330"/>
                  <a:pt x="134" y="330"/>
                </a:cubicBezTo>
                <a:cubicBezTo>
                  <a:pt x="134" y="329"/>
                  <a:pt x="134" y="329"/>
                  <a:pt x="134" y="329"/>
                </a:cubicBezTo>
                <a:cubicBezTo>
                  <a:pt x="134" y="329"/>
                  <a:pt x="134" y="329"/>
                  <a:pt x="134" y="329"/>
                </a:cubicBezTo>
                <a:cubicBezTo>
                  <a:pt x="134" y="329"/>
                  <a:pt x="133" y="329"/>
                  <a:pt x="133" y="329"/>
                </a:cubicBezTo>
                <a:cubicBezTo>
                  <a:pt x="133" y="329"/>
                  <a:pt x="133" y="329"/>
                  <a:pt x="133" y="329"/>
                </a:cubicBezTo>
                <a:cubicBezTo>
                  <a:pt x="134" y="328"/>
                  <a:pt x="134" y="328"/>
                  <a:pt x="134" y="328"/>
                </a:cubicBezTo>
                <a:cubicBezTo>
                  <a:pt x="134" y="328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4" y="327"/>
                  <a:pt x="134" y="327"/>
                </a:cubicBezTo>
                <a:cubicBezTo>
                  <a:pt x="134" y="327"/>
                  <a:pt x="134" y="327"/>
                  <a:pt x="134" y="327"/>
                </a:cubicBezTo>
                <a:cubicBezTo>
                  <a:pt x="135" y="327"/>
                  <a:pt x="135" y="326"/>
                  <a:pt x="136" y="326"/>
                </a:cubicBezTo>
                <a:cubicBezTo>
                  <a:pt x="136" y="326"/>
                  <a:pt x="136" y="326"/>
                  <a:pt x="136" y="325"/>
                </a:cubicBezTo>
                <a:cubicBezTo>
                  <a:pt x="137" y="325"/>
                  <a:pt x="137" y="325"/>
                  <a:pt x="138" y="325"/>
                </a:cubicBezTo>
                <a:cubicBezTo>
                  <a:pt x="138" y="324"/>
                  <a:pt x="138" y="324"/>
                  <a:pt x="138" y="324"/>
                </a:cubicBezTo>
                <a:cubicBezTo>
                  <a:pt x="139" y="323"/>
                  <a:pt x="139" y="323"/>
                  <a:pt x="139" y="323"/>
                </a:cubicBezTo>
                <a:cubicBezTo>
                  <a:pt x="139" y="323"/>
                  <a:pt x="140" y="322"/>
                  <a:pt x="140" y="322"/>
                </a:cubicBezTo>
                <a:cubicBezTo>
                  <a:pt x="140" y="321"/>
                  <a:pt x="140" y="321"/>
                  <a:pt x="140" y="321"/>
                </a:cubicBezTo>
                <a:cubicBezTo>
                  <a:pt x="139" y="321"/>
                  <a:pt x="139" y="321"/>
                  <a:pt x="139" y="321"/>
                </a:cubicBezTo>
                <a:cubicBezTo>
                  <a:pt x="139" y="321"/>
                  <a:pt x="139" y="321"/>
                  <a:pt x="139" y="321"/>
                </a:cubicBezTo>
                <a:cubicBezTo>
                  <a:pt x="138" y="321"/>
                  <a:pt x="138" y="320"/>
                  <a:pt x="138" y="320"/>
                </a:cubicBezTo>
                <a:cubicBezTo>
                  <a:pt x="138" y="320"/>
                  <a:pt x="138" y="320"/>
                  <a:pt x="137" y="320"/>
                </a:cubicBezTo>
                <a:cubicBezTo>
                  <a:pt x="137" y="321"/>
                  <a:pt x="136" y="321"/>
                  <a:pt x="136" y="321"/>
                </a:cubicBezTo>
                <a:cubicBezTo>
                  <a:pt x="136" y="321"/>
                  <a:pt x="136" y="321"/>
                  <a:pt x="136" y="320"/>
                </a:cubicBezTo>
                <a:cubicBezTo>
                  <a:pt x="136" y="320"/>
                  <a:pt x="136" y="320"/>
                  <a:pt x="135" y="320"/>
                </a:cubicBezTo>
                <a:cubicBezTo>
                  <a:pt x="136" y="319"/>
                  <a:pt x="136" y="319"/>
                  <a:pt x="137" y="319"/>
                </a:cubicBezTo>
                <a:cubicBezTo>
                  <a:pt x="137" y="319"/>
                  <a:pt x="137" y="318"/>
                  <a:pt x="137" y="318"/>
                </a:cubicBezTo>
                <a:cubicBezTo>
                  <a:pt x="137" y="318"/>
                  <a:pt x="137" y="318"/>
                  <a:pt x="138" y="318"/>
                </a:cubicBezTo>
                <a:cubicBezTo>
                  <a:pt x="138" y="318"/>
                  <a:pt x="138" y="317"/>
                  <a:pt x="138" y="317"/>
                </a:cubicBezTo>
                <a:cubicBezTo>
                  <a:pt x="137" y="317"/>
                  <a:pt x="137" y="317"/>
                  <a:pt x="137" y="317"/>
                </a:cubicBezTo>
                <a:cubicBezTo>
                  <a:pt x="137" y="317"/>
                  <a:pt x="138" y="317"/>
                  <a:pt x="138" y="317"/>
                </a:cubicBezTo>
                <a:cubicBezTo>
                  <a:pt x="138" y="317"/>
                  <a:pt x="139" y="317"/>
                  <a:pt x="139" y="316"/>
                </a:cubicBezTo>
                <a:cubicBezTo>
                  <a:pt x="139" y="316"/>
                  <a:pt x="140" y="316"/>
                  <a:pt x="140" y="315"/>
                </a:cubicBezTo>
                <a:cubicBezTo>
                  <a:pt x="140" y="315"/>
                  <a:pt x="141" y="315"/>
                  <a:pt x="141" y="315"/>
                </a:cubicBezTo>
                <a:cubicBezTo>
                  <a:pt x="142" y="315"/>
                  <a:pt x="142" y="315"/>
                  <a:pt x="142" y="314"/>
                </a:cubicBezTo>
                <a:cubicBezTo>
                  <a:pt x="142" y="314"/>
                  <a:pt x="142" y="315"/>
                  <a:pt x="142" y="315"/>
                </a:cubicBezTo>
                <a:cubicBezTo>
                  <a:pt x="143" y="315"/>
                  <a:pt x="143" y="315"/>
                  <a:pt x="143" y="315"/>
                </a:cubicBezTo>
                <a:cubicBezTo>
                  <a:pt x="143" y="315"/>
                  <a:pt x="143" y="315"/>
                  <a:pt x="143" y="315"/>
                </a:cubicBezTo>
                <a:cubicBezTo>
                  <a:pt x="144" y="314"/>
                  <a:pt x="144" y="314"/>
                  <a:pt x="144" y="313"/>
                </a:cubicBezTo>
                <a:cubicBezTo>
                  <a:pt x="144" y="313"/>
                  <a:pt x="144" y="313"/>
                  <a:pt x="144" y="313"/>
                </a:cubicBezTo>
                <a:cubicBezTo>
                  <a:pt x="144" y="313"/>
                  <a:pt x="143" y="313"/>
                  <a:pt x="143" y="313"/>
                </a:cubicBezTo>
                <a:cubicBezTo>
                  <a:pt x="143" y="313"/>
                  <a:pt x="143" y="313"/>
                  <a:pt x="143" y="313"/>
                </a:cubicBezTo>
                <a:cubicBezTo>
                  <a:pt x="143" y="313"/>
                  <a:pt x="143" y="313"/>
                  <a:pt x="143" y="313"/>
                </a:cubicBezTo>
                <a:cubicBezTo>
                  <a:pt x="144" y="313"/>
                  <a:pt x="144" y="313"/>
                  <a:pt x="144" y="313"/>
                </a:cubicBezTo>
                <a:cubicBezTo>
                  <a:pt x="145" y="312"/>
                  <a:pt x="146" y="312"/>
                  <a:pt x="146" y="311"/>
                </a:cubicBezTo>
                <a:cubicBezTo>
                  <a:pt x="146" y="311"/>
                  <a:pt x="146" y="311"/>
                  <a:pt x="146" y="310"/>
                </a:cubicBezTo>
                <a:cubicBezTo>
                  <a:pt x="146" y="310"/>
                  <a:pt x="146" y="310"/>
                  <a:pt x="145" y="310"/>
                </a:cubicBezTo>
                <a:cubicBezTo>
                  <a:pt x="145" y="310"/>
                  <a:pt x="144" y="310"/>
                  <a:pt x="143" y="310"/>
                </a:cubicBezTo>
                <a:cubicBezTo>
                  <a:pt x="143" y="310"/>
                  <a:pt x="143" y="310"/>
                  <a:pt x="143" y="310"/>
                </a:cubicBezTo>
                <a:cubicBezTo>
                  <a:pt x="143" y="310"/>
                  <a:pt x="143" y="310"/>
                  <a:pt x="142" y="311"/>
                </a:cubicBezTo>
                <a:cubicBezTo>
                  <a:pt x="142" y="311"/>
                  <a:pt x="142" y="311"/>
                  <a:pt x="142" y="310"/>
                </a:cubicBezTo>
                <a:cubicBezTo>
                  <a:pt x="142" y="310"/>
                  <a:pt x="143" y="310"/>
                  <a:pt x="143" y="310"/>
                </a:cubicBezTo>
                <a:cubicBezTo>
                  <a:pt x="143" y="310"/>
                  <a:pt x="144" y="309"/>
                  <a:pt x="144" y="309"/>
                </a:cubicBezTo>
                <a:cubicBezTo>
                  <a:pt x="145" y="309"/>
                  <a:pt x="145" y="309"/>
                  <a:pt x="145" y="309"/>
                </a:cubicBezTo>
                <a:cubicBezTo>
                  <a:pt x="146" y="309"/>
                  <a:pt x="146" y="309"/>
                  <a:pt x="147" y="308"/>
                </a:cubicBezTo>
                <a:cubicBezTo>
                  <a:pt x="147" y="308"/>
                  <a:pt x="147" y="308"/>
                  <a:pt x="147" y="307"/>
                </a:cubicBezTo>
                <a:cubicBezTo>
                  <a:pt x="147" y="307"/>
                  <a:pt x="147" y="307"/>
                  <a:pt x="147" y="307"/>
                </a:cubicBezTo>
                <a:cubicBezTo>
                  <a:pt x="148" y="306"/>
                  <a:pt x="149" y="306"/>
                  <a:pt x="149" y="305"/>
                </a:cubicBezTo>
                <a:cubicBezTo>
                  <a:pt x="150" y="305"/>
                  <a:pt x="150" y="304"/>
                  <a:pt x="150" y="304"/>
                </a:cubicBezTo>
                <a:cubicBezTo>
                  <a:pt x="151" y="304"/>
                  <a:pt x="151" y="304"/>
                  <a:pt x="151" y="303"/>
                </a:cubicBezTo>
                <a:cubicBezTo>
                  <a:pt x="151" y="303"/>
                  <a:pt x="152" y="303"/>
                  <a:pt x="152" y="303"/>
                </a:cubicBezTo>
                <a:cubicBezTo>
                  <a:pt x="152" y="303"/>
                  <a:pt x="152" y="303"/>
                  <a:pt x="151" y="302"/>
                </a:cubicBezTo>
                <a:cubicBezTo>
                  <a:pt x="152" y="302"/>
                  <a:pt x="153" y="301"/>
                  <a:pt x="153" y="300"/>
                </a:cubicBezTo>
                <a:cubicBezTo>
                  <a:pt x="154" y="300"/>
                  <a:pt x="155" y="300"/>
                  <a:pt x="155" y="299"/>
                </a:cubicBezTo>
                <a:cubicBezTo>
                  <a:pt x="156" y="299"/>
                  <a:pt x="156" y="298"/>
                  <a:pt x="157" y="297"/>
                </a:cubicBezTo>
                <a:cubicBezTo>
                  <a:pt x="157" y="297"/>
                  <a:pt x="158" y="297"/>
                  <a:pt x="158" y="296"/>
                </a:cubicBezTo>
                <a:cubicBezTo>
                  <a:pt x="159" y="296"/>
                  <a:pt x="159" y="295"/>
                  <a:pt x="160" y="294"/>
                </a:cubicBezTo>
                <a:cubicBezTo>
                  <a:pt x="159" y="294"/>
                  <a:pt x="159" y="295"/>
                  <a:pt x="159" y="295"/>
                </a:cubicBezTo>
                <a:cubicBezTo>
                  <a:pt x="159" y="296"/>
                  <a:pt x="160" y="296"/>
                  <a:pt x="160" y="296"/>
                </a:cubicBezTo>
                <a:cubicBezTo>
                  <a:pt x="160" y="296"/>
                  <a:pt x="160" y="296"/>
                  <a:pt x="160" y="296"/>
                </a:cubicBezTo>
                <a:cubicBezTo>
                  <a:pt x="161" y="296"/>
                  <a:pt x="161" y="296"/>
                  <a:pt x="161" y="296"/>
                </a:cubicBezTo>
                <a:cubicBezTo>
                  <a:pt x="161" y="296"/>
                  <a:pt x="162" y="296"/>
                  <a:pt x="162" y="296"/>
                </a:cubicBezTo>
                <a:cubicBezTo>
                  <a:pt x="162" y="295"/>
                  <a:pt x="162" y="295"/>
                  <a:pt x="163" y="294"/>
                </a:cubicBezTo>
                <a:cubicBezTo>
                  <a:pt x="163" y="294"/>
                  <a:pt x="163" y="294"/>
                  <a:pt x="164" y="294"/>
                </a:cubicBezTo>
                <a:cubicBezTo>
                  <a:pt x="164" y="293"/>
                  <a:pt x="165" y="293"/>
                  <a:pt x="166" y="292"/>
                </a:cubicBezTo>
                <a:cubicBezTo>
                  <a:pt x="166" y="292"/>
                  <a:pt x="166" y="292"/>
                  <a:pt x="166" y="291"/>
                </a:cubicBezTo>
                <a:cubicBezTo>
                  <a:pt x="166" y="292"/>
                  <a:pt x="166" y="292"/>
                  <a:pt x="166" y="292"/>
                </a:cubicBezTo>
                <a:cubicBezTo>
                  <a:pt x="166" y="293"/>
                  <a:pt x="165" y="293"/>
                  <a:pt x="165" y="294"/>
                </a:cubicBezTo>
                <a:cubicBezTo>
                  <a:pt x="164" y="294"/>
                  <a:pt x="164" y="294"/>
                  <a:pt x="163" y="294"/>
                </a:cubicBezTo>
                <a:cubicBezTo>
                  <a:pt x="163" y="295"/>
                  <a:pt x="162" y="296"/>
                  <a:pt x="162" y="297"/>
                </a:cubicBezTo>
                <a:cubicBezTo>
                  <a:pt x="162" y="297"/>
                  <a:pt x="162" y="297"/>
                  <a:pt x="162" y="297"/>
                </a:cubicBezTo>
                <a:cubicBezTo>
                  <a:pt x="162" y="298"/>
                  <a:pt x="163" y="298"/>
                  <a:pt x="163" y="298"/>
                </a:cubicBezTo>
                <a:cubicBezTo>
                  <a:pt x="164" y="298"/>
                  <a:pt x="164" y="298"/>
                  <a:pt x="164" y="299"/>
                </a:cubicBezTo>
                <a:cubicBezTo>
                  <a:pt x="164" y="299"/>
                  <a:pt x="163" y="299"/>
                  <a:pt x="163" y="299"/>
                </a:cubicBezTo>
                <a:cubicBezTo>
                  <a:pt x="162" y="299"/>
                  <a:pt x="162" y="299"/>
                  <a:pt x="162" y="299"/>
                </a:cubicBezTo>
                <a:cubicBezTo>
                  <a:pt x="162" y="299"/>
                  <a:pt x="162" y="299"/>
                  <a:pt x="161" y="299"/>
                </a:cubicBezTo>
                <a:cubicBezTo>
                  <a:pt x="161" y="299"/>
                  <a:pt x="161" y="300"/>
                  <a:pt x="161" y="300"/>
                </a:cubicBezTo>
                <a:cubicBezTo>
                  <a:pt x="160" y="300"/>
                  <a:pt x="160" y="300"/>
                  <a:pt x="159" y="300"/>
                </a:cubicBezTo>
                <a:cubicBezTo>
                  <a:pt x="159" y="299"/>
                  <a:pt x="159" y="299"/>
                  <a:pt x="159" y="299"/>
                </a:cubicBezTo>
                <a:cubicBezTo>
                  <a:pt x="158" y="299"/>
                  <a:pt x="158" y="300"/>
                  <a:pt x="157" y="300"/>
                </a:cubicBezTo>
                <a:cubicBezTo>
                  <a:pt x="157" y="300"/>
                  <a:pt x="157" y="300"/>
                  <a:pt x="156" y="301"/>
                </a:cubicBezTo>
                <a:cubicBezTo>
                  <a:pt x="156" y="301"/>
                  <a:pt x="155" y="302"/>
                  <a:pt x="155" y="302"/>
                </a:cubicBezTo>
                <a:cubicBezTo>
                  <a:pt x="155" y="302"/>
                  <a:pt x="154" y="302"/>
                  <a:pt x="154" y="303"/>
                </a:cubicBezTo>
                <a:cubicBezTo>
                  <a:pt x="153" y="303"/>
                  <a:pt x="153" y="303"/>
                  <a:pt x="153" y="304"/>
                </a:cubicBezTo>
                <a:cubicBezTo>
                  <a:pt x="153" y="304"/>
                  <a:pt x="153" y="304"/>
                  <a:pt x="153" y="304"/>
                </a:cubicBezTo>
                <a:cubicBezTo>
                  <a:pt x="153" y="304"/>
                  <a:pt x="153" y="305"/>
                  <a:pt x="153" y="305"/>
                </a:cubicBezTo>
                <a:cubicBezTo>
                  <a:pt x="153" y="305"/>
                  <a:pt x="153" y="306"/>
                  <a:pt x="153" y="306"/>
                </a:cubicBezTo>
                <a:cubicBezTo>
                  <a:pt x="153" y="306"/>
                  <a:pt x="152" y="307"/>
                  <a:pt x="152" y="307"/>
                </a:cubicBezTo>
                <a:cubicBezTo>
                  <a:pt x="152" y="307"/>
                  <a:pt x="152" y="308"/>
                  <a:pt x="152" y="308"/>
                </a:cubicBezTo>
                <a:cubicBezTo>
                  <a:pt x="151" y="309"/>
                  <a:pt x="150" y="310"/>
                  <a:pt x="150" y="311"/>
                </a:cubicBezTo>
                <a:cubicBezTo>
                  <a:pt x="149" y="312"/>
                  <a:pt x="149" y="312"/>
                  <a:pt x="149" y="312"/>
                </a:cubicBezTo>
                <a:cubicBezTo>
                  <a:pt x="149" y="312"/>
                  <a:pt x="149" y="313"/>
                  <a:pt x="149" y="313"/>
                </a:cubicBezTo>
                <a:cubicBezTo>
                  <a:pt x="150" y="313"/>
                  <a:pt x="150" y="313"/>
                  <a:pt x="151" y="313"/>
                </a:cubicBezTo>
                <a:cubicBezTo>
                  <a:pt x="151" y="313"/>
                  <a:pt x="151" y="313"/>
                  <a:pt x="151" y="312"/>
                </a:cubicBezTo>
                <a:cubicBezTo>
                  <a:pt x="151" y="312"/>
                  <a:pt x="152" y="312"/>
                  <a:pt x="152" y="312"/>
                </a:cubicBezTo>
                <a:cubicBezTo>
                  <a:pt x="152" y="312"/>
                  <a:pt x="152" y="312"/>
                  <a:pt x="153" y="311"/>
                </a:cubicBezTo>
                <a:cubicBezTo>
                  <a:pt x="153" y="311"/>
                  <a:pt x="153" y="311"/>
                  <a:pt x="153" y="311"/>
                </a:cubicBezTo>
                <a:cubicBezTo>
                  <a:pt x="153" y="311"/>
                  <a:pt x="154" y="311"/>
                  <a:pt x="154" y="311"/>
                </a:cubicBezTo>
                <a:cubicBezTo>
                  <a:pt x="153" y="312"/>
                  <a:pt x="153" y="313"/>
                  <a:pt x="152" y="313"/>
                </a:cubicBezTo>
                <a:cubicBezTo>
                  <a:pt x="152" y="313"/>
                  <a:pt x="152" y="313"/>
                  <a:pt x="151" y="314"/>
                </a:cubicBezTo>
                <a:cubicBezTo>
                  <a:pt x="151" y="314"/>
                  <a:pt x="151" y="314"/>
                  <a:pt x="151" y="314"/>
                </a:cubicBezTo>
                <a:cubicBezTo>
                  <a:pt x="151" y="314"/>
                  <a:pt x="150" y="315"/>
                  <a:pt x="150" y="315"/>
                </a:cubicBezTo>
                <a:cubicBezTo>
                  <a:pt x="150" y="315"/>
                  <a:pt x="149" y="315"/>
                  <a:pt x="149" y="315"/>
                </a:cubicBezTo>
                <a:cubicBezTo>
                  <a:pt x="149" y="315"/>
                  <a:pt x="149" y="315"/>
                  <a:pt x="148" y="316"/>
                </a:cubicBezTo>
                <a:cubicBezTo>
                  <a:pt x="149" y="316"/>
                  <a:pt x="149" y="316"/>
                  <a:pt x="149" y="316"/>
                </a:cubicBezTo>
                <a:cubicBezTo>
                  <a:pt x="148" y="316"/>
                  <a:pt x="148" y="316"/>
                  <a:pt x="148" y="316"/>
                </a:cubicBezTo>
                <a:cubicBezTo>
                  <a:pt x="148" y="316"/>
                  <a:pt x="147" y="317"/>
                  <a:pt x="147" y="317"/>
                </a:cubicBezTo>
                <a:cubicBezTo>
                  <a:pt x="147" y="317"/>
                  <a:pt x="147" y="317"/>
                  <a:pt x="148" y="318"/>
                </a:cubicBezTo>
                <a:cubicBezTo>
                  <a:pt x="148" y="318"/>
                  <a:pt x="149" y="318"/>
                  <a:pt x="150" y="318"/>
                </a:cubicBezTo>
                <a:cubicBezTo>
                  <a:pt x="150" y="318"/>
                  <a:pt x="150" y="318"/>
                  <a:pt x="150" y="318"/>
                </a:cubicBezTo>
                <a:cubicBezTo>
                  <a:pt x="150" y="317"/>
                  <a:pt x="150" y="317"/>
                  <a:pt x="150" y="317"/>
                </a:cubicBezTo>
                <a:cubicBezTo>
                  <a:pt x="150" y="317"/>
                  <a:pt x="151" y="317"/>
                  <a:pt x="151" y="317"/>
                </a:cubicBezTo>
                <a:cubicBezTo>
                  <a:pt x="151" y="317"/>
                  <a:pt x="151" y="316"/>
                  <a:pt x="151" y="316"/>
                </a:cubicBezTo>
                <a:cubicBezTo>
                  <a:pt x="151" y="316"/>
                  <a:pt x="152" y="316"/>
                  <a:pt x="152" y="316"/>
                </a:cubicBezTo>
                <a:cubicBezTo>
                  <a:pt x="152" y="316"/>
                  <a:pt x="152" y="316"/>
                  <a:pt x="152" y="316"/>
                </a:cubicBezTo>
                <a:cubicBezTo>
                  <a:pt x="152" y="316"/>
                  <a:pt x="152" y="316"/>
                  <a:pt x="153" y="316"/>
                </a:cubicBezTo>
                <a:cubicBezTo>
                  <a:pt x="153" y="316"/>
                  <a:pt x="153" y="316"/>
                  <a:pt x="153" y="315"/>
                </a:cubicBezTo>
                <a:cubicBezTo>
                  <a:pt x="153" y="315"/>
                  <a:pt x="153" y="315"/>
                  <a:pt x="153" y="315"/>
                </a:cubicBezTo>
                <a:cubicBezTo>
                  <a:pt x="154" y="314"/>
                  <a:pt x="154" y="314"/>
                  <a:pt x="154" y="314"/>
                </a:cubicBezTo>
                <a:cubicBezTo>
                  <a:pt x="154" y="314"/>
                  <a:pt x="154" y="313"/>
                  <a:pt x="154" y="313"/>
                </a:cubicBezTo>
                <a:cubicBezTo>
                  <a:pt x="154" y="313"/>
                  <a:pt x="154" y="313"/>
                  <a:pt x="154" y="312"/>
                </a:cubicBezTo>
                <a:cubicBezTo>
                  <a:pt x="155" y="312"/>
                  <a:pt x="155" y="312"/>
                  <a:pt x="155" y="313"/>
                </a:cubicBezTo>
                <a:cubicBezTo>
                  <a:pt x="155" y="313"/>
                  <a:pt x="155" y="313"/>
                  <a:pt x="154" y="313"/>
                </a:cubicBezTo>
                <a:cubicBezTo>
                  <a:pt x="155" y="313"/>
                  <a:pt x="155" y="313"/>
                  <a:pt x="155" y="313"/>
                </a:cubicBezTo>
                <a:cubicBezTo>
                  <a:pt x="156" y="313"/>
                  <a:pt x="156" y="313"/>
                  <a:pt x="156" y="313"/>
                </a:cubicBezTo>
                <a:cubicBezTo>
                  <a:pt x="157" y="312"/>
                  <a:pt x="157" y="312"/>
                  <a:pt x="158" y="311"/>
                </a:cubicBezTo>
                <a:cubicBezTo>
                  <a:pt x="158" y="311"/>
                  <a:pt x="158" y="311"/>
                  <a:pt x="159" y="311"/>
                </a:cubicBezTo>
                <a:cubicBezTo>
                  <a:pt x="159" y="311"/>
                  <a:pt x="159" y="311"/>
                  <a:pt x="159" y="311"/>
                </a:cubicBezTo>
                <a:cubicBezTo>
                  <a:pt x="159" y="311"/>
                  <a:pt x="160" y="310"/>
                  <a:pt x="160" y="310"/>
                </a:cubicBezTo>
                <a:cubicBezTo>
                  <a:pt x="160" y="310"/>
                  <a:pt x="160" y="309"/>
                  <a:pt x="160" y="309"/>
                </a:cubicBezTo>
                <a:cubicBezTo>
                  <a:pt x="160" y="309"/>
                  <a:pt x="160" y="308"/>
                  <a:pt x="161" y="308"/>
                </a:cubicBezTo>
                <a:cubicBezTo>
                  <a:pt x="161" y="308"/>
                  <a:pt x="161" y="308"/>
                  <a:pt x="161" y="308"/>
                </a:cubicBezTo>
                <a:cubicBezTo>
                  <a:pt x="161" y="308"/>
                  <a:pt x="161" y="309"/>
                  <a:pt x="160" y="309"/>
                </a:cubicBezTo>
                <a:cubicBezTo>
                  <a:pt x="160" y="309"/>
                  <a:pt x="160" y="309"/>
                  <a:pt x="161" y="310"/>
                </a:cubicBezTo>
                <a:cubicBezTo>
                  <a:pt x="161" y="309"/>
                  <a:pt x="161" y="309"/>
                  <a:pt x="161" y="309"/>
                </a:cubicBezTo>
                <a:cubicBezTo>
                  <a:pt x="161" y="309"/>
                  <a:pt x="162" y="308"/>
                  <a:pt x="162" y="308"/>
                </a:cubicBezTo>
                <a:cubicBezTo>
                  <a:pt x="162" y="307"/>
                  <a:pt x="162" y="307"/>
                  <a:pt x="162" y="306"/>
                </a:cubicBezTo>
                <a:cubicBezTo>
                  <a:pt x="162" y="306"/>
                  <a:pt x="162" y="306"/>
                  <a:pt x="163" y="306"/>
                </a:cubicBezTo>
                <a:cubicBezTo>
                  <a:pt x="163" y="306"/>
                  <a:pt x="163" y="306"/>
                  <a:pt x="163" y="306"/>
                </a:cubicBezTo>
                <a:cubicBezTo>
                  <a:pt x="163" y="306"/>
                  <a:pt x="163" y="307"/>
                  <a:pt x="162" y="307"/>
                </a:cubicBezTo>
                <a:cubicBezTo>
                  <a:pt x="162" y="307"/>
                  <a:pt x="163" y="307"/>
                  <a:pt x="163" y="307"/>
                </a:cubicBezTo>
                <a:cubicBezTo>
                  <a:pt x="163" y="307"/>
                  <a:pt x="163" y="306"/>
                  <a:pt x="164" y="306"/>
                </a:cubicBezTo>
                <a:cubicBezTo>
                  <a:pt x="164" y="306"/>
                  <a:pt x="164" y="306"/>
                  <a:pt x="164" y="306"/>
                </a:cubicBezTo>
                <a:cubicBezTo>
                  <a:pt x="164" y="306"/>
                  <a:pt x="164" y="307"/>
                  <a:pt x="164" y="307"/>
                </a:cubicBezTo>
                <a:cubicBezTo>
                  <a:pt x="165" y="307"/>
                  <a:pt x="165" y="306"/>
                  <a:pt x="165" y="306"/>
                </a:cubicBezTo>
                <a:cubicBezTo>
                  <a:pt x="166" y="306"/>
                  <a:pt x="166" y="306"/>
                  <a:pt x="166" y="306"/>
                </a:cubicBezTo>
                <a:cubicBezTo>
                  <a:pt x="166" y="306"/>
                  <a:pt x="167" y="306"/>
                  <a:pt x="167" y="306"/>
                </a:cubicBezTo>
                <a:cubicBezTo>
                  <a:pt x="167" y="305"/>
                  <a:pt x="167" y="305"/>
                  <a:pt x="167" y="305"/>
                </a:cubicBezTo>
                <a:cubicBezTo>
                  <a:pt x="167" y="304"/>
                  <a:pt x="168" y="304"/>
                  <a:pt x="168" y="304"/>
                </a:cubicBezTo>
                <a:cubicBezTo>
                  <a:pt x="168" y="304"/>
                  <a:pt x="169" y="303"/>
                  <a:pt x="169" y="303"/>
                </a:cubicBezTo>
                <a:cubicBezTo>
                  <a:pt x="169" y="303"/>
                  <a:pt x="168" y="303"/>
                  <a:pt x="168" y="303"/>
                </a:cubicBezTo>
                <a:cubicBezTo>
                  <a:pt x="168" y="303"/>
                  <a:pt x="168" y="303"/>
                  <a:pt x="168" y="302"/>
                </a:cubicBezTo>
                <a:cubicBezTo>
                  <a:pt x="169" y="302"/>
                  <a:pt x="169" y="301"/>
                  <a:pt x="170" y="301"/>
                </a:cubicBezTo>
                <a:cubicBezTo>
                  <a:pt x="170" y="301"/>
                  <a:pt x="170" y="301"/>
                  <a:pt x="170" y="300"/>
                </a:cubicBezTo>
                <a:cubicBezTo>
                  <a:pt x="170" y="300"/>
                  <a:pt x="170" y="300"/>
                  <a:pt x="170" y="300"/>
                </a:cubicBezTo>
                <a:cubicBezTo>
                  <a:pt x="170" y="300"/>
                  <a:pt x="169" y="300"/>
                  <a:pt x="169" y="300"/>
                </a:cubicBezTo>
                <a:cubicBezTo>
                  <a:pt x="169" y="300"/>
                  <a:pt x="168" y="300"/>
                  <a:pt x="168" y="300"/>
                </a:cubicBezTo>
                <a:cubicBezTo>
                  <a:pt x="168" y="300"/>
                  <a:pt x="167" y="301"/>
                  <a:pt x="167" y="301"/>
                </a:cubicBezTo>
                <a:cubicBezTo>
                  <a:pt x="167" y="300"/>
                  <a:pt x="167" y="300"/>
                  <a:pt x="167" y="300"/>
                </a:cubicBezTo>
                <a:cubicBezTo>
                  <a:pt x="167" y="300"/>
                  <a:pt x="168" y="300"/>
                  <a:pt x="168" y="300"/>
                </a:cubicBezTo>
                <a:cubicBezTo>
                  <a:pt x="168" y="300"/>
                  <a:pt x="169" y="300"/>
                  <a:pt x="169" y="299"/>
                </a:cubicBezTo>
                <a:cubicBezTo>
                  <a:pt x="169" y="299"/>
                  <a:pt x="169" y="299"/>
                  <a:pt x="169" y="299"/>
                </a:cubicBezTo>
                <a:cubicBezTo>
                  <a:pt x="169" y="299"/>
                  <a:pt x="169" y="299"/>
                  <a:pt x="169" y="298"/>
                </a:cubicBezTo>
                <a:cubicBezTo>
                  <a:pt x="169" y="299"/>
                  <a:pt x="168" y="299"/>
                  <a:pt x="168" y="299"/>
                </a:cubicBezTo>
                <a:cubicBezTo>
                  <a:pt x="168" y="299"/>
                  <a:pt x="167" y="299"/>
                  <a:pt x="167" y="299"/>
                </a:cubicBezTo>
                <a:cubicBezTo>
                  <a:pt x="167" y="299"/>
                  <a:pt x="167" y="299"/>
                  <a:pt x="167" y="298"/>
                </a:cubicBezTo>
                <a:cubicBezTo>
                  <a:pt x="167" y="298"/>
                  <a:pt x="167" y="298"/>
                  <a:pt x="168" y="298"/>
                </a:cubicBezTo>
                <a:cubicBezTo>
                  <a:pt x="168" y="298"/>
                  <a:pt x="168" y="297"/>
                  <a:pt x="168" y="297"/>
                </a:cubicBezTo>
                <a:cubicBezTo>
                  <a:pt x="169" y="297"/>
                  <a:pt x="169" y="297"/>
                  <a:pt x="169" y="297"/>
                </a:cubicBezTo>
                <a:cubicBezTo>
                  <a:pt x="169" y="297"/>
                  <a:pt x="169" y="297"/>
                  <a:pt x="169" y="297"/>
                </a:cubicBezTo>
                <a:cubicBezTo>
                  <a:pt x="169" y="297"/>
                  <a:pt x="168" y="296"/>
                  <a:pt x="168" y="296"/>
                </a:cubicBezTo>
                <a:cubicBezTo>
                  <a:pt x="169" y="296"/>
                  <a:pt x="169" y="295"/>
                  <a:pt x="170" y="295"/>
                </a:cubicBezTo>
                <a:cubicBezTo>
                  <a:pt x="170" y="295"/>
                  <a:pt x="171" y="295"/>
                  <a:pt x="171" y="295"/>
                </a:cubicBezTo>
                <a:cubicBezTo>
                  <a:pt x="171" y="295"/>
                  <a:pt x="171" y="295"/>
                  <a:pt x="172" y="295"/>
                </a:cubicBezTo>
                <a:cubicBezTo>
                  <a:pt x="172" y="294"/>
                  <a:pt x="173" y="294"/>
                  <a:pt x="173" y="294"/>
                </a:cubicBezTo>
                <a:cubicBezTo>
                  <a:pt x="173" y="295"/>
                  <a:pt x="172" y="295"/>
                  <a:pt x="171" y="296"/>
                </a:cubicBezTo>
                <a:cubicBezTo>
                  <a:pt x="172" y="296"/>
                  <a:pt x="172" y="296"/>
                  <a:pt x="172" y="296"/>
                </a:cubicBezTo>
                <a:cubicBezTo>
                  <a:pt x="172" y="297"/>
                  <a:pt x="172" y="297"/>
                  <a:pt x="173" y="297"/>
                </a:cubicBezTo>
                <a:cubicBezTo>
                  <a:pt x="173" y="297"/>
                  <a:pt x="173" y="297"/>
                  <a:pt x="173" y="297"/>
                </a:cubicBezTo>
                <a:cubicBezTo>
                  <a:pt x="173" y="296"/>
                  <a:pt x="173" y="296"/>
                  <a:pt x="173" y="295"/>
                </a:cubicBezTo>
                <a:cubicBezTo>
                  <a:pt x="173" y="295"/>
                  <a:pt x="174" y="295"/>
                  <a:pt x="174" y="295"/>
                </a:cubicBezTo>
                <a:cubicBezTo>
                  <a:pt x="174" y="295"/>
                  <a:pt x="174" y="295"/>
                  <a:pt x="174" y="294"/>
                </a:cubicBezTo>
                <a:cubicBezTo>
                  <a:pt x="174" y="295"/>
                  <a:pt x="174" y="295"/>
                  <a:pt x="174" y="295"/>
                </a:cubicBezTo>
                <a:cubicBezTo>
                  <a:pt x="174" y="295"/>
                  <a:pt x="174" y="295"/>
                  <a:pt x="174" y="296"/>
                </a:cubicBezTo>
                <a:cubicBezTo>
                  <a:pt x="174" y="296"/>
                  <a:pt x="174" y="296"/>
                  <a:pt x="174" y="296"/>
                </a:cubicBezTo>
                <a:cubicBezTo>
                  <a:pt x="175" y="296"/>
                  <a:pt x="175" y="295"/>
                  <a:pt x="175" y="295"/>
                </a:cubicBezTo>
                <a:cubicBezTo>
                  <a:pt x="175" y="295"/>
                  <a:pt x="175" y="295"/>
                  <a:pt x="175" y="294"/>
                </a:cubicBezTo>
                <a:cubicBezTo>
                  <a:pt x="176" y="294"/>
                  <a:pt x="176" y="294"/>
                  <a:pt x="176" y="294"/>
                </a:cubicBezTo>
                <a:cubicBezTo>
                  <a:pt x="177" y="294"/>
                  <a:pt x="177" y="294"/>
                  <a:pt x="177" y="294"/>
                </a:cubicBezTo>
                <a:cubicBezTo>
                  <a:pt x="177" y="293"/>
                  <a:pt x="178" y="293"/>
                  <a:pt x="178" y="293"/>
                </a:cubicBezTo>
                <a:cubicBezTo>
                  <a:pt x="178" y="293"/>
                  <a:pt x="178" y="293"/>
                  <a:pt x="179" y="292"/>
                </a:cubicBezTo>
                <a:cubicBezTo>
                  <a:pt x="179" y="292"/>
                  <a:pt x="179" y="292"/>
                  <a:pt x="180" y="292"/>
                </a:cubicBezTo>
                <a:cubicBezTo>
                  <a:pt x="180" y="292"/>
                  <a:pt x="180" y="292"/>
                  <a:pt x="181" y="292"/>
                </a:cubicBezTo>
                <a:cubicBezTo>
                  <a:pt x="181" y="292"/>
                  <a:pt x="181" y="292"/>
                  <a:pt x="181" y="292"/>
                </a:cubicBezTo>
                <a:cubicBezTo>
                  <a:pt x="180" y="292"/>
                  <a:pt x="180" y="292"/>
                  <a:pt x="179" y="292"/>
                </a:cubicBezTo>
                <a:cubicBezTo>
                  <a:pt x="179" y="293"/>
                  <a:pt x="179" y="293"/>
                  <a:pt x="179" y="294"/>
                </a:cubicBezTo>
                <a:cubicBezTo>
                  <a:pt x="178" y="294"/>
                  <a:pt x="178" y="294"/>
                  <a:pt x="178" y="294"/>
                </a:cubicBezTo>
                <a:cubicBezTo>
                  <a:pt x="178" y="294"/>
                  <a:pt x="178" y="294"/>
                  <a:pt x="178" y="295"/>
                </a:cubicBezTo>
                <a:cubicBezTo>
                  <a:pt x="178" y="295"/>
                  <a:pt x="178" y="295"/>
                  <a:pt x="178" y="295"/>
                </a:cubicBezTo>
                <a:cubicBezTo>
                  <a:pt x="179" y="295"/>
                  <a:pt x="180" y="294"/>
                  <a:pt x="180" y="294"/>
                </a:cubicBezTo>
                <a:cubicBezTo>
                  <a:pt x="181" y="294"/>
                  <a:pt x="181" y="294"/>
                  <a:pt x="181" y="294"/>
                </a:cubicBezTo>
                <a:cubicBezTo>
                  <a:pt x="181" y="295"/>
                  <a:pt x="181" y="295"/>
                  <a:pt x="181" y="295"/>
                </a:cubicBezTo>
                <a:cubicBezTo>
                  <a:pt x="181" y="295"/>
                  <a:pt x="180" y="295"/>
                  <a:pt x="180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78" y="295"/>
                  <a:pt x="178" y="296"/>
                  <a:pt x="178" y="296"/>
                </a:cubicBezTo>
                <a:cubicBezTo>
                  <a:pt x="178" y="296"/>
                  <a:pt x="178" y="296"/>
                  <a:pt x="178" y="296"/>
                </a:cubicBezTo>
                <a:cubicBezTo>
                  <a:pt x="178" y="296"/>
                  <a:pt x="178" y="296"/>
                  <a:pt x="179" y="296"/>
                </a:cubicBezTo>
                <a:cubicBezTo>
                  <a:pt x="179" y="296"/>
                  <a:pt x="179" y="296"/>
                  <a:pt x="179" y="296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80" y="296"/>
                  <a:pt x="179" y="296"/>
                  <a:pt x="179" y="296"/>
                </a:cubicBezTo>
                <a:cubicBezTo>
                  <a:pt x="179" y="297"/>
                  <a:pt x="179" y="297"/>
                  <a:pt x="179" y="297"/>
                </a:cubicBezTo>
                <a:cubicBezTo>
                  <a:pt x="180" y="297"/>
                  <a:pt x="180" y="297"/>
                  <a:pt x="181" y="297"/>
                </a:cubicBezTo>
                <a:cubicBezTo>
                  <a:pt x="181" y="297"/>
                  <a:pt x="181" y="297"/>
                  <a:pt x="181" y="297"/>
                </a:cubicBezTo>
                <a:cubicBezTo>
                  <a:pt x="181" y="297"/>
                  <a:pt x="181" y="297"/>
                  <a:pt x="181" y="297"/>
                </a:cubicBezTo>
                <a:cubicBezTo>
                  <a:pt x="180" y="297"/>
                  <a:pt x="180" y="298"/>
                  <a:pt x="180" y="298"/>
                </a:cubicBezTo>
                <a:cubicBezTo>
                  <a:pt x="180" y="298"/>
                  <a:pt x="180" y="298"/>
                  <a:pt x="180" y="298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82" y="297"/>
                  <a:pt x="182" y="297"/>
                  <a:pt x="182" y="297"/>
                </a:cubicBezTo>
                <a:cubicBezTo>
                  <a:pt x="183" y="297"/>
                  <a:pt x="183" y="297"/>
                  <a:pt x="183" y="297"/>
                </a:cubicBezTo>
                <a:cubicBezTo>
                  <a:pt x="184" y="297"/>
                  <a:pt x="184" y="297"/>
                  <a:pt x="184" y="297"/>
                </a:cubicBezTo>
                <a:cubicBezTo>
                  <a:pt x="185" y="297"/>
                  <a:pt x="185" y="296"/>
                  <a:pt x="186" y="296"/>
                </a:cubicBezTo>
                <a:cubicBezTo>
                  <a:pt x="186" y="296"/>
                  <a:pt x="186" y="296"/>
                  <a:pt x="186" y="296"/>
                </a:cubicBezTo>
                <a:cubicBezTo>
                  <a:pt x="187" y="296"/>
                  <a:pt x="187" y="296"/>
                  <a:pt x="187" y="296"/>
                </a:cubicBezTo>
                <a:cubicBezTo>
                  <a:pt x="186" y="297"/>
                  <a:pt x="186" y="297"/>
                  <a:pt x="186" y="297"/>
                </a:cubicBezTo>
                <a:cubicBezTo>
                  <a:pt x="186" y="297"/>
                  <a:pt x="186" y="297"/>
                  <a:pt x="186" y="297"/>
                </a:cubicBezTo>
                <a:cubicBezTo>
                  <a:pt x="187" y="297"/>
                  <a:pt x="187" y="297"/>
                  <a:pt x="187" y="297"/>
                </a:cubicBezTo>
                <a:cubicBezTo>
                  <a:pt x="187" y="297"/>
                  <a:pt x="187" y="298"/>
                  <a:pt x="187" y="298"/>
                </a:cubicBezTo>
                <a:cubicBezTo>
                  <a:pt x="188" y="298"/>
                  <a:pt x="188" y="298"/>
                  <a:pt x="188" y="297"/>
                </a:cubicBezTo>
                <a:cubicBezTo>
                  <a:pt x="188" y="297"/>
                  <a:pt x="188" y="297"/>
                  <a:pt x="189" y="296"/>
                </a:cubicBezTo>
                <a:cubicBezTo>
                  <a:pt x="188" y="296"/>
                  <a:pt x="188" y="296"/>
                  <a:pt x="188" y="296"/>
                </a:cubicBezTo>
                <a:cubicBezTo>
                  <a:pt x="188" y="296"/>
                  <a:pt x="188" y="296"/>
                  <a:pt x="188" y="296"/>
                </a:cubicBezTo>
                <a:cubicBezTo>
                  <a:pt x="189" y="296"/>
                  <a:pt x="189" y="296"/>
                  <a:pt x="190" y="295"/>
                </a:cubicBezTo>
                <a:cubicBezTo>
                  <a:pt x="189" y="296"/>
                  <a:pt x="189" y="296"/>
                  <a:pt x="189" y="296"/>
                </a:cubicBezTo>
                <a:cubicBezTo>
                  <a:pt x="189" y="296"/>
                  <a:pt x="189" y="297"/>
                  <a:pt x="189" y="297"/>
                </a:cubicBezTo>
                <a:cubicBezTo>
                  <a:pt x="189" y="297"/>
                  <a:pt x="189" y="298"/>
                  <a:pt x="188" y="298"/>
                </a:cubicBezTo>
                <a:cubicBezTo>
                  <a:pt x="189" y="298"/>
                  <a:pt x="189" y="298"/>
                  <a:pt x="190" y="298"/>
                </a:cubicBezTo>
                <a:cubicBezTo>
                  <a:pt x="190" y="298"/>
                  <a:pt x="190" y="299"/>
                  <a:pt x="189" y="299"/>
                </a:cubicBezTo>
                <a:cubicBezTo>
                  <a:pt x="189" y="299"/>
                  <a:pt x="189" y="299"/>
                  <a:pt x="189" y="299"/>
                </a:cubicBezTo>
                <a:cubicBezTo>
                  <a:pt x="189" y="299"/>
                  <a:pt x="188" y="299"/>
                  <a:pt x="188" y="299"/>
                </a:cubicBezTo>
                <a:cubicBezTo>
                  <a:pt x="188" y="299"/>
                  <a:pt x="189" y="299"/>
                  <a:pt x="189" y="299"/>
                </a:cubicBezTo>
                <a:cubicBezTo>
                  <a:pt x="190" y="299"/>
                  <a:pt x="191" y="299"/>
                  <a:pt x="191" y="299"/>
                </a:cubicBezTo>
                <a:cubicBezTo>
                  <a:pt x="192" y="299"/>
                  <a:pt x="192" y="298"/>
                  <a:pt x="192" y="298"/>
                </a:cubicBezTo>
                <a:cubicBezTo>
                  <a:pt x="192" y="298"/>
                  <a:pt x="193" y="298"/>
                  <a:pt x="193" y="298"/>
                </a:cubicBezTo>
                <a:cubicBezTo>
                  <a:pt x="193" y="298"/>
                  <a:pt x="194" y="298"/>
                  <a:pt x="194" y="297"/>
                </a:cubicBezTo>
                <a:cubicBezTo>
                  <a:pt x="194" y="297"/>
                  <a:pt x="195" y="297"/>
                  <a:pt x="195" y="297"/>
                </a:cubicBezTo>
                <a:cubicBezTo>
                  <a:pt x="196" y="297"/>
                  <a:pt x="196" y="297"/>
                  <a:pt x="197" y="296"/>
                </a:cubicBezTo>
                <a:cubicBezTo>
                  <a:pt x="197" y="296"/>
                  <a:pt x="197" y="296"/>
                  <a:pt x="197" y="296"/>
                </a:cubicBezTo>
                <a:cubicBezTo>
                  <a:pt x="197" y="296"/>
                  <a:pt x="197" y="297"/>
                  <a:pt x="197" y="297"/>
                </a:cubicBezTo>
                <a:cubicBezTo>
                  <a:pt x="198" y="297"/>
                  <a:pt x="198" y="297"/>
                  <a:pt x="198" y="296"/>
                </a:cubicBezTo>
                <a:cubicBezTo>
                  <a:pt x="198" y="297"/>
                  <a:pt x="199" y="297"/>
                  <a:pt x="199" y="297"/>
                </a:cubicBezTo>
                <a:cubicBezTo>
                  <a:pt x="199" y="297"/>
                  <a:pt x="200" y="297"/>
                  <a:pt x="200" y="297"/>
                </a:cubicBezTo>
                <a:cubicBezTo>
                  <a:pt x="200" y="297"/>
                  <a:pt x="200" y="297"/>
                  <a:pt x="200" y="297"/>
                </a:cubicBezTo>
                <a:cubicBezTo>
                  <a:pt x="201" y="297"/>
                  <a:pt x="201" y="297"/>
                  <a:pt x="201" y="297"/>
                </a:cubicBezTo>
                <a:cubicBezTo>
                  <a:pt x="202" y="296"/>
                  <a:pt x="202" y="296"/>
                  <a:pt x="203" y="296"/>
                </a:cubicBezTo>
                <a:cubicBezTo>
                  <a:pt x="203" y="295"/>
                  <a:pt x="203" y="295"/>
                  <a:pt x="203" y="295"/>
                </a:cubicBezTo>
                <a:cubicBezTo>
                  <a:pt x="203" y="295"/>
                  <a:pt x="203" y="295"/>
                  <a:pt x="203" y="295"/>
                </a:cubicBezTo>
                <a:cubicBezTo>
                  <a:pt x="203" y="295"/>
                  <a:pt x="204" y="296"/>
                  <a:pt x="204" y="296"/>
                </a:cubicBezTo>
                <a:cubicBezTo>
                  <a:pt x="203" y="296"/>
                  <a:pt x="203" y="296"/>
                  <a:pt x="203" y="296"/>
                </a:cubicBezTo>
                <a:cubicBezTo>
                  <a:pt x="203" y="297"/>
                  <a:pt x="202" y="297"/>
                  <a:pt x="202" y="297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3" y="297"/>
                  <a:pt x="203" y="297"/>
                  <a:pt x="204" y="297"/>
                </a:cubicBezTo>
                <a:cubicBezTo>
                  <a:pt x="204" y="297"/>
                  <a:pt x="204" y="297"/>
                  <a:pt x="205" y="297"/>
                </a:cubicBezTo>
                <a:cubicBezTo>
                  <a:pt x="205" y="297"/>
                  <a:pt x="205" y="297"/>
                  <a:pt x="205" y="297"/>
                </a:cubicBezTo>
                <a:cubicBezTo>
                  <a:pt x="206" y="297"/>
                  <a:pt x="207" y="297"/>
                  <a:pt x="207" y="297"/>
                </a:cubicBezTo>
                <a:cubicBezTo>
                  <a:pt x="208" y="297"/>
                  <a:pt x="208" y="296"/>
                  <a:pt x="209" y="296"/>
                </a:cubicBezTo>
                <a:cubicBezTo>
                  <a:pt x="209" y="296"/>
                  <a:pt x="210" y="296"/>
                  <a:pt x="210" y="296"/>
                </a:cubicBezTo>
                <a:cubicBezTo>
                  <a:pt x="210" y="296"/>
                  <a:pt x="210" y="296"/>
                  <a:pt x="210" y="296"/>
                </a:cubicBezTo>
                <a:cubicBezTo>
                  <a:pt x="210" y="295"/>
                  <a:pt x="210" y="295"/>
                  <a:pt x="211" y="295"/>
                </a:cubicBezTo>
                <a:cubicBezTo>
                  <a:pt x="211" y="295"/>
                  <a:pt x="211" y="294"/>
                  <a:pt x="212" y="294"/>
                </a:cubicBezTo>
                <a:cubicBezTo>
                  <a:pt x="212" y="294"/>
                  <a:pt x="212" y="294"/>
                  <a:pt x="212" y="294"/>
                </a:cubicBezTo>
                <a:cubicBezTo>
                  <a:pt x="212" y="294"/>
                  <a:pt x="212" y="294"/>
                  <a:pt x="212" y="294"/>
                </a:cubicBezTo>
                <a:cubicBezTo>
                  <a:pt x="212" y="294"/>
                  <a:pt x="212" y="295"/>
                  <a:pt x="211" y="295"/>
                </a:cubicBezTo>
                <a:cubicBezTo>
                  <a:pt x="211" y="295"/>
                  <a:pt x="211" y="296"/>
                  <a:pt x="212" y="296"/>
                </a:cubicBezTo>
                <a:cubicBezTo>
                  <a:pt x="212" y="297"/>
                  <a:pt x="211" y="297"/>
                  <a:pt x="211" y="297"/>
                </a:cubicBezTo>
                <a:cubicBezTo>
                  <a:pt x="211" y="297"/>
                  <a:pt x="211" y="297"/>
                  <a:pt x="211" y="298"/>
                </a:cubicBezTo>
                <a:cubicBezTo>
                  <a:pt x="210" y="298"/>
                  <a:pt x="210" y="298"/>
                  <a:pt x="209" y="298"/>
                </a:cubicBezTo>
                <a:cubicBezTo>
                  <a:pt x="209" y="298"/>
                  <a:pt x="209" y="298"/>
                  <a:pt x="209" y="298"/>
                </a:cubicBezTo>
                <a:cubicBezTo>
                  <a:pt x="209" y="298"/>
                  <a:pt x="210" y="298"/>
                  <a:pt x="210" y="298"/>
                </a:cubicBezTo>
                <a:cubicBezTo>
                  <a:pt x="210" y="299"/>
                  <a:pt x="211" y="299"/>
                  <a:pt x="211" y="299"/>
                </a:cubicBezTo>
                <a:cubicBezTo>
                  <a:pt x="211" y="299"/>
                  <a:pt x="211" y="299"/>
                  <a:pt x="212" y="299"/>
                </a:cubicBezTo>
                <a:cubicBezTo>
                  <a:pt x="212" y="299"/>
                  <a:pt x="212" y="299"/>
                  <a:pt x="212" y="298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213" y="299"/>
                  <a:pt x="213" y="299"/>
                  <a:pt x="213" y="299"/>
                </a:cubicBezTo>
                <a:cubicBezTo>
                  <a:pt x="213" y="299"/>
                  <a:pt x="213" y="299"/>
                  <a:pt x="212" y="299"/>
                </a:cubicBezTo>
                <a:cubicBezTo>
                  <a:pt x="212" y="299"/>
                  <a:pt x="212" y="299"/>
                  <a:pt x="212" y="299"/>
                </a:cubicBezTo>
                <a:cubicBezTo>
                  <a:pt x="213" y="300"/>
                  <a:pt x="214" y="300"/>
                  <a:pt x="214" y="300"/>
                </a:cubicBezTo>
                <a:cubicBezTo>
                  <a:pt x="215" y="300"/>
                  <a:pt x="215" y="300"/>
                  <a:pt x="215" y="299"/>
                </a:cubicBezTo>
                <a:cubicBezTo>
                  <a:pt x="215" y="299"/>
                  <a:pt x="216" y="299"/>
                  <a:pt x="216" y="299"/>
                </a:cubicBezTo>
                <a:cubicBezTo>
                  <a:pt x="216" y="299"/>
                  <a:pt x="216" y="298"/>
                  <a:pt x="216" y="298"/>
                </a:cubicBezTo>
                <a:cubicBezTo>
                  <a:pt x="217" y="297"/>
                  <a:pt x="217" y="297"/>
                  <a:pt x="217" y="296"/>
                </a:cubicBezTo>
                <a:cubicBezTo>
                  <a:pt x="217" y="297"/>
                  <a:pt x="217" y="297"/>
                  <a:pt x="217" y="298"/>
                </a:cubicBezTo>
                <a:cubicBezTo>
                  <a:pt x="217" y="298"/>
                  <a:pt x="217" y="298"/>
                  <a:pt x="217" y="298"/>
                </a:cubicBezTo>
                <a:cubicBezTo>
                  <a:pt x="217" y="299"/>
                  <a:pt x="217" y="299"/>
                  <a:pt x="217" y="299"/>
                </a:cubicBezTo>
                <a:cubicBezTo>
                  <a:pt x="217" y="299"/>
                  <a:pt x="217" y="299"/>
                  <a:pt x="217" y="299"/>
                </a:cubicBezTo>
                <a:cubicBezTo>
                  <a:pt x="216" y="300"/>
                  <a:pt x="216" y="300"/>
                  <a:pt x="216" y="300"/>
                </a:cubicBezTo>
                <a:cubicBezTo>
                  <a:pt x="216" y="300"/>
                  <a:pt x="216" y="300"/>
                  <a:pt x="216" y="301"/>
                </a:cubicBezTo>
                <a:cubicBezTo>
                  <a:pt x="217" y="301"/>
                  <a:pt x="217" y="301"/>
                  <a:pt x="217" y="301"/>
                </a:cubicBezTo>
                <a:cubicBezTo>
                  <a:pt x="217" y="301"/>
                  <a:pt x="217" y="301"/>
                  <a:pt x="217" y="301"/>
                </a:cubicBezTo>
                <a:cubicBezTo>
                  <a:pt x="217" y="302"/>
                  <a:pt x="218" y="302"/>
                  <a:pt x="218" y="303"/>
                </a:cubicBezTo>
                <a:cubicBezTo>
                  <a:pt x="218" y="303"/>
                  <a:pt x="218" y="303"/>
                  <a:pt x="219" y="303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19" y="303"/>
                  <a:pt x="220" y="303"/>
                  <a:pt x="220" y="304"/>
                </a:cubicBezTo>
                <a:cubicBezTo>
                  <a:pt x="221" y="304"/>
                  <a:pt x="221" y="304"/>
                  <a:pt x="222" y="304"/>
                </a:cubicBezTo>
                <a:cubicBezTo>
                  <a:pt x="222" y="304"/>
                  <a:pt x="222" y="304"/>
                  <a:pt x="223" y="304"/>
                </a:cubicBezTo>
                <a:cubicBezTo>
                  <a:pt x="223" y="304"/>
                  <a:pt x="223" y="304"/>
                  <a:pt x="223" y="304"/>
                </a:cubicBezTo>
                <a:cubicBezTo>
                  <a:pt x="223" y="304"/>
                  <a:pt x="223" y="304"/>
                  <a:pt x="223" y="304"/>
                </a:cubicBezTo>
                <a:cubicBezTo>
                  <a:pt x="224" y="304"/>
                  <a:pt x="224" y="304"/>
                  <a:pt x="224" y="304"/>
                </a:cubicBezTo>
                <a:cubicBezTo>
                  <a:pt x="224" y="304"/>
                  <a:pt x="225" y="304"/>
                  <a:pt x="225" y="304"/>
                </a:cubicBezTo>
                <a:cubicBezTo>
                  <a:pt x="225" y="304"/>
                  <a:pt x="224" y="304"/>
                  <a:pt x="224" y="303"/>
                </a:cubicBezTo>
                <a:cubicBezTo>
                  <a:pt x="224" y="303"/>
                  <a:pt x="224" y="303"/>
                  <a:pt x="225" y="303"/>
                </a:cubicBezTo>
                <a:cubicBezTo>
                  <a:pt x="225" y="303"/>
                  <a:pt x="225" y="303"/>
                  <a:pt x="225" y="303"/>
                </a:cubicBezTo>
                <a:cubicBezTo>
                  <a:pt x="225" y="303"/>
                  <a:pt x="226" y="303"/>
                  <a:pt x="226" y="303"/>
                </a:cubicBezTo>
                <a:cubicBezTo>
                  <a:pt x="226" y="303"/>
                  <a:pt x="226" y="303"/>
                  <a:pt x="226" y="302"/>
                </a:cubicBezTo>
                <a:cubicBezTo>
                  <a:pt x="226" y="302"/>
                  <a:pt x="225" y="302"/>
                  <a:pt x="225" y="302"/>
                </a:cubicBezTo>
                <a:cubicBezTo>
                  <a:pt x="225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1"/>
                </a:cubicBezTo>
                <a:cubicBezTo>
                  <a:pt x="224" y="301"/>
                  <a:pt x="224" y="301"/>
                  <a:pt x="224" y="301"/>
                </a:cubicBezTo>
                <a:cubicBezTo>
                  <a:pt x="224" y="301"/>
                  <a:pt x="223" y="301"/>
                  <a:pt x="223" y="300"/>
                </a:cubicBezTo>
                <a:cubicBezTo>
                  <a:pt x="223" y="301"/>
                  <a:pt x="223" y="301"/>
                  <a:pt x="222" y="301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299"/>
                  <a:pt x="222" y="299"/>
                  <a:pt x="222" y="299"/>
                </a:cubicBezTo>
                <a:cubicBezTo>
                  <a:pt x="222" y="299"/>
                  <a:pt x="223" y="299"/>
                  <a:pt x="223" y="299"/>
                </a:cubicBezTo>
                <a:cubicBezTo>
                  <a:pt x="223" y="299"/>
                  <a:pt x="223" y="299"/>
                  <a:pt x="223" y="299"/>
                </a:cubicBezTo>
                <a:cubicBezTo>
                  <a:pt x="223" y="299"/>
                  <a:pt x="224" y="300"/>
                  <a:pt x="224" y="300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24" y="299"/>
                  <a:pt x="225" y="299"/>
                  <a:pt x="225" y="299"/>
                </a:cubicBezTo>
                <a:cubicBezTo>
                  <a:pt x="225" y="299"/>
                  <a:pt x="225" y="299"/>
                  <a:pt x="225" y="299"/>
                </a:cubicBezTo>
                <a:cubicBezTo>
                  <a:pt x="225" y="300"/>
                  <a:pt x="225" y="300"/>
                  <a:pt x="225" y="300"/>
                </a:cubicBezTo>
                <a:cubicBezTo>
                  <a:pt x="225" y="300"/>
                  <a:pt x="225" y="300"/>
                  <a:pt x="226" y="301"/>
                </a:cubicBezTo>
                <a:cubicBezTo>
                  <a:pt x="226" y="301"/>
                  <a:pt x="226" y="301"/>
                  <a:pt x="226" y="300"/>
                </a:cubicBezTo>
                <a:cubicBezTo>
                  <a:pt x="226" y="300"/>
                  <a:pt x="227" y="300"/>
                  <a:pt x="227" y="300"/>
                </a:cubicBezTo>
                <a:cubicBezTo>
                  <a:pt x="227" y="299"/>
                  <a:pt x="227" y="299"/>
                  <a:pt x="227" y="299"/>
                </a:cubicBezTo>
                <a:cubicBezTo>
                  <a:pt x="227" y="300"/>
                  <a:pt x="227" y="300"/>
                  <a:pt x="227" y="300"/>
                </a:cubicBezTo>
                <a:cubicBezTo>
                  <a:pt x="227" y="300"/>
                  <a:pt x="227" y="300"/>
                  <a:pt x="227" y="301"/>
                </a:cubicBezTo>
                <a:cubicBezTo>
                  <a:pt x="227" y="301"/>
                  <a:pt x="227" y="301"/>
                  <a:pt x="227" y="301"/>
                </a:cubicBezTo>
                <a:cubicBezTo>
                  <a:pt x="227" y="301"/>
                  <a:pt x="227" y="302"/>
                  <a:pt x="228" y="302"/>
                </a:cubicBezTo>
                <a:cubicBezTo>
                  <a:pt x="227" y="302"/>
                  <a:pt x="227" y="302"/>
                  <a:pt x="227" y="303"/>
                </a:cubicBezTo>
                <a:cubicBezTo>
                  <a:pt x="228" y="303"/>
                  <a:pt x="228" y="303"/>
                  <a:pt x="228" y="303"/>
                </a:cubicBezTo>
                <a:cubicBezTo>
                  <a:pt x="228" y="303"/>
                  <a:pt x="229" y="303"/>
                  <a:pt x="229" y="303"/>
                </a:cubicBezTo>
                <a:cubicBezTo>
                  <a:pt x="229" y="302"/>
                  <a:pt x="229" y="302"/>
                  <a:pt x="229" y="302"/>
                </a:cubicBezTo>
                <a:cubicBezTo>
                  <a:pt x="229" y="302"/>
                  <a:pt x="229" y="302"/>
                  <a:pt x="229" y="301"/>
                </a:cubicBezTo>
                <a:cubicBezTo>
                  <a:pt x="230" y="302"/>
                  <a:pt x="230" y="302"/>
                  <a:pt x="230" y="302"/>
                </a:cubicBezTo>
                <a:cubicBezTo>
                  <a:pt x="230" y="302"/>
                  <a:pt x="230" y="302"/>
                  <a:pt x="230" y="302"/>
                </a:cubicBezTo>
                <a:cubicBezTo>
                  <a:pt x="230" y="303"/>
                  <a:pt x="230" y="303"/>
                  <a:pt x="230" y="303"/>
                </a:cubicBezTo>
                <a:cubicBezTo>
                  <a:pt x="231" y="303"/>
                  <a:pt x="231" y="303"/>
                  <a:pt x="231" y="303"/>
                </a:cubicBezTo>
                <a:cubicBezTo>
                  <a:pt x="231" y="303"/>
                  <a:pt x="231" y="302"/>
                  <a:pt x="232" y="302"/>
                </a:cubicBezTo>
                <a:cubicBezTo>
                  <a:pt x="231" y="301"/>
                  <a:pt x="231" y="301"/>
                  <a:pt x="231" y="301"/>
                </a:cubicBezTo>
                <a:cubicBezTo>
                  <a:pt x="231" y="300"/>
                  <a:pt x="231" y="300"/>
                  <a:pt x="231" y="300"/>
                </a:cubicBezTo>
                <a:cubicBezTo>
                  <a:pt x="231" y="299"/>
                  <a:pt x="231" y="299"/>
                  <a:pt x="231" y="298"/>
                </a:cubicBezTo>
                <a:cubicBezTo>
                  <a:pt x="231" y="298"/>
                  <a:pt x="231" y="297"/>
                  <a:pt x="231" y="296"/>
                </a:cubicBezTo>
                <a:cubicBezTo>
                  <a:pt x="231" y="296"/>
                  <a:pt x="231" y="296"/>
                  <a:pt x="231" y="295"/>
                </a:cubicBezTo>
                <a:cubicBezTo>
                  <a:pt x="230" y="295"/>
                  <a:pt x="230" y="294"/>
                  <a:pt x="230" y="294"/>
                </a:cubicBezTo>
                <a:cubicBezTo>
                  <a:pt x="230" y="294"/>
                  <a:pt x="229" y="294"/>
                  <a:pt x="229" y="294"/>
                </a:cubicBezTo>
                <a:cubicBezTo>
                  <a:pt x="229" y="294"/>
                  <a:pt x="229" y="294"/>
                  <a:pt x="229" y="294"/>
                </a:cubicBezTo>
                <a:cubicBezTo>
                  <a:pt x="229" y="294"/>
                  <a:pt x="230" y="294"/>
                  <a:pt x="230" y="294"/>
                </a:cubicBezTo>
                <a:cubicBezTo>
                  <a:pt x="230" y="294"/>
                  <a:pt x="230" y="294"/>
                  <a:pt x="231" y="294"/>
                </a:cubicBezTo>
                <a:cubicBezTo>
                  <a:pt x="231" y="294"/>
                  <a:pt x="231" y="294"/>
                  <a:pt x="231" y="294"/>
                </a:cubicBezTo>
                <a:cubicBezTo>
                  <a:pt x="231" y="294"/>
                  <a:pt x="231" y="293"/>
                  <a:pt x="231" y="293"/>
                </a:cubicBezTo>
                <a:cubicBezTo>
                  <a:pt x="232" y="293"/>
                  <a:pt x="232" y="292"/>
                  <a:pt x="232" y="292"/>
                </a:cubicBezTo>
                <a:cubicBezTo>
                  <a:pt x="232" y="293"/>
                  <a:pt x="232" y="293"/>
                  <a:pt x="232" y="293"/>
                </a:cubicBezTo>
                <a:cubicBezTo>
                  <a:pt x="232" y="294"/>
                  <a:pt x="232" y="294"/>
                  <a:pt x="232" y="295"/>
                </a:cubicBezTo>
                <a:cubicBezTo>
                  <a:pt x="232" y="295"/>
                  <a:pt x="233" y="295"/>
                  <a:pt x="233" y="296"/>
                </a:cubicBezTo>
                <a:cubicBezTo>
                  <a:pt x="233" y="296"/>
                  <a:pt x="232" y="297"/>
                  <a:pt x="232" y="297"/>
                </a:cubicBezTo>
                <a:cubicBezTo>
                  <a:pt x="232" y="298"/>
                  <a:pt x="232" y="298"/>
                  <a:pt x="233" y="298"/>
                </a:cubicBezTo>
                <a:cubicBezTo>
                  <a:pt x="233" y="298"/>
                  <a:pt x="233" y="298"/>
                  <a:pt x="233" y="298"/>
                </a:cubicBezTo>
                <a:cubicBezTo>
                  <a:pt x="233" y="299"/>
                  <a:pt x="233" y="299"/>
                  <a:pt x="233" y="299"/>
                </a:cubicBezTo>
                <a:cubicBezTo>
                  <a:pt x="233" y="299"/>
                  <a:pt x="233" y="300"/>
                  <a:pt x="233" y="300"/>
                </a:cubicBezTo>
                <a:cubicBezTo>
                  <a:pt x="233" y="300"/>
                  <a:pt x="233" y="300"/>
                  <a:pt x="233" y="301"/>
                </a:cubicBezTo>
                <a:cubicBezTo>
                  <a:pt x="233" y="301"/>
                  <a:pt x="234" y="301"/>
                  <a:pt x="234" y="301"/>
                </a:cubicBezTo>
                <a:cubicBezTo>
                  <a:pt x="234" y="301"/>
                  <a:pt x="235" y="301"/>
                  <a:pt x="235" y="301"/>
                </a:cubicBezTo>
                <a:cubicBezTo>
                  <a:pt x="235" y="302"/>
                  <a:pt x="235" y="302"/>
                  <a:pt x="236" y="302"/>
                </a:cubicBezTo>
                <a:cubicBezTo>
                  <a:pt x="236" y="302"/>
                  <a:pt x="236" y="302"/>
                  <a:pt x="236" y="302"/>
                </a:cubicBezTo>
                <a:cubicBezTo>
                  <a:pt x="236" y="302"/>
                  <a:pt x="236" y="302"/>
                  <a:pt x="236" y="303"/>
                </a:cubicBezTo>
                <a:cubicBezTo>
                  <a:pt x="237" y="303"/>
                  <a:pt x="237" y="303"/>
                  <a:pt x="237" y="303"/>
                </a:cubicBezTo>
                <a:cubicBezTo>
                  <a:pt x="238" y="303"/>
                  <a:pt x="238" y="302"/>
                  <a:pt x="238" y="302"/>
                </a:cubicBezTo>
                <a:cubicBezTo>
                  <a:pt x="238" y="302"/>
                  <a:pt x="238" y="302"/>
                  <a:pt x="239" y="302"/>
                </a:cubicBezTo>
                <a:cubicBezTo>
                  <a:pt x="239" y="302"/>
                  <a:pt x="239" y="302"/>
                  <a:pt x="239" y="302"/>
                </a:cubicBezTo>
                <a:cubicBezTo>
                  <a:pt x="240" y="301"/>
                  <a:pt x="240" y="301"/>
                  <a:pt x="241" y="301"/>
                </a:cubicBezTo>
                <a:cubicBezTo>
                  <a:pt x="241" y="301"/>
                  <a:pt x="241" y="301"/>
                  <a:pt x="241" y="301"/>
                </a:cubicBezTo>
                <a:cubicBezTo>
                  <a:pt x="240" y="302"/>
                  <a:pt x="240" y="302"/>
                  <a:pt x="239" y="302"/>
                </a:cubicBezTo>
                <a:cubicBezTo>
                  <a:pt x="239" y="303"/>
                  <a:pt x="239" y="303"/>
                  <a:pt x="239" y="303"/>
                </a:cubicBezTo>
                <a:cubicBezTo>
                  <a:pt x="239" y="303"/>
                  <a:pt x="239" y="303"/>
                  <a:pt x="239" y="303"/>
                </a:cubicBezTo>
                <a:cubicBezTo>
                  <a:pt x="239" y="303"/>
                  <a:pt x="240" y="303"/>
                  <a:pt x="240" y="303"/>
                </a:cubicBezTo>
                <a:cubicBezTo>
                  <a:pt x="240" y="303"/>
                  <a:pt x="240" y="303"/>
                  <a:pt x="240" y="304"/>
                </a:cubicBezTo>
                <a:cubicBezTo>
                  <a:pt x="239" y="304"/>
                  <a:pt x="239" y="304"/>
                  <a:pt x="239" y="304"/>
                </a:cubicBezTo>
                <a:cubicBezTo>
                  <a:pt x="239" y="304"/>
                  <a:pt x="239" y="304"/>
                  <a:pt x="239" y="304"/>
                </a:cubicBezTo>
                <a:cubicBezTo>
                  <a:pt x="239" y="304"/>
                  <a:pt x="240" y="305"/>
                  <a:pt x="240" y="305"/>
                </a:cubicBezTo>
                <a:cubicBezTo>
                  <a:pt x="240" y="305"/>
                  <a:pt x="240" y="305"/>
                  <a:pt x="240" y="305"/>
                </a:cubicBezTo>
                <a:cubicBezTo>
                  <a:pt x="240" y="306"/>
                  <a:pt x="240" y="306"/>
                  <a:pt x="240" y="306"/>
                </a:cubicBezTo>
                <a:cubicBezTo>
                  <a:pt x="240" y="306"/>
                  <a:pt x="239" y="306"/>
                  <a:pt x="239" y="306"/>
                </a:cubicBezTo>
                <a:cubicBezTo>
                  <a:pt x="239" y="306"/>
                  <a:pt x="239" y="305"/>
                  <a:pt x="238" y="305"/>
                </a:cubicBezTo>
                <a:cubicBezTo>
                  <a:pt x="238" y="305"/>
                  <a:pt x="238" y="306"/>
                  <a:pt x="238" y="306"/>
                </a:cubicBezTo>
                <a:cubicBezTo>
                  <a:pt x="238" y="306"/>
                  <a:pt x="239" y="306"/>
                  <a:pt x="239" y="306"/>
                </a:cubicBezTo>
                <a:cubicBezTo>
                  <a:pt x="239" y="306"/>
                  <a:pt x="238" y="306"/>
                  <a:pt x="238" y="307"/>
                </a:cubicBezTo>
                <a:cubicBezTo>
                  <a:pt x="238" y="307"/>
                  <a:pt x="239" y="307"/>
                  <a:pt x="239" y="307"/>
                </a:cubicBezTo>
                <a:cubicBezTo>
                  <a:pt x="239" y="307"/>
                  <a:pt x="239" y="308"/>
                  <a:pt x="239" y="308"/>
                </a:cubicBezTo>
                <a:cubicBezTo>
                  <a:pt x="239" y="308"/>
                  <a:pt x="239" y="308"/>
                  <a:pt x="239" y="308"/>
                </a:cubicBezTo>
                <a:cubicBezTo>
                  <a:pt x="239" y="308"/>
                  <a:pt x="238" y="308"/>
                  <a:pt x="238" y="308"/>
                </a:cubicBezTo>
                <a:cubicBezTo>
                  <a:pt x="238" y="309"/>
                  <a:pt x="238" y="309"/>
                  <a:pt x="238" y="309"/>
                </a:cubicBezTo>
                <a:cubicBezTo>
                  <a:pt x="238" y="309"/>
                  <a:pt x="238" y="309"/>
                  <a:pt x="238" y="309"/>
                </a:cubicBezTo>
                <a:cubicBezTo>
                  <a:pt x="238" y="309"/>
                  <a:pt x="239" y="309"/>
                  <a:pt x="239" y="309"/>
                </a:cubicBezTo>
                <a:cubicBezTo>
                  <a:pt x="239" y="309"/>
                  <a:pt x="239" y="309"/>
                  <a:pt x="239" y="309"/>
                </a:cubicBezTo>
                <a:cubicBezTo>
                  <a:pt x="240" y="309"/>
                  <a:pt x="240" y="309"/>
                  <a:pt x="240" y="309"/>
                </a:cubicBezTo>
                <a:cubicBezTo>
                  <a:pt x="240" y="309"/>
                  <a:pt x="241" y="309"/>
                  <a:pt x="241" y="309"/>
                </a:cubicBezTo>
                <a:cubicBezTo>
                  <a:pt x="241" y="309"/>
                  <a:pt x="241" y="309"/>
                  <a:pt x="241" y="309"/>
                </a:cubicBezTo>
                <a:cubicBezTo>
                  <a:pt x="242" y="309"/>
                  <a:pt x="242" y="309"/>
                  <a:pt x="242" y="309"/>
                </a:cubicBezTo>
                <a:cubicBezTo>
                  <a:pt x="242" y="309"/>
                  <a:pt x="242" y="309"/>
                  <a:pt x="242" y="309"/>
                </a:cubicBezTo>
                <a:cubicBezTo>
                  <a:pt x="242" y="309"/>
                  <a:pt x="242" y="310"/>
                  <a:pt x="241" y="310"/>
                </a:cubicBezTo>
                <a:cubicBezTo>
                  <a:pt x="241" y="310"/>
                  <a:pt x="241" y="310"/>
                  <a:pt x="241" y="310"/>
                </a:cubicBezTo>
                <a:cubicBezTo>
                  <a:pt x="241" y="310"/>
                  <a:pt x="241" y="310"/>
                  <a:pt x="241" y="310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3" y="310"/>
                  <a:pt x="243" y="311"/>
                  <a:pt x="243" y="311"/>
                </a:cubicBezTo>
                <a:cubicBezTo>
                  <a:pt x="243" y="311"/>
                  <a:pt x="244" y="311"/>
                  <a:pt x="244" y="311"/>
                </a:cubicBezTo>
                <a:cubicBezTo>
                  <a:pt x="244" y="311"/>
                  <a:pt x="244" y="311"/>
                  <a:pt x="245" y="311"/>
                </a:cubicBezTo>
                <a:cubicBezTo>
                  <a:pt x="244" y="311"/>
                  <a:pt x="244" y="311"/>
                  <a:pt x="244" y="311"/>
                </a:cubicBezTo>
                <a:cubicBezTo>
                  <a:pt x="244" y="311"/>
                  <a:pt x="244" y="311"/>
                  <a:pt x="243" y="311"/>
                </a:cubicBezTo>
                <a:cubicBezTo>
                  <a:pt x="243" y="312"/>
                  <a:pt x="243" y="312"/>
                  <a:pt x="243" y="312"/>
                </a:cubicBezTo>
                <a:cubicBezTo>
                  <a:pt x="243" y="312"/>
                  <a:pt x="243" y="313"/>
                  <a:pt x="243" y="313"/>
                </a:cubicBezTo>
                <a:cubicBezTo>
                  <a:pt x="244" y="313"/>
                  <a:pt x="244" y="313"/>
                  <a:pt x="245" y="314"/>
                </a:cubicBezTo>
                <a:cubicBezTo>
                  <a:pt x="245" y="314"/>
                  <a:pt x="245" y="314"/>
                  <a:pt x="246" y="314"/>
                </a:cubicBezTo>
                <a:cubicBezTo>
                  <a:pt x="246" y="313"/>
                  <a:pt x="246" y="313"/>
                  <a:pt x="247" y="313"/>
                </a:cubicBezTo>
                <a:cubicBezTo>
                  <a:pt x="247" y="313"/>
                  <a:pt x="247" y="313"/>
                  <a:pt x="248" y="313"/>
                </a:cubicBezTo>
                <a:cubicBezTo>
                  <a:pt x="247" y="313"/>
                  <a:pt x="247" y="314"/>
                  <a:pt x="247" y="314"/>
                </a:cubicBezTo>
                <a:cubicBezTo>
                  <a:pt x="246" y="314"/>
                  <a:pt x="246" y="314"/>
                  <a:pt x="245" y="314"/>
                </a:cubicBezTo>
                <a:cubicBezTo>
                  <a:pt x="245" y="314"/>
                  <a:pt x="245" y="314"/>
                  <a:pt x="245" y="315"/>
                </a:cubicBezTo>
                <a:cubicBezTo>
                  <a:pt x="245" y="315"/>
                  <a:pt x="244" y="315"/>
                  <a:pt x="244" y="316"/>
                </a:cubicBezTo>
                <a:cubicBezTo>
                  <a:pt x="244" y="316"/>
                  <a:pt x="244" y="317"/>
                  <a:pt x="243" y="318"/>
                </a:cubicBezTo>
                <a:cubicBezTo>
                  <a:pt x="243" y="318"/>
                  <a:pt x="243" y="318"/>
                  <a:pt x="242" y="319"/>
                </a:cubicBezTo>
                <a:cubicBezTo>
                  <a:pt x="242" y="319"/>
                  <a:pt x="242" y="319"/>
                  <a:pt x="243" y="319"/>
                </a:cubicBezTo>
                <a:cubicBezTo>
                  <a:pt x="243" y="319"/>
                  <a:pt x="243" y="320"/>
                  <a:pt x="243" y="320"/>
                </a:cubicBezTo>
                <a:cubicBezTo>
                  <a:pt x="244" y="319"/>
                  <a:pt x="244" y="319"/>
                  <a:pt x="244" y="319"/>
                </a:cubicBezTo>
                <a:cubicBezTo>
                  <a:pt x="244" y="318"/>
                  <a:pt x="244" y="318"/>
                  <a:pt x="244" y="317"/>
                </a:cubicBezTo>
                <a:cubicBezTo>
                  <a:pt x="244" y="317"/>
                  <a:pt x="244" y="317"/>
                  <a:pt x="244" y="317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316"/>
                  <a:pt x="246" y="316"/>
                  <a:pt x="246" y="315"/>
                </a:cubicBezTo>
                <a:cubicBezTo>
                  <a:pt x="246" y="315"/>
                  <a:pt x="246" y="316"/>
                  <a:pt x="246" y="316"/>
                </a:cubicBezTo>
                <a:cubicBezTo>
                  <a:pt x="247" y="315"/>
                  <a:pt x="247" y="315"/>
                  <a:pt x="247" y="315"/>
                </a:cubicBezTo>
                <a:cubicBezTo>
                  <a:pt x="248" y="315"/>
                  <a:pt x="248" y="315"/>
                  <a:pt x="248" y="315"/>
                </a:cubicBezTo>
                <a:cubicBezTo>
                  <a:pt x="248" y="315"/>
                  <a:pt x="248" y="315"/>
                  <a:pt x="248" y="316"/>
                </a:cubicBezTo>
                <a:cubicBezTo>
                  <a:pt x="248" y="316"/>
                  <a:pt x="248" y="316"/>
                  <a:pt x="248" y="316"/>
                </a:cubicBezTo>
                <a:cubicBezTo>
                  <a:pt x="249" y="316"/>
                  <a:pt x="249" y="315"/>
                  <a:pt x="249" y="315"/>
                </a:cubicBezTo>
                <a:cubicBezTo>
                  <a:pt x="249" y="315"/>
                  <a:pt x="249" y="315"/>
                  <a:pt x="250" y="316"/>
                </a:cubicBezTo>
                <a:cubicBezTo>
                  <a:pt x="249" y="316"/>
                  <a:pt x="249" y="316"/>
                  <a:pt x="249" y="317"/>
                </a:cubicBezTo>
                <a:cubicBezTo>
                  <a:pt x="249" y="317"/>
                  <a:pt x="249" y="317"/>
                  <a:pt x="249" y="317"/>
                </a:cubicBezTo>
                <a:cubicBezTo>
                  <a:pt x="249" y="317"/>
                  <a:pt x="249" y="317"/>
                  <a:pt x="249" y="318"/>
                </a:cubicBezTo>
                <a:cubicBezTo>
                  <a:pt x="249" y="318"/>
                  <a:pt x="249" y="318"/>
                  <a:pt x="249" y="319"/>
                </a:cubicBezTo>
                <a:cubicBezTo>
                  <a:pt x="249" y="319"/>
                  <a:pt x="249" y="319"/>
                  <a:pt x="249" y="319"/>
                </a:cubicBezTo>
                <a:cubicBezTo>
                  <a:pt x="249" y="319"/>
                  <a:pt x="249" y="319"/>
                  <a:pt x="249" y="319"/>
                </a:cubicBezTo>
                <a:cubicBezTo>
                  <a:pt x="249" y="320"/>
                  <a:pt x="249" y="320"/>
                  <a:pt x="250" y="320"/>
                </a:cubicBezTo>
                <a:cubicBezTo>
                  <a:pt x="249" y="320"/>
                  <a:pt x="249" y="320"/>
                  <a:pt x="249" y="320"/>
                </a:cubicBezTo>
                <a:cubicBezTo>
                  <a:pt x="249" y="320"/>
                  <a:pt x="248" y="320"/>
                  <a:pt x="248" y="320"/>
                </a:cubicBezTo>
                <a:cubicBezTo>
                  <a:pt x="248" y="321"/>
                  <a:pt x="248" y="321"/>
                  <a:pt x="247" y="321"/>
                </a:cubicBezTo>
                <a:cubicBezTo>
                  <a:pt x="247" y="321"/>
                  <a:pt x="247" y="321"/>
                  <a:pt x="247" y="321"/>
                </a:cubicBezTo>
                <a:cubicBezTo>
                  <a:pt x="248" y="321"/>
                  <a:pt x="248" y="321"/>
                  <a:pt x="248" y="321"/>
                </a:cubicBezTo>
                <a:cubicBezTo>
                  <a:pt x="248" y="321"/>
                  <a:pt x="249" y="321"/>
                  <a:pt x="249" y="321"/>
                </a:cubicBezTo>
                <a:cubicBezTo>
                  <a:pt x="249" y="321"/>
                  <a:pt x="249" y="321"/>
                  <a:pt x="250" y="320"/>
                </a:cubicBezTo>
                <a:cubicBezTo>
                  <a:pt x="250" y="321"/>
                  <a:pt x="250" y="321"/>
                  <a:pt x="250" y="321"/>
                </a:cubicBezTo>
                <a:cubicBezTo>
                  <a:pt x="250" y="321"/>
                  <a:pt x="250" y="321"/>
                  <a:pt x="249" y="321"/>
                </a:cubicBezTo>
                <a:cubicBezTo>
                  <a:pt x="249" y="322"/>
                  <a:pt x="249" y="322"/>
                  <a:pt x="249" y="322"/>
                </a:cubicBezTo>
                <a:cubicBezTo>
                  <a:pt x="248" y="322"/>
                  <a:pt x="248" y="322"/>
                  <a:pt x="248" y="322"/>
                </a:cubicBezTo>
                <a:cubicBezTo>
                  <a:pt x="248" y="322"/>
                  <a:pt x="248" y="322"/>
                  <a:pt x="248" y="322"/>
                </a:cubicBezTo>
                <a:cubicBezTo>
                  <a:pt x="248" y="323"/>
                  <a:pt x="248" y="323"/>
                  <a:pt x="248" y="323"/>
                </a:cubicBezTo>
                <a:cubicBezTo>
                  <a:pt x="248" y="323"/>
                  <a:pt x="248" y="324"/>
                  <a:pt x="249" y="324"/>
                </a:cubicBezTo>
                <a:cubicBezTo>
                  <a:pt x="249" y="324"/>
                  <a:pt x="249" y="323"/>
                  <a:pt x="249" y="323"/>
                </a:cubicBezTo>
                <a:cubicBezTo>
                  <a:pt x="249" y="323"/>
                  <a:pt x="249" y="323"/>
                  <a:pt x="249" y="323"/>
                </a:cubicBezTo>
                <a:cubicBezTo>
                  <a:pt x="249" y="323"/>
                  <a:pt x="250" y="323"/>
                  <a:pt x="250" y="323"/>
                </a:cubicBezTo>
                <a:cubicBezTo>
                  <a:pt x="250" y="322"/>
                  <a:pt x="250" y="322"/>
                  <a:pt x="251" y="322"/>
                </a:cubicBezTo>
                <a:cubicBezTo>
                  <a:pt x="251" y="321"/>
                  <a:pt x="251" y="321"/>
                  <a:pt x="252" y="320"/>
                </a:cubicBezTo>
                <a:cubicBezTo>
                  <a:pt x="252" y="320"/>
                  <a:pt x="252" y="319"/>
                  <a:pt x="252" y="319"/>
                </a:cubicBezTo>
                <a:cubicBezTo>
                  <a:pt x="252" y="318"/>
                  <a:pt x="252" y="318"/>
                  <a:pt x="252" y="317"/>
                </a:cubicBezTo>
                <a:cubicBezTo>
                  <a:pt x="252" y="317"/>
                  <a:pt x="252" y="316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6"/>
                </a:cubicBezTo>
                <a:cubicBezTo>
                  <a:pt x="253" y="317"/>
                  <a:pt x="253" y="317"/>
                  <a:pt x="252" y="318"/>
                </a:cubicBezTo>
                <a:cubicBezTo>
                  <a:pt x="252" y="318"/>
                  <a:pt x="253" y="319"/>
                  <a:pt x="253" y="319"/>
                </a:cubicBezTo>
                <a:cubicBezTo>
                  <a:pt x="252" y="320"/>
                  <a:pt x="252" y="320"/>
                  <a:pt x="252" y="321"/>
                </a:cubicBezTo>
                <a:cubicBezTo>
                  <a:pt x="252" y="321"/>
                  <a:pt x="252" y="321"/>
                  <a:pt x="252" y="321"/>
                </a:cubicBezTo>
                <a:cubicBezTo>
                  <a:pt x="252" y="321"/>
                  <a:pt x="252" y="321"/>
                  <a:pt x="252" y="321"/>
                </a:cubicBezTo>
                <a:cubicBezTo>
                  <a:pt x="253" y="320"/>
                  <a:pt x="253" y="320"/>
                  <a:pt x="254" y="319"/>
                </a:cubicBezTo>
                <a:cubicBezTo>
                  <a:pt x="254" y="319"/>
                  <a:pt x="254" y="318"/>
                  <a:pt x="253" y="318"/>
                </a:cubicBezTo>
                <a:cubicBezTo>
                  <a:pt x="254" y="318"/>
                  <a:pt x="254" y="317"/>
                  <a:pt x="254" y="317"/>
                </a:cubicBezTo>
                <a:cubicBezTo>
                  <a:pt x="255" y="317"/>
                  <a:pt x="255" y="317"/>
                  <a:pt x="255" y="317"/>
                </a:cubicBezTo>
                <a:cubicBezTo>
                  <a:pt x="255" y="317"/>
                  <a:pt x="255" y="317"/>
                  <a:pt x="256" y="317"/>
                </a:cubicBezTo>
                <a:cubicBezTo>
                  <a:pt x="256" y="317"/>
                  <a:pt x="256" y="317"/>
                  <a:pt x="256" y="317"/>
                </a:cubicBezTo>
                <a:cubicBezTo>
                  <a:pt x="255" y="318"/>
                  <a:pt x="255" y="318"/>
                  <a:pt x="254" y="319"/>
                </a:cubicBezTo>
                <a:cubicBezTo>
                  <a:pt x="254" y="319"/>
                  <a:pt x="254" y="319"/>
                  <a:pt x="254" y="319"/>
                </a:cubicBezTo>
                <a:cubicBezTo>
                  <a:pt x="254" y="320"/>
                  <a:pt x="253" y="320"/>
                  <a:pt x="253" y="321"/>
                </a:cubicBezTo>
                <a:cubicBezTo>
                  <a:pt x="253" y="321"/>
                  <a:pt x="253" y="321"/>
                  <a:pt x="253" y="321"/>
                </a:cubicBezTo>
                <a:cubicBezTo>
                  <a:pt x="253" y="321"/>
                  <a:pt x="254" y="321"/>
                  <a:pt x="254" y="321"/>
                </a:cubicBezTo>
                <a:cubicBezTo>
                  <a:pt x="254" y="321"/>
                  <a:pt x="254" y="321"/>
                  <a:pt x="253" y="322"/>
                </a:cubicBezTo>
                <a:cubicBezTo>
                  <a:pt x="253" y="322"/>
                  <a:pt x="253" y="322"/>
                  <a:pt x="252" y="322"/>
                </a:cubicBezTo>
                <a:cubicBezTo>
                  <a:pt x="252" y="322"/>
                  <a:pt x="252" y="322"/>
                  <a:pt x="251" y="322"/>
                </a:cubicBezTo>
                <a:cubicBezTo>
                  <a:pt x="251" y="323"/>
                  <a:pt x="251" y="323"/>
                  <a:pt x="251" y="323"/>
                </a:cubicBezTo>
                <a:cubicBezTo>
                  <a:pt x="251" y="324"/>
                  <a:pt x="251" y="324"/>
                  <a:pt x="251" y="324"/>
                </a:cubicBezTo>
                <a:cubicBezTo>
                  <a:pt x="251" y="325"/>
                  <a:pt x="251" y="325"/>
                  <a:pt x="251" y="325"/>
                </a:cubicBezTo>
                <a:cubicBezTo>
                  <a:pt x="251" y="325"/>
                  <a:pt x="251" y="325"/>
                  <a:pt x="250" y="325"/>
                </a:cubicBezTo>
                <a:cubicBezTo>
                  <a:pt x="250" y="325"/>
                  <a:pt x="250" y="325"/>
                  <a:pt x="250" y="325"/>
                </a:cubicBezTo>
                <a:cubicBezTo>
                  <a:pt x="250" y="325"/>
                  <a:pt x="249" y="325"/>
                  <a:pt x="249" y="326"/>
                </a:cubicBezTo>
                <a:cubicBezTo>
                  <a:pt x="249" y="326"/>
                  <a:pt x="249" y="326"/>
                  <a:pt x="250" y="327"/>
                </a:cubicBezTo>
                <a:cubicBezTo>
                  <a:pt x="250" y="326"/>
                  <a:pt x="250" y="326"/>
                  <a:pt x="251" y="326"/>
                </a:cubicBezTo>
                <a:cubicBezTo>
                  <a:pt x="251" y="326"/>
                  <a:pt x="251" y="327"/>
                  <a:pt x="251" y="327"/>
                </a:cubicBezTo>
                <a:cubicBezTo>
                  <a:pt x="251" y="327"/>
                  <a:pt x="251" y="327"/>
                  <a:pt x="251" y="328"/>
                </a:cubicBezTo>
                <a:cubicBezTo>
                  <a:pt x="251" y="329"/>
                  <a:pt x="251" y="329"/>
                  <a:pt x="251" y="330"/>
                </a:cubicBezTo>
                <a:cubicBezTo>
                  <a:pt x="252" y="330"/>
                  <a:pt x="252" y="330"/>
                  <a:pt x="252" y="331"/>
                </a:cubicBezTo>
                <a:cubicBezTo>
                  <a:pt x="253" y="331"/>
                  <a:pt x="253" y="331"/>
                  <a:pt x="254" y="331"/>
                </a:cubicBezTo>
                <a:cubicBezTo>
                  <a:pt x="254" y="331"/>
                  <a:pt x="254" y="331"/>
                  <a:pt x="254" y="331"/>
                </a:cubicBezTo>
                <a:cubicBezTo>
                  <a:pt x="254" y="331"/>
                  <a:pt x="254" y="331"/>
                  <a:pt x="254" y="331"/>
                </a:cubicBezTo>
                <a:cubicBezTo>
                  <a:pt x="254" y="330"/>
                  <a:pt x="255" y="330"/>
                  <a:pt x="255" y="330"/>
                </a:cubicBezTo>
                <a:cubicBezTo>
                  <a:pt x="255" y="329"/>
                  <a:pt x="256" y="329"/>
                  <a:pt x="256" y="329"/>
                </a:cubicBezTo>
                <a:cubicBezTo>
                  <a:pt x="256" y="328"/>
                  <a:pt x="257" y="328"/>
                  <a:pt x="257" y="328"/>
                </a:cubicBezTo>
                <a:cubicBezTo>
                  <a:pt x="257" y="328"/>
                  <a:pt x="257" y="327"/>
                  <a:pt x="258" y="327"/>
                </a:cubicBezTo>
                <a:cubicBezTo>
                  <a:pt x="258" y="327"/>
                  <a:pt x="258" y="327"/>
                  <a:pt x="258" y="327"/>
                </a:cubicBezTo>
                <a:cubicBezTo>
                  <a:pt x="258" y="327"/>
                  <a:pt x="258" y="327"/>
                  <a:pt x="258" y="327"/>
                </a:cubicBezTo>
                <a:cubicBezTo>
                  <a:pt x="258" y="328"/>
                  <a:pt x="258" y="328"/>
                  <a:pt x="258" y="328"/>
                </a:cubicBezTo>
                <a:cubicBezTo>
                  <a:pt x="258" y="328"/>
                  <a:pt x="258" y="328"/>
                  <a:pt x="258" y="328"/>
                </a:cubicBezTo>
                <a:cubicBezTo>
                  <a:pt x="258" y="329"/>
                  <a:pt x="257" y="329"/>
                  <a:pt x="257" y="329"/>
                </a:cubicBezTo>
                <a:cubicBezTo>
                  <a:pt x="257" y="330"/>
                  <a:pt x="257" y="330"/>
                  <a:pt x="257" y="330"/>
                </a:cubicBezTo>
                <a:cubicBezTo>
                  <a:pt x="258" y="330"/>
                  <a:pt x="258" y="330"/>
                  <a:pt x="259" y="330"/>
                </a:cubicBezTo>
                <a:cubicBezTo>
                  <a:pt x="259" y="330"/>
                  <a:pt x="259" y="330"/>
                  <a:pt x="259" y="330"/>
                </a:cubicBezTo>
                <a:cubicBezTo>
                  <a:pt x="260" y="330"/>
                  <a:pt x="260" y="330"/>
                  <a:pt x="260" y="330"/>
                </a:cubicBezTo>
                <a:cubicBezTo>
                  <a:pt x="261" y="330"/>
                  <a:pt x="261" y="330"/>
                  <a:pt x="261" y="330"/>
                </a:cubicBezTo>
                <a:cubicBezTo>
                  <a:pt x="262" y="330"/>
                  <a:pt x="262" y="330"/>
                  <a:pt x="262" y="330"/>
                </a:cubicBezTo>
                <a:cubicBezTo>
                  <a:pt x="261" y="330"/>
                  <a:pt x="261" y="330"/>
                  <a:pt x="261" y="330"/>
                </a:cubicBezTo>
                <a:cubicBezTo>
                  <a:pt x="260" y="330"/>
                  <a:pt x="260" y="330"/>
                  <a:pt x="259" y="330"/>
                </a:cubicBezTo>
                <a:cubicBezTo>
                  <a:pt x="259" y="330"/>
                  <a:pt x="259" y="330"/>
                  <a:pt x="258" y="330"/>
                </a:cubicBezTo>
                <a:cubicBezTo>
                  <a:pt x="258" y="331"/>
                  <a:pt x="257" y="331"/>
                  <a:pt x="257" y="331"/>
                </a:cubicBezTo>
                <a:cubicBezTo>
                  <a:pt x="257" y="331"/>
                  <a:pt x="257" y="331"/>
                  <a:pt x="257" y="332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57" y="332"/>
                  <a:pt x="257" y="332"/>
                  <a:pt x="258" y="332"/>
                </a:cubicBezTo>
                <a:cubicBezTo>
                  <a:pt x="258" y="333"/>
                  <a:pt x="258" y="333"/>
                  <a:pt x="258" y="334"/>
                </a:cubicBezTo>
                <a:cubicBezTo>
                  <a:pt x="259" y="334"/>
                  <a:pt x="259" y="334"/>
                  <a:pt x="259" y="334"/>
                </a:cubicBezTo>
                <a:cubicBezTo>
                  <a:pt x="259" y="334"/>
                  <a:pt x="259" y="334"/>
                  <a:pt x="259" y="334"/>
                </a:cubicBezTo>
                <a:cubicBezTo>
                  <a:pt x="260" y="334"/>
                  <a:pt x="260" y="333"/>
                  <a:pt x="260" y="333"/>
                </a:cubicBezTo>
                <a:cubicBezTo>
                  <a:pt x="260" y="333"/>
                  <a:pt x="261" y="333"/>
                  <a:pt x="261" y="333"/>
                </a:cubicBezTo>
                <a:cubicBezTo>
                  <a:pt x="261" y="334"/>
                  <a:pt x="260" y="334"/>
                  <a:pt x="260" y="334"/>
                </a:cubicBezTo>
                <a:cubicBezTo>
                  <a:pt x="260" y="334"/>
                  <a:pt x="260" y="334"/>
                  <a:pt x="260" y="334"/>
                </a:cubicBezTo>
                <a:cubicBezTo>
                  <a:pt x="261" y="334"/>
                  <a:pt x="261" y="334"/>
                  <a:pt x="261" y="334"/>
                </a:cubicBezTo>
                <a:cubicBezTo>
                  <a:pt x="261" y="334"/>
                  <a:pt x="261" y="335"/>
                  <a:pt x="261" y="335"/>
                </a:cubicBezTo>
                <a:cubicBezTo>
                  <a:pt x="261" y="335"/>
                  <a:pt x="261" y="335"/>
                  <a:pt x="261" y="335"/>
                </a:cubicBezTo>
                <a:cubicBezTo>
                  <a:pt x="261" y="335"/>
                  <a:pt x="260" y="335"/>
                  <a:pt x="260" y="335"/>
                </a:cubicBezTo>
                <a:cubicBezTo>
                  <a:pt x="260" y="335"/>
                  <a:pt x="259" y="336"/>
                  <a:pt x="259" y="336"/>
                </a:cubicBezTo>
                <a:cubicBezTo>
                  <a:pt x="259" y="336"/>
                  <a:pt x="258" y="337"/>
                  <a:pt x="258" y="337"/>
                </a:cubicBezTo>
                <a:cubicBezTo>
                  <a:pt x="258" y="337"/>
                  <a:pt x="258" y="337"/>
                  <a:pt x="258" y="337"/>
                </a:cubicBezTo>
                <a:cubicBezTo>
                  <a:pt x="258" y="337"/>
                  <a:pt x="258" y="337"/>
                  <a:pt x="259" y="337"/>
                </a:cubicBezTo>
                <a:cubicBezTo>
                  <a:pt x="259" y="337"/>
                  <a:pt x="260" y="337"/>
                  <a:pt x="260" y="337"/>
                </a:cubicBezTo>
                <a:cubicBezTo>
                  <a:pt x="260" y="336"/>
                  <a:pt x="261" y="336"/>
                  <a:pt x="261" y="336"/>
                </a:cubicBezTo>
                <a:cubicBezTo>
                  <a:pt x="261" y="337"/>
                  <a:pt x="260" y="337"/>
                  <a:pt x="260" y="337"/>
                </a:cubicBezTo>
                <a:cubicBezTo>
                  <a:pt x="260" y="337"/>
                  <a:pt x="260" y="337"/>
                  <a:pt x="260" y="337"/>
                </a:cubicBezTo>
                <a:cubicBezTo>
                  <a:pt x="260" y="337"/>
                  <a:pt x="261" y="337"/>
                  <a:pt x="261" y="338"/>
                </a:cubicBezTo>
                <a:cubicBezTo>
                  <a:pt x="261" y="337"/>
                  <a:pt x="262" y="337"/>
                  <a:pt x="262" y="337"/>
                </a:cubicBezTo>
                <a:cubicBezTo>
                  <a:pt x="263" y="336"/>
                  <a:pt x="263" y="336"/>
                  <a:pt x="264" y="335"/>
                </a:cubicBezTo>
                <a:cubicBezTo>
                  <a:pt x="264" y="335"/>
                  <a:pt x="264" y="335"/>
                  <a:pt x="264" y="334"/>
                </a:cubicBezTo>
                <a:cubicBezTo>
                  <a:pt x="265" y="334"/>
                  <a:pt x="265" y="334"/>
                  <a:pt x="265" y="334"/>
                </a:cubicBezTo>
                <a:cubicBezTo>
                  <a:pt x="265" y="333"/>
                  <a:pt x="266" y="333"/>
                  <a:pt x="266" y="333"/>
                </a:cubicBezTo>
                <a:cubicBezTo>
                  <a:pt x="266" y="333"/>
                  <a:pt x="266" y="332"/>
                  <a:pt x="266" y="332"/>
                </a:cubicBezTo>
                <a:cubicBezTo>
                  <a:pt x="266" y="332"/>
                  <a:pt x="266" y="332"/>
                  <a:pt x="266" y="332"/>
                </a:cubicBezTo>
                <a:cubicBezTo>
                  <a:pt x="266" y="332"/>
                  <a:pt x="267" y="332"/>
                  <a:pt x="267" y="332"/>
                </a:cubicBezTo>
                <a:cubicBezTo>
                  <a:pt x="267" y="333"/>
                  <a:pt x="266" y="333"/>
                  <a:pt x="266" y="333"/>
                </a:cubicBezTo>
                <a:cubicBezTo>
                  <a:pt x="266" y="334"/>
                  <a:pt x="266" y="334"/>
                  <a:pt x="265" y="334"/>
                </a:cubicBezTo>
                <a:cubicBezTo>
                  <a:pt x="265" y="335"/>
                  <a:pt x="265" y="335"/>
                  <a:pt x="264" y="335"/>
                </a:cubicBezTo>
                <a:cubicBezTo>
                  <a:pt x="264" y="335"/>
                  <a:pt x="264" y="335"/>
                  <a:pt x="264" y="336"/>
                </a:cubicBezTo>
                <a:cubicBezTo>
                  <a:pt x="265" y="336"/>
                  <a:pt x="265" y="336"/>
                  <a:pt x="265" y="336"/>
                </a:cubicBezTo>
                <a:cubicBezTo>
                  <a:pt x="265" y="336"/>
                  <a:pt x="265" y="335"/>
                  <a:pt x="266" y="335"/>
                </a:cubicBezTo>
                <a:cubicBezTo>
                  <a:pt x="266" y="335"/>
                  <a:pt x="266" y="335"/>
                  <a:pt x="267" y="335"/>
                </a:cubicBezTo>
                <a:cubicBezTo>
                  <a:pt x="267" y="335"/>
                  <a:pt x="268" y="335"/>
                  <a:pt x="268" y="335"/>
                </a:cubicBezTo>
                <a:cubicBezTo>
                  <a:pt x="268" y="335"/>
                  <a:pt x="267" y="335"/>
                  <a:pt x="267" y="335"/>
                </a:cubicBezTo>
                <a:cubicBezTo>
                  <a:pt x="266" y="335"/>
                  <a:pt x="266" y="336"/>
                  <a:pt x="266" y="336"/>
                </a:cubicBezTo>
                <a:cubicBezTo>
                  <a:pt x="266" y="336"/>
                  <a:pt x="266" y="336"/>
                  <a:pt x="266" y="337"/>
                </a:cubicBezTo>
                <a:cubicBezTo>
                  <a:pt x="266" y="337"/>
                  <a:pt x="267" y="337"/>
                  <a:pt x="267" y="337"/>
                </a:cubicBezTo>
                <a:cubicBezTo>
                  <a:pt x="267" y="338"/>
                  <a:pt x="267" y="338"/>
                  <a:pt x="267" y="338"/>
                </a:cubicBezTo>
                <a:cubicBezTo>
                  <a:pt x="266" y="338"/>
                  <a:pt x="266" y="338"/>
                  <a:pt x="266" y="337"/>
                </a:cubicBezTo>
                <a:cubicBezTo>
                  <a:pt x="266" y="337"/>
                  <a:pt x="266" y="337"/>
                  <a:pt x="265" y="337"/>
                </a:cubicBezTo>
                <a:cubicBezTo>
                  <a:pt x="265" y="336"/>
                  <a:pt x="265" y="336"/>
                  <a:pt x="265" y="336"/>
                </a:cubicBezTo>
                <a:cubicBezTo>
                  <a:pt x="265" y="336"/>
                  <a:pt x="264" y="337"/>
                  <a:pt x="264" y="337"/>
                </a:cubicBezTo>
                <a:cubicBezTo>
                  <a:pt x="264" y="338"/>
                  <a:pt x="263" y="338"/>
                  <a:pt x="262" y="339"/>
                </a:cubicBezTo>
                <a:cubicBezTo>
                  <a:pt x="262" y="339"/>
                  <a:pt x="262" y="339"/>
                  <a:pt x="262" y="340"/>
                </a:cubicBezTo>
                <a:cubicBezTo>
                  <a:pt x="261" y="340"/>
                  <a:pt x="261" y="340"/>
                  <a:pt x="261" y="341"/>
                </a:cubicBezTo>
                <a:cubicBezTo>
                  <a:pt x="261" y="341"/>
                  <a:pt x="261" y="341"/>
                  <a:pt x="261" y="341"/>
                </a:cubicBezTo>
                <a:cubicBezTo>
                  <a:pt x="261" y="341"/>
                  <a:pt x="261" y="342"/>
                  <a:pt x="261" y="342"/>
                </a:cubicBezTo>
                <a:cubicBezTo>
                  <a:pt x="261" y="342"/>
                  <a:pt x="261" y="342"/>
                  <a:pt x="261" y="342"/>
                </a:cubicBezTo>
                <a:cubicBezTo>
                  <a:pt x="261" y="342"/>
                  <a:pt x="261" y="342"/>
                  <a:pt x="261" y="342"/>
                </a:cubicBezTo>
                <a:cubicBezTo>
                  <a:pt x="262" y="342"/>
                  <a:pt x="262" y="342"/>
                  <a:pt x="262" y="342"/>
                </a:cubicBezTo>
                <a:cubicBezTo>
                  <a:pt x="262" y="341"/>
                  <a:pt x="263" y="341"/>
                  <a:pt x="263" y="341"/>
                </a:cubicBezTo>
                <a:cubicBezTo>
                  <a:pt x="263" y="341"/>
                  <a:pt x="263" y="341"/>
                  <a:pt x="263" y="340"/>
                </a:cubicBezTo>
                <a:cubicBezTo>
                  <a:pt x="263" y="340"/>
                  <a:pt x="264" y="340"/>
                  <a:pt x="264" y="340"/>
                </a:cubicBezTo>
                <a:cubicBezTo>
                  <a:pt x="264" y="340"/>
                  <a:pt x="264" y="340"/>
                  <a:pt x="264" y="340"/>
                </a:cubicBezTo>
                <a:cubicBezTo>
                  <a:pt x="265" y="340"/>
                  <a:pt x="265" y="340"/>
                  <a:pt x="266" y="340"/>
                </a:cubicBezTo>
                <a:cubicBezTo>
                  <a:pt x="266" y="340"/>
                  <a:pt x="266" y="340"/>
                  <a:pt x="266" y="340"/>
                </a:cubicBezTo>
                <a:cubicBezTo>
                  <a:pt x="265" y="340"/>
                  <a:pt x="265" y="340"/>
                  <a:pt x="265" y="340"/>
                </a:cubicBezTo>
                <a:cubicBezTo>
                  <a:pt x="264" y="341"/>
                  <a:pt x="264" y="341"/>
                  <a:pt x="264" y="341"/>
                </a:cubicBezTo>
                <a:cubicBezTo>
                  <a:pt x="263" y="341"/>
                  <a:pt x="263" y="341"/>
                  <a:pt x="263" y="342"/>
                </a:cubicBezTo>
                <a:cubicBezTo>
                  <a:pt x="263" y="342"/>
                  <a:pt x="263" y="342"/>
                  <a:pt x="263" y="342"/>
                </a:cubicBezTo>
                <a:cubicBezTo>
                  <a:pt x="263" y="342"/>
                  <a:pt x="263" y="342"/>
                  <a:pt x="264" y="342"/>
                </a:cubicBezTo>
                <a:cubicBezTo>
                  <a:pt x="263" y="342"/>
                  <a:pt x="263" y="342"/>
                  <a:pt x="263" y="342"/>
                </a:cubicBezTo>
                <a:cubicBezTo>
                  <a:pt x="263" y="342"/>
                  <a:pt x="263" y="343"/>
                  <a:pt x="262" y="343"/>
                </a:cubicBezTo>
                <a:cubicBezTo>
                  <a:pt x="262" y="343"/>
                  <a:pt x="261" y="343"/>
                  <a:pt x="261" y="343"/>
                </a:cubicBezTo>
                <a:cubicBezTo>
                  <a:pt x="261" y="343"/>
                  <a:pt x="261" y="344"/>
                  <a:pt x="261" y="344"/>
                </a:cubicBezTo>
                <a:cubicBezTo>
                  <a:pt x="261" y="343"/>
                  <a:pt x="262" y="343"/>
                  <a:pt x="262" y="343"/>
                </a:cubicBezTo>
                <a:cubicBezTo>
                  <a:pt x="262" y="343"/>
                  <a:pt x="263" y="343"/>
                  <a:pt x="263" y="343"/>
                </a:cubicBezTo>
                <a:cubicBezTo>
                  <a:pt x="263" y="343"/>
                  <a:pt x="264" y="343"/>
                  <a:pt x="264" y="343"/>
                </a:cubicBezTo>
                <a:cubicBezTo>
                  <a:pt x="264" y="343"/>
                  <a:pt x="264" y="343"/>
                  <a:pt x="264" y="343"/>
                </a:cubicBezTo>
                <a:cubicBezTo>
                  <a:pt x="263" y="343"/>
                  <a:pt x="263" y="344"/>
                  <a:pt x="263" y="344"/>
                </a:cubicBezTo>
                <a:cubicBezTo>
                  <a:pt x="262" y="344"/>
                  <a:pt x="262" y="344"/>
                  <a:pt x="262" y="344"/>
                </a:cubicBezTo>
                <a:cubicBezTo>
                  <a:pt x="261" y="344"/>
                  <a:pt x="261" y="344"/>
                  <a:pt x="261" y="344"/>
                </a:cubicBezTo>
                <a:cubicBezTo>
                  <a:pt x="261" y="344"/>
                  <a:pt x="261" y="345"/>
                  <a:pt x="261" y="345"/>
                </a:cubicBezTo>
                <a:cubicBezTo>
                  <a:pt x="261" y="345"/>
                  <a:pt x="261" y="345"/>
                  <a:pt x="262" y="345"/>
                </a:cubicBezTo>
                <a:cubicBezTo>
                  <a:pt x="262" y="345"/>
                  <a:pt x="262" y="345"/>
                  <a:pt x="262" y="345"/>
                </a:cubicBezTo>
                <a:cubicBezTo>
                  <a:pt x="263" y="344"/>
                  <a:pt x="263" y="344"/>
                  <a:pt x="263" y="344"/>
                </a:cubicBezTo>
                <a:cubicBezTo>
                  <a:pt x="264" y="344"/>
                  <a:pt x="264" y="344"/>
                  <a:pt x="264" y="344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65" y="344"/>
                  <a:pt x="265" y="344"/>
                  <a:pt x="264" y="344"/>
                </a:cubicBezTo>
                <a:cubicBezTo>
                  <a:pt x="264" y="344"/>
                  <a:pt x="264" y="345"/>
                  <a:pt x="263" y="345"/>
                </a:cubicBezTo>
                <a:cubicBezTo>
                  <a:pt x="263" y="345"/>
                  <a:pt x="263" y="345"/>
                  <a:pt x="263" y="345"/>
                </a:cubicBezTo>
                <a:cubicBezTo>
                  <a:pt x="263" y="345"/>
                  <a:pt x="264" y="345"/>
                  <a:pt x="264" y="345"/>
                </a:cubicBezTo>
                <a:cubicBezTo>
                  <a:pt x="264" y="345"/>
                  <a:pt x="265" y="345"/>
                  <a:pt x="265" y="344"/>
                </a:cubicBezTo>
                <a:cubicBezTo>
                  <a:pt x="265" y="344"/>
                  <a:pt x="266" y="344"/>
                  <a:pt x="266" y="344"/>
                </a:cubicBezTo>
                <a:cubicBezTo>
                  <a:pt x="266" y="344"/>
                  <a:pt x="266" y="344"/>
                  <a:pt x="266" y="345"/>
                </a:cubicBezTo>
                <a:cubicBezTo>
                  <a:pt x="265" y="345"/>
                  <a:pt x="265" y="345"/>
                  <a:pt x="265" y="345"/>
                </a:cubicBezTo>
                <a:cubicBezTo>
                  <a:pt x="264" y="345"/>
                  <a:pt x="264" y="345"/>
                  <a:pt x="263" y="345"/>
                </a:cubicBezTo>
                <a:cubicBezTo>
                  <a:pt x="263" y="345"/>
                  <a:pt x="263" y="345"/>
                  <a:pt x="263" y="345"/>
                </a:cubicBezTo>
                <a:cubicBezTo>
                  <a:pt x="262" y="345"/>
                  <a:pt x="262" y="346"/>
                  <a:pt x="262" y="346"/>
                </a:cubicBezTo>
                <a:cubicBezTo>
                  <a:pt x="263" y="346"/>
                  <a:pt x="263" y="346"/>
                  <a:pt x="263" y="346"/>
                </a:cubicBezTo>
                <a:cubicBezTo>
                  <a:pt x="264" y="346"/>
                  <a:pt x="264" y="346"/>
                  <a:pt x="265" y="346"/>
                </a:cubicBezTo>
                <a:cubicBezTo>
                  <a:pt x="265" y="346"/>
                  <a:pt x="264" y="346"/>
                  <a:pt x="264" y="346"/>
                </a:cubicBezTo>
                <a:cubicBezTo>
                  <a:pt x="265" y="346"/>
                  <a:pt x="265" y="345"/>
                  <a:pt x="265" y="345"/>
                </a:cubicBezTo>
                <a:cubicBezTo>
                  <a:pt x="266" y="345"/>
                  <a:pt x="266" y="345"/>
                  <a:pt x="266" y="345"/>
                </a:cubicBezTo>
                <a:cubicBezTo>
                  <a:pt x="267" y="345"/>
                  <a:pt x="267" y="345"/>
                  <a:pt x="267" y="345"/>
                </a:cubicBezTo>
                <a:cubicBezTo>
                  <a:pt x="268" y="345"/>
                  <a:pt x="268" y="345"/>
                  <a:pt x="268" y="345"/>
                </a:cubicBezTo>
                <a:cubicBezTo>
                  <a:pt x="268" y="345"/>
                  <a:pt x="267" y="345"/>
                  <a:pt x="267" y="345"/>
                </a:cubicBezTo>
                <a:cubicBezTo>
                  <a:pt x="267" y="345"/>
                  <a:pt x="267" y="345"/>
                  <a:pt x="267" y="345"/>
                </a:cubicBezTo>
                <a:cubicBezTo>
                  <a:pt x="268" y="345"/>
                  <a:pt x="268" y="345"/>
                  <a:pt x="268" y="345"/>
                </a:cubicBezTo>
                <a:cubicBezTo>
                  <a:pt x="268" y="345"/>
                  <a:pt x="269" y="345"/>
                  <a:pt x="269" y="346"/>
                </a:cubicBezTo>
                <a:cubicBezTo>
                  <a:pt x="269" y="345"/>
                  <a:pt x="270" y="345"/>
                  <a:pt x="270" y="345"/>
                </a:cubicBezTo>
                <a:cubicBezTo>
                  <a:pt x="271" y="345"/>
                  <a:pt x="271" y="345"/>
                  <a:pt x="271" y="345"/>
                </a:cubicBezTo>
                <a:cubicBezTo>
                  <a:pt x="271" y="345"/>
                  <a:pt x="271" y="344"/>
                  <a:pt x="271" y="344"/>
                </a:cubicBezTo>
                <a:cubicBezTo>
                  <a:pt x="271" y="344"/>
                  <a:pt x="272" y="343"/>
                  <a:pt x="272" y="343"/>
                </a:cubicBezTo>
                <a:cubicBezTo>
                  <a:pt x="272" y="343"/>
                  <a:pt x="272" y="343"/>
                  <a:pt x="272" y="342"/>
                </a:cubicBezTo>
                <a:cubicBezTo>
                  <a:pt x="272" y="343"/>
                  <a:pt x="272" y="343"/>
                  <a:pt x="272" y="343"/>
                </a:cubicBezTo>
                <a:cubicBezTo>
                  <a:pt x="272" y="343"/>
                  <a:pt x="272" y="344"/>
                  <a:pt x="272" y="344"/>
                </a:cubicBezTo>
                <a:cubicBezTo>
                  <a:pt x="272" y="344"/>
                  <a:pt x="271" y="345"/>
                  <a:pt x="271" y="345"/>
                </a:cubicBezTo>
                <a:cubicBezTo>
                  <a:pt x="270" y="345"/>
                  <a:pt x="270" y="346"/>
                  <a:pt x="270" y="346"/>
                </a:cubicBezTo>
                <a:cubicBezTo>
                  <a:pt x="269" y="346"/>
                  <a:pt x="269" y="346"/>
                  <a:pt x="269" y="346"/>
                </a:cubicBezTo>
                <a:cubicBezTo>
                  <a:pt x="269" y="346"/>
                  <a:pt x="268" y="347"/>
                  <a:pt x="268" y="347"/>
                </a:cubicBezTo>
                <a:cubicBezTo>
                  <a:pt x="268" y="347"/>
                  <a:pt x="268" y="347"/>
                  <a:pt x="268" y="347"/>
                </a:cubicBezTo>
                <a:cubicBezTo>
                  <a:pt x="269" y="347"/>
                  <a:pt x="269" y="347"/>
                  <a:pt x="269" y="347"/>
                </a:cubicBezTo>
                <a:cubicBezTo>
                  <a:pt x="269" y="347"/>
                  <a:pt x="270" y="347"/>
                  <a:pt x="270" y="347"/>
                </a:cubicBezTo>
                <a:cubicBezTo>
                  <a:pt x="270" y="347"/>
                  <a:pt x="270" y="347"/>
                  <a:pt x="270" y="346"/>
                </a:cubicBezTo>
                <a:cubicBezTo>
                  <a:pt x="270" y="347"/>
                  <a:pt x="271" y="347"/>
                  <a:pt x="271" y="347"/>
                </a:cubicBezTo>
                <a:cubicBezTo>
                  <a:pt x="271" y="347"/>
                  <a:pt x="271" y="347"/>
                  <a:pt x="271" y="347"/>
                </a:cubicBezTo>
                <a:cubicBezTo>
                  <a:pt x="271" y="346"/>
                  <a:pt x="271" y="346"/>
                  <a:pt x="271" y="346"/>
                </a:cubicBezTo>
                <a:cubicBezTo>
                  <a:pt x="271" y="346"/>
                  <a:pt x="272" y="346"/>
                  <a:pt x="272" y="345"/>
                </a:cubicBezTo>
                <a:cubicBezTo>
                  <a:pt x="272" y="345"/>
                  <a:pt x="272" y="345"/>
                  <a:pt x="272" y="346"/>
                </a:cubicBezTo>
                <a:cubicBezTo>
                  <a:pt x="272" y="346"/>
                  <a:pt x="272" y="346"/>
                  <a:pt x="272" y="346"/>
                </a:cubicBezTo>
                <a:cubicBezTo>
                  <a:pt x="272" y="346"/>
                  <a:pt x="272" y="346"/>
                  <a:pt x="272" y="346"/>
                </a:cubicBezTo>
                <a:cubicBezTo>
                  <a:pt x="272" y="346"/>
                  <a:pt x="272" y="346"/>
                  <a:pt x="273" y="346"/>
                </a:cubicBezTo>
                <a:cubicBezTo>
                  <a:pt x="273" y="346"/>
                  <a:pt x="273" y="346"/>
                  <a:pt x="273" y="346"/>
                </a:cubicBezTo>
                <a:cubicBezTo>
                  <a:pt x="274" y="346"/>
                  <a:pt x="274" y="346"/>
                  <a:pt x="274" y="346"/>
                </a:cubicBezTo>
                <a:cubicBezTo>
                  <a:pt x="274" y="346"/>
                  <a:pt x="274" y="345"/>
                  <a:pt x="275" y="345"/>
                </a:cubicBezTo>
                <a:cubicBezTo>
                  <a:pt x="275" y="344"/>
                  <a:pt x="274" y="344"/>
                  <a:pt x="274" y="343"/>
                </a:cubicBezTo>
                <a:cubicBezTo>
                  <a:pt x="274" y="343"/>
                  <a:pt x="274" y="343"/>
                  <a:pt x="275" y="343"/>
                </a:cubicBezTo>
                <a:cubicBezTo>
                  <a:pt x="275" y="342"/>
                  <a:pt x="275" y="342"/>
                  <a:pt x="275" y="342"/>
                </a:cubicBezTo>
                <a:cubicBezTo>
                  <a:pt x="275" y="342"/>
                  <a:pt x="275" y="342"/>
                  <a:pt x="275" y="343"/>
                </a:cubicBezTo>
                <a:cubicBezTo>
                  <a:pt x="275" y="343"/>
                  <a:pt x="275" y="343"/>
                  <a:pt x="275" y="343"/>
                </a:cubicBezTo>
                <a:cubicBezTo>
                  <a:pt x="275" y="343"/>
                  <a:pt x="275" y="344"/>
                  <a:pt x="275" y="344"/>
                </a:cubicBezTo>
                <a:cubicBezTo>
                  <a:pt x="275" y="345"/>
                  <a:pt x="275" y="345"/>
                  <a:pt x="275" y="345"/>
                </a:cubicBezTo>
                <a:cubicBezTo>
                  <a:pt x="275" y="346"/>
                  <a:pt x="275" y="346"/>
                  <a:pt x="274" y="346"/>
                </a:cubicBezTo>
                <a:cubicBezTo>
                  <a:pt x="274" y="346"/>
                  <a:pt x="275" y="346"/>
                  <a:pt x="275" y="346"/>
                </a:cubicBezTo>
                <a:cubicBezTo>
                  <a:pt x="275" y="346"/>
                  <a:pt x="275" y="346"/>
                  <a:pt x="276" y="346"/>
                </a:cubicBezTo>
                <a:cubicBezTo>
                  <a:pt x="276" y="346"/>
                  <a:pt x="276" y="346"/>
                  <a:pt x="277" y="345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77" y="346"/>
                  <a:pt x="277" y="346"/>
                  <a:pt x="277" y="346"/>
                </a:cubicBezTo>
                <a:cubicBezTo>
                  <a:pt x="277" y="346"/>
                  <a:pt x="276" y="347"/>
                  <a:pt x="276" y="347"/>
                </a:cubicBezTo>
                <a:cubicBezTo>
                  <a:pt x="276" y="348"/>
                  <a:pt x="276" y="348"/>
                  <a:pt x="275" y="348"/>
                </a:cubicBezTo>
                <a:cubicBezTo>
                  <a:pt x="275" y="348"/>
                  <a:pt x="275" y="348"/>
                  <a:pt x="275" y="349"/>
                </a:cubicBezTo>
                <a:cubicBezTo>
                  <a:pt x="276" y="349"/>
                  <a:pt x="276" y="349"/>
                  <a:pt x="277" y="349"/>
                </a:cubicBezTo>
                <a:cubicBezTo>
                  <a:pt x="277" y="349"/>
                  <a:pt x="277" y="349"/>
                  <a:pt x="278" y="349"/>
                </a:cubicBezTo>
                <a:cubicBezTo>
                  <a:pt x="278" y="349"/>
                  <a:pt x="278" y="349"/>
                  <a:pt x="278" y="349"/>
                </a:cubicBezTo>
                <a:cubicBezTo>
                  <a:pt x="279" y="348"/>
                  <a:pt x="279" y="348"/>
                  <a:pt x="279" y="348"/>
                </a:cubicBezTo>
                <a:cubicBezTo>
                  <a:pt x="279" y="348"/>
                  <a:pt x="279" y="349"/>
                  <a:pt x="280" y="349"/>
                </a:cubicBezTo>
                <a:cubicBezTo>
                  <a:pt x="280" y="349"/>
                  <a:pt x="280" y="349"/>
                  <a:pt x="280" y="349"/>
                </a:cubicBezTo>
                <a:cubicBezTo>
                  <a:pt x="280" y="349"/>
                  <a:pt x="280" y="349"/>
                  <a:pt x="280" y="350"/>
                </a:cubicBezTo>
                <a:cubicBezTo>
                  <a:pt x="280" y="350"/>
                  <a:pt x="280" y="350"/>
                  <a:pt x="280" y="350"/>
                </a:cubicBezTo>
                <a:cubicBezTo>
                  <a:pt x="280" y="350"/>
                  <a:pt x="279" y="349"/>
                  <a:pt x="279" y="349"/>
                </a:cubicBezTo>
                <a:cubicBezTo>
                  <a:pt x="279" y="349"/>
                  <a:pt x="279" y="349"/>
                  <a:pt x="279" y="349"/>
                </a:cubicBezTo>
                <a:cubicBezTo>
                  <a:pt x="279" y="350"/>
                  <a:pt x="279" y="350"/>
                  <a:pt x="279" y="350"/>
                </a:cubicBezTo>
                <a:cubicBezTo>
                  <a:pt x="279" y="350"/>
                  <a:pt x="280" y="350"/>
                  <a:pt x="280" y="351"/>
                </a:cubicBezTo>
                <a:cubicBezTo>
                  <a:pt x="281" y="350"/>
                  <a:pt x="281" y="350"/>
                  <a:pt x="281" y="350"/>
                </a:cubicBezTo>
                <a:cubicBezTo>
                  <a:pt x="282" y="349"/>
                  <a:pt x="282" y="349"/>
                  <a:pt x="282" y="349"/>
                </a:cubicBezTo>
                <a:cubicBezTo>
                  <a:pt x="283" y="349"/>
                  <a:pt x="283" y="349"/>
                  <a:pt x="283" y="348"/>
                </a:cubicBezTo>
                <a:cubicBezTo>
                  <a:pt x="283" y="349"/>
                  <a:pt x="283" y="349"/>
                  <a:pt x="283" y="349"/>
                </a:cubicBezTo>
                <a:cubicBezTo>
                  <a:pt x="283" y="350"/>
                  <a:pt x="283" y="350"/>
                  <a:pt x="283" y="351"/>
                </a:cubicBezTo>
                <a:cubicBezTo>
                  <a:pt x="283" y="351"/>
                  <a:pt x="283" y="352"/>
                  <a:pt x="283" y="352"/>
                </a:cubicBezTo>
                <a:cubicBezTo>
                  <a:pt x="284" y="352"/>
                  <a:pt x="284" y="352"/>
                  <a:pt x="284" y="352"/>
                </a:cubicBezTo>
                <a:cubicBezTo>
                  <a:pt x="284" y="352"/>
                  <a:pt x="284" y="352"/>
                  <a:pt x="284" y="352"/>
                </a:cubicBezTo>
                <a:cubicBezTo>
                  <a:pt x="284" y="352"/>
                  <a:pt x="285" y="353"/>
                  <a:pt x="285" y="353"/>
                </a:cubicBezTo>
                <a:cubicBezTo>
                  <a:pt x="286" y="353"/>
                  <a:pt x="286" y="353"/>
                  <a:pt x="286" y="353"/>
                </a:cubicBezTo>
                <a:cubicBezTo>
                  <a:pt x="286" y="353"/>
                  <a:pt x="287" y="353"/>
                  <a:pt x="287" y="354"/>
                </a:cubicBezTo>
                <a:cubicBezTo>
                  <a:pt x="286" y="354"/>
                  <a:pt x="286" y="354"/>
                  <a:pt x="286" y="354"/>
                </a:cubicBezTo>
                <a:cubicBezTo>
                  <a:pt x="286" y="355"/>
                  <a:pt x="286" y="355"/>
                  <a:pt x="286" y="355"/>
                </a:cubicBezTo>
                <a:cubicBezTo>
                  <a:pt x="286" y="355"/>
                  <a:pt x="287" y="355"/>
                  <a:pt x="287" y="355"/>
                </a:cubicBezTo>
                <a:cubicBezTo>
                  <a:pt x="287" y="355"/>
                  <a:pt x="287" y="355"/>
                  <a:pt x="287" y="355"/>
                </a:cubicBezTo>
                <a:cubicBezTo>
                  <a:pt x="287" y="356"/>
                  <a:pt x="287" y="356"/>
                  <a:pt x="286" y="356"/>
                </a:cubicBezTo>
                <a:cubicBezTo>
                  <a:pt x="287" y="356"/>
                  <a:pt x="287" y="356"/>
                  <a:pt x="287" y="356"/>
                </a:cubicBezTo>
                <a:cubicBezTo>
                  <a:pt x="287" y="356"/>
                  <a:pt x="287" y="356"/>
                  <a:pt x="287" y="357"/>
                </a:cubicBezTo>
                <a:cubicBezTo>
                  <a:pt x="287" y="357"/>
                  <a:pt x="288" y="357"/>
                  <a:pt x="288" y="357"/>
                </a:cubicBezTo>
                <a:cubicBezTo>
                  <a:pt x="288" y="357"/>
                  <a:pt x="287" y="358"/>
                  <a:pt x="287" y="358"/>
                </a:cubicBezTo>
                <a:cubicBezTo>
                  <a:pt x="287" y="358"/>
                  <a:pt x="287" y="358"/>
                  <a:pt x="287" y="359"/>
                </a:cubicBezTo>
                <a:cubicBezTo>
                  <a:pt x="287" y="359"/>
                  <a:pt x="287" y="359"/>
                  <a:pt x="287" y="360"/>
                </a:cubicBezTo>
                <a:cubicBezTo>
                  <a:pt x="286" y="360"/>
                  <a:pt x="286" y="360"/>
                  <a:pt x="286" y="360"/>
                </a:cubicBezTo>
                <a:cubicBezTo>
                  <a:pt x="286" y="360"/>
                  <a:pt x="286" y="361"/>
                  <a:pt x="286" y="361"/>
                </a:cubicBezTo>
                <a:cubicBezTo>
                  <a:pt x="286" y="361"/>
                  <a:pt x="286" y="361"/>
                  <a:pt x="286" y="362"/>
                </a:cubicBezTo>
                <a:cubicBezTo>
                  <a:pt x="286" y="362"/>
                  <a:pt x="286" y="362"/>
                  <a:pt x="286" y="362"/>
                </a:cubicBezTo>
                <a:cubicBezTo>
                  <a:pt x="286" y="363"/>
                  <a:pt x="285" y="363"/>
                  <a:pt x="285" y="363"/>
                </a:cubicBezTo>
                <a:cubicBezTo>
                  <a:pt x="285" y="363"/>
                  <a:pt x="284" y="363"/>
                  <a:pt x="284" y="363"/>
                </a:cubicBezTo>
                <a:cubicBezTo>
                  <a:pt x="284" y="363"/>
                  <a:pt x="284" y="363"/>
                  <a:pt x="284" y="363"/>
                </a:cubicBezTo>
                <a:cubicBezTo>
                  <a:pt x="284" y="363"/>
                  <a:pt x="284" y="362"/>
                  <a:pt x="284" y="362"/>
                </a:cubicBezTo>
                <a:cubicBezTo>
                  <a:pt x="284" y="362"/>
                  <a:pt x="284" y="362"/>
                  <a:pt x="284" y="362"/>
                </a:cubicBezTo>
                <a:cubicBezTo>
                  <a:pt x="285" y="362"/>
                  <a:pt x="285" y="362"/>
                  <a:pt x="285" y="362"/>
                </a:cubicBezTo>
                <a:cubicBezTo>
                  <a:pt x="285" y="362"/>
                  <a:pt x="285" y="362"/>
                  <a:pt x="285" y="362"/>
                </a:cubicBezTo>
                <a:cubicBezTo>
                  <a:pt x="285" y="362"/>
                  <a:pt x="285" y="362"/>
                  <a:pt x="286" y="362"/>
                </a:cubicBezTo>
                <a:cubicBezTo>
                  <a:pt x="285" y="361"/>
                  <a:pt x="285" y="361"/>
                  <a:pt x="285" y="361"/>
                </a:cubicBezTo>
                <a:cubicBezTo>
                  <a:pt x="285" y="361"/>
                  <a:pt x="285" y="360"/>
                  <a:pt x="285" y="360"/>
                </a:cubicBezTo>
                <a:cubicBezTo>
                  <a:pt x="286" y="360"/>
                  <a:pt x="286" y="359"/>
                  <a:pt x="286" y="359"/>
                </a:cubicBezTo>
                <a:cubicBezTo>
                  <a:pt x="286" y="359"/>
                  <a:pt x="286" y="359"/>
                  <a:pt x="286" y="359"/>
                </a:cubicBezTo>
                <a:cubicBezTo>
                  <a:pt x="286" y="359"/>
                  <a:pt x="285" y="359"/>
                  <a:pt x="285" y="359"/>
                </a:cubicBezTo>
                <a:cubicBezTo>
                  <a:pt x="285" y="359"/>
                  <a:pt x="285" y="360"/>
                  <a:pt x="284" y="360"/>
                </a:cubicBezTo>
                <a:cubicBezTo>
                  <a:pt x="284" y="360"/>
                  <a:pt x="284" y="360"/>
                  <a:pt x="284" y="360"/>
                </a:cubicBezTo>
                <a:cubicBezTo>
                  <a:pt x="284" y="361"/>
                  <a:pt x="284" y="361"/>
                  <a:pt x="283" y="361"/>
                </a:cubicBezTo>
                <a:cubicBezTo>
                  <a:pt x="283" y="361"/>
                  <a:pt x="283" y="361"/>
                  <a:pt x="283" y="360"/>
                </a:cubicBezTo>
                <a:cubicBezTo>
                  <a:pt x="283" y="360"/>
                  <a:pt x="284" y="360"/>
                  <a:pt x="284" y="359"/>
                </a:cubicBezTo>
                <a:cubicBezTo>
                  <a:pt x="284" y="359"/>
                  <a:pt x="285" y="359"/>
                  <a:pt x="285" y="359"/>
                </a:cubicBezTo>
                <a:cubicBezTo>
                  <a:pt x="285" y="359"/>
                  <a:pt x="285" y="358"/>
                  <a:pt x="285" y="358"/>
                </a:cubicBezTo>
                <a:cubicBezTo>
                  <a:pt x="285" y="358"/>
                  <a:pt x="285" y="358"/>
                  <a:pt x="285" y="358"/>
                </a:cubicBezTo>
                <a:cubicBezTo>
                  <a:pt x="284" y="358"/>
                  <a:pt x="284" y="358"/>
                  <a:pt x="284" y="358"/>
                </a:cubicBezTo>
                <a:cubicBezTo>
                  <a:pt x="284" y="358"/>
                  <a:pt x="284" y="358"/>
                  <a:pt x="284" y="358"/>
                </a:cubicBezTo>
                <a:cubicBezTo>
                  <a:pt x="283" y="358"/>
                  <a:pt x="283" y="358"/>
                  <a:pt x="283" y="358"/>
                </a:cubicBezTo>
                <a:cubicBezTo>
                  <a:pt x="283" y="358"/>
                  <a:pt x="282" y="358"/>
                  <a:pt x="282" y="358"/>
                </a:cubicBezTo>
                <a:cubicBezTo>
                  <a:pt x="281" y="358"/>
                  <a:pt x="280" y="359"/>
                  <a:pt x="280" y="359"/>
                </a:cubicBezTo>
                <a:cubicBezTo>
                  <a:pt x="279" y="359"/>
                  <a:pt x="279" y="359"/>
                  <a:pt x="278" y="359"/>
                </a:cubicBezTo>
                <a:cubicBezTo>
                  <a:pt x="277" y="359"/>
                  <a:pt x="276" y="358"/>
                  <a:pt x="275" y="358"/>
                </a:cubicBezTo>
                <a:cubicBezTo>
                  <a:pt x="275" y="358"/>
                  <a:pt x="275" y="358"/>
                  <a:pt x="275" y="358"/>
                </a:cubicBezTo>
                <a:cubicBezTo>
                  <a:pt x="275" y="359"/>
                  <a:pt x="275" y="359"/>
                  <a:pt x="275" y="359"/>
                </a:cubicBezTo>
                <a:cubicBezTo>
                  <a:pt x="275" y="360"/>
                  <a:pt x="275" y="360"/>
                  <a:pt x="275" y="361"/>
                </a:cubicBezTo>
                <a:cubicBezTo>
                  <a:pt x="275" y="361"/>
                  <a:pt x="275" y="361"/>
                  <a:pt x="275" y="361"/>
                </a:cubicBezTo>
                <a:cubicBezTo>
                  <a:pt x="275" y="362"/>
                  <a:pt x="276" y="362"/>
                  <a:pt x="276" y="362"/>
                </a:cubicBezTo>
                <a:cubicBezTo>
                  <a:pt x="276" y="363"/>
                  <a:pt x="276" y="364"/>
                  <a:pt x="276" y="364"/>
                </a:cubicBezTo>
                <a:cubicBezTo>
                  <a:pt x="276" y="365"/>
                  <a:pt x="277" y="365"/>
                  <a:pt x="277" y="365"/>
                </a:cubicBezTo>
                <a:cubicBezTo>
                  <a:pt x="277" y="366"/>
                  <a:pt x="277" y="366"/>
                  <a:pt x="277" y="366"/>
                </a:cubicBezTo>
                <a:cubicBezTo>
                  <a:pt x="277" y="366"/>
                  <a:pt x="277" y="366"/>
                  <a:pt x="277" y="367"/>
                </a:cubicBezTo>
                <a:cubicBezTo>
                  <a:pt x="277" y="367"/>
                  <a:pt x="278" y="366"/>
                  <a:pt x="278" y="366"/>
                </a:cubicBezTo>
                <a:cubicBezTo>
                  <a:pt x="278" y="367"/>
                  <a:pt x="278" y="367"/>
                  <a:pt x="278" y="367"/>
                </a:cubicBezTo>
                <a:cubicBezTo>
                  <a:pt x="278" y="367"/>
                  <a:pt x="278" y="367"/>
                  <a:pt x="278" y="367"/>
                </a:cubicBezTo>
                <a:cubicBezTo>
                  <a:pt x="278" y="367"/>
                  <a:pt x="278" y="367"/>
                  <a:pt x="277" y="367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8"/>
                  <a:pt x="278" y="368"/>
                  <a:pt x="278" y="368"/>
                </a:cubicBezTo>
                <a:cubicBezTo>
                  <a:pt x="278" y="368"/>
                  <a:pt x="278" y="368"/>
                  <a:pt x="279" y="368"/>
                </a:cubicBezTo>
                <a:cubicBezTo>
                  <a:pt x="279" y="368"/>
                  <a:pt x="279" y="369"/>
                  <a:pt x="279" y="369"/>
                </a:cubicBezTo>
                <a:cubicBezTo>
                  <a:pt x="279" y="369"/>
                  <a:pt x="279" y="369"/>
                  <a:pt x="279" y="369"/>
                </a:cubicBezTo>
                <a:cubicBezTo>
                  <a:pt x="279" y="370"/>
                  <a:pt x="279" y="370"/>
                  <a:pt x="278" y="370"/>
                </a:cubicBezTo>
                <a:cubicBezTo>
                  <a:pt x="278" y="370"/>
                  <a:pt x="278" y="370"/>
                  <a:pt x="278" y="370"/>
                </a:cubicBezTo>
                <a:cubicBezTo>
                  <a:pt x="278" y="370"/>
                  <a:pt x="278" y="370"/>
                  <a:pt x="278" y="371"/>
                </a:cubicBezTo>
                <a:cubicBezTo>
                  <a:pt x="278" y="371"/>
                  <a:pt x="278" y="371"/>
                  <a:pt x="278" y="371"/>
                </a:cubicBezTo>
                <a:cubicBezTo>
                  <a:pt x="279" y="371"/>
                  <a:pt x="279" y="371"/>
                  <a:pt x="280" y="371"/>
                </a:cubicBezTo>
                <a:cubicBezTo>
                  <a:pt x="280" y="370"/>
                  <a:pt x="281" y="370"/>
                  <a:pt x="281" y="370"/>
                </a:cubicBezTo>
                <a:cubicBezTo>
                  <a:pt x="281" y="370"/>
                  <a:pt x="282" y="370"/>
                  <a:pt x="282" y="370"/>
                </a:cubicBezTo>
                <a:cubicBezTo>
                  <a:pt x="282" y="370"/>
                  <a:pt x="283" y="370"/>
                  <a:pt x="283" y="370"/>
                </a:cubicBezTo>
                <a:cubicBezTo>
                  <a:pt x="283" y="370"/>
                  <a:pt x="284" y="370"/>
                  <a:pt x="284" y="370"/>
                </a:cubicBezTo>
                <a:cubicBezTo>
                  <a:pt x="284" y="370"/>
                  <a:pt x="284" y="371"/>
                  <a:pt x="284" y="371"/>
                </a:cubicBezTo>
                <a:cubicBezTo>
                  <a:pt x="284" y="371"/>
                  <a:pt x="284" y="371"/>
                  <a:pt x="284" y="370"/>
                </a:cubicBezTo>
                <a:cubicBezTo>
                  <a:pt x="283" y="370"/>
                  <a:pt x="283" y="370"/>
                  <a:pt x="283" y="370"/>
                </a:cubicBezTo>
                <a:cubicBezTo>
                  <a:pt x="282" y="371"/>
                  <a:pt x="282" y="371"/>
                  <a:pt x="282" y="371"/>
                </a:cubicBezTo>
                <a:cubicBezTo>
                  <a:pt x="282" y="371"/>
                  <a:pt x="281" y="371"/>
                  <a:pt x="281" y="371"/>
                </a:cubicBezTo>
                <a:cubicBezTo>
                  <a:pt x="281" y="371"/>
                  <a:pt x="280" y="371"/>
                  <a:pt x="279" y="371"/>
                </a:cubicBezTo>
                <a:cubicBezTo>
                  <a:pt x="279" y="371"/>
                  <a:pt x="279" y="371"/>
                  <a:pt x="279" y="371"/>
                </a:cubicBezTo>
                <a:cubicBezTo>
                  <a:pt x="279" y="371"/>
                  <a:pt x="278" y="371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cubicBezTo>
                  <a:pt x="278" y="372"/>
                  <a:pt x="278" y="373"/>
                  <a:pt x="278" y="373"/>
                </a:cubicBezTo>
                <a:cubicBezTo>
                  <a:pt x="278" y="374"/>
                  <a:pt x="278" y="374"/>
                  <a:pt x="278" y="374"/>
                </a:cubicBezTo>
                <a:cubicBezTo>
                  <a:pt x="278" y="374"/>
                  <a:pt x="278" y="374"/>
                  <a:pt x="278" y="374"/>
                </a:cubicBezTo>
                <a:cubicBezTo>
                  <a:pt x="278" y="375"/>
                  <a:pt x="278" y="375"/>
                  <a:pt x="278" y="376"/>
                </a:cubicBezTo>
                <a:cubicBezTo>
                  <a:pt x="278" y="376"/>
                  <a:pt x="278" y="376"/>
                  <a:pt x="278" y="377"/>
                </a:cubicBezTo>
                <a:cubicBezTo>
                  <a:pt x="278" y="377"/>
                  <a:pt x="277" y="378"/>
                  <a:pt x="277" y="379"/>
                </a:cubicBezTo>
                <a:cubicBezTo>
                  <a:pt x="277" y="380"/>
                  <a:pt x="278" y="380"/>
                  <a:pt x="278" y="381"/>
                </a:cubicBezTo>
                <a:cubicBezTo>
                  <a:pt x="278" y="381"/>
                  <a:pt x="277" y="382"/>
                  <a:pt x="277" y="383"/>
                </a:cubicBezTo>
                <a:cubicBezTo>
                  <a:pt x="277" y="384"/>
                  <a:pt x="277" y="384"/>
                  <a:pt x="278" y="385"/>
                </a:cubicBezTo>
                <a:cubicBezTo>
                  <a:pt x="277" y="385"/>
                  <a:pt x="277" y="386"/>
                  <a:pt x="277" y="386"/>
                </a:cubicBezTo>
                <a:cubicBezTo>
                  <a:pt x="277" y="386"/>
                  <a:pt x="277" y="387"/>
                  <a:pt x="277" y="387"/>
                </a:cubicBezTo>
                <a:cubicBezTo>
                  <a:pt x="277" y="388"/>
                  <a:pt x="277" y="388"/>
                  <a:pt x="276" y="389"/>
                </a:cubicBezTo>
                <a:cubicBezTo>
                  <a:pt x="276" y="389"/>
                  <a:pt x="276" y="389"/>
                  <a:pt x="276" y="389"/>
                </a:cubicBezTo>
                <a:cubicBezTo>
                  <a:pt x="276" y="389"/>
                  <a:pt x="276" y="390"/>
                  <a:pt x="276" y="390"/>
                </a:cubicBezTo>
                <a:cubicBezTo>
                  <a:pt x="276" y="390"/>
                  <a:pt x="276" y="391"/>
                  <a:pt x="275" y="392"/>
                </a:cubicBezTo>
                <a:cubicBezTo>
                  <a:pt x="275" y="392"/>
                  <a:pt x="275" y="392"/>
                  <a:pt x="275" y="392"/>
                </a:cubicBezTo>
                <a:cubicBezTo>
                  <a:pt x="275" y="393"/>
                  <a:pt x="276" y="393"/>
                  <a:pt x="276" y="394"/>
                </a:cubicBezTo>
                <a:cubicBezTo>
                  <a:pt x="276" y="394"/>
                  <a:pt x="276" y="395"/>
                  <a:pt x="276" y="395"/>
                </a:cubicBezTo>
                <a:cubicBezTo>
                  <a:pt x="276" y="395"/>
                  <a:pt x="276" y="396"/>
                  <a:pt x="276" y="396"/>
                </a:cubicBezTo>
                <a:cubicBezTo>
                  <a:pt x="277" y="396"/>
                  <a:pt x="277" y="396"/>
                  <a:pt x="277" y="396"/>
                </a:cubicBezTo>
                <a:cubicBezTo>
                  <a:pt x="277" y="397"/>
                  <a:pt x="277" y="397"/>
                  <a:pt x="277" y="397"/>
                </a:cubicBezTo>
                <a:cubicBezTo>
                  <a:pt x="277" y="397"/>
                  <a:pt x="277" y="397"/>
                  <a:pt x="277" y="398"/>
                </a:cubicBezTo>
                <a:cubicBezTo>
                  <a:pt x="277" y="398"/>
                  <a:pt x="278" y="398"/>
                  <a:pt x="278" y="398"/>
                </a:cubicBezTo>
                <a:cubicBezTo>
                  <a:pt x="278" y="399"/>
                  <a:pt x="278" y="399"/>
                  <a:pt x="278" y="400"/>
                </a:cubicBezTo>
                <a:cubicBezTo>
                  <a:pt x="278" y="400"/>
                  <a:pt x="278" y="400"/>
                  <a:pt x="278" y="401"/>
                </a:cubicBezTo>
                <a:cubicBezTo>
                  <a:pt x="278" y="401"/>
                  <a:pt x="278" y="401"/>
                  <a:pt x="278" y="401"/>
                </a:cubicBezTo>
                <a:cubicBezTo>
                  <a:pt x="278" y="401"/>
                  <a:pt x="278" y="402"/>
                  <a:pt x="278" y="402"/>
                </a:cubicBezTo>
                <a:cubicBezTo>
                  <a:pt x="278" y="402"/>
                  <a:pt x="278" y="402"/>
                  <a:pt x="278" y="402"/>
                </a:cubicBezTo>
                <a:cubicBezTo>
                  <a:pt x="278" y="402"/>
                  <a:pt x="278" y="402"/>
                  <a:pt x="278" y="403"/>
                </a:cubicBezTo>
                <a:cubicBezTo>
                  <a:pt x="278" y="403"/>
                  <a:pt x="277" y="404"/>
                  <a:pt x="277" y="404"/>
                </a:cubicBezTo>
                <a:cubicBezTo>
                  <a:pt x="277" y="404"/>
                  <a:pt x="277" y="405"/>
                  <a:pt x="277" y="405"/>
                </a:cubicBezTo>
                <a:cubicBezTo>
                  <a:pt x="277" y="405"/>
                  <a:pt x="277" y="406"/>
                  <a:pt x="277" y="406"/>
                </a:cubicBezTo>
                <a:cubicBezTo>
                  <a:pt x="277" y="406"/>
                  <a:pt x="278" y="406"/>
                  <a:pt x="278" y="406"/>
                </a:cubicBezTo>
                <a:cubicBezTo>
                  <a:pt x="279" y="407"/>
                  <a:pt x="279" y="407"/>
                  <a:pt x="280" y="407"/>
                </a:cubicBezTo>
                <a:cubicBezTo>
                  <a:pt x="280" y="408"/>
                  <a:pt x="280" y="408"/>
                  <a:pt x="280" y="409"/>
                </a:cubicBezTo>
                <a:cubicBezTo>
                  <a:pt x="280" y="409"/>
                  <a:pt x="280" y="409"/>
                  <a:pt x="280" y="409"/>
                </a:cubicBezTo>
                <a:cubicBezTo>
                  <a:pt x="280" y="410"/>
                  <a:pt x="280" y="410"/>
                  <a:pt x="280" y="410"/>
                </a:cubicBezTo>
                <a:cubicBezTo>
                  <a:pt x="280" y="410"/>
                  <a:pt x="280" y="411"/>
                  <a:pt x="280" y="411"/>
                </a:cubicBezTo>
                <a:cubicBezTo>
                  <a:pt x="280" y="411"/>
                  <a:pt x="281" y="411"/>
                  <a:pt x="281" y="411"/>
                </a:cubicBezTo>
                <a:cubicBezTo>
                  <a:pt x="281" y="411"/>
                  <a:pt x="281" y="411"/>
                  <a:pt x="281" y="412"/>
                </a:cubicBezTo>
                <a:cubicBezTo>
                  <a:pt x="281" y="412"/>
                  <a:pt x="281" y="412"/>
                  <a:pt x="281" y="412"/>
                </a:cubicBezTo>
                <a:cubicBezTo>
                  <a:pt x="281" y="413"/>
                  <a:pt x="281" y="413"/>
                  <a:pt x="281" y="413"/>
                </a:cubicBezTo>
                <a:cubicBezTo>
                  <a:pt x="281" y="413"/>
                  <a:pt x="281" y="413"/>
                  <a:pt x="282" y="413"/>
                </a:cubicBezTo>
                <a:cubicBezTo>
                  <a:pt x="283" y="414"/>
                  <a:pt x="284" y="414"/>
                  <a:pt x="285" y="415"/>
                </a:cubicBezTo>
                <a:cubicBezTo>
                  <a:pt x="285" y="415"/>
                  <a:pt x="285" y="415"/>
                  <a:pt x="285" y="415"/>
                </a:cubicBezTo>
                <a:cubicBezTo>
                  <a:pt x="285" y="415"/>
                  <a:pt x="285" y="416"/>
                  <a:pt x="285" y="416"/>
                </a:cubicBezTo>
                <a:cubicBezTo>
                  <a:pt x="285" y="416"/>
                  <a:pt x="285" y="416"/>
                  <a:pt x="285" y="416"/>
                </a:cubicBezTo>
                <a:cubicBezTo>
                  <a:pt x="286" y="416"/>
                  <a:pt x="286" y="416"/>
                  <a:pt x="287" y="416"/>
                </a:cubicBezTo>
                <a:cubicBezTo>
                  <a:pt x="287" y="417"/>
                  <a:pt x="287" y="417"/>
                  <a:pt x="287" y="417"/>
                </a:cubicBezTo>
                <a:cubicBezTo>
                  <a:pt x="287" y="417"/>
                  <a:pt x="287" y="417"/>
                  <a:pt x="288" y="417"/>
                </a:cubicBezTo>
                <a:cubicBezTo>
                  <a:pt x="288" y="417"/>
                  <a:pt x="288" y="417"/>
                  <a:pt x="288" y="417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87" y="416"/>
                  <a:pt x="287" y="415"/>
                  <a:pt x="287" y="415"/>
                </a:cubicBezTo>
                <a:cubicBezTo>
                  <a:pt x="287" y="415"/>
                  <a:pt x="288" y="415"/>
                  <a:pt x="288" y="415"/>
                </a:cubicBezTo>
                <a:cubicBezTo>
                  <a:pt x="288" y="415"/>
                  <a:pt x="288" y="415"/>
                  <a:pt x="288" y="415"/>
                </a:cubicBezTo>
                <a:cubicBezTo>
                  <a:pt x="288" y="415"/>
                  <a:pt x="288" y="415"/>
                  <a:pt x="288" y="415"/>
                </a:cubicBezTo>
                <a:cubicBezTo>
                  <a:pt x="289" y="415"/>
                  <a:pt x="289" y="415"/>
                  <a:pt x="289" y="415"/>
                </a:cubicBezTo>
                <a:cubicBezTo>
                  <a:pt x="289" y="415"/>
                  <a:pt x="289" y="415"/>
                  <a:pt x="290" y="415"/>
                </a:cubicBezTo>
                <a:cubicBezTo>
                  <a:pt x="290" y="415"/>
                  <a:pt x="290" y="415"/>
                  <a:pt x="291" y="414"/>
                </a:cubicBezTo>
                <a:cubicBezTo>
                  <a:pt x="291" y="415"/>
                  <a:pt x="290" y="415"/>
                  <a:pt x="290" y="415"/>
                </a:cubicBezTo>
                <a:cubicBezTo>
                  <a:pt x="290" y="415"/>
                  <a:pt x="290" y="415"/>
                  <a:pt x="289" y="415"/>
                </a:cubicBezTo>
                <a:cubicBezTo>
                  <a:pt x="289" y="415"/>
                  <a:pt x="289" y="415"/>
                  <a:pt x="289" y="415"/>
                </a:cubicBezTo>
                <a:cubicBezTo>
                  <a:pt x="289" y="415"/>
                  <a:pt x="288" y="415"/>
                  <a:pt x="288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89" y="416"/>
                  <a:pt x="289" y="416"/>
                  <a:pt x="289" y="416"/>
                </a:cubicBezTo>
                <a:cubicBezTo>
                  <a:pt x="289" y="416"/>
                  <a:pt x="289" y="417"/>
                  <a:pt x="289" y="417"/>
                </a:cubicBezTo>
                <a:cubicBezTo>
                  <a:pt x="290" y="417"/>
                  <a:pt x="290" y="417"/>
                  <a:pt x="290" y="417"/>
                </a:cubicBezTo>
                <a:cubicBezTo>
                  <a:pt x="290" y="417"/>
                  <a:pt x="290" y="417"/>
                  <a:pt x="290" y="417"/>
                </a:cubicBezTo>
                <a:cubicBezTo>
                  <a:pt x="290" y="417"/>
                  <a:pt x="290" y="417"/>
                  <a:pt x="290" y="418"/>
                </a:cubicBezTo>
                <a:cubicBezTo>
                  <a:pt x="289" y="417"/>
                  <a:pt x="289" y="417"/>
                  <a:pt x="289" y="417"/>
                </a:cubicBezTo>
                <a:cubicBezTo>
                  <a:pt x="289" y="417"/>
                  <a:pt x="288" y="417"/>
                  <a:pt x="288" y="417"/>
                </a:cubicBezTo>
                <a:cubicBezTo>
                  <a:pt x="288" y="417"/>
                  <a:pt x="288" y="417"/>
                  <a:pt x="288" y="418"/>
                </a:cubicBezTo>
                <a:cubicBezTo>
                  <a:pt x="288" y="418"/>
                  <a:pt x="288" y="418"/>
                  <a:pt x="288" y="418"/>
                </a:cubicBezTo>
                <a:cubicBezTo>
                  <a:pt x="288" y="418"/>
                  <a:pt x="288" y="418"/>
                  <a:pt x="288" y="418"/>
                </a:cubicBezTo>
                <a:cubicBezTo>
                  <a:pt x="288" y="418"/>
                  <a:pt x="288" y="419"/>
                  <a:pt x="288" y="419"/>
                </a:cubicBezTo>
                <a:cubicBezTo>
                  <a:pt x="288" y="419"/>
                  <a:pt x="288" y="419"/>
                  <a:pt x="288" y="419"/>
                </a:cubicBezTo>
                <a:cubicBezTo>
                  <a:pt x="288" y="420"/>
                  <a:pt x="289" y="420"/>
                  <a:pt x="289" y="420"/>
                </a:cubicBezTo>
                <a:cubicBezTo>
                  <a:pt x="289" y="420"/>
                  <a:pt x="289" y="420"/>
                  <a:pt x="289" y="420"/>
                </a:cubicBezTo>
                <a:cubicBezTo>
                  <a:pt x="289" y="420"/>
                  <a:pt x="290" y="420"/>
                  <a:pt x="290" y="420"/>
                </a:cubicBezTo>
                <a:cubicBezTo>
                  <a:pt x="290" y="420"/>
                  <a:pt x="290" y="420"/>
                  <a:pt x="291" y="420"/>
                </a:cubicBezTo>
                <a:cubicBezTo>
                  <a:pt x="291" y="421"/>
                  <a:pt x="291" y="421"/>
                  <a:pt x="291" y="421"/>
                </a:cubicBezTo>
                <a:cubicBezTo>
                  <a:pt x="291" y="421"/>
                  <a:pt x="291" y="421"/>
                  <a:pt x="292" y="421"/>
                </a:cubicBezTo>
                <a:cubicBezTo>
                  <a:pt x="291" y="421"/>
                  <a:pt x="291" y="422"/>
                  <a:pt x="291" y="422"/>
                </a:cubicBezTo>
                <a:cubicBezTo>
                  <a:pt x="291" y="422"/>
                  <a:pt x="291" y="422"/>
                  <a:pt x="291" y="422"/>
                </a:cubicBezTo>
                <a:cubicBezTo>
                  <a:pt x="291" y="422"/>
                  <a:pt x="291" y="422"/>
                  <a:pt x="291" y="422"/>
                </a:cubicBezTo>
                <a:cubicBezTo>
                  <a:pt x="291" y="423"/>
                  <a:pt x="291" y="423"/>
                  <a:pt x="291" y="423"/>
                </a:cubicBezTo>
                <a:cubicBezTo>
                  <a:pt x="291" y="423"/>
                  <a:pt x="291" y="423"/>
                  <a:pt x="291" y="424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92" y="424"/>
                  <a:pt x="292" y="424"/>
                  <a:pt x="293" y="424"/>
                </a:cubicBezTo>
                <a:cubicBezTo>
                  <a:pt x="293" y="424"/>
                  <a:pt x="293" y="425"/>
                  <a:pt x="293" y="425"/>
                </a:cubicBezTo>
                <a:cubicBezTo>
                  <a:pt x="294" y="426"/>
                  <a:pt x="295" y="426"/>
                  <a:pt x="295" y="426"/>
                </a:cubicBezTo>
                <a:cubicBezTo>
                  <a:pt x="296" y="426"/>
                  <a:pt x="296" y="427"/>
                  <a:pt x="296" y="427"/>
                </a:cubicBezTo>
                <a:cubicBezTo>
                  <a:pt x="296" y="427"/>
                  <a:pt x="297" y="427"/>
                  <a:pt x="297" y="427"/>
                </a:cubicBezTo>
                <a:cubicBezTo>
                  <a:pt x="297" y="427"/>
                  <a:pt x="297" y="427"/>
                  <a:pt x="297" y="427"/>
                </a:cubicBezTo>
                <a:cubicBezTo>
                  <a:pt x="297" y="427"/>
                  <a:pt x="297" y="427"/>
                  <a:pt x="297" y="427"/>
                </a:cubicBezTo>
                <a:cubicBezTo>
                  <a:pt x="297" y="427"/>
                  <a:pt x="297" y="427"/>
                  <a:pt x="298" y="428"/>
                </a:cubicBezTo>
                <a:cubicBezTo>
                  <a:pt x="298" y="428"/>
                  <a:pt x="298" y="428"/>
                  <a:pt x="298" y="428"/>
                </a:cubicBezTo>
                <a:cubicBezTo>
                  <a:pt x="298" y="429"/>
                  <a:pt x="299" y="429"/>
                  <a:pt x="299" y="429"/>
                </a:cubicBezTo>
                <a:cubicBezTo>
                  <a:pt x="299" y="430"/>
                  <a:pt x="299" y="430"/>
                  <a:pt x="299" y="430"/>
                </a:cubicBezTo>
                <a:cubicBezTo>
                  <a:pt x="298" y="430"/>
                  <a:pt x="298" y="430"/>
                  <a:pt x="298" y="430"/>
                </a:cubicBezTo>
                <a:cubicBezTo>
                  <a:pt x="299" y="430"/>
                  <a:pt x="299" y="431"/>
                  <a:pt x="299" y="431"/>
                </a:cubicBezTo>
                <a:cubicBezTo>
                  <a:pt x="299" y="431"/>
                  <a:pt x="299" y="431"/>
                  <a:pt x="299" y="431"/>
                </a:cubicBezTo>
                <a:cubicBezTo>
                  <a:pt x="300" y="430"/>
                  <a:pt x="301" y="430"/>
                  <a:pt x="301" y="430"/>
                </a:cubicBezTo>
                <a:cubicBezTo>
                  <a:pt x="302" y="430"/>
                  <a:pt x="302" y="430"/>
                  <a:pt x="302" y="430"/>
                </a:cubicBezTo>
                <a:cubicBezTo>
                  <a:pt x="303" y="430"/>
                  <a:pt x="303" y="430"/>
                  <a:pt x="303" y="430"/>
                </a:cubicBezTo>
                <a:cubicBezTo>
                  <a:pt x="303" y="430"/>
                  <a:pt x="304" y="430"/>
                  <a:pt x="304" y="430"/>
                </a:cubicBezTo>
                <a:cubicBezTo>
                  <a:pt x="304" y="430"/>
                  <a:pt x="305" y="429"/>
                  <a:pt x="305" y="429"/>
                </a:cubicBezTo>
                <a:cubicBezTo>
                  <a:pt x="306" y="429"/>
                  <a:pt x="306" y="429"/>
                  <a:pt x="306" y="429"/>
                </a:cubicBezTo>
                <a:cubicBezTo>
                  <a:pt x="306" y="430"/>
                  <a:pt x="306" y="430"/>
                  <a:pt x="306" y="430"/>
                </a:cubicBezTo>
                <a:cubicBezTo>
                  <a:pt x="307" y="430"/>
                  <a:pt x="307" y="430"/>
                  <a:pt x="308" y="430"/>
                </a:cubicBezTo>
                <a:cubicBezTo>
                  <a:pt x="308" y="430"/>
                  <a:pt x="308" y="430"/>
                  <a:pt x="309" y="430"/>
                </a:cubicBezTo>
                <a:cubicBezTo>
                  <a:pt x="309" y="430"/>
                  <a:pt x="310" y="430"/>
                  <a:pt x="310" y="429"/>
                </a:cubicBezTo>
                <a:cubicBezTo>
                  <a:pt x="310" y="430"/>
                  <a:pt x="310" y="430"/>
                  <a:pt x="310" y="430"/>
                </a:cubicBezTo>
                <a:cubicBezTo>
                  <a:pt x="310" y="430"/>
                  <a:pt x="311" y="430"/>
                  <a:pt x="311" y="430"/>
                </a:cubicBezTo>
                <a:cubicBezTo>
                  <a:pt x="311" y="430"/>
                  <a:pt x="311" y="430"/>
                  <a:pt x="311" y="430"/>
                </a:cubicBezTo>
                <a:cubicBezTo>
                  <a:pt x="311" y="430"/>
                  <a:pt x="311" y="430"/>
                  <a:pt x="311" y="430"/>
                </a:cubicBezTo>
                <a:cubicBezTo>
                  <a:pt x="312" y="430"/>
                  <a:pt x="312" y="430"/>
                  <a:pt x="312" y="430"/>
                </a:cubicBezTo>
                <a:cubicBezTo>
                  <a:pt x="313" y="430"/>
                  <a:pt x="313" y="430"/>
                  <a:pt x="314" y="430"/>
                </a:cubicBezTo>
                <a:cubicBezTo>
                  <a:pt x="314" y="431"/>
                  <a:pt x="315" y="431"/>
                  <a:pt x="316" y="431"/>
                </a:cubicBezTo>
                <a:cubicBezTo>
                  <a:pt x="316" y="432"/>
                  <a:pt x="316" y="432"/>
                  <a:pt x="317" y="432"/>
                </a:cubicBezTo>
                <a:cubicBezTo>
                  <a:pt x="317" y="433"/>
                  <a:pt x="317" y="433"/>
                  <a:pt x="317" y="433"/>
                </a:cubicBezTo>
                <a:cubicBezTo>
                  <a:pt x="317" y="433"/>
                  <a:pt x="317" y="434"/>
                  <a:pt x="317" y="434"/>
                </a:cubicBezTo>
                <a:cubicBezTo>
                  <a:pt x="317" y="434"/>
                  <a:pt x="317" y="434"/>
                  <a:pt x="318" y="435"/>
                </a:cubicBezTo>
                <a:cubicBezTo>
                  <a:pt x="318" y="435"/>
                  <a:pt x="318" y="436"/>
                  <a:pt x="319" y="436"/>
                </a:cubicBezTo>
                <a:cubicBezTo>
                  <a:pt x="319" y="436"/>
                  <a:pt x="320" y="436"/>
                  <a:pt x="320" y="437"/>
                </a:cubicBezTo>
                <a:cubicBezTo>
                  <a:pt x="320" y="437"/>
                  <a:pt x="320" y="437"/>
                  <a:pt x="321" y="437"/>
                </a:cubicBezTo>
                <a:cubicBezTo>
                  <a:pt x="320" y="437"/>
                  <a:pt x="320" y="437"/>
                  <a:pt x="320" y="437"/>
                </a:cubicBezTo>
                <a:cubicBezTo>
                  <a:pt x="320" y="437"/>
                  <a:pt x="320" y="438"/>
                  <a:pt x="320" y="438"/>
                </a:cubicBezTo>
                <a:cubicBezTo>
                  <a:pt x="321" y="438"/>
                  <a:pt x="321" y="438"/>
                  <a:pt x="321" y="438"/>
                </a:cubicBezTo>
                <a:cubicBezTo>
                  <a:pt x="322" y="439"/>
                  <a:pt x="322" y="439"/>
                  <a:pt x="323" y="439"/>
                </a:cubicBezTo>
                <a:cubicBezTo>
                  <a:pt x="323" y="439"/>
                  <a:pt x="323" y="439"/>
                  <a:pt x="323" y="439"/>
                </a:cubicBezTo>
                <a:cubicBezTo>
                  <a:pt x="323" y="439"/>
                  <a:pt x="323" y="440"/>
                  <a:pt x="323" y="440"/>
                </a:cubicBezTo>
                <a:cubicBezTo>
                  <a:pt x="323" y="440"/>
                  <a:pt x="323" y="440"/>
                  <a:pt x="323" y="440"/>
                </a:cubicBezTo>
                <a:cubicBezTo>
                  <a:pt x="323" y="440"/>
                  <a:pt x="324" y="440"/>
                  <a:pt x="324" y="440"/>
                </a:cubicBezTo>
                <a:cubicBezTo>
                  <a:pt x="324" y="440"/>
                  <a:pt x="325" y="441"/>
                  <a:pt x="325" y="441"/>
                </a:cubicBezTo>
                <a:cubicBezTo>
                  <a:pt x="325" y="441"/>
                  <a:pt x="325" y="441"/>
                  <a:pt x="324" y="441"/>
                </a:cubicBezTo>
                <a:cubicBezTo>
                  <a:pt x="325" y="442"/>
                  <a:pt x="325" y="442"/>
                  <a:pt x="325" y="442"/>
                </a:cubicBezTo>
                <a:cubicBezTo>
                  <a:pt x="325" y="442"/>
                  <a:pt x="325" y="442"/>
                  <a:pt x="325" y="442"/>
                </a:cubicBezTo>
                <a:cubicBezTo>
                  <a:pt x="326" y="442"/>
                  <a:pt x="326" y="442"/>
                  <a:pt x="326" y="442"/>
                </a:cubicBezTo>
                <a:cubicBezTo>
                  <a:pt x="326" y="443"/>
                  <a:pt x="326" y="443"/>
                  <a:pt x="326" y="444"/>
                </a:cubicBezTo>
                <a:cubicBezTo>
                  <a:pt x="327" y="444"/>
                  <a:pt x="327" y="444"/>
                  <a:pt x="327" y="444"/>
                </a:cubicBezTo>
                <a:cubicBezTo>
                  <a:pt x="328" y="445"/>
                  <a:pt x="328" y="445"/>
                  <a:pt x="328" y="445"/>
                </a:cubicBezTo>
                <a:cubicBezTo>
                  <a:pt x="329" y="445"/>
                  <a:pt x="329" y="445"/>
                  <a:pt x="329" y="444"/>
                </a:cubicBezTo>
                <a:cubicBezTo>
                  <a:pt x="329" y="445"/>
                  <a:pt x="330" y="445"/>
                  <a:pt x="331" y="445"/>
                </a:cubicBezTo>
                <a:cubicBezTo>
                  <a:pt x="331" y="445"/>
                  <a:pt x="331" y="445"/>
                  <a:pt x="332" y="445"/>
                </a:cubicBezTo>
                <a:cubicBezTo>
                  <a:pt x="332" y="445"/>
                  <a:pt x="332" y="446"/>
                  <a:pt x="332" y="446"/>
                </a:cubicBezTo>
                <a:cubicBezTo>
                  <a:pt x="333" y="446"/>
                  <a:pt x="333" y="446"/>
                  <a:pt x="334" y="446"/>
                </a:cubicBezTo>
                <a:cubicBezTo>
                  <a:pt x="334" y="446"/>
                  <a:pt x="334" y="447"/>
                  <a:pt x="335" y="447"/>
                </a:cubicBezTo>
                <a:cubicBezTo>
                  <a:pt x="335" y="447"/>
                  <a:pt x="335" y="447"/>
                  <a:pt x="335" y="447"/>
                </a:cubicBezTo>
                <a:cubicBezTo>
                  <a:pt x="335" y="447"/>
                  <a:pt x="336" y="447"/>
                  <a:pt x="336" y="448"/>
                </a:cubicBezTo>
                <a:cubicBezTo>
                  <a:pt x="336" y="448"/>
                  <a:pt x="336" y="448"/>
                  <a:pt x="336" y="448"/>
                </a:cubicBezTo>
                <a:cubicBezTo>
                  <a:pt x="336" y="448"/>
                  <a:pt x="336" y="449"/>
                  <a:pt x="336" y="449"/>
                </a:cubicBezTo>
                <a:cubicBezTo>
                  <a:pt x="336" y="449"/>
                  <a:pt x="336" y="449"/>
                  <a:pt x="336" y="449"/>
                </a:cubicBezTo>
                <a:cubicBezTo>
                  <a:pt x="336" y="449"/>
                  <a:pt x="336" y="449"/>
                  <a:pt x="336" y="450"/>
                </a:cubicBezTo>
                <a:cubicBezTo>
                  <a:pt x="336" y="450"/>
                  <a:pt x="336" y="450"/>
                  <a:pt x="336" y="450"/>
                </a:cubicBezTo>
                <a:cubicBezTo>
                  <a:pt x="335" y="450"/>
                  <a:pt x="335" y="450"/>
                  <a:pt x="335" y="450"/>
                </a:cubicBezTo>
                <a:cubicBezTo>
                  <a:pt x="335" y="450"/>
                  <a:pt x="335" y="450"/>
                  <a:pt x="335" y="450"/>
                </a:cubicBezTo>
                <a:cubicBezTo>
                  <a:pt x="336" y="450"/>
                  <a:pt x="336" y="450"/>
                  <a:pt x="336" y="450"/>
                </a:cubicBezTo>
                <a:cubicBezTo>
                  <a:pt x="336" y="450"/>
                  <a:pt x="336" y="450"/>
                  <a:pt x="336" y="451"/>
                </a:cubicBezTo>
                <a:cubicBezTo>
                  <a:pt x="336" y="451"/>
                  <a:pt x="336" y="451"/>
                  <a:pt x="336" y="451"/>
                </a:cubicBezTo>
                <a:cubicBezTo>
                  <a:pt x="336" y="451"/>
                  <a:pt x="336" y="451"/>
                  <a:pt x="335" y="451"/>
                </a:cubicBezTo>
                <a:cubicBezTo>
                  <a:pt x="335" y="451"/>
                  <a:pt x="334" y="451"/>
                  <a:pt x="334" y="451"/>
                </a:cubicBezTo>
                <a:cubicBezTo>
                  <a:pt x="334" y="451"/>
                  <a:pt x="333" y="451"/>
                  <a:pt x="333" y="451"/>
                </a:cubicBezTo>
                <a:cubicBezTo>
                  <a:pt x="333" y="452"/>
                  <a:pt x="332" y="452"/>
                  <a:pt x="332" y="452"/>
                </a:cubicBezTo>
                <a:cubicBezTo>
                  <a:pt x="332" y="452"/>
                  <a:pt x="332" y="452"/>
                  <a:pt x="332" y="452"/>
                </a:cubicBezTo>
                <a:cubicBezTo>
                  <a:pt x="332" y="452"/>
                  <a:pt x="333" y="453"/>
                  <a:pt x="333" y="453"/>
                </a:cubicBezTo>
                <a:cubicBezTo>
                  <a:pt x="333" y="453"/>
                  <a:pt x="334" y="453"/>
                  <a:pt x="334" y="453"/>
                </a:cubicBezTo>
                <a:cubicBezTo>
                  <a:pt x="334" y="453"/>
                  <a:pt x="334" y="453"/>
                  <a:pt x="334" y="453"/>
                </a:cubicBezTo>
                <a:cubicBezTo>
                  <a:pt x="335" y="453"/>
                  <a:pt x="335" y="454"/>
                  <a:pt x="335" y="454"/>
                </a:cubicBezTo>
                <a:cubicBezTo>
                  <a:pt x="336" y="454"/>
                  <a:pt x="336" y="454"/>
                  <a:pt x="336" y="454"/>
                </a:cubicBezTo>
                <a:cubicBezTo>
                  <a:pt x="337" y="454"/>
                  <a:pt x="337" y="454"/>
                  <a:pt x="337" y="454"/>
                </a:cubicBezTo>
                <a:cubicBezTo>
                  <a:pt x="337" y="454"/>
                  <a:pt x="338" y="454"/>
                  <a:pt x="338" y="454"/>
                </a:cubicBezTo>
                <a:cubicBezTo>
                  <a:pt x="338" y="454"/>
                  <a:pt x="338" y="454"/>
                  <a:pt x="338" y="454"/>
                </a:cubicBezTo>
                <a:cubicBezTo>
                  <a:pt x="338" y="454"/>
                  <a:pt x="339" y="454"/>
                  <a:pt x="339" y="454"/>
                </a:cubicBezTo>
                <a:cubicBezTo>
                  <a:pt x="339" y="454"/>
                  <a:pt x="339" y="454"/>
                  <a:pt x="339" y="454"/>
                </a:cubicBezTo>
                <a:cubicBezTo>
                  <a:pt x="339" y="454"/>
                  <a:pt x="339" y="454"/>
                  <a:pt x="339" y="454"/>
                </a:cubicBezTo>
                <a:cubicBezTo>
                  <a:pt x="340" y="454"/>
                  <a:pt x="340" y="454"/>
                  <a:pt x="340" y="454"/>
                </a:cubicBezTo>
                <a:cubicBezTo>
                  <a:pt x="340" y="454"/>
                  <a:pt x="340" y="454"/>
                  <a:pt x="341" y="454"/>
                </a:cubicBezTo>
                <a:cubicBezTo>
                  <a:pt x="341" y="453"/>
                  <a:pt x="341" y="453"/>
                  <a:pt x="341" y="453"/>
                </a:cubicBezTo>
                <a:cubicBezTo>
                  <a:pt x="341" y="453"/>
                  <a:pt x="341" y="453"/>
                  <a:pt x="342" y="453"/>
                </a:cubicBezTo>
                <a:cubicBezTo>
                  <a:pt x="342" y="453"/>
                  <a:pt x="342" y="453"/>
                  <a:pt x="341" y="453"/>
                </a:cubicBezTo>
                <a:cubicBezTo>
                  <a:pt x="342" y="454"/>
                  <a:pt x="342" y="454"/>
                  <a:pt x="342" y="454"/>
                </a:cubicBezTo>
                <a:cubicBezTo>
                  <a:pt x="343" y="454"/>
                  <a:pt x="344" y="455"/>
                  <a:pt x="344" y="455"/>
                </a:cubicBezTo>
                <a:cubicBezTo>
                  <a:pt x="345" y="455"/>
                  <a:pt x="345" y="455"/>
                  <a:pt x="345" y="455"/>
                </a:cubicBezTo>
                <a:cubicBezTo>
                  <a:pt x="345" y="455"/>
                  <a:pt x="345" y="455"/>
                  <a:pt x="346" y="454"/>
                </a:cubicBezTo>
                <a:cubicBezTo>
                  <a:pt x="346" y="455"/>
                  <a:pt x="346" y="455"/>
                  <a:pt x="346" y="455"/>
                </a:cubicBezTo>
                <a:cubicBezTo>
                  <a:pt x="347" y="455"/>
                  <a:pt x="347" y="455"/>
                  <a:pt x="347" y="456"/>
                </a:cubicBezTo>
                <a:cubicBezTo>
                  <a:pt x="348" y="456"/>
                  <a:pt x="348" y="457"/>
                  <a:pt x="348" y="457"/>
                </a:cubicBezTo>
                <a:cubicBezTo>
                  <a:pt x="348" y="458"/>
                  <a:pt x="348" y="458"/>
                  <a:pt x="348" y="458"/>
                </a:cubicBezTo>
                <a:cubicBezTo>
                  <a:pt x="348" y="459"/>
                  <a:pt x="348" y="459"/>
                  <a:pt x="348" y="460"/>
                </a:cubicBezTo>
                <a:cubicBezTo>
                  <a:pt x="348" y="460"/>
                  <a:pt x="348" y="460"/>
                  <a:pt x="348" y="460"/>
                </a:cubicBezTo>
                <a:cubicBezTo>
                  <a:pt x="349" y="460"/>
                  <a:pt x="349" y="460"/>
                  <a:pt x="349" y="460"/>
                </a:cubicBezTo>
                <a:cubicBezTo>
                  <a:pt x="349" y="460"/>
                  <a:pt x="350" y="460"/>
                  <a:pt x="350" y="460"/>
                </a:cubicBezTo>
                <a:cubicBezTo>
                  <a:pt x="350" y="460"/>
                  <a:pt x="350" y="460"/>
                  <a:pt x="350" y="461"/>
                </a:cubicBezTo>
                <a:cubicBezTo>
                  <a:pt x="350" y="461"/>
                  <a:pt x="351" y="460"/>
                  <a:pt x="351" y="460"/>
                </a:cubicBezTo>
                <a:cubicBezTo>
                  <a:pt x="351" y="461"/>
                  <a:pt x="352" y="461"/>
                  <a:pt x="352" y="461"/>
                </a:cubicBezTo>
                <a:cubicBezTo>
                  <a:pt x="353" y="461"/>
                  <a:pt x="354" y="461"/>
                  <a:pt x="355" y="462"/>
                </a:cubicBezTo>
                <a:cubicBezTo>
                  <a:pt x="355" y="462"/>
                  <a:pt x="355" y="462"/>
                  <a:pt x="355" y="462"/>
                </a:cubicBezTo>
                <a:cubicBezTo>
                  <a:pt x="356" y="462"/>
                  <a:pt x="356" y="462"/>
                  <a:pt x="356" y="462"/>
                </a:cubicBezTo>
                <a:cubicBezTo>
                  <a:pt x="356" y="462"/>
                  <a:pt x="357" y="462"/>
                  <a:pt x="357" y="462"/>
                </a:cubicBezTo>
                <a:cubicBezTo>
                  <a:pt x="357" y="462"/>
                  <a:pt x="358" y="462"/>
                  <a:pt x="358" y="462"/>
                </a:cubicBezTo>
                <a:cubicBezTo>
                  <a:pt x="358" y="462"/>
                  <a:pt x="358" y="462"/>
                  <a:pt x="359" y="462"/>
                </a:cubicBezTo>
                <a:cubicBezTo>
                  <a:pt x="359" y="463"/>
                  <a:pt x="359" y="463"/>
                  <a:pt x="359" y="463"/>
                </a:cubicBezTo>
                <a:cubicBezTo>
                  <a:pt x="359" y="463"/>
                  <a:pt x="359" y="463"/>
                  <a:pt x="360" y="463"/>
                </a:cubicBezTo>
                <a:cubicBezTo>
                  <a:pt x="360" y="464"/>
                  <a:pt x="360" y="464"/>
                  <a:pt x="360" y="464"/>
                </a:cubicBezTo>
                <a:cubicBezTo>
                  <a:pt x="360" y="464"/>
                  <a:pt x="360" y="464"/>
                  <a:pt x="361" y="464"/>
                </a:cubicBezTo>
                <a:cubicBezTo>
                  <a:pt x="361" y="464"/>
                  <a:pt x="361" y="464"/>
                  <a:pt x="361" y="464"/>
                </a:cubicBezTo>
                <a:cubicBezTo>
                  <a:pt x="362" y="464"/>
                  <a:pt x="362" y="464"/>
                  <a:pt x="363" y="463"/>
                </a:cubicBezTo>
                <a:cubicBezTo>
                  <a:pt x="363" y="463"/>
                  <a:pt x="363" y="463"/>
                  <a:pt x="363" y="462"/>
                </a:cubicBezTo>
                <a:cubicBezTo>
                  <a:pt x="363" y="462"/>
                  <a:pt x="363" y="462"/>
                  <a:pt x="363" y="461"/>
                </a:cubicBezTo>
                <a:cubicBezTo>
                  <a:pt x="363" y="461"/>
                  <a:pt x="362" y="461"/>
                  <a:pt x="362" y="461"/>
                </a:cubicBezTo>
                <a:cubicBezTo>
                  <a:pt x="362" y="461"/>
                  <a:pt x="362" y="461"/>
                  <a:pt x="362" y="461"/>
                </a:cubicBezTo>
                <a:cubicBezTo>
                  <a:pt x="361" y="461"/>
                  <a:pt x="361" y="461"/>
                  <a:pt x="361" y="460"/>
                </a:cubicBezTo>
                <a:cubicBezTo>
                  <a:pt x="361" y="460"/>
                  <a:pt x="361" y="460"/>
                  <a:pt x="361" y="460"/>
                </a:cubicBezTo>
                <a:cubicBezTo>
                  <a:pt x="360" y="460"/>
                  <a:pt x="360" y="460"/>
                  <a:pt x="360" y="460"/>
                </a:cubicBezTo>
                <a:cubicBezTo>
                  <a:pt x="360" y="460"/>
                  <a:pt x="359" y="460"/>
                  <a:pt x="359" y="460"/>
                </a:cubicBezTo>
                <a:cubicBezTo>
                  <a:pt x="359" y="459"/>
                  <a:pt x="359" y="459"/>
                  <a:pt x="359" y="459"/>
                </a:cubicBez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8" y="459"/>
                  <a:pt x="358" y="460"/>
                </a:cubicBezTo>
                <a:cubicBezTo>
                  <a:pt x="358" y="460"/>
                  <a:pt x="358" y="460"/>
                  <a:pt x="358" y="460"/>
                </a:cubicBezTo>
                <a:cubicBezTo>
                  <a:pt x="358" y="460"/>
                  <a:pt x="358" y="460"/>
                  <a:pt x="358" y="460"/>
                </a:cubicBezTo>
                <a:cubicBezTo>
                  <a:pt x="358" y="460"/>
                  <a:pt x="357" y="460"/>
                  <a:pt x="357" y="460"/>
                </a:cubicBezTo>
                <a:cubicBezTo>
                  <a:pt x="357" y="460"/>
                  <a:pt x="357" y="460"/>
                  <a:pt x="356" y="460"/>
                </a:cubicBezTo>
                <a:cubicBezTo>
                  <a:pt x="356" y="460"/>
                  <a:pt x="356" y="459"/>
                  <a:pt x="355" y="459"/>
                </a:cubicBezTo>
                <a:cubicBezTo>
                  <a:pt x="355" y="459"/>
                  <a:pt x="355" y="459"/>
                  <a:pt x="355" y="459"/>
                </a:cubicBezTo>
                <a:cubicBezTo>
                  <a:pt x="355" y="459"/>
                  <a:pt x="355" y="458"/>
                  <a:pt x="355" y="458"/>
                </a:cubicBezTo>
                <a:cubicBezTo>
                  <a:pt x="355" y="458"/>
                  <a:pt x="355" y="458"/>
                  <a:pt x="355" y="457"/>
                </a:cubicBezTo>
                <a:cubicBezTo>
                  <a:pt x="355" y="457"/>
                  <a:pt x="354" y="457"/>
                  <a:pt x="354" y="457"/>
                </a:cubicBezTo>
                <a:cubicBezTo>
                  <a:pt x="354" y="457"/>
                  <a:pt x="354" y="457"/>
                  <a:pt x="354" y="456"/>
                </a:cubicBezTo>
                <a:cubicBezTo>
                  <a:pt x="354" y="456"/>
                  <a:pt x="354" y="456"/>
                  <a:pt x="354" y="456"/>
                </a:cubicBezTo>
                <a:cubicBezTo>
                  <a:pt x="354" y="456"/>
                  <a:pt x="353" y="456"/>
                  <a:pt x="353" y="456"/>
                </a:cubicBezTo>
                <a:cubicBezTo>
                  <a:pt x="353" y="456"/>
                  <a:pt x="353" y="455"/>
                  <a:pt x="353" y="455"/>
                </a:cubicBezTo>
                <a:cubicBezTo>
                  <a:pt x="353" y="455"/>
                  <a:pt x="352" y="455"/>
                  <a:pt x="352" y="455"/>
                </a:cubicBezTo>
                <a:cubicBezTo>
                  <a:pt x="352" y="455"/>
                  <a:pt x="352" y="455"/>
                  <a:pt x="352" y="454"/>
                </a:cubicBezTo>
                <a:cubicBezTo>
                  <a:pt x="352" y="454"/>
                  <a:pt x="352" y="454"/>
                  <a:pt x="352" y="454"/>
                </a:cubicBezTo>
                <a:cubicBezTo>
                  <a:pt x="351" y="454"/>
                  <a:pt x="351" y="454"/>
                  <a:pt x="351" y="453"/>
                </a:cubicBezTo>
                <a:cubicBezTo>
                  <a:pt x="351" y="453"/>
                  <a:pt x="351" y="453"/>
                  <a:pt x="351" y="453"/>
                </a:cubicBezTo>
                <a:cubicBezTo>
                  <a:pt x="351" y="452"/>
                  <a:pt x="351" y="452"/>
                  <a:pt x="350" y="451"/>
                </a:cubicBezTo>
                <a:cubicBezTo>
                  <a:pt x="350" y="451"/>
                  <a:pt x="350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2"/>
                  <a:pt x="349" y="452"/>
                </a:cubicBezTo>
                <a:cubicBezTo>
                  <a:pt x="348" y="452"/>
                  <a:pt x="348" y="451"/>
                  <a:pt x="347" y="451"/>
                </a:cubicBezTo>
                <a:cubicBezTo>
                  <a:pt x="347" y="451"/>
                  <a:pt x="347" y="451"/>
                  <a:pt x="347" y="451"/>
                </a:cubicBezTo>
                <a:cubicBezTo>
                  <a:pt x="347" y="450"/>
                  <a:pt x="347" y="450"/>
                  <a:pt x="347" y="450"/>
                </a:cubicBezTo>
                <a:cubicBezTo>
                  <a:pt x="347" y="450"/>
                  <a:pt x="347" y="450"/>
                  <a:pt x="347" y="450"/>
                </a:cubicBezTo>
                <a:cubicBezTo>
                  <a:pt x="347" y="450"/>
                  <a:pt x="347" y="450"/>
                  <a:pt x="346" y="450"/>
                </a:cubicBezTo>
                <a:cubicBezTo>
                  <a:pt x="346" y="449"/>
                  <a:pt x="346" y="449"/>
                  <a:pt x="346" y="449"/>
                </a:cubicBezTo>
                <a:cubicBezTo>
                  <a:pt x="345" y="448"/>
                  <a:pt x="345" y="448"/>
                  <a:pt x="344" y="448"/>
                </a:cubicBezTo>
                <a:cubicBezTo>
                  <a:pt x="344" y="448"/>
                  <a:pt x="344" y="448"/>
                  <a:pt x="344" y="448"/>
                </a:cubicBezTo>
                <a:cubicBezTo>
                  <a:pt x="344" y="448"/>
                  <a:pt x="343" y="448"/>
                  <a:pt x="343" y="448"/>
                </a:cubicBezTo>
                <a:cubicBezTo>
                  <a:pt x="343" y="448"/>
                  <a:pt x="343" y="447"/>
                  <a:pt x="342" y="447"/>
                </a:cubicBezTo>
                <a:cubicBezTo>
                  <a:pt x="342" y="447"/>
                  <a:pt x="342" y="446"/>
                  <a:pt x="342" y="446"/>
                </a:cubicBezTo>
                <a:cubicBezTo>
                  <a:pt x="342" y="446"/>
                  <a:pt x="341" y="446"/>
                  <a:pt x="341" y="446"/>
                </a:cubicBezTo>
                <a:cubicBezTo>
                  <a:pt x="341" y="446"/>
                  <a:pt x="341" y="446"/>
                  <a:pt x="340" y="446"/>
                </a:cubicBezTo>
                <a:cubicBezTo>
                  <a:pt x="340" y="446"/>
                  <a:pt x="340" y="446"/>
                  <a:pt x="340" y="446"/>
                </a:cubicBezTo>
                <a:cubicBezTo>
                  <a:pt x="340" y="445"/>
                  <a:pt x="340" y="445"/>
                  <a:pt x="339" y="445"/>
                </a:cubicBezTo>
                <a:cubicBezTo>
                  <a:pt x="339" y="445"/>
                  <a:pt x="339" y="445"/>
                  <a:pt x="339" y="445"/>
                </a:cubicBezTo>
                <a:cubicBezTo>
                  <a:pt x="338" y="445"/>
                  <a:pt x="338" y="445"/>
                  <a:pt x="338" y="445"/>
                </a:cubicBezTo>
                <a:cubicBezTo>
                  <a:pt x="338" y="445"/>
                  <a:pt x="337" y="444"/>
                  <a:pt x="337" y="444"/>
                </a:cubicBezTo>
                <a:cubicBezTo>
                  <a:pt x="337" y="444"/>
                  <a:pt x="337" y="444"/>
                  <a:pt x="337" y="444"/>
                </a:cubicBezTo>
                <a:cubicBezTo>
                  <a:pt x="337" y="443"/>
                  <a:pt x="337" y="443"/>
                  <a:pt x="337" y="443"/>
                </a:cubicBezTo>
                <a:cubicBezTo>
                  <a:pt x="336" y="443"/>
                  <a:pt x="336" y="443"/>
                  <a:pt x="335" y="443"/>
                </a:cubicBezTo>
                <a:cubicBezTo>
                  <a:pt x="335" y="443"/>
                  <a:pt x="335" y="442"/>
                  <a:pt x="334" y="442"/>
                </a:cubicBezTo>
                <a:cubicBezTo>
                  <a:pt x="334" y="442"/>
                  <a:pt x="334" y="442"/>
                  <a:pt x="334" y="443"/>
                </a:cubicBezTo>
                <a:cubicBezTo>
                  <a:pt x="334" y="442"/>
                  <a:pt x="334" y="442"/>
                  <a:pt x="334" y="442"/>
                </a:cubicBezTo>
                <a:cubicBezTo>
                  <a:pt x="333" y="442"/>
                  <a:pt x="333" y="441"/>
                  <a:pt x="332" y="441"/>
                </a:cubicBezTo>
                <a:cubicBezTo>
                  <a:pt x="332" y="441"/>
                  <a:pt x="332" y="441"/>
                  <a:pt x="332" y="441"/>
                </a:cubicBezTo>
                <a:cubicBezTo>
                  <a:pt x="332" y="441"/>
                  <a:pt x="332" y="440"/>
                  <a:pt x="332" y="440"/>
                </a:cubicBezTo>
                <a:cubicBezTo>
                  <a:pt x="332" y="439"/>
                  <a:pt x="331" y="439"/>
                  <a:pt x="331" y="438"/>
                </a:cubicBezTo>
                <a:cubicBezTo>
                  <a:pt x="331" y="437"/>
                  <a:pt x="330" y="437"/>
                  <a:pt x="330" y="436"/>
                </a:cubicBezTo>
                <a:cubicBezTo>
                  <a:pt x="330" y="436"/>
                  <a:pt x="330" y="436"/>
                  <a:pt x="330" y="436"/>
                </a:cubicBezTo>
                <a:cubicBezTo>
                  <a:pt x="330" y="435"/>
                  <a:pt x="330" y="435"/>
                  <a:pt x="330" y="434"/>
                </a:cubicBezTo>
                <a:cubicBezTo>
                  <a:pt x="330" y="434"/>
                  <a:pt x="330" y="434"/>
                  <a:pt x="330" y="434"/>
                </a:cubicBezTo>
                <a:cubicBezTo>
                  <a:pt x="329" y="433"/>
                  <a:pt x="329" y="433"/>
                  <a:pt x="329" y="433"/>
                </a:cubicBezTo>
                <a:cubicBezTo>
                  <a:pt x="329" y="433"/>
                  <a:pt x="330" y="433"/>
                  <a:pt x="330" y="433"/>
                </a:cubicBezTo>
                <a:cubicBezTo>
                  <a:pt x="330" y="433"/>
                  <a:pt x="331" y="433"/>
                  <a:pt x="331" y="433"/>
                </a:cubicBezTo>
                <a:cubicBezTo>
                  <a:pt x="332" y="434"/>
                  <a:pt x="332" y="434"/>
                  <a:pt x="333" y="434"/>
                </a:cubicBezTo>
                <a:cubicBezTo>
                  <a:pt x="333" y="434"/>
                  <a:pt x="333" y="434"/>
                  <a:pt x="333" y="434"/>
                </a:cubicBezTo>
                <a:cubicBezTo>
                  <a:pt x="334" y="434"/>
                  <a:pt x="334" y="434"/>
                  <a:pt x="334" y="434"/>
                </a:cubicBezTo>
                <a:cubicBezTo>
                  <a:pt x="334" y="434"/>
                  <a:pt x="335" y="433"/>
                  <a:pt x="335" y="433"/>
                </a:cubicBezTo>
                <a:cubicBezTo>
                  <a:pt x="335" y="433"/>
                  <a:pt x="335" y="434"/>
                  <a:pt x="336" y="434"/>
                </a:cubicBezTo>
                <a:cubicBezTo>
                  <a:pt x="336" y="434"/>
                  <a:pt x="336" y="434"/>
                  <a:pt x="336" y="434"/>
                </a:cubicBezTo>
                <a:cubicBezTo>
                  <a:pt x="336" y="434"/>
                  <a:pt x="337" y="434"/>
                  <a:pt x="337" y="434"/>
                </a:cubicBezTo>
                <a:cubicBezTo>
                  <a:pt x="337" y="434"/>
                  <a:pt x="338" y="434"/>
                  <a:pt x="338" y="434"/>
                </a:cubicBezTo>
                <a:cubicBezTo>
                  <a:pt x="338" y="434"/>
                  <a:pt x="338" y="434"/>
                  <a:pt x="338" y="434"/>
                </a:cubicBezTo>
                <a:cubicBezTo>
                  <a:pt x="338" y="434"/>
                  <a:pt x="338" y="434"/>
                  <a:pt x="338" y="435"/>
                </a:cubicBezTo>
                <a:cubicBezTo>
                  <a:pt x="338" y="435"/>
                  <a:pt x="338" y="435"/>
                  <a:pt x="338" y="435"/>
                </a:cubicBezTo>
                <a:cubicBezTo>
                  <a:pt x="339" y="435"/>
                  <a:pt x="339" y="436"/>
                  <a:pt x="339" y="436"/>
                </a:cubicBezTo>
                <a:cubicBezTo>
                  <a:pt x="339" y="436"/>
                  <a:pt x="340" y="437"/>
                  <a:pt x="340" y="437"/>
                </a:cubicBezTo>
                <a:cubicBezTo>
                  <a:pt x="340" y="437"/>
                  <a:pt x="340" y="437"/>
                  <a:pt x="340" y="437"/>
                </a:cubicBezTo>
                <a:cubicBezTo>
                  <a:pt x="341" y="438"/>
                  <a:pt x="341" y="438"/>
                  <a:pt x="341" y="438"/>
                </a:cubicBezTo>
                <a:cubicBezTo>
                  <a:pt x="341" y="438"/>
                  <a:pt x="341" y="439"/>
                  <a:pt x="341" y="439"/>
                </a:cubicBezTo>
                <a:cubicBezTo>
                  <a:pt x="341" y="439"/>
                  <a:pt x="341" y="439"/>
                  <a:pt x="341" y="439"/>
                </a:cubicBezTo>
                <a:cubicBezTo>
                  <a:pt x="342" y="439"/>
                  <a:pt x="343" y="440"/>
                  <a:pt x="343" y="440"/>
                </a:cubicBezTo>
                <a:cubicBezTo>
                  <a:pt x="343" y="440"/>
                  <a:pt x="343" y="440"/>
                  <a:pt x="343" y="440"/>
                </a:cubicBezTo>
                <a:cubicBezTo>
                  <a:pt x="343" y="440"/>
                  <a:pt x="343" y="441"/>
                  <a:pt x="343" y="441"/>
                </a:cubicBezTo>
                <a:cubicBezTo>
                  <a:pt x="343" y="441"/>
                  <a:pt x="343" y="441"/>
                  <a:pt x="344" y="441"/>
                </a:cubicBezTo>
                <a:cubicBezTo>
                  <a:pt x="344" y="441"/>
                  <a:pt x="344" y="441"/>
                  <a:pt x="344" y="441"/>
                </a:cubicBezTo>
                <a:cubicBezTo>
                  <a:pt x="344" y="441"/>
                  <a:pt x="344" y="441"/>
                  <a:pt x="344" y="441"/>
                </a:cubicBezTo>
                <a:cubicBezTo>
                  <a:pt x="345" y="442"/>
                  <a:pt x="345" y="442"/>
                  <a:pt x="345" y="442"/>
                </a:cubicBezTo>
                <a:cubicBezTo>
                  <a:pt x="346" y="442"/>
                  <a:pt x="346" y="442"/>
                  <a:pt x="346" y="442"/>
                </a:cubicBezTo>
                <a:cubicBezTo>
                  <a:pt x="346" y="442"/>
                  <a:pt x="347" y="442"/>
                  <a:pt x="347" y="443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347" y="443"/>
                  <a:pt x="347" y="443"/>
                  <a:pt x="348" y="443"/>
                </a:cubicBezTo>
                <a:cubicBezTo>
                  <a:pt x="348" y="443"/>
                  <a:pt x="348" y="443"/>
                  <a:pt x="348" y="443"/>
                </a:cubicBezTo>
                <a:cubicBezTo>
                  <a:pt x="349" y="444"/>
                  <a:pt x="349" y="444"/>
                  <a:pt x="349" y="444"/>
                </a:cubicBezTo>
                <a:cubicBezTo>
                  <a:pt x="349" y="444"/>
                  <a:pt x="350" y="444"/>
                  <a:pt x="350" y="444"/>
                </a:cubicBezTo>
                <a:cubicBezTo>
                  <a:pt x="350" y="445"/>
                  <a:pt x="350" y="445"/>
                  <a:pt x="350" y="445"/>
                </a:cubicBezTo>
                <a:cubicBezTo>
                  <a:pt x="351" y="445"/>
                  <a:pt x="351" y="445"/>
                  <a:pt x="351" y="445"/>
                </a:cubicBezTo>
                <a:cubicBezTo>
                  <a:pt x="351" y="445"/>
                  <a:pt x="351" y="445"/>
                  <a:pt x="351" y="445"/>
                </a:cubicBezTo>
                <a:cubicBezTo>
                  <a:pt x="352" y="445"/>
                  <a:pt x="352" y="445"/>
                  <a:pt x="352" y="445"/>
                </a:cubicBezTo>
                <a:cubicBezTo>
                  <a:pt x="352" y="445"/>
                  <a:pt x="352" y="444"/>
                  <a:pt x="352" y="444"/>
                </a:cubicBezTo>
                <a:cubicBezTo>
                  <a:pt x="353" y="444"/>
                  <a:pt x="353" y="444"/>
                  <a:pt x="353" y="444"/>
                </a:cubicBezTo>
                <a:cubicBezTo>
                  <a:pt x="353" y="445"/>
                  <a:pt x="353" y="445"/>
                  <a:pt x="353" y="445"/>
                </a:cubicBezTo>
                <a:cubicBezTo>
                  <a:pt x="353" y="445"/>
                  <a:pt x="353" y="446"/>
                  <a:pt x="353" y="446"/>
                </a:cubicBezTo>
                <a:cubicBezTo>
                  <a:pt x="353" y="446"/>
                  <a:pt x="354" y="446"/>
                  <a:pt x="354" y="447"/>
                </a:cubicBezTo>
                <a:cubicBezTo>
                  <a:pt x="354" y="447"/>
                  <a:pt x="355" y="447"/>
                  <a:pt x="356" y="447"/>
                </a:cubicBezTo>
                <a:cubicBezTo>
                  <a:pt x="356" y="447"/>
                  <a:pt x="356" y="447"/>
                  <a:pt x="356" y="447"/>
                </a:cubicBezTo>
                <a:cubicBezTo>
                  <a:pt x="357" y="447"/>
                  <a:pt x="357" y="447"/>
                  <a:pt x="357" y="447"/>
                </a:cubicBezTo>
                <a:cubicBezTo>
                  <a:pt x="357" y="447"/>
                  <a:pt x="357" y="447"/>
                  <a:pt x="357" y="447"/>
                </a:cubicBezTo>
                <a:cubicBezTo>
                  <a:pt x="357" y="448"/>
                  <a:pt x="358" y="448"/>
                  <a:pt x="358" y="448"/>
                </a:cubicBezTo>
                <a:cubicBezTo>
                  <a:pt x="358" y="448"/>
                  <a:pt x="358" y="448"/>
                  <a:pt x="359" y="448"/>
                </a:cubicBezTo>
                <a:cubicBezTo>
                  <a:pt x="359" y="448"/>
                  <a:pt x="359" y="448"/>
                  <a:pt x="359" y="447"/>
                </a:cubicBezTo>
                <a:cubicBezTo>
                  <a:pt x="360" y="448"/>
                  <a:pt x="360" y="448"/>
                  <a:pt x="361" y="448"/>
                </a:cubicBezTo>
                <a:cubicBezTo>
                  <a:pt x="361" y="448"/>
                  <a:pt x="361" y="448"/>
                  <a:pt x="361" y="448"/>
                </a:cubicBezTo>
                <a:cubicBezTo>
                  <a:pt x="361" y="448"/>
                  <a:pt x="361" y="448"/>
                  <a:pt x="362" y="448"/>
                </a:cubicBezTo>
                <a:cubicBezTo>
                  <a:pt x="362" y="448"/>
                  <a:pt x="362" y="448"/>
                  <a:pt x="362" y="448"/>
                </a:cubicBezTo>
                <a:cubicBezTo>
                  <a:pt x="362" y="448"/>
                  <a:pt x="362" y="448"/>
                  <a:pt x="362" y="448"/>
                </a:cubicBezTo>
                <a:cubicBezTo>
                  <a:pt x="362" y="448"/>
                  <a:pt x="362" y="448"/>
                  <a:pt x="363" y="449"/>
                </a:cubicBezTo>
                <a:cubicBezTo>
                  <a:pt x="362" y="449"/>
                  <a:pt x="362" y="449"/>
                  <a:pt x="362" y="449"/>
                </a:cubicBezTo>
                <a:cubicBezTo>
                  <a:pt x="362" y="449"/>
                  <a:pt x="362" y="449"/>
                  <a:pt x="362" y="449"/>
                </a:cubicBezTo>
                <a:cubicBezTo>
                  <a:pt x="361" y="449"/>
                  <a:pt x="361" y="449"/>
                  <a:pt x="361" y="449"/>
                </a:cubicBezTo>
                <a:cubicBezTo>
                  <a:pt x="361" y="449"/>
                  <a:pt x="361" y="450"/>
                  <a:pt x="360" y="450"/>
                </a:cubicBezTo>
                <a:cubicBezTo>
                  <a:pt x="360" y="451"/>
                  <a:pt x="360" y="451"/>
                  <a:pt x="360" y="451"/>
                </a:cubicBezTo>
                <a:cubicBezTo>
                  <a:pt x="360" y="451"/>
                  <a:pt x="361" y="452"/>
                  <a:pt x="361" y="452"/>
                </a:cubicBezTo>
                <a:cubicBezTo>
                  <a:pt x="361" y="452"/>
                  <a:pt x="361" y="452"/>
                  <a:pt x="362" y="452"/>
                </a:cubicBezTo>
                <a:cubicBezTo>
                  <a:pt x="362" y="452"/>
                  <a:pt x="362" y="452"/>
                  <a:pt x="363" y="452"/>
                </a:cubicBezTo>
                <a:cubicBezTo>
                  <a:pt x="363" y="452"/>
                  <a:pt x="363" y="452"/>
                  <a:pt x="363" y="452"/>
                </a:cubicBezTo>
                <a:cubicBezTo>
                  <a:pt x="364" y="452"/>
                  <a:pt x="365" y="452"/>
                  <a:pt x="366" y="452"/>
                </a:cubicBezTo>
                <a:cubicBezTo>
                  <a:pt x="366" y="452"/>
                  <a:pt x="366" y="452"/>
                  <a:pt x="367" y="452"/>
                </a:cubicBezTo>
                <a:cubicBezTo>
                  <a:pt x="367" y="452"/>
                  <a:pt x="367" y="452"/>
                  <a:pt x="367" y="452"/>
                </a:cubicBezTo>
                <a:cubicBezTo>
                  <a:pt x="368" y="452"/>
                  <a:pt x="368" y="452"/>
                  <a:pt x="368" y="452"/>
                </a:cubicBezTo>
                <a:cubicBezTo>
                  <a:pt x="368" y="452"/>
                  <a:pt x="368" y="453"/>
                  <a:pt x="368" y="453"/>
                </a:cubicBezTo>
                <a:cubicBezTo>
                  <a:pt x="369" y="453"/>
                  <a:pt x="369" y="453"/>
                  <a:pt x="369" y="453"/>
                </a:cubicBezTo>
                <a:cubicBezTo>
                  <a:pt x="369" y="453"/>
                  <a:pt x="369" y="454"/>
                  <a:pt x="369" y="454"/>
                </a:cubicBezTo>
                <a:cubicBezTo>
                  <a:pt x="369" y="454"/>
                  <a:pt x="369" y="454"/>
                  <a:pt x="368" y="454"/>
                </a:cubicBezTo>
                <a:cubicBezTo>
                  <a:pt x="368" y="454"/>
                  <a:pt x="368" y="454"/>
                  <a:pt x="369" y="454"/>
                </a:cubicBezTo>
                <a:cubicBezTo>
                  <a:pt x="369" y="454"/>
                  <a:pt x="369" y="454"/>
                  <a:pt x="369" y="454"/>
                </a:cubicBezTo>
                <a:cubicBezTo>
                  <a:pt x="370" y="454"/>
                  <a:pt x="371" y="454"/>
                  <a:pt x="371" y="454"/>
                </a:cubicBezTo>
                <a:cubicBezTo>
                  <a:pt x="371" y="454"/>
                  <a:pt x="371" y="455"/>
                  <a:pt x="371" y="455"/>
                </a:cubicBezTo>
                <a:cubicBezTo>
                  <a:pt x="371" y="455"/>
                  <a:pt x="372" y="455"/>
                  <a:pt x="372" y="455"/>
                </a:cubicBezTo>
                <a:cubicBezTo>
                  <a:pt x="372" y="455"/>
                  <a:pt x="373" y="455"/>
                  <a:pt x="373" y="455"/>
                </a:cubicBezTo>
                <a:cubicBezTo>
                  <a:pt x="374" y="455"/>
                  <a:pt x="375" y="456"/>
                  <a:pt x="375" y="456"/>
                </a:cubicBezTo>
                <a:cubicBezTo>
                  <a:pt x="376" y="456"/>
                  <a:pt x="377" y="457"/>
                  <a:pt x="377" y="457"/>
                </a:cubicBezTo>
                <a:cubicBezTo>
                  <a:pt x="378" y="457"/>
                  <a:pt x="378" y="457"/>
                  <a:pt x="379" y="458"/>
                </a:cubicBezTo>
                <a:cubicBezTo>
                  <a:pt x="379" y="458"/>
                  <a:pt x="379" y="458"/>
                  <a:pt x="379" y="458"/>
                </a:cubicBezTo>
                <a:cubicBezTo>
                  <a:pt x="380" y="459"/>
                  <a:pt x="381" y="459"/>
                  <a:pt x="382" y="459"/>
                </a:cubicBezTo>
                <a:cubicBezTo>
                  <a:pt x="382" y="460"/>
                  <a:pt x="382" y="460"/>
                  <a:pt x="382" y="460"/>
                </a:cubicBezTo>
                <a:cubicBezTo>
                  <a:pt x="382" y="460"/>
                  <a:pt x="382" y="460"/>
                  <a:pt x="382" y="461"/>
                </a:cubicBezTo>
                <a:cubicBezTo>
                  <a:pt x="382" y="461"/>
                  <a:pt x="382" y="461"/>
                  <a:pt x="383" y="461"/>
                </a:cubicBezTo>
                <a:cubicBezTo>
                  <a:pt x="383" y="461"/>
                  <a:pt x="383" y="462"/>
                  <a:pt x="384" y="462"/>
                </a:cubicBezTo>
                <a:cubicBezTo>
                  <a:pt x="384" y="462"/>
                  <a:pt x="385" y="463"/>
                  <a:pt x="385" y="463"/>
                </a:cubicBezTo>
                <a:cubicBezTo>
                  <a:pt x="385" y="464"/>
                  <a:pt x="386" y="464"/>
                  <a:pt x="386" y="464"/>
                </a:cubicBezTo>
                <a:cubicBezTo>
                  <a:pt x="386" y="464"/>
                  <a:pt x="385" y="465"/>
                  <a:pt x="385" y="465"/>
                </a:cubicBezTo>
                <a:cubicBezTo>
                  <a:pt x="385" y="465"/>
                  <a:pt x="385" y="466"/>
                  <a:pt x="384" y="466"/>
                </a:cubicBezTo>
                <a:cubicBezTo>
                  <a:pt x="384" y="466"/>
                  <a:pt x="384" y="466"/>
                  <a:pt x="384" y="467"/>
                </a:cubicBezTo>
                <a:cubicBezTo>
                  <a:pt x="385" y="467"/>
                  <a:pt x="385" y="466"/>
                  <a:pt x="385" y="466"/>
                </a:cubicBezTo>
                <a:cubicBezTo>
                  <a:pt x="385" y="466"/>
                  <a:pt x="385" y="467"/>
                  <a:pt x="386" y="467"/>
                </a:cubicBezTo>
                <a:cubicBezTo>
                  <a:pt x="386" y="467"/>
                  <a:pt x="386" y="467"/>
                  <a:pt x="385" y="467"/>
                </a:cubicBezTo>
                <a:cubicBezTo>
                  <a:pt x="385" y="467"/>
                  <a:pt x="385" y="467"/>
                  <a:pt x="384" y="467"/>
                </a:cubicBezTo>
                <a:cubicBezTo>
                  <a:pt x="384" y="468"/>
                  <a:pt x="384" y="468"/>
                  <a:pt x="384" y="468"/>
                </a:cubicBezTo>
                <a:cubicBezTo>
                  <a:pt x="384" y="468"/>
                  <a:pt x="384" y="468"/>
                  <a:pt x="384" y="468"/>
                </a:cubicBezTo>
                <a:cubicBezTo>
                  <a:pt x="384" y="469"/>
                  <a:pt x="385" y="469"/>
                  <a:pt x="385" y="469"/>
                </a:cubicBezTo>
                <a:cubicBezTo>
                  <a:pt x="385" y="469"/>
                  <a:pt x="386" y="469"/>
                  <a:pt x="386" y="469"/>
                </a:cubicBezTo>
                <a:cubicBezTo>
                  <a:pt x="386" y="470"/>
                  <a:pt x="386" y="470"/>
                  <a:pt x="386" y="470"/>
                </a:cubicBezTo>
                <a:cubicBezTo>
                  <a:pt x="386" y="470"/>
                  <a:pt x="387" y="470"/>
                  <a:pt x="387" y="471"/>
                </a:cubicBezTo>
                <a:cubicBezTo>
                  <a:pt x="387" y="471"/>
                  <a:pt x="388" y="471"/>
                  <a:pt x="388" y="471"/>
                </a:cubicBezTo>
                <a:cubicBezTo>
                  <a:pt x="388" y="471"/>
                  <a:pt x="388" y="471"/>
                  <a:pt x="388" y="471"/>
                </a:cubicBezTo>
                <a:cubicBezTo>
                  <a:pt x="389" y="471"/>
                  <a:pt x="389" y="471"/>
                  <a:pt x="389" y="471"/>
                </a:cubicBezTo>
                <a:cubicBezTo>
                  <a:pt x="389" y="471"/>
                  <a:pt x="389" y="471"/>
                  <a:pt x="390" y="471"/>
                </a:cubicBezTo>
                <a:cubicBezTo>
                  <a:pt x="390" y="471"/>
                  <a:pt x="391" y="471"/>
                  <a:pt x="391" y="471"/>
                </a:cubicBezTo>
                <a:cubicBezTo>
                  <a:pt x="392" y="471"/>
                  <a:pt x="392" y="471"/>
                  <a:pt x="392" y="471"/>
                </a:cubicBezTo>
                <a:cubicBezTo>
                  <a:pt x="392" y="471"/>
                  <a:pt x="393" y="471"/>
                  <a:pt x="393" y="471"/>
                </a:cubicBezTo>
                <a:cubicBezTo>
                  <a:pt x="393" y="471"/>
                  <a:pt x="393" y="471"/>
                  <a:pt x="393" y="471"/>
                </a:cubicBezTo>
                <a:cubicBezTo>
                  <a:pt x="393" y="471"/>
                  <a:pt x="393" y="471"/>
                  <a:pt x="393" y="471"/>
                </a:cubicBezTo>
                <a:cubicBezTo>
                  <a:pt x="393" y="471"/>
                  <a:pt x="394" y="471"/>
                  <a:pt x="394" y="471"/>
                </a:cubicBezTo>
                <a:cubicBezTo>
                  <a:pt x="394" y="471"/>
                  <a:pt x="395" y="472"/>
                  <a:pt x="395" y="472"/>
                </a:cubicBezTo>
                <a:cubicBezTo>
                  <a:pt x="396" y="472"/>
                  <a:pt x="396" y="472"/>
                  <a:pt x="397" y="472"/>
                </a:cubicBezTo>
                <a:cubicBezTo>
                  <a:pt x="397" y="473"/>
                  <a:pt x="397" y="473"/>
                  <a:pt x="398" y="473"/>
                </a:cubicBezTo>
                <a:cubicBezTo>
                  <a:pt x="398" y="473"/>
                  <a:pt x="398" y="473"/>
                  <a:pt x="399" y="473"/>
                </a:cubicBezTo>
                <a:cubicBezTo>
                  <a:pt x="399" y="473"/>
                  <a:pt x="399" y="473"/>
                  <a:pt x="399" y="473"/>
                </a:cubicBezTo>
                <a:cubicBezTo>
                  <a:pt x="399" y="473"/>
                  <a:pt x="400" y="473"/>
                  <a:pt x="400" y="473"/>
                </a:cubicBezTo>
                <a:cubicBezTo>
                  <a:pt x="400" y="473"/>
                  <a:pt x="401" y="473"/>
                  <a:pt x="401" y="472"/>
                </a:cubicBezTo>
                <a:cubicBezTo>
                  <a:pt x="401" y="472"/>
                  <a:pt x="402" y="472"/>
                  <a:pt x="403" y="472"/>
                </a:cubicBezTo>
                <a:cubicBezTo>
                  <a:pt x="403" y="472"/>
                  <a:pt x="403" y="472"/>
                  <a:pt x="404" y="472"/>
                </a:cubicBezTo>
                <a:cubicBezTo>
                  <a:pt x="404" y="472"/>
                  <a:pt x="404" y="472"/>
                  <a:pt x="404" y="472"/>
                </a:cubicBezTo>
                <a:cubicBezTo>
                  <a:pt x="404" y="472"/>
                  <a:pt x="404" y="472"/>
                  <a:pt x="404" y="472"/>
                </a:cubicBezTo>
                <a:cubicBezTo>
                  <a:pt x="404" y="472"/>
                  <a:pt x="405" y="472"/>
                  <a:pt x="405" y="472"/>
                </a:cubicBezTo>
                <a:cubicBezTo>
                  <a:pt x="406" y="472"/>
                  <a:pt x="407" y="472"/>
                  <a:pt x="408" y="473"/>
                </a:cubicBezTo>
                <a:cubicBezTo>
                  <a:pt x="408" y="473"/>
                  <a:pt x="408" y="473"/>
                  <a:pt x="408" y="473"/>
                </a:cubicBezTo>
                <a:cubicBezTo>
                  <a:pt x="409" y="473"/>
                  <a:pt x="410" y="473"/>
                  <a:pt x="410" y="473"/>
                </a:cubicBezTo>
                <a:cubicBezTo>
                  <a:pt x="411" y="473"/>
                  <a:pt x="412" y="473"/>
                  <a:pt x="413" y="473"/>
                </a:cubicBezTo>
                <a:cubicBezTo>
                  <a:pt x="413" y="473"/>
                  <a:pt x="414" y="473"/>
                  <a:pt x="415" y="473"/>
                </a:cubicBezTo>
                <a:cubicBezTo>
                  <a:pt x="415" y="473"/>
                  <a:pt x="416" y="473"/>
                  <a:pt x="416" y="473"/>
                </a:cubicBezTo>
                <a:cubicBezTo>
                  <a:pt x="417" y="473"/>
                  <a:pt x="417" y="473"/>
                  <a:pt x="417" y="473"/>
                </a:cubicBezTo>
                <a:cubicBezTo>
                  <a:pt x="418" y="473"/>
                  <a:pt x="418" y="473"/>
                  <a:pt x="419" y="473"/>
                </a:cubicBezTo>
                <a:cubicBezTo>
                  <a:pt x="419" y="473"/>
                  <a:pt x="419" y="473"/>
                  <a:pt x="420" y="473"/>
                </a:cubicBezTo>
                <a:cubicBezTo>
                  <a:pt x="420" y="473"/>
                  <a:pt x="420" y="472"/>
                  <a:pt x="421" y="472"/>
                </a:cubicBezTo>
                <a:cubicBezTo>
                  <a:pt x="421" y="472"/>
                  <a:pt x="421" y="472"/>
                  <a:pt x="421" y="472"/>
                </a:cubicBezTo>
                <a:cubicBezTo>
                  <a:pt x="421" y="473"/>
                  <a:pt x="422" y="473"/>
                  <a:pt x="422" y="473"/>
                </a:cubicBezTo>
                <a:cubicBezTo>
                  <a:pt x="422" y="473"/>
                  <a:pt x="423" y="473"/>
                  <a:pt x="423" y="473"/>
                </a:cubicBezTo>
                <a:cubicBezTo>
                  <a:pt x="423" y="473"/>
                  <a:pt x="424" y="473"/>
                  <a:pt x="424" y="473"/>
                </a:cubicBezTo>
                <a:cubicBezTo>
                  <a:pt x="424" y="473"/>
                  <a:pt x="424" y="473"/>
                  <a:pt x="424" y="473"/>
                </a:cubicBezTo>
                <a:cubicBezTo>
                  <a:pt x="425" y="473"/>
                  <a:pt x="425" y="473"/>
                  <a:pt x="425" y="473"/>
                </a:cubicBezTo>
                <a:cubicBezTo>
                  <a:pt x="426" y="473"/>
                  <a:pt x="427" y="473"/>
                  <a:pt x="427" y="473"/>
                </a:cubicBezTo>
                <a:cubicBezTo>
                  <a:pt x="428" y="472"/>
                  <a:pt x="428" y="472"/>
                  <a:pt x="429" y="472"/>
                </a:cubicBezTo>
                <a:cubicBezTo>
                  <a:pt x="430" y="472"/>
                  <a:pt x="430" y="472"/>
                  <a:pt x="431" y="472"/>
                </a:cubicBezTo>
                <a:cubicBezTo>
                  <a:pt x="431" y="472"/>
                  <a:pt x="432" y="472"/>
                  <a:pt x="433" y="472"/>
                </a:cubicBezTo>
                <a:cubicBezTo>
                  <a:pt x="433" y="472"/>
                  <a:pt x="434" y="472"/>
                  <a:pt x="434" y="472"/>
                </a:cubicBezTo>
                <a:cubicBezTo>
                  <a:pt x="435" y="471"/>
                  <a:pt x="436" y="471"/>
                  <a:pt x="436" y="470"/>
                </a:cubicBezTo>
                <a:cubicBezTo>
                  <a:pt x="437" y="470"/>
                  <a:pt x="437" y="470"/>
                  <a:pt x="437" y="470"/>
                </a:cubicBezTo>
                <a:cubicBezTo>
                  <a:pt x="438" y="469"/>
                  <a:pt x="438" y="469"/>
                  <a:pt x="438" y="469"/>
                </a:cubicBezTo>
                <a:cubicBezTo>
                  <a:pt x="439" y="469"/>
                  <a:pt x="439" y="468"/>
                  <a:pt x="439" y="468"/>
                </a:cubicBezTo>
                <a:cubicBezTo>
                  <a:pt x="440" y="468"/>
                  <a:pt x="440" y="468"/>
                  <a:pt x="441" y="468"/>
                </a:cubicBezTo>
                <a:cubicBezTo>
                  <a:pt x="441" y="468"/>
                  <a:pt x="441" y="468"/>
                  <a:pt x="441" y="468"/>
                </a:cubicBezTo>
                <a:cubicBezTo>
                  <a:pt x="441" y="468"/>
                  <a:pt x="441" y="468"/>
                  <a:pt x="441" y="468"/>
                </a:cubicBezTo>
                <a:cubicBezTo>
                  <a:pt x="441" y="468"/>
                  <a:pt x="440" y="468"/>
                  <a:pt x="440" y="468"/>
                </a:cubicBezTo>
                <a:cubicBezTo>
                  <a:pt x="440" y="468"/>
                  <a:pt x="439" y="468"/>
                  <a:pt x="439" y="468"/>
                </a:cubicBezTo>
                <a:cubicBezTo>
                  <a:pt x="439" y="468"/>
                  <a:pt x="439" y="468"/>
                  <a:pt x="439" y="468"/>
                </a:cubicBezTo>
                <a:cubicBezTo>
                  <a:pt x="439" y="467"/>
                  <a:pt x="440" y="467"/>
                  <a:pt x="440" y="467"/>
                </a:cubicBezTo>
                <a:cubicBezTo>
                  <a:pt x="440" y="467"/>
                  <a:pt x="440" y="467"/>
                  <a:pt x="440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2" y="467"/>
                  <a:pt x="442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2" y="467"/>
                  <a:pt x="442" y="467"/>
                  <a:pt x="441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1" y="467"/>
                  <a:pt x="442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4" y="467"/>
                  <a:pt x="444" y="467"/>
                  <a:pt x="445" y="467"/>
                </a:cubicBezTo>
                <a:cubicBezTo>
                  <a:pt x="445" y="467"/>
                  <a:pt x="445" y="467"/>
                  <a:pt x="446" y="468"/>
                </a:cubicBezTo>
                <a:cubicBezTo>
                  <a:pt x="446" y="467"/>
                  <a:pt x="446" y="467"/>
                  <a:pt x="446" y="467"/>
                </a:cubicBezTo>
                <a:cubicBezTo>
                  <a:pt x="445" y="467"/>
                  <a:pt x="445" y="467"/>
                  <a:pt x="444" y="467"/>
                </a:cubicBezTo>
                <a:cubicBezTo>
                  <a:pt x="444" y="467"/>
                  <a:pt x="443" y="467"/>
                  <a:pt x="443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3" y="467"/>
                  <a:pt x="444" y="466"/>
                  <a:pt x="444" y="466"/>
                </a:cubicBezTo>
                <a:cubicBezTo>
                  <a:pt x="444" y="467"/>
                  <a:pt x="445" y="467"/>
                  <a:pt x="445" y="467"/>
                </a:cubicBezTo>
                <a:cubicBezTo>
                  <a:pt x="445" y="467"/>
                  <a:pt x="446" y="467"/>
                  <a:pt x="446" y="467"/>
                </a:cubicBezTo>
                <a:cubicBezTo>
                  <a:pt x="446" y="467"/>
                  <a:pt x="446" y="467"/>
                  <a:pt x="446" y="468"/>
                </a:cubicBezTo>
                <a:cubicBezTo>
                  <a:pt x="446" y="468"/>
                  <a:pt x="447" y="468"/>
                  <a:pt x="447" y="468"/>
                </a:cubicBezTo>
                <a:cubicBezTo>
                  <a:pt x="448" y="468"/>
                  <a:pt x="449" y="468"/>
                  <a:pt x="451" y="469"/>
                </a:cubicBezTo>
                <a:cubicBezTo>
                  <a:pt x="451" y="469"/>
                  <a:pt x="451" y="469"/>
                  <a:pt x="452" y="469"/>
                </a:cubicBezTo>
                <a:cubicBezTo>
                  <a:pt x="452" y="469"/>
                  <a:pt x="452" y="469"/>
                  <a:pt x="452" y="469"/>
                </a:cubicBezTo>
                <a:cubicBezTo>
                  <a:pt x="453" y="469"/>
                  <a:pt x="453" y="469"/>
                  <a:pt x="454" y="469"/>
                </a:cubicBezTo>
                <a:cubicBezTo>
                  <a:pt x="454" y="470"/>
                  <a:pt x="454" y="470"/>
                  <a:pt x="455" y="470"/>
                </a:cubicBezTo>
                <a:cubicBezTo>
                  <a:pt x="455" y="470"/>
                  <a:pt x="455" y="470"/>
                  <a:pt x="456" y="470"/>
                </a:cubicBezTo>
                <a:cubicBezTo>
                  <a:pt x="456" y="471"/>
                  <a:pt x="456" y="471"/>
                  <a:pt x="457" y="471"/>
                </a:cubicBezTo>
                <a:cubicBezTo>
                  <a:pt x="457" y="471"/>
                  <a:pt x="457" y="471"/>
                  <a:pt x="457" y="471"/>
                </a:cubicBezTo>
                <a:cubicBezTo>
                  <a:pt x="458" y="471"/>
                  <a:pt x="458" y="471"/>
                  <a:pt x="458" y="471"/>
                </a:cubicBezTo>
                <a:cubicBezTo>
                  <a:pt x="459" y="471"/>
                  <a:pt x="460" y="471"/>
                  <a:pt x="461" y="471"/>
                </a:cubicBezTo>
                <a:cubicBezTo>
                  <a:pt x="461" y="471"/>
                  <a:pt x="462" y="471"/>
                  <a:pt x="462" y="471"/>
                </a:cubicBezTo>
                <a:cubicBezTo>
                  <a:pt x="463" y="470"/>
                  <a:pt x="463" y="470"/>
                  <a:pt x="464" y="470"/>
                </a:cubicBezTo>
                <a:cubicBezTo>
                  <a:pt x="464" y="470"/>
                  <a:pt x="465" y="470"/>
                  <a:pt x="466" y="470"/>
                </a:cubicBezTo>
                <a:cubicBezTo>
                  <a:pt x="466" y="470"/>
                  <a:pt x="466" y="470"/>
                  <a:pt x="466" y="470"/>
                </a:cubicBezTo>
                <a:cubicBezTo>
                  <a:pt x="466" y="470"/>
                  <a:pt x="467" y="470"/>
                  <a:pt x="467" y="470"/>
                </a:cubicBezTo>
                <a:cubicBezTo>
                  <a:pt x="467" y="470"/>
                  <a:pt x="468" y="470"/>
                  <a:pt x="468" y="470"/>
                </a:cubicBezTo>
                <a:cubicBezTo>
                  <a:pt x="468" y="470"/>
                  <a:pt x="469" y="470"/>
                  <a:pt x="469" y="470"/>
                </a:cubicBezTo>
                <a:cubicBezTo>
                  <a:pt x="469" y="470"/>
                  <a:pt x="469" y="470"/>
                  <a:pt x="469" y="470"/>
                </a:cubicBezTo>
                <a:cubicBezTo>
                  <a:pt x="469" y="470"/>
                  <a:pt x="469" y="470"/>
                  <a:pt x="470" y="470"/>
                </a:cubicBezTo>
                <a:cubicBezTo>
                  <a:pt x="470" y="470"/>
                  <a:pt x="471" y="470"/>
                  <a:pt x="471" y="470"/>
                </a:cubicBezTo>
                <a:cubicBezTo>
                  <a:pt x="472" y="470"/>
                  <a:pt x="473" y="470"/>
                  <a:pt x="473" y="470"/>
                </a:cubicBezTo>
                <a:cubicBezTo>
                  <a:pt x="473" y="470"/>
                  <a:pt x="473" y="470"/>
                  <a:pt x="473" y="470"/>
                </a:cubicBezTo>
                <a:cubicBezTo>
                  <a:pt x="473" y="470"/>
                  <a:pt x="473" y="470"/>
                  <a:pt x="472" y="470"/>
                </a:cubicBezTo>
                <a:cubicBezTo>
                  <a:pt x="473" y="469"/>
                  <a:pt x="473" y="469"/>
                  <a:pt x="473" y="469"/>
                </a:cubicBezTo>
                <a:cubicBezTo>
                  <a:pt x="473" y="469"/>
                  <a:pt x="473" y="469"/>
                  <a:pt x="474" y="469"/>
                </a:cubicBezTo>
                <a:cubicBezTo>
                  <a:pt x="474" y="469"/>
                  <a:pt x="474" y="469"/>
                  <a:pt x="475" y="470"/>
                </a:cubicBezTo>
                <a:cubicBezTo>
                  <a:pt x="475" y="470"/>
                  <a:pt x="475" y="470"/>
                  <a:pt x="475" y="470"/>
                </a:cubicBezTo>
                <a:cubicBezTo>
                  <a:pt x="476" y="470"/>
                  <a:pt x="477" y="469"/>
                  <a:pt x="477" y="469"/>
                </a:cubicBezTo>
                <a:cubicBezTo>
                  <a:pt x="478" y="469"/>
                  <a:pt x="478" y="469"/>
                  <a:pt x="478" y="468"/>
                </a:cubicBezTo>
                <a:cubicBezTo>
                  <a:pt x="478" y="468"/>
                  <a:pt x="478" y="468"/>
                  <a:pt x="477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9" y="468"/>
                  <a:pt x="479" y="468"/>
                </a:cubicBezTo>
                <a:cubicBezTo>
                  <a:pt x="479" y="468"/>
                  <a:pt x="479" y="468"/>
                  <a:pt x="479" y="468"/>
                </a:cubicBezTo>
                <a:cubicBezTo>
                  <a:pt x="479" y="468"/>
                  <a:pt x="479" y="468"/>
                  <a:pt x="479" y="468"/>
                </a:cubicBezTo>
                <a:cubicBezTo>
                  <a:pt x="479" y="468"/>
                  <a:pt x="479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79" y="469"/>
                  <a:pt x="479" y="469"/>
                  <a:pt x="479" y="469"/>
                </a:cubicBezTo>
                <a:cubicBezTo>
                  <a:pt x="479" y="469"/>
                  <a:pt x="479" y="469"/>
                  <a:pt x="479" y="469"/>
                </a:cubicBezTo>
                <a:cubicBezTo>
                  <a:pt x="480" y="470"/>
                  <a:pt x="480" y="470"/>
                  <a:pt x="481" y="470"/>
                </a:cubicBezTo>
                <a:cubicBezTo>
                  <a:pt x="481" y="470"/>
                  <a:pt x="482" y="470"/>
                  <a:pt x="482" y="470"/>
                </a:cubicBezTo>
                <a:cubicBezTo>
                  <a:pt x="482" y="471"/>
                  <a:pt x="482" y="471"/>
                  <a:pt x="482" y="471"/>
                </a:cubicBezTo>
                <a:cubicBezTo>
                  <a:pt x="483" y="471"/>
                  <a:pt x="483" y="471"/>
                  <a:pt x="484" y="471"/>
                </a:cubicBezTo>
                <a:cubicBezTo>
                  <a:pt x="484" y="472"/>
                  <a:pt x="485" y="472"/>
                  <a:pt x="485" y="472"/>
                </a:cubicBezTo>
                <a:cubicBezTo>
                  <a:pt x="486" y="473"/>
                  <a:pt x="487" y="473"/>
                  <a:pt x="488" y="473"/>
                </a:cubicBezTo>
                <a:cubicBezTo>
                  <a:pt x="488" y="473"/>
                  <a:pt x="489" y="473"/>
                  <a:pt x="489" y="473"/>
                </a:cubicBezTo>
                <a:cubicBezTo>
                  <a:pt x="489" y="473"/>
                  <a:pt x="489" y="473"/>
                  <a:pt x="489" y="473"/>
                </a:cubicBezTo>
                <a:cubicBezTo>
                  <a:pt x="489" y="473"/>
                  <a:pt x="489" y="473"/>
                  <a:pt x="489" y="473"/>
                </a:cubicBezTo>
                <a:cubicBezTo>
                  <a:pt x="489" y="474"/>
                  <a:pt x="489" y="474"/>
                  <a:pt x="489" y="474"/>
                </a:cubicBezTo>
                <a:cubicBezTo>
                  <a:pt x="489" y="474"/>
                  <a:pt x="489" y="475"/>
                  <a:pt x="489" y="475"/>
                </a:cubicBezTo>
                <a:cubicBezTo>
                  <a:pt x="489" y="475"/>
                  <a:pt x="489" y="475"/>
                  <a:pt x="489" y="475"/>
                </a:cubicBezTo>
                <a:cubicBezTo>
                  <a:pt x="490" y="475"/>
                  <a:pt x="490" y="475"/>
                  <a:pt x="490" y="475"/>
                </a:cubicBezTo>
                <a:cubicBezTo>
                  <a:pt x="490" y="475"/>
                  <a:pt x="490" y="475"/>
                  <a:pt x="490" y="475"/>
                </a:cubicBezTo>
                <a:cubicBezTo>
                  <a:pt x="490" y="475"/>
                  <a:pt x="490" y="476"/>
                  <a:pt x="490" y="476"/>
                </a:cubicBezTo>
                <a:cubicBezTo>
                  <a:pt x="490" y="476"/>
                  <a:pt x="490" y="477"/>
                  <a:pt x="490" y="477"/>
                </a:cubicBezTo>
                <a:cubicBezTo>
                  <a:pt x="490" y="477"/>
                  <a:pt x="490" y="477"/>
                  <a:pt x="490" y="477"/>
                </a:cubicBezTo>
                <a:cubicBezTo>
                  <a:pt x="490" y="478"/>
                  <a:pt x="491" y="478"/>
                  <a:pt x="491" y="478"/>
                </a:cubicBezTo>
                <a:cubicBezTo>
                  <a:pt x="492" y="478"/>
                  <a:pt x="492" y="478"/>
                  <a:pt x="493" y="478"/>
                </a:cubicBezTo>
                <a:cubicBezTo>
                  <a:pt x="493" y="478"/>
                  <a:pt x="493" y="478"/>
                  <a:pt x="494" y="478"/>
                </a:cubicBezTo>
                <a:cubicBezTo>
                  <a:pt x="494" y="478"/>
                  <a:pt x="494" y="478"/>
                  <a:pt x="494" y="478"/>
                </a:cubicBezTo>
                <a:cubicBezTo>
                  <a:pt x="494" y="478"/>
                  <a:pt x="495" y="478"/>
                  <a:pt x="495" y="478"/>
                </a:cubicBezTo>
                <a:cubicBezTo>
                  <a:pt x="495" y="478"/>
                  <a:pt x="495" y="477"/>
                  <a:pt x="495" y="477"/>
                </a:cubicBezTo>
                <a:cubicBezTo>
                  <a:pt x="495" y="477"/>
                  <a:pt x="495" y="477"/>
                  <a:pt x="495" y="477"/>
                </a:cubicBezTo>
                <a:cubicBezTo>
                  <a:pt x="494" y="477"/>
                  <a:pt x="494" y="476"/>
                  <a:pt x="493" y="476"/>
                </a:cubicBezTo>
                <a:cubicBezTo>
                  <a:pt x="493" y="476"/>
                  <a:pt x="493" y="476"/>
                  <a:pt x="493" y="476"/>
                </a:cubicBezTo>
                <a:cubicBezTo>
                  <a:pt x="493" y="476"/>
                  <a:pt x="493" y="476"/>
                  <a:pt x="493" y="476"/>
                </a:cubicBezTo>
                <a:cubicBezTo>
                  <a:pt x="493" y="476"/>
                  <a:pt x="494" y="476"/>
                  <a:pt x="494" y="476"/>
                </a:cubicBezTo>
                <a:cubicBezTo>
                  <a:pt x="494" y="476"/>
                  <a:pt x="495" y="476"/>
                  <a:pt x="495" y="476"/>
                </a:cubicBezTo>
                <a:cubicBezTo>
                  <a:pt x="495" y="476"/>
                  <a:pt x="495" y="476"/>
                  <a:pt x="495" y="477"/>
                </a:cubicBezTo>
                <a:cubicBezTo>
                  <a:pt x="496" y="477"/>
                  <a:pt x="496" y="477"/>
                  <a:pt x="496" y="477"/>
                </a:cubicBezTo>
                <a:cubicBezTo>
                  <a:pt x="497" y="477"/>
                  <a:pt x="497" y="477"/>
                  <a:pt x="497" y="477"/>
                </a:cubicBezTo>
                <a:cubicBezTo>
                  <a:pt x="497" y="477"/>
                  <a:pt x="498" y="478"/>
                  <a:pt x="498" y="478"/>
                </a:cubicBezTo>
                <a:cubicBezTo>
                  <a:pt x="498" y="478"/>
                  <a:pt x="499" y="478"/>
                  <a:pt x="499" y="478"/>
                </a:cubicBezTo>
                <a:cubicBezTo>
                  <a:pt x="499" y="478"/>
                  <a:pt x="500" y="478"/>
                  <a:pt x="500" y="478"/>
                </a:cubicBezTo>
                <a:cubicBezTo>
                  <a:pt x="500" y="478"/>
                  <a:pt x="501" y="478"/>
                  <a:pt x="501" y="479"/>
                </a:cubicBezTo>
                <a:cubicBezTo>
                  <a:pt x="501" y="479"/>
                  <a:pt x="501" y="479"/>
                  <a:pt x="501" y="479"/>
                </a:cubicBezTo>
                <a:cubicBezTo>
                  <a:pt x="501" y="479"/>
                  <a:pt x="501" y="479"/>
                  <a:pt x="501" y="480"/>
                </a:cubicBezTo>
                <a:cubicBezTo>
                  <a:pt x="501" y="480"/>
                  <a:pt x="501" y="480"/>
                  <a:pt x="501" y="480"/>
                </a:cubicBezTo>
                <a:cubicBezTo>
                  <a:pt x="501" y="480"/>
                  <a:pt x="501" y="480"/>
                  <a:pt x="502" y="481"/>
                </a:cubicBezTo>
                <a:cubicBezTo>
                  <a:pt x="502" y="481"/>
                  <a:pt x="502" y="481"/>
                  <a:pt x="503" y="481"/>
                </a:cubicBezTo>
                <a:cubicBezTo>
                  <a:pt x="503" y="481"/>
                  <a:pt x="503" y="481"/>
                  <a:pt x="504" y="481"/>
                </a:cubicBezTo>
                <a:cubicBezTo>
                  <a:pt x="504" y="481"/>
                  <a:pt x="504" y="481"/>
                  <a:pt x="504" y="480"/>
                </a:cubicBezTo>
                <a:cubicBezTo>
                  <a:pt x="504" y="480"/>
                  <a:pt x="504" y="480"/>
                  <a:pt x="504" y="480"/>
                </a:cubicBezTo>
                <a:cubicBezTo>
                  <a:pt x="504" y="480"/>
                  <a:pt x="504" y="480"/>
                  <a:pt x="503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3" y="479"/>
                  <a:pt x="503" y="479"/>
                  <a:pt x="502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4" y="479"/>
                  <a:pt x="504" y="479"/>
                  <a:pt x="504" y="480"/>
                </a:cubicBezTo>
                <a:cubicBezTo>
                  <a:pt x="504" y="480"/>
                  <a:pt x="505" y="480"/>
                  <a:pt x="505" y="480"/>
                </a:cubicBezTo>
                <a:cubicBezTo>
                  <a:pt x="505" y="480"/>
                  <a:pt x="505" y="480"/>
                  <a:pt x="505" y="480"/>
                </a:cubicBezTo>
                <a:cubicBezTo>
                  <a:pt x="505" y="480"/>
                  <a:pt x="505" y="480"/>
                  <a:pt x="505" y="480"/>
                </a:cubicBezTo>
                <a:cubicBezTo>
                  <a:pt x="505" y="480"/>
                  <a:pt x="506" y="481"/>
                  <a:pt x="506" y="481"/>
                </a:cubicBezTo>
                <a:cubicBezTo>
                  <a:pt x="506" y="481"/>
                  <a:pt x="506" y="481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7" y="480"/>
                  <a:pt x="507" y="479"/>
                  <a:pt x="507" y="479"/>
                </a:cubicBezTo>
                <a:cubicBezTo>
                  <a:pt x="507" y="479"/>
                  <a:pt x="508" y="479"/>
                  <a:pt x="508" y="479"/>
                </a:cubicBezTo>
                <a:cubicBezTo>
                  <a:pt x="508" y="479"/>
                  <a:pt x="508" y="479"/>
                  <a:pt x="509" y="479"/>
                </a:cubicBezTo>
                <a:cubicBezTo>
                  <a:pt x="509" y="479"/>
                  <a:pt x="509" y="479"/>
                  <a:pt x="509" y="479"/>
                </a:cubicBezTo>
                <a:cubicBezTo>
                  <a:pt x="509" y="479"/>
                  <a:pt x="509" y="479"/>
                  <a:pt x="510" y="479"/>
                </a:cubicBezTo>
                <a:cubicBezTo>
                  <a:pt x="510" y="479"/>
                  <a:pt x="510" y="479"/>
                  <a:pt x="510" y="479"/>
                </a:cubicBezTo>
                <a:cubicBezTo>
                  <a:pt x="510" y="479"/>
                  <a:pt x="510" y="479"/>
                  <a:pt x="510" y="479"/>
                </a:cubicBezTo>
                <a:cubicBezTo>
                  <a:pt x="511" y="479"/>
                  <a:pt x="511" y="479"/>
                  <a:pt x="512" y="479"/>
                </a:cubicBezTo>
                <a:cubicBezTo>
                  <a:pt x="512" y="479"/>
                  <a:pt x="512" y="479"/>
                  <a:pt x="512" y="480"/>
                </a:cubicBezTo>
                <a:cubicBezTo>
                  <a:pt x="513" y="480"/>
                  <a:pt x="513" y="480"/>
                  <a:pt x="513" y="480"/>
                </a:cubicBezTo>
                <a:cubicBezTo>
                  <a:pt x="514" y="480"/>
                  <a:pt x="514" y="480"/>
                  <a:pt x="514" y="480"/>
                </a:cubicBezTo>
                <a:cubicBezTo>
                  <a:pt x="514" y="480"/>
                  <a:pt x="515" y="480"/>
                  <a:pt x="515" y="480"/>
                </a:cubicBezTo>
                <a:cubicBezTo>
                  <a:pt x="515" y="480"/>
                  <a:pt x="515" y="480"/>
                  <a:pt x="515" y="480"/>
                </a:cubicBezTo>
                <a:cubicBezTo>
                  <a:pt x="515" y="480"/>
                  <a:pt x="515" y="480"/>
                  <a:pt x="515" y="480"/>
                </a:cubicBezTo>
                <a:cubicBezTo>
                  <a:pt x="515" y="479"/>
                  <a:pt x="515" y="479"/>
                  <a:pt x="515" y="479"/>
                </a:cubicBezTo>
                <a:cubicBezTo>
                  <a:pt x="515" y="479"/>
                  <a:pt x="515" y="479"/>
                  <a:pt x="516" y="479"/>
                </a:cubicBezTo>
                <a:cubicBezTo>
                  <a:pt x="516" y="479"/>
                  <a:pt x="516" y="479"/>
                  <a:pt x="516" y="479"/>
                </a:cubicBezTo>
                <a:cubicBezTo>
                  <a:pt x="516" y="479"/>
                  <a:pt x="516" y="479"/>
                  <a:pt x="516" y="480"/>
                </a:cubicBezTo>
                <a:cubicBezTo>
                  <a:pt x="516" y="480"/>
                  <a:pt x="516" y="480"/>
                  <a:pt x="516" y="480"/>
                </a:cubicBezTo>
                <a:cubicBezTo>
                  <a:pt x="516" y="480"/>
                  <a:pt x="516" y="481"/>
                  <a:pt x="516" y="481"/>
                </a:cubicBezTo>
                <a:cubicBezTo>
                  <a:pt x="516" y="481"/>
                  <a:pt x="517" y="481"/>
                  <a:pt x="517" y="481"/>
                </a:cubicBezTo>
                <a:cubicBezTo>
                  <a:pt x="517" y="481"/>
                  <a:pt x="518" y="481"/>
                  <a:pt x="518" y="481"/>
                </a:cubicBezTo>
                <a:cubicBezTo>
                  <a:pt x="518" y="481"/>
                  <a:pt x="518" y="480"/>
                  <a:pt x="519" y="480"/>
                </a:cubicBezTo>
                <a:cubicBezTo>
                  <a:pt x="519" y="480"/>
                  <a:pt x="519" y="480"/>
                  <a:pt x="519" y="479"/>
                </a:cubicBezTo>
                <a:cubicBezTo>
                  <a:pt x="519" y="479"/>
                  <a:pt x="520" y="479"/>
                  <a:pt x="520" y="479"/>
                </a:cubicBezTo>
                <a:cubicBezTo>
                  <a:pt x="520" y="479"/>
                  <a:pt x="520" y="479"/>
                  <a:pt x="520" y="479"/>
                </a:cubicBezTo>
                <a:cubicBezTo>
                  <a:pt x="520" y="479"/>
                  <a:pt x="520" y="479"/>
                  <a:pt x="520" y="478"/>
                </a:cubicBezTo>
                <a:cubicBezTo>
                  <a:pt x="520" y="478"/>
                  <a:pt x="520" y="478"/>
                  <a:pt x="519" y="478"/>
                </a:cubicBezTo>
                <a:cubicBezTo>
                  <a:pt x="519" y="478"/>
                  <a:pt x="519" y="478"/>
                  <a:pt x="518" y="478"/>
                </a:cubicBezTo>
                <a:cubicBezTo>
                  <a:pt x="518" y="478"/>
                  <a:pt x="518" y="478"/>
                  <a:pt x="518" y="477"/>
                </a:cubicBezTo>
                <a:cubicBezTo>
                  <a:pt x="518" y="477"/>
                  <a:pt x="518" y="477"/>
                  <a:pt x="518" y="477"/>
                </a:cubicBezTo>
                <a:cubicBezTo>
                  <a:pt x="518" y="477"/>
                  <a:pt x="518" y="477"/>
                  <a:pt x="519" y="476"/>
                </a:cubicBezTo>
                <a:cubicBezTo>
                  <a:pt x="519" y="476"/>
                  <a:pt x="520" y="476"/>
                  <a:pt x="520" y="476"/>
                </a:cubicBezTo>
                <a:cubicBezTo>
                  <a:pt x="520" y="475"/>
                  <a:pt x="521" y="475"/>
                  <a:pt x="521" y="474"/>
                </a:cubicBezTo>
                <a:cubicBezTo>
                  <a:pt x="521" y="474"/>
                  <a:pt x="521" y="474"/>
                  <a:pt x="521" y="474"/>
                </a:cubicBezTo>
                <a:cubicBezTo>
                  <a:pt x="521" y="474"/>
                  <a:pt x="521" y="474"/>
                  <a:pt x="521" y="474"/>
                </a:cubicBezTo>
                <a:cubicBezTo>
                  <a:pt x="521" y="474"/>
                  <a:pt x="521" y="474"/>
                  <a:pt x="521" y="473"/>
                </a:cubicBezTo>
                <a:cubicBezTo>
                  <a:pt x="521" y="473"/>
                  <a:pt x="521" y="473"/>
                  <a:pt x="522" y="472"/>
                </a:cubicBezTo>
                <a:cubicBezTo>
                  <a:pt x="522" y="472"/>
                  <a:pt x="523" y="472"/>
                  <a:pt x="523" y="472"/>
                </a:cubicBezTo>
                <a:cubicBezTo>
                  <a:pt x="523" y="472"/>
                  <a:pt x="524" y="472"/>
                  <a:pt x="524" y="472"/>
                </a:cubicBezTo>
                <a:cubicBezTo>
                  <a:pt x="524" y="472"/>
                  <a:pt x="524" y="472"/>
                  <a:pt x="525" y="473"/>
                </a:cubicBezTo>
                <a:cubicBezTo>
                  <a:pt x="525" y="473"/>
                  <a:pt x="525" y="472"/>
                  <a:pt x="525" y="472"/>
                </a:cubicBezTo>
                <a:cubicBezTo>
                  <a:pt x="526" y="473"/>
                  <a:pt x="526" y="473"/>
                  <a:pt x="527" y="473"/>
                </a:cubicBezTo>
                <a:cubicBezTo>
                  <a:pt x="527" y="473"/>
                  <a:pt x="527" y="473"/>
                  <a:pt x="527" y="474"/>
                </a:cubicBezTo>
                <a:cubicBezTo>
                  <a:pt x="527" y="474"/>
                  <a:pt x="527" y="474"/>
                  <a:pt x="528" y="474"/>
                </a:cubicBezTo>
                <a:cubicBezTo>
                  <a:pt x="528" y="474"/>
                  <a:pt x="528" y="474"/>
                  <a:pt x="528" y="474"/>
                </a:cubicBezTo>
                <a:cubicBezTo>
                  <a:pt x="528" y="473"/>
                  <a:pt x="528" y="473"/>
                  <a:pt x="528" y="473"/>
                </a:cubicBezTo>
                <a:cubicBezTo>
                  <a:pt x="529" y="473"/>
                  <a:pt x="529" y="473"/>
                  <a:pt x="529" y="473"/>
                </a:cubicBezTo>
                <a:cubicBezTo>
                  <a:pt x="529" y="473"/>
                  <a:pt x="529" y="473"/>
                  <a:pt x="529" y="473"/>
                </a:cubicBezTo>
                <a:cubicBezTo>
                  <a:pt x="529" y="473"/>
                  <a:pt x="529" y="473"/>
                  <a:pt x="529" y="474"/>
                </a:cubicBezTo>
                <a:cubicBezTo>
                  <a:pt x="529" y="474"/>
                  <a:pt x="529" y="474"/>
                  <a:pt x="528" y="474"/>
                </a:cubicBezTo>
                <a:cubicBezTo>
                  <a:pt x="528" y="474"/>
                  <a:pt x="528" y="474"/>
                  <a:pt x="528" y="475"/>
                </a:cubicBezTo>
                <a:cubicBezTo>
                  <a:pt x="528" y="475"/>
                  <a:pt x="528" y="475"/>
                  <a:pt x="528" y="475"/>
                </a:cubicBezTo>
                <a:cubicBezTo>
                  <a:pt x="528" y="475"/>
                  <a:pt x="528" y="476"/>
                  <a:pt x="528" y="476"/>
                </a:cubicBezTo>
                <a:cubicBezTo>
                  <a:pt x="529" y="476"/>
                  <a:pt x="529" y="477"/>
                  <a:pt x="530" y="477"/>
                </a:cubicBezTo>
                <a:cubicBezTo>
                  <a:pt x="530" y="477"/>
                  <a:pt x="530" y="477"/>
                  <a:pt x="531" y="477"/>
                </a:cubicBezTo>
                <a:cubicBezTo>
                  <a:pt x="531" y="477"/>
                  <a:pt x="531" y="477"/>
                  <a:pt x="531" y="477"/>
                </a:cubicBezTo>
                <a:cubicBezTo>
                  <a:pt x="531" y="478"/>
                  <a:pt x="531" y="478"/>
                  <a:pt x="531" y="478"/>
                </a:cubicBezTo>
                <a:cubicBezTo>
                  <a:pt x="532" y="478"/>
                  <a:pt x="532" y="479"/>
                  <a:pt x="532" y="479"/>
                </a:cubicBezTo>
                <a:cubicBezTo>
                  <a:pt x="532" y="479"/>
                  <a:pt x="533" y="479"/>
                  <a:pt x="533" y="480"/>
                </a:cubicBezTo>
                <a:cubicBezTo>
                  <a:pt x="533" y="479"/>
                  <a:pt x="533" y="479"/>
                  <a:pt x="533" y="479"/>
                </a:cubicBezTo>
                <a:cubicBezTo>
                  <a:pt x="533" y="479"/>
                  <a:pt x="534" y="479"/>
                  <a:pt x="534" y="479"/>
                </a:cubicBezTo>
                <a:cubicBezTo>
                  <a:pt x="534" y="479"/>
                  <a:pt x="534" y="479"/>
                  <a:pt x="534" y="479"/>
                </a:cubicBezTo>
                <a:cubicBezTo>
                  <a:pt x="534" y="480"/>
                  <a:pt x="534" y="480"/>
                  <a:pt x="534" y="480"/>
                </a:cubicBezTo>
                <a:cubicBezTo>
                  <a:pt x="534" y="480"/>
                  <a:pt x="534" y="481"/>
                  <a:pt x="534" y="481"/>
                </a:cubicBezTo>
                <a:cubicBezTo>
                  <a:pt x="534" y="481"/>
                  <a:pt x="534" y="481"/>
                  <a:pt x="534" y="481"/>
                </a:cubicBezTo>
                <a:cubicBezTo>
                  <a:pt x="534" y="481"/>
                  <a:pt x="535" y="481"/>
                  <a:pt x="535" y="481"/>
                </a:cubicBezTo>
                <a:cubicBezTo>
                  <a:pt x="535" y="482"/>
                  <a:pt x="535" y="482"/>
                  <a:pt x="535" y="482"/>
                </a:cubicBezTo>
                <a:cubicBezTo>
                  <a:pt x="535" y="483"/>
                  <a:pt x="535" y="483"/>
                  <a:pt x="534" y="483"/>
                </a:cubicBezTo>
                <a:cubicBezTo>
                  <a:pt x="534" y="483"/>
                  <a:pt x="534" y="483"/>
                  <a:pt x="534" y="484"/>
                </a:cubicBezTo>
                <a:cubicBezTo>
                  <a:pt x="534" y="484"/>
                  <a:pt x="535" y="484"/>
                  <a:pt x="535" y="484"/>
                </a:cubicBezTo>
                <a:cubicBezTo>
                  <a:pt x="535" y="484"/>
                  <a:pt x="535" y="484"/>
                  <a:pt x="535" y="484"/>
                </a:cubicBezTo>
                <a:cubicBezTo>
                  <a:pt x="535" y="485"/>
                  <a:pt x="535" y="485"/>
                  <a:pt x="535" y="485"/>
                </a:cubicBezTo>
                <a:cubicBezTo>
                  <a:pt x="536" y="486"/>
                  <a:pt x="536" y="486"/>
                  <a:pt x="536" y="487"/>
                </a:cubicBezTo>
                <a:cubicBezTo>
                  <a:pt x="536" y="487"/>
                  <a:pt x="536" y="487"/>
                  <a:pt x="535" y="488"/>
                </a:cubicBezTo>
                <a:cubicBezTo>
                  <a:pt x="535" y="488"/>
                  <a:pt x="535" y="488"/>
                  <a:pt x="535" y="488"/>
                </a:cubicBezTo>
                <a:cubicBezTo>
                  <a:pt x="536" y="488"/>
                  <a:pt x="536" y="489"/>
                  <a:pt x="536" y="489"/>
                </a:cubicBezTo>
                <a:cubicBezTo>
                  <a:pt x="536" y="489"/>
                  <a:pt x="537" y="488"/>
                  <a:pt x="537" y="488"/>
                </a:cubicBezTo>
                <a:cubicBezTo>
                  <a:pt x="537" y="488"/>
                  <a:pt x="537" y="489"/>
                  <a:pt x="537" y="489"/>
                </a:cubicBezTo>
                <a:cubicBezTo>
                  <a:pt x="537" y="489"/>
                  <a:pt x="537" y="489"/>
                  <a:pt x="538" y="489"/>
                </a:cubicBezTo>
                <a:cubicBezTo>
                  <a:pt x="538" y="489"/>
                  <a:pt x="538" y="489"/>
                  <a:pt x="538" y="489"/>
                </a:cubicBezTo>
                <a:cubicBezTo>
                  <a:pt x="538" y="489"/>
                  <a:pt x="538" y="489"/>
                  <a:pt x="538" y="489"/>
                </a:cubicBezTo>
                <a:cubicBezTo>
                  <a:pt x="538" y="489"/>
                  <a:pt x="538" y="490"/>
                  <a:pt x="538" y="490"/>
                </a:cubicBezTo>
                <a:cubicBezTo>
                  <a:pt x="538" y="490"/>
                  <a:pt x="538" y="490"/>
                  <a:pt x="538" y="491"/>
                </a:cubicBezTo>
                <a:cubicBezTo>
                  <a:pt x="537" y="491"/>
                  <a:pt x="537" y="492"/>
                  <a:pt x="536" y="492"/>
                </a:cubicBezTo>
                <a:cubicBezTo>
                  <a:pt x="536" y="493"/>
                  <a:pt x="536" y="493"/>
                  <a:pt x="536" y="493"/>
                </a:cubicBezTo>
                <a:cubicBezTo>
                  <a:pt x="536" y="494"/>
                  <a:pt x="535" y="494"/>
                  <a:pt x="535" y="495"/>
                </a:cubicBezTo>
                <a:cubicBezTo>
                  <a:pt x="534" y="495"/>
                  <a:pt x="534" y="495"/>
                  <a:pt x="533" y="495"/>
                </a:cubicBezTo>
                <a:cubicBezTo>
                  <a:pt x="533" y="496"/>
                  <a:pt x="532" y="496"/>
                  <a:pt x="532" y="497"/>
                </a:cubicBezTo>
                <a:cubicBezTo>
                  <a:pt x="532" y="497"/>
                  <a:pt x="531" y="498"/>
                  <a:pt x="531" y="498"/>
                </a:cubicBezTo>
                <a:cubicBezTo>
                  <a:pt x="531" y="499"/>
                  <a:pt x="531" y="499"/>
                  <a:pt x="531" y="500"/>
                </a:cubicBezTo>
                <a:cubicBezTo>
                  <a:pt x="531" y="500"/>
                  <a:pt x="531" y="500"/>
                  <a:pt x="531" y="500"/>
                </a:cubicBezTo>
                <a:cubicBezTo>
                  <a:pt x="531" y="501"/>
                  <a:pt x="531" y="501"/>
                  <a:pt x="531" y="501"/>
                </a:cubicBezTo>
                <a:cubicBezTo>
                  <a:pt x="531" y="501"/>
                  <a:pt x="530" y="502"/>
                  <a:pt x="530" y="502"/>
                </a:cubicBezTo>
                <a:cubicBezTo>
                  <a:pt x="529" y="502"/>
                  <a:pt x="529" y="503"/>
                  <a:pt x="528" y="503"/>
                </a:cubicBezTo>
                <a:cubicBezTo>
                  <a:pt x="528" y="504"/>
                  <a:pt x="527" y="504"/>
                  <a:pt x="527" y="504"/>
                </a:cubicBezTo>
                <a:cubicBezTo>
                  <a:pt x="527" y="504"/>
                  <a:pt x="526" y="504"/>
                  <a:pt x="526" y="505"/>
                </a:cubicBezTo>
                <a:cubicBezTo>
                  <a:pt x="526" y="505"/>
                  <a:pt x="526" y="505"/>
                  <a:pt x="527" y="505"/>
                </a:cubicBezTo>
                <a:cubicBezTo>
                  <a:pt x="527" y="505"/>
                  <a:pt x="527" y="506"/>
                  <a:pt x="527" y="506"/>
                </a:cubicBezTo>
                <a:cubicBezTo>
                  <a:pt x="527" y="506"/>
                  <a:pt x="527" y="506"/>
                  <a:pt x="527" y="506"/>
                </a:cubicBezTo>
                <a:cubicBezTo>
                  <a:pt x="527" y="506"/>
                  <a:pt x="527" y="507"/>
                  <a:pt x="527" y="507"/>
                </a:cubicBezTo>
                <a:cubicBezTo>
                  <a:pt x="527" y="508"/>
                  <a:pt x="526" y="508"/>
                  <a:pt x="526" y="509"/>
                </a:cubicBezTo>
                <a:cubicBezTo>
                  <a:pt x="526" y="509"/>
                  <a:pt x="526" y="510"/>
                  <a:pt x="526" y="510"/>
                </a:cubicBezTo>
                <a:cubicBezTo>
                  <a:pt x="526" y="510"/>
                  <a:pt x="526" y="510"/>
                  <a:pt x="527" y="510"/>
                </a:cubicBezTo>
                <a:cubicBezTo>
                  <a:pt x="526" y="510"/>
                  <a:pt x="526" y="511"/>
                  <a:pt x="526" y="511"/>
                </a:cubicBezTo>
                <a:cubicBezTo>
                  <a:pt x="526" y="511"/>
                  <a:pt x="525" y="512"/>
                  <a:pt x="525" y="512"/>
                </a:cubicBezTo>
                <a:cubicBezTo>
                  <a:pt x="525" y="512"/>
                  <a:pt x="525" y="512"/>
                  <a:pt x="524" y="513"/>
                </a:cubicBezTo>
                <a:cubicBezTo>
                  <a:pt x="525" y="513"/>
                  <a:pt x="525" y="513"/>
                  <a:pt x="525" y="513"/>
                </a:cubicBezTo>
                <a:cubicBezTo>
                  <a:pt x="525" y="513"/>
                  <a:pt x="525" y="514"/>
                  <a:pt x="526" y="514"/>
                </a:cubicBezTo>
                <a:cubicBezTo>
                  <a:pt x="526" y="514"/>
                  <a:pt x="526" y="514"/>
                  <a:pt x="526" y="514"/>
                </a:cubicBezTo>
                <a:cubicBezTo>
                  <a:pt x="526" y="515"/>
                  <a:pt x="526" y="515"/>
                  <a:pt x="526" y="515"/>
                </a:cubicBezTo>
                <a:cubicBezTo>
                  <a:pt x="526" y="516"/>
                  <a:pt x="526" y="516"/>
                  <a:pt x="526" y="516"/>
                </a:cubicBezTo>
                <a:cubicBezTo>
                  <a:pt x="526" y="516"/>
                  <a:pt x="525" y="517"/>
                  <a:pt x="525" y="517"/>
                </a:cubicBezTo>
                <a:cubicBezTo>
                  <a:pt x="526" y="517"/>
                  <a:pt x="526" y="517"/>
                  <a:pt x="526" y="517"/>
                </a:cubicBezTo>
                <a:cubicBezTo>
                  <a:pt x="526" y="517"/>
                  <a:pt x="527" y="517"/>
                  <a:pt x="527" y="517"/>
                </a:cubicBezTo>
                <a:cubicBezTo>
                  <a:pt x="528" y="517"/>
                  <a:pt x="528" y="517"/>
                  <a:pt x="528" y="518"/>
                </a:cubicBezTo>
                <a:cubicBezTo>
                  <a:pt x="529" y="518"/>
                  <a:pt x="529" y="518"/>
                  <a:pt x="529" y="518"/>
                </a:cubicBezTo>
                <a:cubicBezTo>
                  <a:pt x="529" y="518"/>
                  <a:pt x="529" y="518"/>
                  <a:pt x="530" y="518"/>
                </a:cubicBezTo>
                <a:cubicBezTo>
                  <a:pt x="530" y="517"/>
                  <a:pt x="530" y="517"/>
                  <a:pt x="530" y="517"/>
                </a:cubicBezTo>
                <a:cubicBezTo>
                  <a:pt x="530" y="516"/>
                  <a:pt x="530" y="516"/>
                  <a:pt x="530" y="516"/>
                </a:cubicBezTo>
                <a:cubicBezTo>
                  <a:pt x="530" y="516"/>
                  <a:pt x="530" y="516"/>
                  <a:pt x="530" y="515"/>
                </a:cubicBezTo>
                <a:cubicBezTo>
                  <a:pt x="530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2" y="516"/>
                </a:cubicBezTo>
                <a:cubicBezTo>
                  <a:pt x="532" y="517"/>
                  <a:pt x="532" y="517"/>
                  <a:pt x="532" y="517"/>
                </a:cubicBezTo>
                <a:cubicBezTo>
                  <a:pt x="532" y="518"/>
                  <a:pt x="532" y="518"/>
                  <a:pt x="532" y="518"/>
                </a:cubicBezTo>
                <a:cubicBezTo>
                  <a:pt x="532" y="518"/>
                  <a:pt x="532" y="519"/>
                  <a:pt x="532" y="519"/>
                </a:cubicBezTo>
                <a:cubicBezTo>
                  <a:pt x="531" y="519"/>
                  <a:pt x="531" y="520"/>
                  <a:pt x="531" y="520"/>
                </a:cubicBezTo>
                <a:cubicBezTo>
                  <a:pt x="531" y="520"/>
                  <a:pt x="531" y="520"/>
                  <a:pt x="531" y="520"/>
                </a:cubicBezTo>
                <a:cubicBezTo>
                  <a:pt x="530" y="521"/>
                  <a:pt x="529" y="521"/>
                  <a:pt x="529" y="522"/>
                </a:cubicBezTo>
                <a:cubicBezTo>
                  <a:pt x="528" y="522"/>
                  <a:pt x="528" y="522"/>
                  <a:pt x="528" y="522"/>
                </a:cubicBezTo>
                <a:cubicBezTo>
                  <a:pt x="527" y="523"/>
                  <a:pt x="527" y="523"/>
                  <a:pt x="527" y="524"/>
                </a:cubicBezTo>
                <a:cubicBezTo>
                  <a:pt x="527" y="524"/>
                  <a:pt x="527" y="525"/>
                  <a:pt x="527" y="525"/>
                </a:cubicBezTo>
                <a:cubicBezTo>
                  <a:pt x="527" y="525"/>
                  <a:pt x="526" y="525"/>
                  <a:pt x="526" y="526"/>
                </a:cubicBezTo>
                <a:cubicBezTo>
                  <a:pt x="526" y="526"/>
                  <a:pt x="527" y="526"/>
                  <a:pt x="527" y="526"/>
                </a:cubicBezTo>
                <a:cubicBezTo>
                  <a:pt x="527" y="526"/>
                  <a:pt x="527" y="526"/>
                  <a:pt x="527" y="526"/>
                </a:cubicBezTo>
                <a:cubicBezTo>
                  <a:pt x="528" y="526"/>
                  <a:pt x="528" y="527"/>
                  <a:pt x="528" y="527"/>
                </a:cubicBezTo>
                <a:cubicBezTo>
                  <a:pt x="528" y="527"/>
                  <a:pt x="527" y="527"/>
                  <a:pt x="527" y="527"/>
                </a:cubicBezTo>
                <a:cubicBezTo>
                  <a:pt x="527" y="527"/>
                  <a:pt x="527" y="528"/>
                  <a:pt x="527" y="528"/>
                </a:cubicBezTo>
                <a:cubicBezTo>
                  <a:pt x="528" y="528"/>
                  <a:pt x="528" y="528"/>
                  <a:pt x="528" y="528"/>
                </a:cubicBezTo>
                <a:cubicBezTo>
                  <a:pt x="529" y="528"/>
                  <a:pt x="529" y="529"/>
                  <a:pt x="529" y="529"/>
                </a:cubicBezTo>
                <a:cubicBezTo>
                  <a:pt x="529" y="529"/>
                  <a:pt x="529" y="529"/>
                  <a:pt x="530" y="530"/>
                </a:cubicBezTo>
                <a:cubicBezTo>
                  <a:pt x="529" y="530"/>
                  <a:pt x="529" y="530"/>
                  <a:pt x="529" y="530"/>
                </a:cubicBezTo>
                <a:cubicBezTo>
                  <a:pt x="529" y="530"/>
                  <a:pt x="528" y="530"/>
                  <a:pt x="528" y="530"/>
                </a:cubicBezTo>
                <a:cubicBezTo>
                  <a:pt x="528" y="530"/>
                  <a:pt x="528" y="531"/>
                  <a:pt x="528" y="531"/>
                </a:cubicBezTo>
                <a:cubicBezTo>
                  <a:pt x="528" y="531"/>
                  <a:pt x="529" y="531"/>
                  <a:pt x="529" y="531"/>
                </a:cubicBezTo>
                <a:cubicBezTo>
                  <a:pt x="529" y="531"/>
                  <a:pt x="530" y="531"/>
                  <a:pt x="530" y="531"/>
                </a:cubicBezTo>
                <a:cubicBezTo>
                  <a:pt x="531" y="531"/>
                  <a:pt x="531" y="532"/>
                  <a:pt x="532" y="532"/>
                </a:cubicBezTo>
                <a:cubicBezTo>
                  <a:pt x="532" y="532"/>
                  <a:pt x="532" y="532"/>
                  <a:pt x="533" y="532"/>
                </a:cubicBezTo>
                <a:cubicBezTo>
                  <a:pt x="534" y="532"/>
                  <a:pt x="534" y="532"/>
                  <a:pt x="535" y="532"/>
                </a:cubicBezTo>
                <a:cubicBezTo>
                  <a:pt x="535" y="532"/>
                  <a:pt x="536" y="532"/>
                  <a:pt x="536" y="532"/>
                </a:cubicBezTo>
                <a:cubicBezTo>
                  <a:pt x="536" y="532"/>
                  <a:pt x="536" y="532"/>
                  <a:pt x="536" y="532"/>
                </a:cubicBezTo>
                <a:cubicBezTo>
                  <a:pt x="537" y="533"/>
                  <a:pt x="537" y="533"/>
                  <a:pt x="538" y="533"/>
                </a:cubicBezTo>
                <a:cubicBezTo>
                  <a:pt x="538" y="534"/>
                  <a:pt x="538" y="534"/>
                  <a:pt x="538" y="534"/>
                </a:cubicBezTo>
                <a:cubicBezTo>
                  <a:pt x="538" y="534"/>
                  <a:pt x="539" y="535"/>
                  <a:pt x="539" y="535"/>
                </a:cubicBezTo>
                <a:cubicBezTo>
                  <a:pt x="540" y="535"/>
                  <a:pt x="540" y="535"/>
                  <a:pt x="541" y="535"/>
                </a:cubicBezTo>
                <a:cubicBezTo>
                  <a:pt x="541" y="535"/>
                  <a:pt x="542" y="536"/>
                  <a:pt x="542" y="536"/>
                </a:cubicBezTo>
                <a:cubicBezTo>
                  <a:pt x="542" y="536"/>
                  <a:pt x="543" y="537"/>
                  <a:pt x="543" y="537"/>
                </a:cubicBezTo>
                <a:cubicBezTo>
                  <a:pt x="543" y="537"/>
                  <a:pt x="543" y="537"/>
                  <a:pt x="543" y="537"/>
                </a:cubicBezTo>
                <a:cubicBezTo>
                  <a:pt x="544" y="538"/>
                  <a:pt x="544" y="538"/>
                  <a:pt x="544" y="539"/>
                </a:cubicBezTo>
                <a:cubicBezTo>
                  <a:pt x="544" y="539"/>
                  <a:pt x="545" y="539"/>
                  <a:pt x="545" y="539"/>
                </a:cubicBezTo>
                <a:cubicBezTo>
                  <a:pt x="545" y="539"/>
                  <a:pt x="545" y="539"/>
                  <a:pt x="546" y="539"/>
                </a:cubicBezTo>
                <a:cubicBezTo>
                  <a:pt x="546" y="540"/>
                  <a:pt x="546" y="540"/>
                  <a:pt x="547" y="540"/>
                </a:cubicBezTo>
                <a:cubicBezTo>
                  <a:pt x="547" y="541"/>
                  <a:pt x="547" y="541"/>
                  <a:pt x="547" y="541"/>
                </a:cubicBezTo>
                <a:cubicBezTo>
                  <a:pt x="547" y="541"/>
                  <a:pt x="547" y="541"/>
                  <a:pt x="547" y="541"/>
                </a:cubicBezTo>
                <a:cubicBezTo>
                  <a:pt x="547" y="542"/>
                  <a:pt x="548" y="542"/>
                  <a:pt x="548" y="543"/>
                </a:cubicBezTo>
                <a:cubicBezTo>
                  <a:pt x="549" y="543"/>
                  <a:pt x="549" y="543"/>
                  <a:pt x="550" y="544"/>
                </a:cubicBezTo>
                <a:cubicBezTo>
                  <a:pt x="550" y="544"/>
                  <a:pt x="550" y="544"/>
                  <a:pt x="551" y="544"/>
                </a:cubicBezTo>
                <a:cubicBezTo>
                  <a:pt x="551" y="544"/>
                  <a:pt x="551" y="545"/>
                  <a:pt x="551" y="545"/>
                </a:cubicBezTo>
                <a:cubicBezTo>
                  <a:pt x="551" y="545"/>
                  <a:pt x="551" y="545"/>
                  <a:pt x="551" y="545"/>
                </a:cubicBezTo>
                <a:cubicBezTo>
                  <a:pt x="551" y="545"/>
                  <a:pt x="551" y="545"/>
                  <a:pt x="552" y="545"/>
                </a:cubicBezTo>
                <a:cubicBezTo>
                  <a:pt x="552" y="546"/>
                  <a:pt x="553" y="546"/>
                  <a:pt x="553" y="546"/>
                </a:cubicBezTo>
                <a:cubicBezTo>
                  <a:pt x="554" y="546"/>
                  <a:pt x="554" y="546"/>
                  <a:pt x="554" y="547"/>
                </a:cubicBezTo>
                <a:cubicBezTo>
                  <a:pt x="554" y="547"/>
                  <a:pt x="554" y="547"/>
                  <a:pt x="554" y="547"/>
                </a:cubicBezTo>
                <a:cubicBezTo>
                  <a:pt x="555" y="548"/>
                  <a:pt x="555" y="548"/>
                  <a:pt x="555" y="548"/>
                </a:cubicBezTo>
                <a:cubicBezTo>
                  <a:pt x="555" y="548"/>
                  <a:pt x="556" y="548"/>
                  <a:pt x="556" y="548"/>
                </a:cubicBezTo>
                <a:cubicBezTo>
                  <a:pt x="556" y="548"/>
                  <a:pt x="557" y="548"/>
                  <a:pt x="557" y="549"/>
                </a:cubicBezTo>
                <a:cubicBezTo>
                  <a:pt x="557" y="549"/>
                  <a:pt x="558" y="550"/>
                  <a:pt x="558" y="550"/>
                </a:cubicBezTo>
                <a:cubicBezTo>
                  <a:pt x="559" y="550"/>
                  <a:pt x="559" y="550"/>
                  <a:pt x="559" y="551"/>
                </a:cubicBezTo>
                <a:cubicBezTo>
                  <a:pt x="560" y="551"/>
                  <a:pt x="560" y="552"/>
                  <a:pt x="561" y="552"/>
                </a:cubicBezTo>
                <a:cubicBezTo>
                  <a:pt x="561" y="552"/>
                  <a:pt x="561" y="552"/>
                  <a:pt x="561" y="553"/>
                </a:cubicBezTo>
                <a:cubicBezTo>
                  <a:pt x="561" y="553"/>
                  <a:pt x="561" y="553"/>
                  <a:pt x="561" y="553"/>
                </a:cubicBezTo>
                <a:cubicBezTo>
                  <a:pt x="561" y="553"/>
                  <a:pt x="560" y="553"/>
                  <a:pt x="560" y="553"/>
                </a:cubicBezTo>
                <a:cubicBezTo>
                  <a:pt x="560" y="553"/>
                  <a:pt x="560" y="553"/>
                  <a:pt x="560" y="553"/>
                </a:cubicBezTo>
                <a:cubicBezTo>
                  <a:pt x="560" y="553"/>
                  <a:pt x="561" y="554"/>
                  <a:pt x="561" y="554"/>
                </a:cubicBezTo>
                <a:cubicBezTo>
                  <a:pt x="561" y="554"/>
                  <a:pt x="561" y="554"/>
                  <a:pt x="561" y="554"/>
                </a:cubicBezTo>
                <a:cubicBezTo>
                  <a:pt x="561" y="554"/>
                  <a:pt x="561" y="554"/>
                  <a:pt x="561" y="554"/>
                </a:cubicBezTo>
                <a:cubicBezTo>
                  <a:pt x="562" y="554"/>
                  <a:pt x="562" y="554"/>
                  <a:pt x="562" y="554"/>
                </a:cubicBezTo>
                <a:cubicBezTo>
                  <a:pt x="562" y="554"/>
                  <a:pt x="562" y="554"/>
                  <a:pt x="562" y="555"/>
                </a:cubicBezTo>
                <a:cubicBezTo>
                  <a:pt x="562" y="555"/>
                  <a:pt x="562" y="555"/>
                  <a:pt x="562" y="555"/>
                </a:cubicBezTo>
                <a:cubicBezTo>
                  <a:pt x="563" y="555"/>
                  <a:pt x="563" y="555"/>
                  <a:pt x="564" y="555"/>
                </a:cubicBezTo>
                <a:cubicBezTo>
                  <a:pt x="564" y="556"/>
                  <a:pt x="565" y="556"/>
                  <a:pt x="566" y="556"/>
                </a:cubicBezTo>
                <a:cubicBezTo>
                  <a:pt x="566" y="556"/>
                  <a:pt x="566" y="556"/>
                  <a:pt x="566" y="556"/>
                </a:cubicBezTo>
                <a:cubicBezTo>
                  <a:pt x="566" y="556"/>
                  <a:pt x="566" y="556"/>
                  <a:pt x="567" y="557"/>
                </a:cubicBezTo>
                <a:cubicBezTo>
                  <a:pt x="567" y="557"/>
                  <a:pt x="567" y="557"/>
                  <a:pt x="567" y="557"/>
                </a:cubicBezTo>
                <a:cubicBezTo>
                  <a:pt x="568" y="557"/>
                  <a:pt x="568" y="557"/>
                  <a:pt x="568" y="557"/>
                </a:cubicBezTo>
                <a:cubicBezTo>
                  <a:pt x="568" y="557"/>
                  <a:pt x="568" y="557"/>
                  <a:pt x="568" y="557"/>
                </a:cubicBezTo>
                <a:cubicBezTo>
                  <a:pt x="569" y="557"/>
                  <a:pt x="569" y="557"/>
                  <a:pt x="569" y="557"/>
                </a:cubicBezTo>
                <a:cubicBezTo>
                  <a:pt x="569" y="557"/>
                  <a:pt x="570" y="557"/>
                  <a:pt x="570" y="557"/>
                </a:cubicBezTo>
                <a:cubicBezTo>
                  <a:pt x="570" y="557"/>
                  <a:pt x="571" y="557"/>
                  <a:pt x="571" y="557"/>
                </a:cubicBezTo>
                <a:cubicBezTo>
                  <a:pt x="571" y="557"/>
                  <a:pt x="571" y="557"/>
                  <a:pt x="571" y="557"/>
                </a:cubicBezTo>
                <a:cubicBezTo>
                  <a:pt x="571" y="557"/>
                  <a:pt x="571" y="558"/>
                  <a:pt x="572" y="558"/>
                </a:cubicBezTo>
                <a:cubicBezTo>
                  <a:pt x="572" y="558"/>
                  <a:pt x="573" y="558"/>
                  <a:pt x="573" y="558"/>
                </a:cubicBezTo>
                <a:cubicBezTo>
                  <a:pt x="573" y="558"/>
                  <a:pt x="574" y="558"/>
                  <a:pt x="574" y="558"/>
                </a:cubicBezTo>
                <a:cubicBezTo>
                  <a:pt x="574" y="558"/>
                  <a:pt x="574" y="559"/>
                  <a:pt x="574" y="559"/>
                </a:cubicBezTo>
                <a:cubicBezTo>
                  <a:pt x="574" y="559"/>
                  <a:pt x="575" y="559"/>
                  <a:pt x="575" y="559"/>
                </a:cubicBezTo>
                <a:cubicBezTo>
                  <a:pt x="575" y="559"/>
                  <a:pt x="576" y="559"/>
                  <a:pt x="576" y="559"/>
                </a:cubicBezTo>
                <a:cubicBezTo>
                  <a:pt x="576" y="559"/>
                  <a:pt x="576" y="559"/>
                  <a:pt x="577" y="559"/>
                </a:cubicBezTo>
                <a:cubicBezTo>
                  <a:pt x="577" y="559"/>
                  <a:pt x="577" y="559"/>
                  <a:pt x="577" y="559"/>
                </a:cubicBezTo>
                <a:cubicBezTo>
                  <a:pt x="578" y="559"/>
                  <a:pt x="579" y="559"/>
                  <a:pt x="579" y="559"/>
                </a:cubicBezTo>
                <a:cubicBezTo>
                  <a:pt x="580" y="559"/>
                  <a:pt x="580" y="559"/>
                  <a:pt x="581" y="559"/>
                </a:cubicBezTo>
                <a:cubicBezTo>
                  <a:pt x="581" y="559"/>
                  <a:pt x="581" y="559"/>
                  <a:pt x="581" y="559"/>
                </a:cubicBezTo>
                <a:cubicBezTo>
                  <a:pt x="582" y="559"/>
                  <a:pt x="582" y="559"/>
                  <a:pt x="582" y="559"/>
                </a:cubicBezTo>
                <a:cubicBezTo>
                  <a:pt x="582" y="559"/>
                  <a:pt x="582" y="560"/>
                  <a:pt x="582" y="560"/>
                </a:cubicBezTo>
                <a:cubicBezTo>
                  <a:pt x="583" y="560"/>
                  <a:pt x="583" y="560"/>
                  <a:pt x="584" y="560"/>
                </a:cubicBezTo>
                <a:cubicBezTo>
                  <a:pt x="584" y="560"/>
                  <a:pt x="584" y="560"/>
                  <a:pt x="584" y="560"/>
                </a:cubicBezTo>
                <a:cubicBezTo>
                  <a:pt x="585" y="560"/>
                  <a:pt x="585" y="561"/>
                  <a:pt x="586" y="561"/>
                </a:cubicBezTo>
                <a:cubicBezTo>
                  <a:pt x="586" y="561"/>
                  <a:pt x="586" y="561"/>
                  <a:pt x="586" y="561"/>
                </a:cubicBezTo>
                <a:cubicBezTo>
                  <a:pt x="586" y="561"/>
                  <a:pt x="587" y="561"/>
                  <a:pt x="587" y="561"/>
                </a:cubicBezTo>
                <a:cubicBezTo>
                  <a:pt x="587" y="561"/>
                  <a:pt x="587" y="561"/>
                  <a:pt x="587" y="562"/>
                </a:cubicBezTo>
                <a:cubicBezTo>
                  <a:pt x="587" y="562"/>
                  <a:pt x="587" y="562"/>
                  <a:pt x="587" y="562"/>
                </a:cubicBezTo>
                <a:cubicBezTo>
                  <a:pt x="587" y="562"/>
                  <a:pt x="588" y="562"/>
                  <a:pt x="588" y="562"/>
                </a:cubicBezTo>
                <a:cubicBezTo>
                  <a:pt x="588" y="562"/>
                  <a:pt x="589" y="562"/>
                  <a:pt x="589" y="562"/>
                </a:cubicBezTo>
                <a:cubicBezTo>
                  <a:pt x="590" y="562"/>
                  <a:pt x="590" y="563"/>
                  <a:pt x="591" y="563"/>
                </a:cubicBezTo>
                <a:cubicBezTo>
                  <a:pt x="591" y="563"/>
                  <a:pt x="591" y="563"/>
                  <a:pt x="592" y="563"/>
                </a:cubicBezTo>
                <a:cubicBezTo>
                  <a:pt x="592" y="563"/>
                  <a:pt x="592" y="563"/>
                  <a:pt x="593" y="563"/>
                </a:cubicBezTo>
                <a:cubicBezTo>
                  <a:pt x="593" y="563"/>
                  <a:pt x="593" y="563"/>
                  <a:pt x="593" y="564"/>
                </a:cubicBezTo>
                <a:cubicBezTo>
                  <a:pt x="593" y="564"/>
                  <a:pt x="593" y="564"/>
                  <a:pt x="593" y="564"/>
                </a:cubicBezTo>
                <a:cubicBezTo>
                  <a:pt x="594" y="564"/>
                  <a:pt x="594" y="564"/>
                  <a:pt x="594" y="565"/>
                </a:cubicBezTo>
                <a:cubicBezTo>
                  <a:pt x="594" y="565"/>
                  <a:pt x="594" y="565"/>
                  <a:pt x="594" y="565"/>
                </a:cubicBezTo>
                <a:cubicBezTo>
                  <a:pt x="594" y="566"/>
                  <a:pt x="594" y="566"/>
                  <a:pt x="594" y="566"/>
                </a:cubicBezTo>
                <a:cubicBezTo>
                  <a:pt x="595" y="567"/>
                  <a:pt x="595" y="568"/>
                  <a:pt x="596" y="569"/>
                </a:cubicBezTo>
                <a:cubicBezTo>
                  <a:pt x="596" y="569"/>
                  <a:pt x="596" y="570"/>
                  <a:pt x="596" y="570"/>
                </a:cubicBezTo>
                <a:cubicBezTo>
                  <a:pt x="596" y="570"/>
                  <a:pt x="596" y="571"/>
                  <a:pt x="596" y="571"/>
                </a:cubicBezTo>
                <a:cubicBezTo>
                  <a:pt x="596" y="571"/>
                  <a:pt x="596" y="571"/>
                  <a:pt x="595" y="571"/>
                </a:cubicBezTo>
                <a:cubicBezTo>
                  <a:pt x="596" y="572"/>
                  <a:pt x="596" y="572"/>
                  <a:pt x="596" y="573"/>
                </a:cubicBezTo>
                <a:cubicBezTo>
                  <a:pt x="596" y="573"/>
                  <a:pt x="597" y="573"/>
                  <a:pt x="597" y="574"/>
                </a:cubicBezTo>
                <a:cubicBezTo>
                  <a:pt x="597" y="574"/>
                  <a:pt x="598" y="574"/>
                  <a:pt x="598" y="575"/>
                </a:cubicBezTo>
                <a:cubicBezTo>
                  <a:pt x="598" y="575"/>
                  <a:pt x="598" y="576"/>
                  <a:pt x="598" y="577"/>
                </a:cubicBezTo>
                <a:cubicBezTo>
                  <a:pt x="598" y="577"/>
                  <a:pt x="598" y="577"/>
                  <a:pt x="598" y="577"/>
                </a:cubicBezTo>
                <a:cubicBezTo>
                  <a:pt x="598" y="577"/>
                  <a:pt x="598" y="578"/>
                  <a:pt x="598" y="578"/>
                </a:cubicBezTo>
                <a:cubicBezTo>
                  <a:pt x="598" y="578"/>
                  <a:pt x="599" y="579"/>
                  <a:pt x="599" y="580"/>
                </a:cubicBezTo>
                <a:cubicBezTo>
                  <a:pt x="599" y="580"/>
                  <a:pt x="599" y="581"/>
                  <a:pt x="599" y="581"/>
                </a:cubicBezTo>
                <a:cubicBezTo>
                  <a:pt x="599" y="581"/>
                  <a:pt x="599" y="581"/>
                  <a:pt x="599" y="581"/>
                </a:cubicBezTo>
                <a:cubicBezTo>
                  <a:pt x="598" y="581"/>
                  <a:pt x="598" y="582"/>
                  <a:pt x="598" y="582"/>
                </a:cubicBezTo>
                <a:cubicBezTo>
                  <a:pt x="598" y="582"/>
                  <a:pt x="598" y="583"/>
                  <a:pt x="598" y="583"/>
                </a:cubicBezTo>
                <a:cubicBezTo>
                  <a:pt x="599" y="583"/>
                  <a:pt x="599" y="583"/>
                  <a:pt x="599" y="583"/>
                </a:cubicBezTo>
                <a:cubicBezTo>
                  <a:pt x="599" y="583"/>
                  <a:pt x="599" y="583"/>
                  <a:pt x="599" y="583"/>
                </a:cubicBezTo>
                <a:cubicBezTo>
                  <a:pt x="599" y="583"/>
                  <a:pt x="600" y="583"/>
                  <a:pt x="600" y="583"/>
                </a:cubicBezTo>
                <a:cubicBezTo>
                  <a:pt x="600" y="583"/>
                  <a:pt x="599" y="583"/>
                  <a:pt x="599" y="584"/>
                </a:cubicBezTo>
                <a:cubicBezTo>
                  <a:pt x="600" y="585"/>
                  <a:pt x="600" y="586"/>
                  <a:pt x="600" y="587"/>
                </a:cubicBezTo>
                <a:cubicBezTo>
                  <a:pt x="601" y="588"/>
                  <a:pt x="601" y="588"/>
                  <a:pt x="601" y="589"/>
                </a:cubicBezTo>
                <a:cubicBezTo>
                  <a:pt x="601" y="589"/>
                  <a:pt x="602" y="589"/>
                  <a:pt x="602" y="590"/>
                </a:cubicBezTo>
                <a:cubicBezTo>
                  <a:pt x="602" y="590"/>
                  <a:pt x="602" y="590"/>
                  <a:pt x="602" y="591"/>
                </a:cubicBezTo>
                <a:cubicBezTo>
                  <a:pt x="602" y="591"/>
                  <a:pt x="601" y="591"/>
                  <a:pt x="601" y="592"/>
                </a:cubicBezTo>
                <a:cubicBezTo>
                  <a:pt x="601" y="592"/>
                  <a:pt x="601" y="592"/>
                  <a:pt x="601" y="593"/>
                </a:cubicBezTo>
                <a:cubicBezTo>
                  <a:pt x="602" y="593"/>
                  <a:pt x="602" y="593"/>
                  <a:pt x="603" y="594"/>
                </a:cubicBezTo>
                <a:cubicBezTo>
                  <a:pt x="603" y="594"/>
                  <a:pt x="603" y="594"/>
                  <a:pt x="603" y="595"/>
                </a:cubicBezTo>
                <a:cubicBezTo>
                  <a:pt x="603" y="595"/>
                  <a:pt x="603" y="596"/>
                  <a:pt x="603" y="596"/>
                </a:cubicBezTo>
                <a:cubicBezTo>
                  <a:pt x="603" y="597"/>
                  <a:pt x="603" y="597"/>
                  <a:pt x="603" y="597"/>
                </a:cubicBezTo>
                <a:cubicBezTo>
                  <a:pt x="603" y="598"/>
                  <a:pt x="603" y="598"/>
                  <a:pt x="603" y="598"/>
                </a:cubicBezTo>
                <a:cubicBezTo>
                  <a:pt x="603" y="598"/>
                  <a:pt x="603" y="599"/>
                  <a:pt x="603" y="599"/>
                </a:cubicBezTo>
                <a:cubicBezTo>
                  <a:pt x="603" y="599"/>
                  <a:pt x="603" y="599"/>
                  <a:pt x="603" y="599"/>
                </a:cubicBezTo>
                <a:cubicBezTo>
                  <a:pt x="603" y="599"/>
                  <a:pt x="603" y="600"/>
                  <a:pt x="603" y="600"/>
                </a:cubicBezTo>
                <a:cubicBezTo>
                  <a:pt x="603" y="601"/>
                  <a:pt x="603" y="601"/>
                  <a:pt x="603" y="601"/>
                </a:cubicBezTo>
                <a:cubicBezTo>
                  <a:pt x="603" y="601"/>
                  <a:pt x="603" y="602"/>
                  <a:pt x="603" y="602"/>
                </a:cubicBezTo>
                <a:cubicBezTo>
                  <a:pt x="603" y="602"/>
                  <a:pt x="603" y="603"/>
                  <a:pt x="603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604"/>
                  <a:pt x="603" y="604"/>
                  <a:pt x="603" y="605"/>
                </a:cubicBezTo>
                <a:cubicBezTo>
                  <a:pt x="603" y="605"/>
                  <a:pt x="603" y="605"/>
                  <a:pt x="603" y="606"/>
                </a:cubicBezTo>
                <a:cubicBezTo>
                  <a:pt x="603" y="606"/>
                  <a:pt x="604" y="606"/>
                  <a:pt x="604" y="606"/>
                </a:cubicBezTo>
                <a:cubicBezTo>
                  <a:pt x="604" y="607"/>
                  <a:pt x="604" y="607"/>
                  <a:pt x="604" y="607"/>
                </a:cubicBezTo>
                <a:cubicBezTo>
                  <a:pt x="605" y="608"/>
                  <a:pt x="605" y="608"/>
                  <a:pt x="605" y="608"/>
                </a:cubicBezTo>
                <a:cubicBezTo>
                  <a:pt x="605" y="608"/>
                  <a:pt x="605" y="608"/>
                  <a:pt x="605" y="608"/>
                </a:cubicBezTo>
                <a:cubicBezTo>
                  <a:pt x="604" y="609"/>
                  <a:pt x="604" y="609"/>
                  <a:pt x="604" y="609"/>
                </a:cubicBezTo>
                <a:cubicBezTo>
                  <a:pt x="605" y="609"/>
                  <a:pt x="605" y="610"/>
                  <a:pt x="605" y="610"/>
                </a:cubicBezTo>
                <a:cubicBezTo>
                  <a:pt x="605" y="610"/>
                  <a:pt x="605" y="610"/>
                  <a:pt x="605" y="611"/>
                </a:cubicBezTo>
                <a:cubicBezTo>
                  <a:pt x="604" y="611"/>
                  <a:pt x="604" y="611"/>
                  <a:pt x="604" y="611"/>
                </a:cubicBezTo>
                <a:cubicBezTo>
                  <a:pt x="604" y="611"/>
                  <a:pt x="604" y="612"/>
                  <a:pt x="604" y="612"/>
                </a:cubicBezTo>
                <a:cubicBezTo>
                  <a:pt x="604" y="612"/>
                  <a:pt x="605" y="612"/>
                  <a:pt x="605" y="613"/>
                </a:cubicBezTo>
                <a:cubicBezTo>
                  <a:pt x="605" y="613"/>
                  <a:pt x="605" y="613"/>
                  <a:pt x="605" y="613"/>
                </a:cubicBezTo>
                <a:cubicBezTo>
                  <a:pt x="605" y="614"/>
                  <a:pt x="606" y="615"/>
                  <a:pt x="607" y="615"/>
                </a:cubicBezTo>
                <a:cubicBezTo>
                  <a:pt x="607" y="616"/>
                  <a:pt x="607" y="616"/>
                  <a:pt x="607" y="616"/>
                </a:cubicBezTo>
                <a:cubicBezTo>
                  <a:pt x="607" y="617"/>
                  <a:pt x="607" y="617"/>
                  <a:pt x="606" y="617"/>
                </a:cubicBezTo>
                <a:cubicBezTo>
                  <a:pt x="607" y="617"/>
                  <a:pt x="607" y="617"/>
                  <a:pt x="607" y="618"/>
                </a:cubicBezTo>
                <a:cubicBezTo>
                  <a:pt x="607" y="618"/>
                  <a:pt x="608" y="618"/>
                  <a:pt x="608" y="618"/>
                </a:cubicBezTo>
                <a:cubicBezTo>
                  <a:pt x="608" y="619"/>
                  <a:pt x="608" y="619"/>
                  <a:pt x="608" y="620"/>
                </a:cubicBezTo>
                <a:cubicBezTo>
                  <a:pt x="608" y="620"/>
                  <a:pt x="608" y="620"/>
                  <a:pt x="608" y="621"/>
                </a:cubicBezTo>
                <a:cubicBezTo>
                  <a:pt x="608" y="621"/>
                  <a:pt x="608" y="621"/>
                  <a:pt x="608" y="621"/>
                </a:cubicBezTo>
                <a:cubicBezTo>
                  <a:pt x="608" y="621"/>
                  <a:pt x="609" y="621"/>
                  <a:pt x="609" y="622"/>
                </a:cubicBezTo>
                <a:cubicBezTo>
                  <a:pt x="609" y="622"/>
                  <a:pt x="609" y="622"/>
                  <a:pt x="609" y="622"/>
                </a:cubicBezTo>
                <a:cubicBezTo>
                  <a:pt x="609" y="622"/>
                  <a:pt x="609" y="623"/>
                  <a:pt x="609" y="623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09" y="623"/>
                  <a:pt x="610" y="624"/>
                  <a:pt x="610" y="624"/>
                </a:cubicBezTo>
                <a:cubicBezTo>
                  <a:pt x="610" y="624"/>
                  <a:pt x="610" y="624"/>
                  <a:pt x="611" y="625"/>
                </a:cubicBezTo>
                <a:cubicBezTo>
                  <a:pt x="610" y="625"/>
                  <a:pt x="610" y="625"/>
                  <a:pt x="610" y="625"/>
                </a:cubicBezTo>
                <a:cubicBezTo>
                  <a:pt x="610" y="626"/>
                  <a:pt x="610" y="626"/>
                  <a:pt x="610" y="626"/>
                </a:cubicBezTo>
                <a:cubicBezTo>
                  <a:pt x="610" y="626"/>
                  <a:pt x="609" y="627"/>
                  <a:pt x="609" y="627"/>
                </a:cubicBezTo>
                <a:cubicBezTo>
                  <a:pt x="609" y="627"/>
                  <a:pt x="609" y="627"/>
                  <a:pt x="609" y="627"/>
                </a:cubicBezTo>
                <a:cubicBezTo>
                  <a:pt x="610" y="627"/>
                  <a:pt x="610" y="627"/>
                  <a:pt x="610" y="628"/>
                </a:cubicBezTo>
                <a:cubicBezTo>
                  <a:pt x="610" y="628"/>
                  <a:pt x="610" y="628"/>
                  <a:pt x="610" y="628"/>
                </a:cubicBezTo>
                <a:cubicBezTo>
                  <a:pt x="610" y="629"/>
                  <a:pt x="609" y="629"/>
                  <a:pt x="609" y="629"/>
                </a:cubicBezTo>
                <a:cubicBezTo>
                  <a:pt x="609" y="629"/>
                  <a:pt x="609" y="629"/>
                  <a:pt x="609" y="630"/>
                </a:cubicBezTo>
                <a:cubicBezTo>
                  <a:pt x="610" y="630"/>
                  <a:pt x="610" y="630"/>
                  <a:pt x="610" y="631"/>
                </a:cubicBezTo>
                <a:cubicBezTo>
                  <a:pt x="610" y="631"/>
                  <a:pt x="609" y="631"/>
                  <a:pt x="609" y="631"/>
                </a:cubicBezTo>
                <a:cubicBezTo>
                  <a:pt x="609" y="632"/>
                  <a:pt x="610" y="632"/>
                  <a:pt x="610" y="632"/>
                </a:cubicBezTo>
                <a:cubicBezTo>
                  <a:pt x="610" y="632"/>
                  <a:pt x="610" y="632"/>
                  <a:pt x="610" y="632"/>
                </a:cubicBezTo>
                <a:cubicBezTo>
                  <a:pt x="610" y="633"/>
                  <a:pt x="610" y="633"/>
                  <a:pt x="610" y="633"/>
                </a:cubicBezTo>
                <a:cubicBezTo>
                  <a:pt x="610" y="634"/>
                  <a:pt x="609" y="634"/>
                  <a:pt x="609" y="634"/>
                </a:cubicBezTo>
                <a:cubicBezTo>
                  <a:pt x="609" y="634"/>
                  <a:pt x="609" y="634"/>
                  <a:pt x="609" y="634"/>
                </a:cubicBezTo>
                <a:cubicBezTo>
                  <a:pt x="610" y="634"/>
                  <a:pt x="610" y="635"/>
                  <a:pt x="610" y="635"/>
                </a:cubicBezTo>
                <a:cubicBezTo>
                  <a:pt x="610" y="635"/>
                  <a:pt x="610" y="635"/>
                  <a:pt x="609" y="635"/>
                </a:cubicBezTo>
                <a:cubicBezTo>
                  <a:pt x="610" y="636"/>
                  <a:pt x="610" y="636"/>
                  <a:pt x="610" y="636"/>
                </a:cubicBezTo>
                <a:cubicBezTo>
                  <a:pt x="610" y="637"/>
                  <a:pt x="610" y="637"/>
                  <a:pt x="610" y="637"/>
                </a:cubicBezTo>
                <a:cubicBezTo>
                  <a:pt x="610" y="637"/>
                  <a:pt x="609" y="637"/>
                  <a:pt x="609" y="637"/>
                </a:cubicBezTo>
                <a:cubicBezTo>
                  <a:pt x="609" y="638"/>
                  <a:pt x="609" y="638"/>
                  <a:pt x="609" y="638"/>
                </a:cubicBezTo>
                <a:cubicBezTo>
                  <a:pt x="609" y="638"/>
                  <a:pt x="609" y="638"/>
                  <a:pt x="609" y="639"/>
                </a:cubicBezTo>
                <a:cubicBezTo>
                  <a:pt x="609" y="639"/>
                  <a:pt x="609" y="639"/>
                  <a:pt x="609" y="639"/>
                </a:cubicBezTo>
                <a:cubicBezTo>
                  <a:pt x="609" y="639"/>
                  <a:pt x="610" y="640"/>
                  <a:pt x="610" y="640"/>
                </a:cubicBezTo>
                <a:cubicBezTo>
                  <a:pt x="610" y="640"/>
                  <a:pt x="610" y="640"/>
                  <a:pt x="610" y="640"/>
                </a:cubicBezTo>
                <a:cubicBezTo>
                  <a:pt x="610" y="641"/>
                  <a:pt x="610" y="641"/>
                  <a:pt x="610" y="641"/>
                </a:cubicBezTo>
                <a:cubicBezTo>
                  <a:pt x="609" y="641"/>
                  <a:pt x="609" y="641"/>
                  <a:pt x="609" y="641"/>
                </a:cubicBezTo>
                <a:cubicBezTo>
                  <a:pt x="609" y="641"/>
                  <a:pt x="609" y="641"/>
                  <a:pt x="609" y="641"/>
                </a:cubicBezTo>
                <a:cubicBezTo>
                  <a:pt x="608" y="641"/>
                  <a:pt x="608" y="641"/>
                  <a:pt x="608" y="641"/>
                </a:cubicBezTo>
                <a:cubicBezTo>
                  <a:pt x="608" y="642"/>
                  <a:pt x="608" y="642"/>
                  <a:pt x="608" y="642"/>
                </a:cubicBezTo>
                <a:cubicBezTo>
                  <a:pt x="608" y="642"/>
                  <a:pt x="608" y="642"/>
                  <a:pt x="608" y="643"/>
                </a:cubicBezTo>
                <a:cubicBezTo>
                  <a:pt x="608" y="643"/>
                  <a:pt x="608" y="643"/>
                  <a:pt x="609" y="644"/>
                </a:cubicBezTo>
                <a:cubicBezTo>
                  <a:pt x="609" y="644"/>
                  <a:pt x="609" y="644"/>
                  <a:pt x="609" y="644"/>
                </a:cubicBezTo>
                <a:cubicBezTo>
                  <a:pt x="610" y="644"/>
                  <a:pt x="610" y="645"/>
                  <a:pt x="610" y="645"/>
                </a:cubicBezTo>
                <a:cubicBezTo>
                  <a:pt x="611" y="645"/>
                  <a:pt x="611" y="645"/>
                  <a:pt x="611" y="645"/>
                </a:cubicBezTo>
                <a:cubicBezTo>
                  <a:pt x="611" y="646"/>
                  <a:pt x="611" y="646"/>
                  <a:pt x="611" y="646"/>
                </a:cubicBezTo>
                <a:cubicBezTo>
                  <a:pt x="611" y="647"/>
                  <a:pt x="612" y="647"/>
                  <a:pt x="613" y="648"/>
                </a:cubicBezTo>
                <a:cubicBezTo>
                  <a:pt x="613" y="648"/>
                  <a:pt x="613" y="648"/>
                  <a:pt x="613" y="648"/>
                </a:cubicBezTo>
                <a:cubicBezTo>
                  <a:pt x="613" y="649"/>
                  <a:pt x="613" y="649"/>
                  <a:pt x="614" y="649"/>
                </a:cubicBezTo>
                <a:cubicBezTo>
                  <a:pt x="614" y="649"/>
                  <a:pt x="614" y="650"/>
                  <a:pt x="614" y="650"/>
                </a:cubicBezTo>
                <a:cubicBezTo>
                  <a:pt x="614" y="651"/>
                  <a:pt x="614" y="651"/>
                  <a:pt x="614" y="652"/>
                </a:cubicBezTo>
                <a:cubicBezTo>
                  <a:pt x="614" y="652"/>
                  <a:pt x="614" y="652"/>
                  <a:pt x="614" y="652"/>
                </a:cubicBezTo>
                <a:cubicBezTo>
                  <a:pt x="614" y="652"/>
                  <a:pt x="614" y="652"/>
                  <a:pt x="614" y="652"/>
                </a:cubicBezTo>
                <a:cubicBezTo>
                  <a:pt x="614" y="653"/>
                  <a:pt x="614" y="653"/>
                  <a:pt x="614" y="653"/>
                </a:cubicBezTo>
                <a:cubicBezTo>
                  <a:pt x="614" y="653"/>
                  <a:pt x="614" y="653"/>
                  <a:pt x="614" y="653"/>
                </a:cubicBezTo>
                <a:cubicBezTo>
                  <a:pt x="613" y="653"/>
                  <a:pt x="613" y="653"/>
                  <a:pt x="613" y="653"/>
                </a:cubicBezTo>
                <a:cubicBezTo>
                  <a:pt x="613" y="653"/>
                  <a:pt x="613" y="653"/>
                  <a:pt x="613" y="654"/>
                </a:cubicBezTo>
                <a:cubicBezTo>
                  <a:pt x="613" y="654"/>
                  <a:pt x="613" y="654"/>
                  <a:pt x="613" y="654"/>
                </a:cubicBezTo>
                <a:cubicBezTo>
                  <a:pt x="614" y="654"/>
                  <a:pt x="614" y="654"/>
                  <a:pt x="614" y="655"/>
                </a:cubicBezTo>
                <a:cubicBezTo>
                  <a:pt x="614" y="655"/>
                  <a:pt x="614" y="656"/>
                  <a:pt x="614" y="656"/>
                </a:cubicBezTo>
                <a:cubicBezTo>
                  <a:pt x="614" y="656"/>
                  <a:pt x="614" y="657"/>
                  <a:pt x="614" y="657"/>
                </a:cubicBezTo>
                <a:cubicBezTo>
                  <a:pt x="614" y="657"/>
                  <a:pt x="614" y="657"/>
                  <a:pt x="614" y="657"/>
                </a:cubicBezTo>
                <a:cubicBezTo>
                  <a:pt x="614" y="657"/>
                  <a:pt x="614" y="657"/>
                  <a:pt x="614" y="657"/>
                </a:cubicBezTo>
                <a:cubicBezTo>
                  <a:pt x="614" y="658"/>
                  <a:pt x="614" y="658"/>
                  <a:pt x="614" y="658"/>
                </a:cubicBezTo>
                <a:cubicBezTo>
                  <a:pt x="614" y="658"/>
                  <a:pt x="614" y="658"/>
                  <a:pt x="614" y="658"/>
                </a:cubicBezTo>
                <a:cubicBezTo>
                  <a:pt x="614" y="658"/>
                  <a:pt x="615" y="659"/>
                  <a:pt x="615" y="659"/>
                </a:cubicBezTo>
                <a:cubicBezTo>
                  <a:pt x="615" y="659"/>
                  <a:pt x="616" y="660"/>
                  <a:pt x="616" y="660"/>
                </a:cubicBezTo>
                <a:cubicBezTo>
                  <a:pt x="617" y="660"/>
                  <a:pt x="617" y="660"/>
                  <a:pt x="617" y="660"/>
                </a:cubicBezTo>
                <a:cubicBezTo>
                  <a:pt x="617" y="660"/>
                  <a:pt x="617" y="661"/>
                  <a:pt x="617" y="661"/>
                </a:cubicBezTo>
                <a:cubicBezTo>
                  <a:pt x="618" y="661"/>
                  <a:pt x="618" y="661"/>
                  <a:pt x="619" y="661"/>
                </a:cubicBezTo>
                <a:cubicBezTo>
                  <a:pt x="619" y="661"/>
                  <a:pt x="619" y="661"/>
                  <a:pt x="620" y="660"/>
                </a:cubicBezTo>
                <a:cubicBezTo>
                  <a:pt x="620" y="660"/>
                  <a:pt x="620" y="660"/>
                  <a:pt x="620" y="659"/>
                </a:cubicBezTo>
                <a:cubicBezTo>
                  <a:pt x="620" y="659"/>
                  <a:pt x="620" y="659"/>
                  <a:pt x="620" y="659"/>
                </a:cubicBezTo>
                <a:cubicBezTo>
                  <a:pt x="620" y="659"/>
                  <a:pt x="620" y="659"/>
                  <a:pt x="620" y="659"/>
                </a:cubicBezTo>
                <a:cubicBezTo>
                  <a:pt x="621" y="659"/>
                  <a:pt x="621" y="659"/>
                  <a:pt x="621" y="659"/>
                </a:cubicBezTo>
                <a:cubicBezTo>
                  <a:pt x="621" y="659"/>
                  <a:pt x="621" y="659"/>
                  <a:pt x="622" y="659"/>
                </a:cubicBezTo>
                <a:cubicBezTo>
                  <a:pt x="622" y="659"/>
                  <a:pt x="622" y="659"/>
                  <a:pt x="622" y="659"/>
                </a:cubicBezTo>
                <a:cubicBezTo>
                  <a:pt x="622" y="659"/>
                  <a:pt x="622" y="659"/>
                  <a:pt x="622" y="660"/>
                </a:cubicBezTo>
                <a:cubicBezTo>
                  <a:pt x="622" y="660"/>
                  <a:pt x="621" y="660"/>
                  <a:pt x="621" y="661"/>
                </a:cubicBezTo>
                <a:cubicBezTo>
                  <a:pt x="621" y="661"/>
                  <a:pt x="621" y="661"/>
                  <a:pt x="621" y="661"/>
                </a:cubicBezTo>
                <a:cubicBezTo>
                  <a:pt x="621" y="661"/>
                  <a:pt x="622" y="661"/>
                  <a:pt x="622" y="661"/>
                </a:cubicBezTo>
                <a:cubicBezTo>
                  <a:pt x="622" y="661"/>
                  <a:pt x="622" y="661"/>
                  <a:pt x="622" y="661"/>
                </a:cubicBezTo>
                <a:cubicBezTo>
                  <a:pt x="622" y="661"/>
                  <a:pt x="622" y="661"/>
                  <a:pt x="623" y="661"/>
                </a:cubicBezTo>
                <a:cubicBezTo>
                  <a:pt x="623" y="662"/>
                  <a:pt x="623" y="662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2" y="662"/>
                  <a:pt x="622" y="662"/>
                </a:cubicBezTo>
                <a:cubicBezTo>
                  <a:pt x="622" y="662"/>
                  <a:pt x="622" y="662"/>
                  <a:pt x="622" y="662"/>
                </a:cubicBezTo>
                <a:cubicBezTo>
                  <a:pt x="622" y="662"/>
                  <a:pt x="622" y="663"/>
                  <a:pt x="622" y="663"/>
                </a:cubicBezTo>
                <a:cubicBezTo>
                  <a:pt x="622" y="663"/>
                  <a:pt x="622" y="663"/>
                  <a:pt x="622" y="663"/>
                </a:cubicBezTo>
                <a:cubicBezTo>
                  <a:pt x="622" y="663"/>
                  <a:pt x="622" y="663"/>
                  <a:pt x="623" y="663"/>
                </a:cubicBezTo>
                <a:cubicBezTo>
                  <a:pt x="623" y="663"/>
                  <a:pt x="623" y="664"/>
                  <a:pt x="623" y="664"/>
                </a:cubicBezTo>
                <a:cubicBezTo>
                  <a:pt x="623" y="664"/>
                  <a:pt x="623" y="664"/>
                  <a:pt x="622" y="664"/>
                </a:cubicBezTo>
                <a:cubicBezTo>
                  <a:pt x="622" y="664"/>
                  <a:pt x="622" y="664"/>
                  <a:pt x="622" y="664"/>
                </a:cubicBezTo>
                <a:cubicBezTo>
                  <a:pt x="622" y="665"/>
                  <a:pt x="622" y="665"/>
                  <a:pt x="622" y="665"/>
                </a:cubicBezTo>
                <a:cubicBezTo>
                  <a:pt x="623" y="665"/>
                  <a:pt x="623" y="665"/>
                  <a:pt x="623" y="666"/>
                </a:cubicBezTo>
                <a:cubicBezTo>
                  <a:pt x="623" y="666"/>
                  <a:pt x="623" y="666"/>
                  <a:pt x="623" y="666"/>
                </a:cubicBezTo>
                <a:cubicBezTo>
                  <a:pt x="623" y="666"/>
                  <a:pt x="623" y="667"/>
                  <a:pt x="623" y="667"/>
                </a:cubicBezTo>
                <a:cubicBezTo>
                  <a:pt x="623" y="667"/>
                  <a:pt x="623" y="667"/>
                  <a:pt x="623" y="667"/>
                </a:cubicBezTo>
                <a:cubicBezTo>
                  <a:pt x="623" y="667"/>
                  <a:pt x="623" y="668"/>
                  <a:pt x="623" y="668"/>
                </a:cubicBezTo>
                <a:cubicBezTo>
                  <a:pt x="623" y="668"/>
                  <a:pt x="623" y="668"/>
                  <a:pt x="623" y="668"/>
                </a:cubicBezTo>
                <a:cubicBezTo>
                  <a:pt x="623" y="668"/>
                  <a:pt x="624" y="668"/>
                  <a:pt x="624" y="668"/>
                </a:cubicBezTo>
                <a:cubicBezTo>
                  <a:pt x="624" y="669"/>
                  <a:pt x="624" y="669"/>
                  <a:pt x="624" y="669"/>
                </a:cubicBezTo>
                <a:cubicBezTo>
                  <a:pt x="624" y="669"/>
                  <a:pt x="624" y="670"/>
                  <a:pt x="624" y="670"/>
                </a:cubicBezTo>
                <a:cubicBezTo>
                  <a:pt x="624" y="670"/>
                  <a:pt x="624" y="670"/>
                  <a:pt x="623" y="671"/>
                </a:cubicBezTo>
                <a:cubicBezTo>
                  <a:pt x="623" y="671"/>
                  <a:pt x="623" y="671"/>
                  <a:pt x="624" y="671"/>
                </a:cubicBezTo>
                <a:cubicBezTo>
                  <a:pt x="624" y="671"/>
                  <a:pt x="624" y="671"/>
                  <a:pt x="624" y="671"/>
                </a:cubicBezTo>
                <a:cubicBezTo>
                  <a:pt x="624" y="671"/>
                  <a:pt x="625" y="671"/>
                  <a:pt x="625" y="671"/>
                </a:cubicBezTo>
                <a:cubicBezTo>
                  <a:pt x="625" y="671"/>
                  <a:pt x="625" y="671"/>
                  <a:pt x="625" y="672"/>
                </a:cubicBezTo>
                <a:cubicBezTo>
                  <a:pt x="626" y="672"/>
                  <a:pt x="626" y="672"/>
                  <a:pt x="626" y="672"/>
                </a:cubicBezTo>
                <a:cubicBezTo>
                  <a:pt x="626" y="672"/>
                  <a:pt x="626" y="672"/>
                  <a:pt x="626" y="672"/>
                </a:cubicBezTo>
                <a:cubicBezTo>
                  <a:pt x="627" y="672"/>
                  <a:pt x="627" y="672"/>
                  <a:pt x="627" y="672"/>
                </a:cubicBezTo>
                <a:cubicBezTo>
                  <a:pt x="627" y="673"/>
                  <a:pt x="627" y="673"/>
                  <a:pt x="627" y="674"/>
                </a:cubicBezTo>
                <a:cubicBezTo>
                  <a:pt x="627" y="674"/>
                  <a:pt x="627" y="674"/>
                  <a:pt x="627" y="674"/>
                </a:cubicBezTo>
                <a:cubicBezTo>
                  <a:pt x="626" y="675"/>
                  <a:pt x="626" y="675"/>
                  <a:pt x="626" y="675"/>
                </a:cubicBezTo>
                <a:cubicBezTo>
                  <a:pt x="626" y="675"/>
                  <a:pt x="625" y="675"/>
                  <a:pt x="625" y="675"/>
                </a:cubicBezTo>
                <a:cubicBezTo>
                  <a:pt x="625" y="676"/>
                  <a:pt x="625" y="676"/>
                  <a:pt x="625" y="676"/>
                </a:cubicBezTo>
                <a:cubicBezTo>
                  <a:pt x="625" y="676"/>
                  <a:pt x="626" y="677"/>
                  <a:pt x="626" y="677"/>
                </a:cubicBezTo>
                <a:cubicBezTo>
                  <a:pt x="626" y="677"/>
                  <a:pt x="626" y="677"/>
                  <a:pt x="626" y="677"/>
                </a:cubicBezTo>
                <a:cubicBezTo>
                  <a:pt x="626" y="677"/>
                  <a:pt x="626" y="677"/>
                  <a:pt x="626" y="678"/>
                </a:cubicBezTo>
                <a:cubicBezTo>
                  <a:pt x="626" y="678"/>
                  <a:pt x="626" y="678"/>
                  <a:pt x="626" y="678"/>
                </a:cubicBezTo>
                <a:cubicBezTo>
                  <a:pt x="626" y="678"/>
                  <a:pt x="626" y="678"/>
                  <a:pt x="626" y="678"/>
                </a:cubicBezTo>
                <a:cubicBezTo>
                  <a:pt x="626" y="679"/>
                  <a:pt x="626" y="679"/>
                  <a:pt x="626" y="680"/>
                </a:cubicBezTo>
                <a:cubicBezTo>
                  <a:pt x="626" y="680"/>
                  <a:pt x="626" y="680"/>
                  <a:pt x="626" y="681"/>
                </a:cubicBezTo>
                <a:cubicBezTo>
                  <a:pt x="626" y="681"/>
                  <a:pt x="626" y="681"/>
                  <a:pt x="626" y="681"/>
                </a:cubicBezTo>
                <a:cubicBezTo>
                  <a:pt x="626" y="681"/>
                  <a:pt x="626" y="681"/>
                  <a:pt x="626" y="681"/>
                </a:cubicBezTo>
                <a:cubicBezTo>
                  <a:pt x="626" y="682"/>
                  <a:pt x="626" y="682"/>
                  <a:pt x="626" y="682"/>
                </a:cubicBezTo>
                <a:cubicBezTo>
                  <a:pt x="626" y="683"/>
                  <a:pt x="626" y="683"/>
                  <a:pt x="626" y="683"/>
                </a:cubicBezTo>
                <a:cubicBezTo>
                  <a:pt x="626" y="683"/>
                  <a:pt x="626" y="683"/>
                  <a:pt x="626" y="684"/>
                </a:cubicBezTo>
                <a:cubicBezTo>
                  <a:pt x="626" y="683"/>
                  <a:pt x="626" y="683"/>
                  <a:pt x="625" y="683"/>
                </a:cubicBezTo>
                <a:cubicBezTo>
                  <a:pt x="626" y="683"/>
                  <a:pt x="626" y="683"/>
                  <a:pt x="626" y="683"/>
                </a:cubicBezTo>
                <a:cubicBezTo>
                  <a:pt x="626" y="682"/>
                  <a:pt x="626" y="682"/>
                  <a:pt x="626" y="682"/>
                </a:cubicBezTo>
                <a:cubicBezTo>
                  <a:pt x="626" y="681"/>
                  <a:pt x="625" y="681"/>
                  <a:pt x="625" y="681"/>
                </a:cubicBezTo>
                <a:cubicBezTo>
                  <a:pt x="625" y="681"/>
                  <a:pt x="625" y="681"/>
                  <a:pt x="625" y="681"/>
                </a:cubicBezTo>
                <a:cubicBezTo>
                  <a:pt x="625" y="681"/>
                  <a:pt x="625" y="681"/>
                  <a:pt x="625" y="681"/>
                </a:cubicBezTo>
                <a:cubicBezTo>
                  <a:pt x="625" y="681"/>
                  <a:pt x="624" y="681"/>
                  <a:pt x="624" y="681"/>
                </a:cubicBezTo>
                <a:cubicBezTo>
                  <a:pt x="624" y="681"/>
                  <a:pt x="624" y="682"/>
                  <a:pt x="623" y="682"/>
                </a:cubicBezTo>
                <a:cubicBezTo>
                  <a:pt x="623" y="682"/>
                  <a:pt x="623" y="682"/>
                  <a:pt x="623" y="682"/>
                </a:cubicBezTo>
                <a:cubicBezTo>
                  <a:pt x="623" y="682"/>
                  <a:pt x="623" y="682"/>
                  <a:pt x="623" y="682"/>
                </a:cubicBezTo>
                <a:cubicBezTo>
                  <a:pt x="623" y="681"/>
                  <a:pt x="623" y="681"/>
                  <a:pt x="624" y="681"/>
                </a:cubicBezTo>
                <a:cubicBezTo>
                  <a:pt x="624" y="681"/>
                  <a:pt x="624" y="681"/>
                  <a:pt x="624" y="681"/>
                </a:cubicBezTo>
                <a:cubicBezTo>
                  <a:pt x="624" y="680"/>
                  <a:pt x="624" y="680"/>
                  <a:pt x="624" y="680"/>
                </a:cubicBezTo>
                <a:cubicBezTo>
                  <a:pt x="624" y="680"/>
                  <a:pt x="623" y="680"/>
                  <a:pt x="623" y="680"/>
                </a:cubicBezTo>
                <a:cubicBezTo>
                  <a:pt x="623" y="680"/>
                  <a:pt x="623" y="680"/>
                  <a:pt x="623" y="680"/>
                </a:cubicBezTo>
                <a:cubicBezTo>
                  <a:pt x="622" y="680"/>
                  <a:pt x="622" y="680"/>
                  <a:pt x="621" y="680"/>
                </a:cubicBezTo>
                <a:cubicBezTo>
                  <a:pt x="621" y="680"/>
                  <a:pt x="621" y="680"/>
                  <a:pt x="621" y="680"/>
                </a:cubicBezTo>
                <a:cubicBezTo>
                  <a:pt x="620" y="681"/>
                  <a:pt x="620" y="681"/>
                  <a:pt x="620" y="681"/>
                </a:cubicBezTo>
                <a:cubicBezTo>
                  <a:pt x="620" y="681"/>
                  <a:pt x="620" y="681"/>
                  <a:pt x="620" y="681"/>
                </a:cubicBezTo>
                <a:cubicBezTo>
                  <a:pt x="620" y="681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3"/>
                  <a:pt x="621" y="683"/>
                  <a:pt x="621" y="683"/>
                </a:cubicBezTo>
                <a:cubicBezTo>
                  <a:pt x="621" y="683"/>
                  <a:pt x="621" y="684"/>
                  <a:pt x="620" y="684"/>
                </a:cubicBezTo>
                <a:cubicBezTo>
                  <a:pt x="620" y="684"/>
                  <a:pt x="620" y="684"/>
                  <a:pt x="620" y="684"/>
                </a:cubicBezTo>
                <a:cubicBezTo>
                  <a:pt x="620" y="685"/>
                  <a:pt x="620" y="685"/>
                  <a:pt x="619" y="685"/>
                </a:cubicBezTo>
                <a:cubicBezTo>
                  <a:pt x="619" y="685"/>
                  <a:pt x="619" y="685"/>
                  <a:pt x="619" y="686"/>
                </a:cubicBezTo>
                <a:cubicBezTo>
                  <a:pt x="620" y="686"/>
                  <a:pt x="620" y="686"/>
                  <a:pt x="621" y="686"/>
                </a:cubicBezTo>
                <a:cubicBezTo>
                  <a:pt x="621" y="686"/>
                  <a:pt x="621" y="686"/>
                  <a:pt x="621" y="686"/>
                </a:cubicBezTo>
                <a:cubicBezTo>
                  <a:pt x="621" y="686"/>
                  <a:pt x="622" y="686"/>
                  <a:pt x="622" y="686"/>
                </a:cubicBezTo>
                <a:cubicBezTo>
                  <a:pt x="622" y="686"/>
                  <a:pt x="622" y="686"/>
                  <a:pt x="622" y="686"/>
                </a:cubicBezTo>
                <a:cubicBezTo>
                  <a:pt x="621" y="686"/>
                  <a:pt x="621" y="686"/>
                  <a:pt x="621" y="686"/>
                </a:cubicBezTo>
                <a:cubicBezTo>
                  <a:pt x="621" y="685"/>
                  <a:pt x="621" y="685"/>
                  <a:pt x="621" y="685"/>
                </a:cubicBezTo>
                <a:cubicBezTo>
                  <a:pt x="621" y="685"/>
                  <a:pt x="621" y="685"/>
                  <a:pt x="621" y="684"/>
                </a:cubicBezTo>
                <a:cubicBezTo>
                  <a:pt x="621" y="684"/>
                  <a:pt x="621" y="684"/>
                  <a:pt x="622" y="684"/>
                </a:cubicBezTo>
                <a:cubicBezTo>
                  <a:pt x="622" y="684"/>
                  <a:pt x="622" y="684"/>
                  <a:pt x="622" y="684"/>
                </a:cubicBezTo>
                <a:cubicBezTo>
                  <a:pt x="622" y="684"/>
                  <a:pt x="622" y="684"/>
                  <a:pt x="622" y="685"/>
                </a:cubicBezTo>
                <a:cubicBezTo>
                  <a:pt x="623" y="685"/>
                  <a:pt x="623" y="685"/>
                  <a:pt x="623" y="685"/>
                </a:cubicBezTo>
                <a:cubicBezTo>
                  <a:pt x="624" y="685"/>
                  <a:pt x="624" y="685"/>
                  <a:pt x="624" y="685"/>
                </a:cubicBezTo>
                <a:cubicBezTo>
                  <a:pt x="624" y="684"/>
                  <a:pt x="624" y="684"/>
                  <a:pt x="624" y="684"/>
                </a:cubicBezTo>
                <a:cubicBezTo>
                  <a:pt x="625" y="684"/>
                  <a:pt x="625" y="684"/>
                  <a:pt x="625" y="684"/>
                </a:cubicBezTo>
                <a:cubicBezTo>
                  <a:pt x="625" y="684"/>
                  <a:pt x="625" y="684"/>
                  <a:pt x="625" y="685"/>
                </a:cubicBezTo>
                <a:cubicBezTo>
                  <a:pt x="626" y="685"/>
                  <a:pt x="626" y="685"/>
                  <a:pt x="627" y="685"/>
                </a:cubicBezTo>
                <a:cubicBezTo>
                  <a:pt x="627" y="685"/>
                  <a:pt x="627" y="685"/>
                  <a:pt x="627" y="685"/>
                </a:cubicBezTo>
                <a:cubicBezTo>
                  <a:pt x="627" y="685"/>
                  <a:pt x="627" y="685"/>
                  <a:pt x="627" y="685"/>
                </a:cubicBezTo>
                <a:cubicBezTo>
                  <a:pt x="627" y="685"/>
                  <a:pt x="627" y="686"/>
                  <a:pt x="627" y="686"/>
                </a:cubicBezTo>
                <a:cubicBezTo>
                  <a:pt x="627" y="686"/>
                  <a:pt x="627" y="686"/>
                  <a:pt x="627" y="686"/>
                </a:cubicBezTo>
                <a:cubicBezTo>
                  <a:pt x="627" y="686"/>
                  <a:pt x="627" y="686"/>
                  <a:pt x="627" y="686"/>
                </a:cubicBezTo>
                <a:cubicBezTo>
                  <a:pt x="627" y="687"/>
                  <a:pt x="626" y="687"/>
                  <a:pt x="626" y="687"/>
                </a:cubicBezTo>
                <a:cubicBezTo>
                  <a:pt x="627" y="687"/>
                  <a:pt x="627" y="687"/>
                  <a:pt x="627" y="687"/>
                </a:cubicBezTo>
                <a:cubicBezTo>
                  <a:pt x="627" y="687"/>
                  <a:pt x="627" y="688"/>
                  <a:pt x="628" y="688"/>
                </a:cubicBezTo>
                <a:cubicBezTo>
                  <a:pt x="628" y="688"/>
                  <a:pt x="628" y="688"/>
                  <a:pt x="628" y="688"/>
                </a:cubicBezTo>
                <a:cubicBezTo>
                  <a:pt x="627" y="688"/>
                  <a:pt x="627" y="688"/>
                  <a:pt x="627" y="688"/>
                </a:cubicBezTo>
                <a:cubicBezTo>
                  <a:pt x="627" y="688"/>
                  <a:pt x="627" y="688"/>
                  <a:pt x="626" y="687"/>
                </a:cubicBezTo>
                <a:cubicBezTo>
                  <a:pt x="626" y="688"/>
                  <a:pt x="626" y="688"/>
                  <a:pt x="626" y="688"/>
                </a:cubicBezTo>
                <a:cubicBezTo>
                  <a:pt x="626" y="688"/>
                  <a:pt x="626" y="688"/>
                  <a:pt x="626" y="688"/>
                </a:cubicBezTo>
                <a:cubicBezTo>
                  <a:pt x="626" y="688"/>
                  <a:pt x="627" y="688"/>
                  <a:pt x="627" y="689"/>
                </a:cubicBezTo>
                <a:cubicBezTo>
                  <a:pt x="627" y="689"/>
                  <a:pt x="627" y="689"/>
                  <a:pt x="627" y="689"/>
                </a:cubicBezTo>
                <a:cubicBezTo>
                  <a:pt x="628" y="689"/>
                  <a:pt x="628" y="689"/>
                  <a:pt x="628" y="689"/>
                </a:cubicBezTo>
                <a:cubicBezTo>
                  <a:pt x="629" y="689"/>
                  <a:pt x="629" y="688"/>
                  <a:pt x="629" y="688"/>
                </a:cubicBezTo>
                <a:cubicBezTo>
                  <a:pt x="629" y="688"/>
                  <a:pt x="630" y="688"/>
                  <a:pt x="630" y="688"/>
                </a:cubicBezTo>
                <a:cubicBezTo>
                  <a:pt x="630" y="688"/>
                  <a:pt x="630" y="688"/>
                  <a:pt x="630" y="688"/>
                </a:cubicBezTo>
                <a:cubicBezTo>
                  <a:pt x="630" y="688"/>
                  <a:pt x="631" y="688"/>
                  <a:pt x="631" y="688"/>
                </a:cubicBezTo>
                <a:cubicBezTo>
                  <a:pt x="631" y="688"/>
                  <a:pt x="631" y="688"/>
                  <a:pt x="631" y="688"/>
                </a:cubicBezTo>
                <a:cubicBezTo>
                  <a:pt x="631" y="689"/>
                  <a:pt x="631" y="689"/>
                  <a:pt x="631" y="689"/>
                </a:cubicBezTo>
                <a:cubicBezTo>
                  <a:pt x="631" y="689"/>
                  <a:pt x="631" y="689"/>
                  <a:pt x="631" y="689"/>
                </a:cubicBezTo>
                <a:cubicBezTo>
                  <a:pt x="630" y="689"/>
                  <a:pt x="630" y="689"/>
                  <a:pt x="630" y="689"/>
                </a:cubicBezTo>
                <a:cubicBezTo>
                  <a:pt x="630" y="689"/>
                  <a:pt x="630" y="689"/>
                  <a:pt x="630" y="689"/>
                </a:cubicBezTo>
                <a:cubicBezTo>
                  <a:pt x="630" y="689"/>
                  <a:pt x="629" y="689"/>
                  <a:pt x="629" y="689"/>
                </a:cubicBezTo>
                <a:cubicBezTo>
                  <a:pt x="629" y="689"/>
                  <a:pt x="628" y="690"/>
                  <a:pt x="628" y="690"/>
                </a:cubicBezTo>
                <a:cubicBezTo>
                  <a:pt x="628" y="690"/>
                  <a:pt x="628" y="690"/>
                  <a:pt x="628" y="690"/>
                </a:cubicBezTo>
                <a:cubicBezTo>
                  <a:pt x="628" y="690"/>
                  <a:pt x="628" y="691"/>
                  <a:pt x="628" y="691"/>
                </a:cubicBezTo>
                <a:cubicBezTo>
                  <a:pt x="628" y="691"/>
                  <a:pt x="629" y="691"/>
                  <a:pt x="629" y="691"/>
                </a:cubicBezTo>
                <a:cubicBezTo>
                  <a:pt x="629" y="691"/>
                  <a:pt x="629" y="691"/>
                  <a:pt x="629" y="691"/>
                </a:cubicBezTo>
                <a:cubicBezTo>
                  <a:pt x="629" y="691"/>
                  <a:pt x="630" y="691"/>
                  <a:pt x="630" y="691"/>
                </a:cubicBezTo>
                <a:cubicBezTo>
                  <a:pt x="630" y="691"/>
                  <a:pt x="630" y="691"/>
                  <a:pt x="630" y="691"/>
                </a:cubicBezTo>
                <a:cubicBezTo>
                  <a:pt x="630" y="691"/>
                  <a:pt x="630" y="691"/>
                  <a:pt x="630" y="691"/>
                </a:cubicBezTo>
                <a:cubicBezTo>
                  <a:pt x="630" y="692"/>
                  <a:pt x="630" y="692"/>
                  <a:pt x="630" y="692"/>
                </a:cubicBezTo>
                <a:cubicBezTo>
                  <a:pt x="630" y="692"/>
                  <a:pt x="630" y="692"/>
                  <a:pt x="630" y="692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4"/>
                  <a:pt x="630" y="694"/>
                </a:cubicBezTo>
                <a:cubicBezTo>
                  <a:pt x="630" y="694"/>
                  <a:pt x="630" y="695"/>
                  <a:pt x="631" y="695"/>
                </a:cubicBezTo>
                <a:cubicBezTo>
                  <a:pt x="631" y="696"/>
                  <a:pt x="631" y="696"/>
                  <a:pt x="631" y="696"/>
                </a:cubicBezTo>
                <a:cubicBezTo>
                  <a:pt x="631" y="696"/>
                  <a:pt x="631" y="696"/>
                  <a:pt x="631" y="697"/>
                </a:cubicBezTo>
                <a:cubicBezTo>
                  <a:pt x="632" y="697"/>
                  <a:pt x="632" y="697"/>
                  <a:pt x="632" y="697"/>
                </a:cubicBezTo>
                <a:cubicBezTo>
                  <a:pt x="632" y="697"/>
                  <a:pt x="633" y="697"/>
                  <a:pt x="633" y="697"/>
                </a:cubicBezTo>
                <a:cubicBezTo>
                  <a:pt x="633" y="697"/>
                  <a:pt x="633" y="697"/>
                  <a:pt x="632" y="696"/>
                </a:cubicBezTo>
                <a:cubicBezTo>
                  <a:pt x="633" y="696"/>
                  <a:pt x="633" y="695"/>
                  <a:pt x="633" y="695"/>
                </a:cubicBezTo>
                <a:cubicBezTo>
                  <a:pt x="633" y="695"/>
                  <a:pt x="633" y="694"/>
                  <a:pt x="633" y="694"/>
                </a:cubicBezTo>
                <a:cubicBezTo>
                  <a:pt x="633" y="694"/>
                  <a:pt x="633" y="694"/>
                  <a:pt x="633" y="694"/>
                </a:cubicBezTo>
                <a:cubicBezTo>
                  <a:pt x="633" y="695"/>
                  <a:pt x="633" y="695"/>
                  <a:pt x="633" y="695"/>
                </a:cubicBezTo>
                <a:cubicBezTo>
                  <a:pt x="633" y="695"/>
                  <a:pt x="633" y="696"/>
                  <a:pt x="633" y="696"/>
                </a:cubicBezTo>
                <a:cubicBezTo>
                  <a:pt x="633" y="696"/>
                  <a:pt x="633" y="696"/>
                  <a:pt x="633" y="697"/>
                </a:cubicBezTo>
                <a:cubicBezTo>
                  <a:pt x="633" y="697"/>
                  <a:pt x="633" y="697"/>
                  <a:pt x="634" y="697"/>
                </a:cubicBezTo>
                <a:cubicBezTo>
                  <a:pt x="634" y="697"/>
                  <a:pt x="634" y="697"/>
                  <a:pt x="634" y="697"/>
                </a:cubicBezTo>
                <a:cubicBezTo>
                  <a:pt x="634" y="697"/>
                  <a:pt x="634" y="697"/>
                  <a:pt x="634" y="697"/>
                </a:cubicBezTo>
                <a:cubicBezTo>
                  <a:pt x="634" y="697"/>
                  <a:pt x="633" y="697"/>
                  <a:pt x="633" y="697"/>
                </a:cubicBezTo>
                <a:cubicBezTo>
                  <a:pt x="633" y="698"/>
                  <a:pt x="633" y="698"/>
                  <a:pt x="633" y="698"/>
                </a:cubicBezTo>
                <a:cubicBezTo>
                  <a:pt x="633" y="698"/>
                  <a:pt x="633" y="698"/>
                  <a:pt x="633" y="698"/>
                </a:cubicBezTo>
                <a:cubicBezTo>
                  <a:pt x="633" y="699"/>
                  <a:pt x="633" y="699"/>
                  <a:pt x="633" y="699"/>
                </a:cubicBezTo>
                <a:cubicBezTo>
                  <a:pt x="633" y="699"/>
                  <a:pt x="633" y="699"/>
                  <a:pt x="633" y="700"/>
                </a:cubicBezTo>
                <a:cubicBezTo>
                  <a:pt x="633" y="700"/>
                  <a:pt x="633" y="700"/>
                  <a:pt x="633" y="700"/>
                </a:cubicBezTo>
                <a:cubicBezTo>
                  <a:pt x="633" y="700"/>
                  <a:pt x="632" y="700"/>
                  <a:pt x="632" y="701"/>
                </a:cubicBezTo>
                <a:cubicBezTo>
                  <a:pt x="632" y="701"/>
                  <a:pt x="633" y="701"/>
                  <a:pt x="633" y="701"/>
                </a:cubicBezTo>
                <a:cubicBezTo>
                  <a:pt x="633" y="701"/>
                  <a:pt x="633" y="701"/>
                  <a:pt x="634" y="702"/>
                </a:cubicBezTo>
                <a:cubicBezTo>
                  <a:pt x="634" y="702"/>
                  <a:pt x="635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3"/>
                  <a:pt x="636" y="703"/>
                  <a:pt x="636" y="703"/>
                </a:cubicBezTo>
                <a:cubicBezTo>
                  <a:pt x="636" y="703"/>
                  <a:pt x="637" y="703"/>
                  <a:pt x="637" y="703"/>
                </a:cubicBezTo>
                <a:cubicBezTo>
                  <a:pt x="637" y="703"/>
                  <a:pt x="637" y="703"/>
                  <a:pt x="637" y="702"/>
                </a:cubicBezTo>
                <a:cubicBezTo>
                  <a:pt x="637" y="703"/>
                  <a:pt x="637" y="703"/>
                  <a:pt x="637" y="703"/>
                </a:cubicBezTo>
                <a:cubicBezTo>
                  <a:pt x="637" y="703"/>
                  <a:pt x="637" y="703"/>
                  <a:pt x="637" y="703"/>
                </a:cubicBezTo>
                <a:cubicBezTo>
                  <a:pt x="637" y="704"/>
                  <a:pt x="637" y="704"/>
                  <a:pt x="637" y="704"/>
                </a:cubicBezTo>
                <a:cubicBezTo>
                  <a:pt x="636" y="704"/>
                  <a:pt x="636" y="704"/>
                  <a:pt x="636" y="705"/>
                </a:cubicBezTo>
                <a:cubicBezTo>
                  <a:pt x="636" y="705"/>
                  <a:pt x="637" y="705"/>
                  <a:pt x="637" y="705"/>
                </a:cubicBezTo>
                <a:cubicBezTo>
                  <a:pt x="637" y="705"/>
                  <a:pt x="637" y="705"/>
                  <a:pt x="637" y="705"/>
                </a:cubicBezTo>
                <a:cubicBezTo>
                  <a:pt x="637" y="705"/>
                  <a:pt x="637" y="705"/>
                  <a:pt x="637" y="705"/>
                </a:cubicBezTo>
                <a:cubicBezTo>
                  <a:pt x="638" y="705"/>
                  <a:pt x="638" y="705"/>
                  <a:pt x="638" y="705"/>
                </a:cubicBezTo>
                <a:cubicBezTo>
                  <a:pt x="638" y="705"/>
                  <a:pt x="638" y="705"/>
                  <a:pt x="639" y="705"/>
                </a:cubicBezTo>
                <a:cubicBezTo>
                  <a:pt x="639" y="705"/>
                  <a:pt x="639" y="705"/>
                  <a:pt x="639" y="705"/>
                </a:cubicBezTo>
                <a:cubicBezTo>
                  <a:pt x="639" y="705"/>
                  <a:pt x="639" y="705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8" y="706"/>
                  <a:pt x="638" y="706"/>
                  <a:pt x="638" y="706"/>
                </a:cubicBezTo>
                <a:cubicBezTo>
                  <a:pt x="638" y="706"/>
                  <a:pt x="638" y="707"/>
                  <a:pt x="638" y="707"/>
                </a:cubicBezTo>
                <a:cubicBezTo>
                  <a:pt x="638" y="707"/>
                  <a:pt x="639" y="707"/>
                  <a:pt x="639" y="707"/>
                </a:cubicBezTo>
                <a:cubicBezTo>
                  <a:pt x="639" y="707"/>
                  <a:pt x="639" y="707"/>
                  <a:pt x="639" y="707"/>
                </a:cubicBezTo>
                <a:cubicBezTo>
                  <a:pt x="639" y="708"/>
                  <a:pt x="640" y="708"/>
                  <a:pt x="640" y="708"/>
                </a:cubicBezTo>
                <a:cubicBezTo>
                  <a:pt x="640" y="708"/>
                  <a:pt x="640" y="708"/>
                  <a:pt x="640" y="708"/>
                </a:cubicBezTo>
                <a:cubicBezTo>
                  <a:pt x="641" y="709"/>
                  <a:pt x="641" y="709"/>
                  <a:pt x="641" y="709"/>
                </a:cubicBezTo>
                <a:cubicBezTo>
                  <a:pt x="641" y="709"/>
                  <a:pt x="641" y="709"/>
                  <a:pt x="642" y="709"/>
                </a:cubicBezTo>
                <a:cubicBezTo>
                  <a:pt x="641" y="708"/>
                  <a:pt x="641" y="708"/>
                  <a:pt x="641" y="708"/>
                </a:cubicBezTo>
                <a:cubicBezTo>
                  <a:pt x="641" y="708"/>
                  <a:pt x="641" y="707"/>
                  <a:pt x="641" y="707"/>
                </a:cubicBezTo>
                <a:cubicBezTo>
                  <a:pt x="641" y="707"/>
                  <a:pt x="641" y="707"/>
                  <a:pt x="641" y="707"/>
                </a:cubicBezTo>
                <a:cubicBezTo>
                  <a:pt x="641" y="707"/>
                  <a:pt x="641" y="707"/>
                  <a:pt x="642" y="707"/>
                </a:cubicBezTo>
                <a:cubicBezTo>
                  <a:pt x="642" y="707"/>
                  <a:pt x="642" y="707"/>
                  <a:pt x="642" y="708"/>
                </a:cubicBezTo>
                <a:cubicBezTo>
                  <a:pt x="642" y="708"/>
                  <a:pt x="642" y="708"/>
                  <a:pt x="642" y="708"/>
                </a:cubicBezTo>
                <a:cubicBezTo>
                  <a:pt x="642" y="708"/>
                  <a:pt x="642" y="708"/>
                  <a:pt x="642" y="707"/>
                </a:cubicBezTo>
                <a:cubicBezTo>
                  <a:pt x="643" y="707"/>
                  <a:pt x="643" y="707"/>
                  <a:pt x="643" y="707"/>
                </a:cubicBezTo>
                <a:cubicBezTo>
                  <a:pt x="643" y="707"/>
                  <a:pt x="643" y="706"/>
                  <a:pt x="643" y="706"/>
                </a:cubicBezTo>
                <a:cubicBezTo>
                  <a:pt x="643" y="706"/>
                  <a:pt x="642" y="706"/>
                  <a:pt x="642" y="706"/>
                </a:cubicBezTo>
                <a:cubicBezTo>
                  <a:pt x="642" y="706"/>
                  <a:pt x="642" y="706"/>
                  <a:pt x="641" y="706"/>
                </a:cubicBezTo>
                <a:cubicBezTo>
                  <a:pt x="641" y="706"/>
                  <a:pt x="641" y="706"/>
                  <a:pt x="641" y="706"/>
                </a:cubicBezTo>
                <a:cubicBezTo>
                  <a:pt x="641" y="706"/>
                  <a:pt x="642" y="706"/>
                  <a:pt x="642" y="706"/>
                </a:cubicBezTo>
                <a:cubicBezTo>
                  <a:pt x="642" y="706"/>
                  <a:pt x="643" y="706"/>
                  <a:pt x="643" y="706"/>
                </a:cubicBezTo>
                <a:cubicBezTo>
                  <a:pt x="643" y="706"/>
                  <a:pt x="643" y="706"/>
                  <a:pt x="643" y="706"/>
                </a:cubicBezTo>
                <a:cubicBezTo>
                  <a:pt x="644" y="706"/>
                  <a:pt x="644" y="706"/>
                  <a:pt x="644" y="706"/>
                </a:cubicBezTo>
                <a:cubicBezTo>
                  <a:pt x="644" y="706"/>
                  <a:pt x="644" y="706"/>
                  <a:pt x="644" y="705"/>
                </a:cubicBezTo>
                <a:cubicBezTo>
                  <a:pt x="644" y="705"/>
                  <a:pt x="643" y="705"/>
                  <a:pt x="643" y="705"/>
                </a:cubicBezTo>
                <a:cubicBezTo>
                  <a:pt x="642" y="705"/>
                  <a:pt x="642" y="705"/>
                  <a:pt x="642" y="705"/>
                </a:cubicBezTo>
                <a:cubicBezTo>
                  <a:pt x="641" y="705"/>
                  <a:pt x="641" y="705"/>
                  <a:pt x="641" y="705"/>
                </a:cubicBezTo>
                <a:cubicBezTo>
                  <a:pt x="642" y="705"/>
                  <a:pt x="642" y="705"/>
                  <a:pt x="642" y="705"/>
                </a:cubicBezTo>
                <a:cubicBezTo>
                  <a:pt x="642" y="705"/>
                  <a:pt x="643" y="705"/>
                  <a:pt x="643" y="705"/>
                </a:cubicBezTo>
                <a:cubicBezTo>
                  <a:pt x="644" y="705"/>
                  <a:pt x="644" y="705"/>
                  <a:pt x="645" y="705"/>
                </a:cubicBezTo>
                <a:cubicBezTo>
                  <a:pt x="645" y="706"/>
                  <a:pt x="645" y="706"/>
                  <a:pt x="645" y="706"/>
                </a:cubicBezTo>
                <a:cubicBezTo>
                  <a:pt x="645" y="706"/>
                  <a:pt x="645" y="707"/>
                  <a:pt x="645" y="707"/>
                </a:cubicBezTo>
                <a:cubicBezTo>
                  <a:pt x="645" y="707"/>
                  <a:pt x="645" y="707"/>
                  <a:pt x="645" y="707"/>
                </a:cubicBezTo>
                <a:cubicBezTo>
                  <a:pt x="645" y="708"/>
                  <a:pt x="645" y="708"/>
                  <a:pt x="645" y="708"/>
                </a:cubicBezTo>
                <a:cubicBezTo>
                  <a:pt x="645" y="708"/>
                  <a:pt x="645" y="709"/>
                  <a:pt x="646" y="709"/>
                </a:cubicBezTo>
                <a:cubicBezTo>
                  <a:pt x="645" y="709"/>
                  <a:pt x="645" y="709"/>
                  <a:pt x="645" y="709"/>
                </a:cubicBezTo>
                <a:cubicBezTo>
                  <a:pt x="645" y="709"/>
                  <a:pt x="645" y="709"/>
                  <a:pt x="645" y="708"/>
                </a:cubicBezTo>
                <a:cubicBezTo>
                  <a:pt x="645" y="708"/>
                  <a:pt x="645" y="708"/>
                  <a:pt x="644" y="707"/>
                </a:cubicBezTo>
                <a:cubicBezTo>
                  <a:pt x="644" y="707"/>
                  <a:pt x="644" y="707"/>
                  <a:pt x="644" y="707"/>
                </a:cubicBezTo>
                <a:cubicBezTo>
                  <a:pt x="644" y="707"/>
                  <a:pt x="643" y="707"/>
                  <a:pt x="643" y="708"/>
                </a:cubicBezTo>
                <a:cubicBezTo>
                  <a:pt x="643" y="708"/>
                  <a:pt x="643" y="708"/>
                  <a:pt x="643" y="708"/>
                </a:cubicBezTo>
                <a:cubicBezTo>
                  <a:pt x="644" y="708"/>
                  <a:pt x="644" y="708"/>
                  <a:pt x="644" y="709"/>
                </a:cubicBezTo>
                <a:cubicBezTo>
                  <a:pt x="644" y="709"/>
                  <a:pt x="644" y="709"/>
                  <a:pt x="644" y="709"/>
                </a:cubicBezTo>
                <a:cubicBezTo>
                  <a:pt x="644" y="709"/>
                  <a:pt x="644" y="709"/>
                  <a:pt x="643" y="709"/>
                </a:cubicBezTo>
                <a:cubicBezTo>
                  <a:pt x="643" y="709"/>
                  <a:pt x="643" y="709"/>
                  <a:pt x="643" y="708"/>
                </a:cubicBezTo>
                <a:cubicBezTo>
                  <a:pt x="643" y="708"/>
                  <a:pt x="643" y="708"/>
                  <a:pt x="643" y="708"/>
                </a:cubicBezTo>
                <a:cubicBezTo>
                  <a:pt x="642" y="709"/>
                  <a:pt x="642" y="709"/>
                  <a:pt x="642" y="709"/>
                </a:cubicBezTo>
                <a:cubicBezTo>
                  <a:pt x="642" y="709"/>
                  <a:pt x="642" y="709"/>
                  <a:pt x="641" y="709"/>
                </a:cubicBezTo>
                <a:cubicBezTo>
                  <a:pt x="641" y="709"/>
                  <a:pt x="641" y="710"/>
                  <a:pt x="641" y="710"/>
                </a:cubicBezTo>
                <a:cubicBezTo>
                  <a:pt x="641" y="710"/>
                  <a:pt x="641" y="710"/>
                  <a:pt x="641" y="710"/>
                </a:cubicBezTo>
                <a:cubicBezTo>
                  <a:pt x="641" y="710"/>
                  <a:pt x="642" y="711"/>
                  <a:pt x="642" y="711"/>
                </a:cubicBezTo>
                <a:cubicBezTo>
                  <a:pt x="642" y="711"/>
                  <a:pt x="642" y="711"/>
                  <a:pt x="642" y="711"/>
                </a:cubicBezTo>
                <a:cubicBezTo>
                  <a:pt x="642" y="711"/>
                  <a:pt x="642" y="712"/>
                  <a:pt x="642" y="712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3" y="712"/>
                  <a:pt x="643" y="712"/>
                  <a:pt x="643" y="712"/>
                </a:cubicBezTo>
                <a:cubicBezTo>
                  <a:pt x="643" y="712"/>
                  <a:pt x="643" y="712"/>
                  <a:pt x="643" y="712"/>
                </a:cubicBezTo>
                <a:cubicBezTo>
                  <a:pt x="643" y="712"/>
                  <a:pt x="643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3"/>
                  <a:pt x="643" y="713"/>
                  <a:pt x="643" y="713"/>
                </a:cubicBezTo>
                <a:cubicBezTo>
                  <a:pt x="643" y="713"/>
                  <a:pt x="643" y="713"/>
                  <a:pt x="643" y="713"/>
                </a:cubicBezTo>
                <a:cubicBezTo>
                  <a:pt x="644" y="713"/>
                  <a:pt x="644" y="713"/>
                  <a:pt x="644" y="713"/>
                </a:cubicBezTo>
                <a:cubicBezTo>
                  <a:pt x="645" y="713"/>
                  <a:pt x="645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2"/>
                  <a:pt x="646" y="712"/>
                  <a:pt x="646" y="712"/>
                </a:cubicBezTo>
                <a:cubicBezTo>
                  <a:pt x="646" y="712"/>
                  <a:pt x="646" y="712"/>
                  <a:pt x="646" y="711"/>
                </a:cubicBezTo>
                <a:cubicBezTo>
                  <a:pt x="646" y="711"/>
                  <a:pt x="646" y="711"/>
                  <a:pt x="646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0"/>
                  <a:pt x="645" y="710"/>
                  <a:pt x="645" y="710"/>
                </a:cubicBezTo>
                <a:cubicBezTo>
                  <a:pt x="645" y="710"/>
                  <a:pt x="645" y="710"/>
                  <a:pt x="645" y="710"/>
                </a:cubicBezTo>
                <a:cubicBezTo>
                  <a:pt x="646" y="710"/>
                  <a:pt x="646" y="710"/>
                  <a:pt x="646" y="710"/>
                </a:cubicBezTo>
                <a:cubicBezTo>
                  <a:pt x="646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8" y="710"/>
                  <a:pt x="648" y="710"/>
                  <a:pt x="648" y="709"/>
                </a:cubicBezTo>
                <a:cubicBezTo>
                  <a:pt x="648" y="709"/>
                  <a:pt x="649" y="709"/>
                  <a:pt x="649" y="709"/>
                </a:cubicBezTo>
                <a:cubicBezTo>
                  <a:pt x="649" y="709"/>
                  <a:pt x="649" y="709"/>
                  <a:pt x="650" y="709"/>
                </a:cubicBezTo>
                <a:cubicBezTo>
                  <a:pt x="650" y="709"/>
                  <a:pt x="650" y="709"/>
                  <a:pt x="650" y="709"/>
                </a:cubicBezTo>
                <a:cubicBezTo>
                  <a:pt x="650" y="709"/>
                  <a:pt x="651" y="709"/>
                  <a:pt x="651" y="709"/>
                </a:cubicBezTo>
                <a:cubicBezTo>
                  <a:pt x="650" y="709"/>
                  <a:pt x="650" y="710"/>
                  <a:pt x="650" y="710"/>
                </a:cubicBezTo>
                <a:cubicBezTo>
                  <a:pt x="650" y="710"/>
                  <a:pt x="650" y="710"/>
                  <a:pt x="650" y="710"/>
                </a:cubicBezTo>
                <a:cubicBezTo>
                  <a:pt x="650" y="710"/>
                  <a:pt x="650" y="710"/>
                  <a:pt x="649" y="710"/>
                </a:cubicBezTo>
                <a:cubicBezTo>
                  <a:pt x="649" y="710"/>
                  <a:pt x="649" y="710"/>
                  <a:pt x="649" y="710"/>
                </a:cubicBezTo>
                <a:cubicBezTo>
                  <a:pt x="649" y="710"/>
                  <a:pt x="649" y="710"/>
                  <a:pt x="648" y="710"/>
                </a:cubicBezTo>
                <a:cubicBezTo>
                  <a:pt x="648" y="711"/>
                  <a:pt x="648" y="711"/>
                  <a:pt x="647" y="711"/>
                </a:cubicBezTo>
                <a:cubicBezTo>
                  <a:pt x="647" y="711"/>
                  <a:pt x="647" y="711"/>
                  <a:pt x="647" y="712"/>
                </a:cubicBezTo>
                <a:cubicBezTo>
                  <a:pt x="647" y="712"/>
                  <a:pt x="647" y="712"/>
                  <a:pt x="647" y="712"/>
                </a:cubicBezTo>
                <a:cubicBezTo>
                  <a:pt x="647" y="712"/>
                  <a:pt x="646" y="712"/>
                  <a:pt x="646" y="712"/>
                </a:cubicBezTo>
                <a:cubicBezTo>
                  <a:pt x="646" y="712"/>
                  <a:pt x="646" y="712"/>
                  <a:pt x="647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4"/>
                  <a:pt x="646" y="714"/>
                </a:cubicBezTo>
                <a:cubicBezTo>
                  <a:pt x="646" y="714"/>
                  <a:pt x="647" y="714"/>
                  <a:pt x="647" y="714"/>
                </a:cubicBezTo>
                <a:cubicBezTo>
                  <a:pt x="647" y="714"/>
                  <a:pt x="647" y="714"/>
                  <a:pt x="646" y="714"/>
                </a:cubicBezTo>
                <a:cubicBezTo>
                  <a:pt x="646" y="714"/>
                  <a:pt x="647" y="714"/>
                  <a:pt x="647" y="714"/>
                </a:cubicBezTo>
                <a:cubicBezTo>
                  <a:pt x="647" y="714"/>
                  <a:pt x="647" y="714"/>
                  <a:pt x="648" y="715"/>
                </a:cubicBezTo>
                <a:cubicBezTo>
                  <a:pt x="648" y="715"/>
                  <a:pt x="648" y="715"/>
                  <a:pt x="649" y="715"/>
                </a:cubicBezTo>
                <a:cubicBezTo>
                  <a:pt x="649" y="715"/>
                  <a:pt x="649" y="715"/>
                  <a:pt x="649" y="715"/>
                </a:cubicBezTo>
                <a:cubicBezTo>
                  <a:pt x="649" y="715"/>
                  <a:pt x="649" y="715"/>
                  <a:pt x="649" y="715"/>
                </a:cubicBezTo>
                <a:cubicBezTo>
                  <a:pt x="649" y="714"/>
                  <a:pt x="649" y="714"/>
                  <a:pt x="649" y="714"/>
                </a:cubicBezTo>
                <a:cubicBezTo>
                  <a:pt x="649" y="714"/>
                  <a:pt x="649" y="714"/>
                  <a:pt x="649" y="713"/>
                </a:cubicBezTo>
                <a:cubicBezTo>
                  <a:pt x="649" y="713"/>
                  <a:pt x="650" y="713"/>
                  <a:pt x="650" y="713"/>
                </a:cubicBezTo>
                <a:cubicBezTo>
                  <a:pt x="650" y="713"/>
                  <a:pt x="650" y="713"/>
                  <a:pt x="650" y="713"/>
                </a:cubicBezTo>
                <a:cubicBezTo>
                  <a:pt x="649" y="713"/>
                  <a:pt x="649" y="713"/>
                  <a:pt x="649" y="712"/>
                </a:cubicBezTo>
                <a:cubicBezTo>
                  <a:pt x="649" y="712"/>
                  <a:pt x="650" y="712"/>
                  <a:pt x="650" y="712"/>
                </a:cubicBezTo>
                <a:cubicBezTo>
                  <a:pt x="650" y="712"/>
                  <a:pt x="650" y="712"/>
                  <a:pt x="650" y="711"/>
                </a:cubicBezTo>
                <a:cubicBezTo>
                  <a:pt x="651" y="711"/>
                  <a:pt x="651" y="711"/>
                  <a:pt x="651" y="710"/>
                </a:cubicBezTo>
                <a:cubicBezTo>
                  <a:pt x="651" y="710"/>
                  <a:pt x="651" y="710"/>
                  <a:pt x="651" y="710"/>
                </a:cubicBezTo>
                <a:cubicBezTo>
                  <a:pt x="651" y="710"/>
                  <a:pt x="651" y="710"/>
                  <a:pt x="652" y="710"/>
                </a:cubicBezTo>
                <a:cubicBezTo>
                  <a:pt x="652" y="710"/>
                  <a:pt x="652" y="710"/>
                  <a:pt x="652" y="710"/>
                </a:cubicBezTo>
                <a:cubicBezTo>
                  <a:pt x="652" y="710"/>
                  <a:pt x="652" y="710"/>
                  <a:pt x="653" y="710"/>
                </a:cubicBezTo>
                <a:cubicBezTo>
                  <a:pt x="653" y="710"/>
                  <a:pt x="653" y="710"/>
                  <a:pt x="653" y="710"/>
                </a:cubicBezTo>
                <a:cubicBezTo>
                  <a:pt x="653" y="710"/>
                  <a:pt x="652" y="711"/>
                  <a:pt x="652" y="711"/>
                </a:cubicBezTo>
                <a:cubicBezTo>
                  <a:pt x="652" y="711"/>
                  <a:pt x="652" y="711"/>
                  <a:pt x="652" y="711"/>
                </a:cubicBezTo>
                <a:cubicBezTo>
                  <a:pt x="652" y="711"/>
                  <a:pt x="652" y="712"/>
                  <a:pt x="652" y="712"/>
                </a:cubicBezTo>
                <a:cubicBezTo>
                  <a:pt x="652" y="712"/>
                  <a:pt x="652" y="712"/>
                  <a:pt x="651" y="713"/>
                </a:cubicBezTo>
                <a:cubicBezTo>
                  <a:pt x="651" y="713"/>
                  <a:pt x="652" y="713"/>
                  <a:pt x="652" y="713"/>
                </a:cubicBezTo>
                <a:cubicBezTo>
                  <a:pt x="652" y="713"/>
                  <a:pt x="652" y="714"/>
                  <a:pt x="652" y="714"/>
                </a:cubicBezTo>
                <a:cubicBezTo>
                  <a:pt x="652" y="714"/>
                  <a:pt x="652" y="714"/>
                  <a:pt x="652" y="714"/>
                </a:cubicBezTo>
                <a:cubicBezTo>
                  <a:pt x="651" y="714"/>
                  <a:pt x="651" y="714"/>
                  <a:pt x="651" y="715"/>
                </a:cubicBezTo>
                <a:cubicBezTo>
                  <a:pt x="651" y="714"/>
                  <a:pt x="651" y="714"/>
                  <a:pt x="651" y="714"/>
                </a:cubicBezTo>
                <a:cubicBezTo>
                  <a:pt x="651" y="714"/>
                  <a:pt x="651" y="714"/>
                  <a:pt x="651" y="714"/>
                </a:cubicBezTo>
                <a:cubicBezTo>
                  <a:pt x="651" y="714"/>
                  <a:pt x="651" y="713"/>
                  <a:pt x="651" y="713"/>
                </a:cubicBezTo>
                <a:cubicBezTo>
                  <a:pt x="651" y="713"/>
                  <a:pt x="651" y="713"/>
                  <a:pt x="651" y="713"/>
                </a:cubicBezTo>
                <a:cubicBezTo>
                  <a:pt x="651" y="713"/>
                  <a:pt x="651" y="713"/>
                  <a:pt x="650" y="713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49" y="714"/>
                </a:cubicBezTo>
                <a:cubicBezTo>
                  <a:pt x="650" y="715"/>
                  <a:pt x="650" y="715"/>
                  <a:pt x="650" y="715"/>
                </a:cubicBezTo>
                <a:cubicBezTo>
                  <a:pt x="651" y="715"/>
                  <a:pt x="651" y="715"/>
                  <a:pt x="652" y="716"/>
                </a:cubicBezTo>
                <a:cubicBezTo>
                  <a:pt x="652" y="716"/>
                  <a:pt x="652" y="716"/>
                  <a:pt x="653" y="716"/>
                </a:cubicBezTo>
                <a:cubicBezTo>
                  <a:pt x="653" y="716"/>
                  <a:pt x="653" y="716"/>
                  <a:pt x="654" y="716"/>
                </a:cubicBezTo>
                <a:cubicBezTo>
                  <a:pt x="654" y="716"/>
                  <a:pt x="654" y="716"/>
                  <a:pt x="654" y="716"/>
                </a:cubicBezTo>
                <a:cubicBezTo>
                  <a:pt x="654" y="716"/>
                  <a:pt x="654" y="716"/>
                  <a:pt x="655" y="716"/>
                </a:cubicBezTo>
                <a:cubicBezTo>
                  <a:pt x="655" y="716"/>
                  <a:pt x="655" y="716"/>
                  <a:pt x="655" y="715"/>
                </a:cubicBezTo>
                <a:cubicBezTo>
                  <a:pt x="655" y="715"/>
                  <a:pt x="655" y="715"/>
                  <a:pt x="655" y="715"/>
                </a:cubicBezTo>
                <a:cubicBezTo>
                  <a:pt x="655" y="714"/>
                  <a:pt x="655" y="714"/>
                  <a:pt x="655" y="714"/>
                </a:cubicBezTo>
                <a:cubicBezTo>
                  <a:pt x="655" y="713"/>
                  <a:pt x="655" y="713"/>
                  <a:pt x="655" y="713"/>
                </a:cubicBezTo>
                <a:cubicBezTo>
                  <a:pt x="655" y="713"/>
                  <a:pt x="654" y="713"/>
                  <a:pt x="654" y="712"/>
                </a:cubicBezTo>
                <a:cubicBezTo>
                  <a:pt x="654" y="712"/>
                  <a:pt x="654" y="712"/>
                  <a:pt x="654" y="712"/>
                </a:cubicBezTo>
                <a:cubicBezTo>
                  <a:pt x="654" y="711"/>
                  <a:pt x="654" y="711"/>
                  <a:pt x="654" y="710"/>
                </a:cubicBezTo>
                <a:cubicBezTo>
                  <a:pt x="654" y="710"/>
                  <a:pt x="654" y="710"/>
                  <a:pt x="654" y="710"/>
                </a:cubicBezTo>
                <a:cubicBezTo>
                  <a:pt x="654" y="710"/>
                  <a:pt x="654" y="709"/>
                  <a:pt x="654" y="709"/>
                </a:cubicBezTo>
                <a:cubicBezTo>
                  <a:pt x="654" y="709"/>
                  <a:pt x="654" y="709"/>
                  <a:pt x="655" y="708"/>
                </a:cubicBezTo>
                <a:cubicBezTo>
                  <a:pt x="655" y="708"/>
                  <a:pt x="655" y="708"/>
                  <a:pt x="655" y="707"/>
                </a:cubicBezTo>
                <a:cubicBezTo>
                  <a:pt x="656" y="707"/>
                  <a:pt x="656" y="707"/>
                  <a:pt x="656" y="707"/>
                </a:cubicBezTo>
                <a:cubicBezTo>
                  <a:pt x="656" y="707"/>
                  <a:pt x="656" y="707"/>
                  <a:pt x="657" y="707"/>
                </a:cubicBezTo>
                <a:cubicBezTo>
                  <a:pt x="657" y="707"/>
                  <a:pt x="657" y="707"/>
                  <a:pt x="657" y="706"/>
                </a:cubicBezTo>
                <a:cubicBezTo>
                  <a:pt x="657" y="706"/>
                  <a:pt x="657" y="706"/>
                  <a:pt x="657" y="706"/>
                </a:cubicBezTo>
                <a:cubicBezTo>
                  <a:pt x="657" y="705"/>
                  <a:pt x="657" y="705"/>
                  <a:pt x="657" y="705"/>
                </a:cubicBezTo>
                <a:cubicBezTo>
                  <a:pt x="657" y="705"/>
                  <a:pt x="658" y="705"/>
                  <a:pt x="658" y="705"/>
                </a:cubicBezTo>
                <a:cubicBezTo>
                  <a:pt x="658" y="705"/>
                  <a:pt x="659" y="705"/>
                  <a:pt x="659" y="705"/>
                </a:cubicBezTo>
                <a:cubicBezTo>
                  <a:pt x="659" y="705"/>
                  <a:pt x="659" y="705"/>
                  <a:pt x="660" y="705"/>
                </a:cubicBezTo>
                <a:cubicBezTo>
                  <a:pt x="660" y="705"/>
                  <a:pt x="660" y="705"/>
                  <a:pt x="660" y="705"/>
                </a:cubicBezTo>
                <a:cubicBezTo>
                  <a:pt x="660" y="705"/>
                  <a:pt x="660" y="705"/>
                  <a:pt x="661" y="705"/>
                </a:cubicBezTo>
                <a:cubicBezTo>
                  <a:pt x="661" y="705"/>
                  <a:pt x="661" y="705"/>
                  <a:pt x="661" y="705"/>
                </a:cubicBezTo>
                <a:cubicBezTo>
                  <a:pt x="661" y="705"/>
                  <a:pt x="661" y="704"/>
                  <a:pt x="661" y="704"/>
                </a:cubicBezTo>
                <a:cubicBezTo>
                  <a:pt x="661" y="704"/>
                  <a:pt x="660" y="704"/>
                  <a:pt x="660" y="704"/>
                </a:cubicBezTo>
                <a:cubicBezTo>
                  <a:pt x="659" y="704"/>
                  <a:pt x="659" y="703"/>
                  <a:pt x="658" y="703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658" y="702"/>
                  <a:pt x="657" y="702"/>
                  <a:pt x="657" y="702"/>
                </a:cubicBezTo>
                <a:cubicBezTo>
                  <a:pt x="657" y="702"/>
                  <a:pt x="657" y="702"/>
                  <a:pt x="657" y="702"/>
                </a:cubicBezTo>
                <a:cubicBezTo>
                  <a:pt x="657" y="702"/>
                  <a:pt x="656" y="702"/>
                  <a:pt x="656" y="702"/>
                </a:cubicBezTo>
                <a:cubicBezTo>
                  <a:pt x="656" y="702"/>
                  <a:pt x="657" y="702"/>
                  <a:pt x="657" y="702"/>
                </a:cubicBezTo>
                <a:cubicBezTo>
                  <a:pt x="657" y="701"/>
                  <a:pt x="657" y="701"/>
                  <a:pt x="657" y="701"/>
                </a:cubicBezTo>
                <a:cubicBezTo>
                  <a:pt x="657" y="701"/>
                  <a:pt x="657" y="701"/>
                  <a:pt x="657" y="701"/>
                </a:cubicBezTo>
                <a:cubicBezTo>
                  <a:pt x="657" y="701"/>
                  <a:pt x="656" y="701"/>
                  <a:pt x="656" y="701"/>
                </a:cubicBezTo>
                <a:cubicBezTo>
                  <a:pt x="656" y="700"/>
                  <a:pt x="656" y="700"/>
                  <a:pt x="655" y="699"/>
                </a:cubicBezTo>
                <a:cubicBezTo>
                  <a:pt x="655" y="699"/>
                  <a:pt x="655" y="698"/>
                  <a:pt x="654" y="698"/>
                </a:cubicBezTo>
                <a:cubicBezTo>
                  <a:pt x="654" y="698"/>
                  <a:pt x="654" y="697"/>
                  <a:pt x="654" y="697"/>
                </a:cubicBezTo>
                <a:cubicBezTo>
                  <a:pt x="654" y="697"/>
                  <a:pt x="654" y="696"/>
                  <a:pt x="654" y="696"/>
                </a:cubicBezTo>
                <a:cubicBezTo>
                  <a:pt x="654" y="695"/>
                  <a:pt x="655" y="695"/>
                  <a:pt x="655" y="695"/>
                </a:cubicBezTo>
                <a:cubicBezTo>
                  <a:pt x="655" y="695"/>
                  <a:pt x="655" y="694"/>
                  <a:pt x="655" y="694"/>
                </a:cubicBezTo>
                <a:cubicBezTo>
                  <a:pt x="655" y="694"/>
                  <a:pt x="655" y="694"/>
                  <a:pt x="655" y="694"/>
                </a:cubicBezTo>
                <a:cubicBezTo>
                  <a:pt x="655" y="694"/>
                  <a:pt x="655" y="694"/>
                  <a:pt x="655" y="693"/>
                </a:cubicBezTo>
                <a:cubicBezTo>
                  <a:pt x="655" y="693"/>
                  <a:pt x="654" y="693"/>
                  <a:pt x="654" y="693"/>
                </a:cubicBezTo>
                <a:cubicBezTo>
                  <a:pt x="654" y="693"/>
                  <a:pt x="655" y="693"/>
                  <a:pt x="655" y="693"/>
                </a:cubicBezTo>
                <a:cubicBezTo>
                  <a:pt x="655" y="693"/>
                  <a:pt x="655" y="693"/>
                  <a:pt x="655" y="694"/>
                </a:cubicBezTo>
                <a:cubicBezTo>
                  <a:pt x="656" y="694"/>
                  <a:pt x="656" y="694"/>
                  <a:pt x="656" y="694"/>
                </a:cubicBezTo>
                <a:cubicBezTo>
                  <a:pt x="656" y="693"/>
                  <a:pt x="657" y="693"/>
                  <a:pt x="657" y="693"/>
                </a:cubicBezTo>
                <a:cubicBezTo>
                  <a:pt x="657" y="693"/>
                  <a:pt x="657" y="692"/>
                  <a:pt x="657" y="692"/>
                </a:cubicBezTo>
                <a:cubicBezTo>
                  <a:pt x="657" y="692"/>
                  <a:pt x="657" y="692"/>
                  <a:pt x="657" y="691"/>
                </a:cubicBezTo>
                <a:cubicBezTo>
                  <a:pt x="657" y="691"/>
                  <a:pt x="657" y="691"/>
                  <a:pt x="657" y="691"/>
                </a:cubicBezTo>
                <a:cubicBezTo>
                  <a:pt x="657" y="690"/>
                  <a:pt x="657" y="690"/>
                  <a:pt x="657" y="690"/>
                </a:cubicBezTo>
                <a:cubicBezTo>
                  <a:pt x="657" y="690"/>
                  <a:pt x="657" y="690"/>
                  <a:pt x="656" y="690"/>
                </a:cubicBezTo>
                <a:cubicBezTo>
                  <a:pt x="656" y="690"/>
                  <a:pt x="656" y="690"/>
                  <a:pt x="656" y="690"/>
                </a:cubicBezTo>
                <a:cubicBezTo>
                  <a:pt x="656" y="690"/>
                  <a:pt x="656" y="690"/>
                  <a:pt x="656" y="689"/>
                </a:cubicBezTo>
                <a:cubicBezTo>
                  <a:pt x="656" y="689"/>
                  <a:pt x="656" y="689"/>
                  <a:pt x="657" y="689"/>
                </a:cubicBezTo>
                <a:cubicBezTo>
                  <a:pt x="657" y="688"/>
                  <a:pt x="657" y="688"/>
                  <a:pt x="657" y="688"/>
                </a:cubicBezTo>
                <a:cubicBezTo>
                  <a:pt x="657" y="688"/>
                  <a:pt x="657" y="687"/>
                  <a:pt x="657" y="687"/>
                </a:cubicBezTo>
                <a:cubicBezTo>
                  <a:pt x="657" y="687"/>
                  <a:pt x="657" y="686"/>
                  <a:pt x="658" y="686"/>
                </a:cubicBezTo>
                <a:cubicBezTo>
                  <a:pt x="658" y="686"/>
                  <a:pt x="658" y="686"/>
                  <a:pt x="658" y="686"/>
                </a:cubicBezTo>
                <a:cubicBezTo>
                  <a:pt x="658" y="685"/>
                  <a:pt x="658" y="685"/>
                  <a:pt x="658" y="685"/>
                </a:cubicBezTo>
                <a:cubicBezTo>
                  <a:pt x="659" y="685"/>
                  <a:pt x="659" y="684"/>
                  <a:pt x="659" y="684"/>
                </a:cubicBezTo>
                <a:cubicBezTo>
                  <a:pt x="659" y="684"/>
                  <a:pt x="659" y="684"/>
                  <a:pt x="659" y="684"/>
                </a:cubicBezTo>
                <a:cubicBezTo>
                  <a:pt x="659" y="684"/>
                  <a:pt x="659" y="683"/>
                  <a:pt x="659" y="683"/>
                </a:cubicBezTo>
                <a:cubicBezTo>
                  <a:pt x="659" y="683"/>
                  <a:pt x="660" y="683"/>
                  <a:pt x="660" y="683"/>
                </a:cubicBezTo>
                <a:cubicBezTo>
                  <a:pt x="660" y="683"/>
                  <a:pt x="660" y="682"/>
                  <a:pt x="660" y="682"/>
                </a:cubicBezTo>
                <a:cubicBezTo>
                  <a:pt x="660" y="682"/>
                  <a:pt x="660" y="682"/>
                  <a:pt x="660" y="682"/>
                </a:cubicBezTo>
                <a:cubicBezTo>
                  <a:pt x="660" y="682"/>
                  <a:pt x="660" y="681"/>
                  <a:pt x="660" y="681"/>
                </a:cubicBezTo>
                <a:cubicBezTo>
                  <a:pt x="660" y="681"/>
                  <a:pt x="660" y="681"/>
                  <a:pt x="661" y="681"/>
                </a:cubicBezTo>
                <a:cubicBezTo>
                  <a:pt x="660" y="681"/>
                  <a:pt x="660" y="681"/>
                  <a:pt x="660" y="680"/>
                </a:cubicBezTo>
                <a:cubicBezTo>
                  <a:pt x="660" y="680"/>
                  <a:pt x="659" y="680"/>
                  <a:pt x="659" y="681"/>
                </a:cubicBezTo>
                <a:cubicBezTo>
                  <a:pt x="659" y="680"/>
                  <a:pt x="660" y="680"/>
                  <a:pt x="660" y="680"/>
                </a:cubicBezTo>
                <a:cubicBezTo>
                  <a:pt x="660" y="680"/>
                  <a:pt x="660" y="679"/>
                  <a:pt x="660" y="679"/>
                </a:cubicBezTo>
                <a:cubicBezTo>
                  <a:pt x="659" y="679"/>
                  <a:pt x="659" y="679"/>
                  <a:pt x="659" y="678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59" y="678"/>
                  <a:pt x="659" y="677"/>
                  <a:pt x="659" y="677"/>
                </a:cubicBezTo>
                <a:cubicBezTo>
                  <a:pt x="659" y="677"/>
                  <a:pt x="658" y="677"/>
                  <a:pt x="658" y="677"/>
                </a:cubicBezTo>
                <a:cubicBezTo>
                  <a:pt x="658" y="677"/>
                  <a:pt x="658" y="677"/>
                  <a:pt x="658" y="678"/>
                </a:cubicBezTo>
                <a:cubicBezTo>
                  <a:pt x="658" y="678"/>
                  <a:pt x="657" y="678"/>
                  <a:pt x="657" y="678"/>
                </a:cubicBezTo>
                <a:cubicBezTo>
                  <a:pt x="657" y="678"/>
                  <a:pt x="656" y="678"/>
                  <a:pt x="656" y="678"/>
                </a:cubicBezTo>
                <a:cubicBezTo>
                  <a:pt x="655" y="678"/>
                  <a:pt x="654" y="677"/>
                  <a:pt x="654" y="677"/>
                </a:cubicBezTo>
                <a:cubicBezTo>
                  <a:pt x="653" y="677"/>
                  <a:pt x="653" y="677"/>
                  <a:pt x="652" y="676"/>
                </a:cubicBezTo>
                <a:cubicBezTo>
                  <a:pt x="652" y="676"/>
                  <a:pt x="652" y="676"/>
                  <a:pt x="652" y="676"/>
                </a:cubicBezTo>
                <a:cubicBezTo>
                  <a:pt x="652" y="676"/>
                  <a:pt x="651" y="676"/>
                  <a:pt x="651" y="676"/>
                </a:cubicBezTo>
                <a:cubicBezTo>
                  <a:pt x="651" y="676"/>
                  <a:pt x="650" y="675"/>
                  <a:pt x="650" y="675"/>
                </a:cubicBezTo>
                <a:cubicBezTo>
                  <a:pt x="650" y="675"/>
                  <a:pt x="650" y="674"/>
                  <a:pt x="650" y="674"/>
                </a:cubicBezTo>
                <a:cubicBezTo>
                  <a:pt x="649" y="674"/>
                  <a:pt x="649" y="674"/>
                  <a:pt x="649" y="674"/>
                </a:cubicBezTo>
                <a:cubicBezTo>
                  <a:pt x="649" y="673"/>
                  <a:pt x="649" y="673"/>
                  <a:pt x="649" y="673"/>
                </a:cubicBezTo>
                <a:cubicBezTo>
                  <a:pt x="649" y="673"/>
                  <a:pt x="649" y="673"/>
                  <a:pt x="650" y="672"/>
                </a:cubicBezTo>
                <a:cubicBezTo>
                  <a:pt x="650" y="672"/>
                  <a:pt x="650" y="672"/>
                  <a:pt x="650" y="672"/>
                </a:cubicBezTo>
                <a:cubicBezTo>
                  <a:pt x="650" y="671"/>
                  <a:pt x="650" y="671"/>
                  <a:pt x="650" y="671"/>
                </a:cubicBezTo>
                <a:cubicBezTo>
                  <a:pt x="650" y="671"/>
                  <a:pt x="650" y="671"/>
                  <a:pt x="650" y="671"/>
                </a:cubicBezTo>
                <a:cubicBezTo>
                  <a:pt x="651" y="670"/>
                  <a:pt x="651" y="670"/>
                  <a:pt x="651" y="670"/>
                </a:cubicBezTo>
                <a:cubicBezTo>
                  <a:pt x="651" y="670"/>
                  <a:pt x="652" y="670"/>
                  <a:pt x="652" y="669"/>
                </a:cubicBezTo>
                <a:cubicBezTo>
                  <a:pt x="652" y="669"/>
                  <a:pt x="652" y="669"/>
                  <a:pt x="653" y="669"/>
                </a:cubicBezTo>
                <a:cubicBezTo>
                  <a:pt x="653" y="668"/>
                  <a:pt x="653" y="668"/>
                  <a:pt x="654" y="668"/>
                </a:cubicBezTo>
                <a:cubicBezTo>
                  <a:pt x="654" y="668"/>
                  <a:pt x="654" y="668"/>
                  <a:pt x="654" y="668"/>
                </a:cubicBezTo>
                <a:cubicBezTo>
                  <a:pt x="655" y="668"/>
                  <a:pt x="655" y="668"/>
                  <a:pt x="656" y="668"/>
                </a:cubicBezTo>
                <a:cubicBezTo>
                  <a:pt x="656" y="667"/>
                  <a:pt x="656" y="667"/>
                  <a:pt x="656" y="667"/>
                </a:cubicBezTo>
                <a:cubicBezTo>
                  <a:pt x="656" y="667"/>
                  <a:pt x="655" y="667"/>
                  <a:pt x="655" y="667"/>
                </a:cubicBezTo>
                <a:cubicBezTo>
                  <a:pt x="655" y="667"/>
                  <a:pt x="655" y="667"/>
                  <a:pt x="654" y="667"/>
                </a:cubicBezTo>
                <a:cubicBezTo>
                  <a:pt x="654" y="667"/>
                  <a:pt x="654" y="667"/>
                  <a:pt x="654" y="667"/>
                </a:cubicBezTo>
                <a:cubicBezTo>
                  <a:pt x="654" y="666"/>
                  <a:pt x="654" y="666"/>
                  <a:pt x="654" y="666"/>
                </a:cubicBezTo>
                <a:cubicBezTo>
                  <a:pt x="655" y="666"/>
                  <a:pt x="655" y="665"/>
                  <a:pt x="655" y="665"/>
                </a:cubicBezTo>
                <a:cubicBezTo>
                  <a:pt x="655" y="665"/>
                  <a:pt x="655" y="665"/>
                  <a:pt x="655" y="665"/>
                </a:cubicBezTo>
                <a:cubicBezTo>
                  <a:pt x="655" y="665"/>
                  <a:pt x="655" y="665"/>
                  <a:pt x="656" y="664"/>
                </a:cubicBezTo>
                <a:cubicBezTo>
                  <a:pt x="655" y="664"/>
                  <a:pt x="655" y="664"/>
                  <a:pt x="655" y="664"/>
                </a:cubicBezTo>
                <a:cubicBezTo>
                  <a:pt x="655" y="664"/>
                  <a:pt x="655" y="664"/>
                  <a:pt x="654" y="663"/>
                </a:cubicBezTo>
                <a:cubicBezTo>
                  <a:pt x="654" y="663"/>
                  <a:pt x="654" y="663"/>
                  <a:pt x="654" y="663"/>
                </a:cubicBezTo>
                <a:cubicBezTo>
                  <a:pt x="654" y="663"/>
                  <a:pt x="654" y="662"/>
                  <a:pt x="654" y="662"/>
                </a:cubicBezTo>
                <a:cubicBezTo>
                  <a:pt x="654" y="662"/>
                  <a:pt x="654" y="662"/>
                  <a:pt x="654" y="662"/>
                </a:cubicBezTo>
                <a:cubicBezTo>
                  <a:pt x="654" y="662"/>
                  <a:pt x="654" y="661"/>
                  <a:pt x="653" y="661"/>
                </a:cubicBezTo>
                <a:cubicBezTo>
                  <a:pt x="654" y="661"/>
                  <a:pt x="654" y="661"/>
                  <a:pt x="654" y="660"/>
                </a:cubicBezTo>
                <a:cubicBezTo>
                  <a:pt x="654" y="660"/>
                  <a:pt x="654" y="660"/>
                  <a:pt x="654" y="660"/>
                </a:cubicBezTo>
                <a:cubicBezTo>
                  <a:pt x="654" y="660"/>
                  <a:pt x="654" y="659"/>
                  <a:pt x="654" y="659"/>
                </a:cubicBezTo>
                <a:cubicBezTo>
                  <a:pt x="654" y="659"/>
                  <a:pt x="654" y="659"/>
                  <a:pt x="654" y="659"/>
                </a:cubicBezTo>
                <a:cubicBezTo>
                  <a:pt x="654" y="659"/>
                  <a:pt x="655" y="658"/>
                  <a:pt x="655" y="658"/>
                </a:cubicBezTo>
                <a:cubicBezTo>
                  <a:pt x="656" y="658"/>
                  <a:pt x="656" y="658"/>
                  <a:pt x="656" y="657"/>
                </a:cubicBezTo>
                <a:cubicBezTo>
                  <a:pt x="656" y="657"/>
                  <a:pt x="656" y="657"/>
                  <a:pt x="656" y="657"/>
                </a:cubicBezTo>
                <a:cubicBezTo>
                  <a:pt x="655" y="657"/>
                  <a:pt x="655" y="657"/>
                  <a:pt x="655" y="657"/>
                </a:cubicBezTo>
                <a:cubicBezTo>
                  <a:pt x="654" y="657"/>
                  <a:pt x="654" y="657"/>
                  <a:pt x="654" y="657"/>
                </a:cubicBezTo>
                <a:cubicBezTo>
                  <a:pt x="654" y="657"/>
                  <a:pt x="653" y="657"/>
                  <a:pt x="653" y="657"/>
                </a:cubicBezTo>
                <a:cubicBezTo>
                  <a:pt x="653" y="656"/>
                  <a:pt x="653" y="656"/>
                  <a:pt x="653" y="656"/>
                </a:cubicBezTo>
                <a:cubicBezTo>
                  <a:pt x="654" y="656"/>
                  <a:pt x="654" y="656"/>
                  <a:pt x="654" y="655"/>
                </a:cubicBezTo>
                <a:cubicBezTo>
                  <a:pt x="654" y="655"/>
                  <a:pt x="655" y="655"/>
                  <a:pt x="655" y="655"/>
                </a:cubicBezTo>
                <a:cubicBezTo>
                  <a:pt x="655" y="655"/>
                  <a:pt x="656" y="655"/>
                  <a:pt x="656" y="655"/>
                </a:cubicBezTo>
                <a:cubicBezTo>
                  <a:pt x="656" y="655"/>
                  <a:pt x="656" y="655"/>
                  <a:pt x="656" y="656"/>
                </a:cubicBezTo>
                <a:cubicBezTo>
                  <a:pt x="656" y="656"/>
                  <a:pt x="656" y="656"/>
                  <a:pt x="656" y="656"/>
                </a:cubicBezTo>
                <a:cubicBezTo>
                  <a:pt x="656" y="656"/>
                  <a:pt x="657" y="656"/>
                  <a:pt x="657" y="657"/>
                </a:cubicBezTo>
                <a:cubicBezTo>
                  <a:pt x="657" y="657"/>
                  <a:pt x="657" y="657"/>
                  <a:pt x="657" y="657"/>
                </a:cubicBezTo>
                <a:cubicBezTo>
                  <a:pt x="658" y="656"/>
                  <a:pt x="658" y="656"/>
                  <a:pt x="659" y="655"/>
                </a:cubicBezTo>
                <a:cubicBezTo>
                  <a:pt x="659" y="655"/>
                  <a:pt x="659" y="655"/>
                  <a:pt x="659" y="655"/>
                </a:cubicBezTo>
                <a:cubicBezTo>
                  <a:pt x="659" y="654"/>
                  <a:pt x="658" y="654"/>
                  <a:pt x="658" y="654"/>
                </a:cubicBezTo>
                <a:cubicBezTo>
                  <a:pt x="658" y="654"/>
                  <a:pt x="658" y="654"/>
                  <a:pt x="658" y="654"/>
                </a:cubicBezTo>
                <a:cubicBezTo>
                  <a:pt x="658" y="653"/>
                  <a:pt x="658" y="653"/>
                  <a:pt x="658" y="653"/>
                </a:cubicBezTo>
                <a:cubicBezTo>
                  <a:pt x="658" y="653"/>
                  <a:pt x="658" y="653"/>
                  <a:pt x="658" y="653"/>
                </a:cubicBezTo>
                <a:cubicBezTo>
                  <a:pt x="658" y="652"/>
                  <a:pt x="657" y="652"/>
                  <a:pt x="657" y="652"/>
                </a:cubicBezTo>
                <a:cubicBezTo>
                  <a:pt x="657" y="652"/>
                  <a:pt x="657" y="652"/>
                  <a:pt x="657" y="652"/>
                </a:cubicBezTo>
                <a:cubicBezTo>
                  <a:pt x="656" y="652"/>
                  <a:pt x="656" y="652"/>
                  <a:pt x="656" y="653"/>
                </a:cubicBezTo>
                <a:cubicBezTo>
                  <a:pt x="656" y="653"/>
                  <a:pt x="655" y="653"/>
                  <a:pt x="655" y="653"/>
                </a:cubicBezTo>
                <a:cubicBezTo>
                  <a:pt x="655" y="653"/>
                  <a:pt x="655" y="653"/>
                  <a:pt x="655" y="653"/>
                </a:cubicBezTo>
                <a:cubicBezTo>
                  <a:pt x="655" y="653"/>
                  <a:pt x="655" y="653"/>
                  <a:pt x="655" y="653"/>
                </a:cubicBezTo>
                <a:cubicBezTo>
                  <a:pt x="655" y="653"/>
                  <a:pt x="656" y="653"/>
                  <a:pt x="656" y="653"/>
                </a:cubicBezTo>
                <a:cubicBezTo>
                  <a:pt x="656" y="653"/>
                  <a:pt x="656" y="654"/>
                  <a:pt x="656" y="654"/>
                </a:cubicBezTo>
                <a:cubicBezTo>
                  <a:pt x="655" y="654"/>
                  <a:pt x="655" y="654"/>
                  <a:pt x="655" y="654"/>
                </a:cubicBezTo>
                <a:cubicBezTo>
                  <a:pt x="654" y="654"/>
                  <a:pt x="654" y="654"/>
                  <a:pt x="654" y="654"/>
                </a:cubicBezTo>
                <a:cubicBezTo>
                  <a:pt x="654" y="654"/>
                  <a:pt x="654" y="654"/>
                  <a:pt x="654" y="654"/>
                </a:cubicBezTo>
                <a:cubicBezTo>
                  <a:pt x="654" y="654"/>
                  <a:pt x="655" y="654"/>
                  <a:pt x="655" y="654"/>
                </a:cubicBezTo>
                <a:cubicBezTo>
                  <a:pt x="654" y="653"/>
                  <a:pt x="654" y="653"/>
                  <a:pt x="654" y="653"/>
                </a:cubicBezTo>
                <a:cubicBezTo>
                  <a:pt x="654" y="654"/>
                  <a:pt x="653" y="654"/>
                  <a:pt x="653" y="654"/>
                </a:cubicBezTo>
                <a:cubicBezTo>
                  <a:pt x="653" y="654"/>
                  <a:pt x="652" y="654"/>
                  <a:pt x="652" y="653"/>
                </a:cubicBezTo>
                <a:cubicBezTo>
                  <a:pt x="652" y="653"/>
                  <a:pt x="652" y="653"/>
                  <a:pt x="651" y="653"/>
                </a:cubicBezTo>
                <a:cubicBezTo>
                  <a:pt x="651" y="652"/>
                  <a:pt x="651" y="652"/>
                  <a:pt x="651" y="651"/>
                </a:cubicBezTo>
                <a:cubicBezTo>
                  <a:pt x="651" y="651"/>
                  <a:pt x="651" y="650"/>
                  <a:pt x="650" y="650"/>
                </a:cubicBezTo>
                <a:cubicBezTo>
                  <a:pt x="650" y="650"/>
                  <a:pt x="650" y="650"/>
                  <a:pt x="649" y="649"/>
                </a:cubicBezTo>
                <a:cubicBezTo>
                  <a:pt x="649" y="649"/>
                  <a:pt x="649" y="649"/>
                  <a:pt x="649" y="648"/>
                </a:cubicBezTo>
                <a:cubicBezTo>
                  <a:pt x="649" y="648"/>
                  <a:pt x="650" y="648"/>
                  <a:pt x="650" y="647"/>
                </a:cubicBezTo>
                <a:cubicBezTo>
                  <a:pt x="650" y="647"/>
                  <a:pt x="650" y="647"/>
                  <a:pt x="650" y="647"/>
                </a:cubicBezTo>
                <a:cubicBezTo>
                  <a:pt x="650" y="647"/>
                  <a:pt x="650" y="647"/>
                  <a:pt x="650" y="648"/>
                </a:cubicBezTo>
                <a:cubicBezTo>
                  <a:pt x="650" y="648"/>
                  <a:pt x="650" y="648"/>
                  <a:pt x="651" y="648"/>
                </a:cubicBezTo>
                <a:cubicBezTo>
                  <a:pt x="651" y="648"/>
                  <a:pt x="651" y="647"/>
                  <a:pt x="651" y="647"/>
                </a:cubicBezTo>
                <a:cubicBezTo>
                  <a:pt x="652" y="647"/>
                  <a:pt x="653" y="647"/>
                  <a:pt x="653" y="647"/>
                </a:cubicBezTo>
                <a:cubicBezTo>
                  <a:pt x="654" y="648"/>
                  <a:pt x="654" y="648"/>
                  <a:pt x="655" y="648"/>
                </a:cubicBezTo>
                <a:cubicBezTo>
                  <a:pt x="655" y="648"/>
                  <a:pt x="656" y="648"/>
                  <a:pt x="656" y="648"/>
                </a:cubicBezTo>
                <a:cubicBezTo>
                  <a:pt x="657" y="648"/>
                  <a:pt x="658" y="648"/>
                  <a:pt x="659" y="648"/>
                </a:cubicBezTo>
                <a:cubicBezTo>
                  <a:pt x="659" y="647"/>
                  <a:pt x="659" y="647"/>
                  <a:pt x="660" y="647"/>
                </a:cubicBezTo>
                <a:cubicBezTo>
                  <a:pt x="660" y="647"/>
                  <a:pt x="660" y="646"/>
                  <a:pt x="660" y="646"/>
                </a:cubicBezTo>
                <a:cubicBezTo>
                  <a:pt x="660" y="646"/>
                  <a:pt x="660" y="646"/>
                  <a:pt x="661" y="646"/>
                </a:cubicBezTo>
                <a:cubicBezTo>
                  <a:pt x="661" y="645"/>
                  <a:pt x="661" y="645"/>
                  <a:pt x="661" y="645"/>
                </a:cubicBezTo>
                <a:cubicBezTo>
                  <a:pt x="660" y="645"/>
                  <a:pt x="660" y="645"/>
                  <a:pt x="660" y="644"/>
                </a:cubicBezTo>
                <a:cubicBezTo>
                  <a:pt x="660" y="644"/>
                  <a:pt x="660" y="644"/>
                  <a:pt x="660" y="644"/>
                </a:cubicBezTo>
                <a:cubicBezTo>
                  <a:pt x="660" y="644"/>
                  <a:pt x="660" y="644"/>
                  <a:pt x="661" y="643"/>
                </a:cubicBezTo>
                <a:cubicBezTo>
                  <a:pt x="660" y="643"/>
                  <a:pt x="660" y="643"/>
                  <a:pt x="660" y="643"/>
                </a:cubicBezTo>
                <a:cubicBezTo>
                  <a:pt x="660" y="643"/>
                  <a:pt x="659" y="643"/>
                  <a:pt x="659" y="643"/>
                </a:cubicBezTo>
                <a:cubicBezTo>
                  <a:pt x="659" y="642"/>
                  <a:pt x="659" y="642"/>
                  <a:pt x="659" y="642"/>
                </a:cubicBezTo>
                <a:cubicBezTo>
                  <a:pt x="659" y="642"/>
                  <a:pt x="659" y="642"/>
                  <a:pt x="659" y="641"/>
                </a:cubicBezTo>
                <a:cubicBezTo>
                  <a:pt x="659" y="641"/>
                  <a:pt x="659" y="641"/>
                  <a:pt x="659" y="641"/>
                </a:cubicBezTo>
                <a:cubicBezTo>
                  <a:pt x="659" y="641"/>
                  <a:pt x="659" y="641"/>
                  <a:pt x="660" y="640"/>
                </a:cubicBezTo>
                <a:cubicBezTo>
                  <a:pt x="659" y="640"/>
                  <a:pt x="659" y="640"/>
                  <a:pt x="659" y="640"/>
                </a:cubicBezTo>
                <a:cubicBezTo>
                  <a:pt x="660" y="640"/>
                  <a:pt x="660" y="640"/>
                  <a:pt x="660" y="640"/>
                </a:cubicBezTo>
                <a:cubicBezTo>
                  <a:pt x="660" y="640"/>
                  <a:pt x="660" y="640"/>
                  <a:pt x="660" y="639"/>
                </a:cubicBezTo>
                <a:cubicBezTo>
                  <a:pt x="660" y="639"/>
                  <a:pt x="660" y="639"/>
                  <a:pt x="659" y="639"/>
                </a:cubicBezTo>
                <a:cubicBezTo>
                  <a:pt x="659" y="639"/>
                  <a:pt x="659" y="639"/>
                  <a:pt x="659" y="639"/>
                </a:cubicBezTo>
                <a:cubicBezTo>
                  <a:pt x="659" y="639"/>
                  <a:pt x="659" y="639"/>
                  <a:pt x="659" y="639"/>
                </a:cubicBezTo>
                <a:cubicBezTo>
                  <a:pt x="659" y="638"/>
                  <a:pt x="658" y="638"/>
                  <a:pt x="658" y="638"/>
                </a:cubicBezTo>
                <a:cubicBezTo>
                  <a:pt x="658" y="638"/>
                  <a:pt x="658" y="637"/>
                  <a:pt x="658" y="637"/>
                </a:cubicBezTo>
                <a:cubicBezTo>
                  <a:pt x="658" y="637"/>
                  <a:pt x="658" y="637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9" y="636"/>
                  <a:pt x="659" y="636"/>
                </a:cubicBezTo>
                <a:cubicBezTo>
                  <a:pt x="659" y="636"/>
                  <a:pt x="660" y="636"/>
                  <a:pt x="660" y="636"/>
                </a:cubicBezTo>
                <a:cubicBezTo>
                  <a:pt x="660" y="636"/>
                  <a:pt x="661" y="636"/>
                  <a:pt x="661" y="636"/>
                </a:cubicBezTo>
                <a:cubicBezTo>
                  <a:pt x="661" y="636"/>
                  <a:pt x="662" y="636"/>
                  <a:pt x="662" y="636"/>
                </a:cubicBezTo>
                <a:cubicBezTo>
                  <a:pt x="662" y="636"/>
                  <a:pt x="663" y="636"/>
                  <a:pt x="663" y="636"/>
                </a:cubicBezTo>
                <a:cubicBezTo>
                  <a:pt x="664" y="636"/>
                  <a:pt x="664" y="636"/>
                  <a:pt x="665" y="635"/>
                </a:cubicBezTo>
                <a:cubicBezTo>
                  <a:pt x="665" y="635"/>
                  <a:pt x="666" y="635"/>
                  <a:pt x="666" y="635"/>
                </a:cubicBezTo>
                <a:cubicBezTo>
                  <a:pt x="667" y="635"/>
                  <a:pt x="668" y="634"/>
                  <a:pt x="669" y="634"/>
                </a:cubicBezTo>
                <a:cubicBezTo>
                  <a:pt x="670" y="633"/>
                  <a:pt x="671" y="633"/>
                  <a:pt x="672" y="632"/>
                </a:cubicBezTo>
                <a:cubicBezTo>
                  <a:pt x="672" y="632"/>
                  <a:pt x="672" y="632"/>
                  <a:pt x="672" y="632"/>
                </a:cubicBezTo>
                <a:cubicBezTo>
                  <a:pt x="672" y="632"/>
                  <a:pt x="672" y="632"/>
                  <a:pt x="672" y="632"/>
                </a:cubicBezTo>
                <a:cubicBezTo>
                  <a:pt x="673" y="632"/>
                  <a:pt x="673" y="632"/>
                  <a:pt x="674" y="631"/>
                </a:cubicBezTo>
                <a:cubicBezTo>
                  <a:pt x="675" y="631"/>
                  <a:pt x="675" y="630"/>
                  <a:pt x="676" y="630"/>
                </a:cubicBezTo>
                <a:cubicBezTo>
                  <a:pt x="676" y="629"/>
                  <a:pt x="676" y="629"/>
                  <a:pt x="676" y="629"/>
                </a:cubicBezTo>
                <a:cubicBezTo>
                  <a:pt x="676" y="629"/>
                  <a:pt x="676" y="628"/>
                  <a:pt x="676" y="628"/>
                </a:cubicBezTo>
                <a:cubicBezTo>
                  <a:pt x="676" y="628"/>
                  <a:pt x="676" y="627"/>
                  <a:pt x="676" y="627"/>
                </a:cubicBezTo>
                <a:cubicBezTo>
                  <a:pt x="676" y="627"/>
                  <a:pt x="676" y="627"/>
                  <a:pt x="676" y="627"/>
                </a:cubicBezTo>
                <a:cubicBezTo>
                  <a:pt x="676" y="627"/>
                  <a:pt x="676" y="627"/>
                  <a:pt x="676" y="627"/>
                </a:cubicBezTo>
                <a:cubicBezTo>
                  <a:pt x="677" y="627"/>
                  <a:pt x="677" y="627"/>
                  <a:pt x="677" y="627"/>
                </a:cubicBezTo>
                <a:cubicBezTo>
                  <a:pt x="677" y="626"/>
                  <a:pt x="677" y="626"/>
                  <a:pt x="677" y="625"/>
                </a:cubicBezTo>
                <a:cubicBezTo>
                  <a:pt x="677" y="625"/>
                  <a:pt x="677" y="625"/>
                  <a:pt x="677" y="624"/>
                </a:cubicBezTo>
                <a:cubicBezTo>
                  <a:pt x="677" y="624"/>
                  <a:pt x="677" y="624"/>
                  <a:pt x="677" y="623"/>
                </a:cubicBezTo>
                <a:cubicBezTo>
                  <a:pt x="677" y="623"/>
                  <a:pt x="677" y="622"/>
                  <a:pt x="677" y="622"/>
                </a:cubicBezTo>
                <a:cubicBezTo>
                  <a:pt x="677" y="622"/>
                  <a:pt x="677" y="621"/>
                  <a:pt x="677" y="621"/>
                </a:cubicBezTo>
                <a:cubicBezTo>
                  <a:pt x="677" y="621"/>
                  <a:pt x="677" y="621"/>
                  <a:pt x="677" y="621"/>
                </a:cubicBezTo>
                <a:cubicBezTo>
                  <a:pt x="676" y="621"/>
                  <a:pt x="676" y="622"/>
                  <a:pt x="676" y="622"/>
                </a:cubicBezTo>
                <a:cubicBezTo>
                  <a:pt x="676" y="622"/>
                  <a:pt x="676" y="622"/>
                  <a:pt x="675" y="622"/>
                </a:cubicBezTo>
                <a:cubicBezTo>
                  <a:pt x="675" y="622"/>
                  <a:pt x="674" y="622"/>
                  <a:pt x="674" y="622"/>
                </a:cubicBezTo>
                <a:cubicBezTo>
                  <a:pt x="674" y="621"/>
                  <a:pt x="673" y="621"/>
                  <a:pt x="673" y="621"/>
                </a:cubicBezTo>
                <a:cubicBezTo>
                  <a:pt x="673" y="620"/>
                  <a:pt x="673" y="620"/>
                  <a:pt x="673" y="620"/>
                </a:cubicBezTo>
                <a:cubicBezTo>
                  <a:pt x="673" y="619"/>
                  <a:pt x="674" y="619"/>
                  <a:pt x="674" y="618"/>
                </a:cubicBezTo>
                <a:cubicBezTo>
                  <a:pt x="674" y="618"/>
                  <a:pt x="674" y="618"/>
                  <a:pt x="674" y="617"/>
                </a:cubicBezTo>
                <a:cubicBezTo>
                  <a:pt x="674" y="617"/>
                  <a:pt x="673" y="617"/>
                  <a:pt x="673" y="617"/>
                </a:cubicBezTo>
                <a:cubicBezTo>
                  <a:pt x="672" y="617"/>
                  <a:pt x="671" y="616"/>
                  <a:pt x="671" y="616"/>
                </a:cubicBezTo>
                <a:cubicBezTo>
                  <a:pt x="670" y="616"/>
                  <a:pt x="669" y="616"/>
                  <a:pt x="669" y="616"/>
                </a:cubicBezTo>
                <a:cubicBezTo>
                  <a:pt x="668" y="615"/>
                  <a:pt x="667" y="615"/>
                  <a:pt x="667" y="615"/>
                </a:cubicBezTo>
                <a:cubicBezTo>
                  <a:pt x="666" y="615"/>
                  <a:pt x="666" y="614"/>
                  <a:pt x="666" y="614"/>
                </a:cubicBezTo>
                <a:cubicBezTo>
                  <a:pt x="666" y="614"/>
                  <a:pt x="666" y="614"/>
                  <a:pt x="666" y="614"/>
                </a:cubicBezTo>
                <a:cubicBezTo>
                  <a:pt x="666" y="614"/>
                  <a:pt x="666" y="614"/>
                  <a:pt x="666" y="613"/>
                </a:cubicBezTo>
                <a:cubicBezTo>
                  <a:pt x="666" y="613"/>
                  <a:pt x="666" y="613"/>
                  <a:pt x="665" y="613"/>
                </a:cubicBezTo>
                <a:cubicBezTo>
                  <a:pt x="665" y="613"/>
                  <a:pt x="665" y="613"/>
                  <a:pt x="666" y="613"/>
                </a:cubicBezTo>
                <a:cubicBezTo>
                  <a:pt x="665" y="612"/>
                  <a:pt x="665" y="612"/>
                  <a:pt x="665" y="611"/>
                </a:cubicBezTo>
                <a:cubicBezTo>
                  <a:pt x="665" y="611"/>
                  <a:pt x="665" y="610"/>
                  <a:pt x="665" y="610"/>
                </a:cubicBezTo>
                <a:cubicBezTo>
                  <a:pt x="665" y="610"/>
                  <a:pt x="665" y="610"/>
                  <a:pt x="665" y="610"/>
                </a:cubicBezTo>
                <a:cubicBezTo>
                  <a:pt x="665" y="610"/>
                  <a:pt x="665" y="611"/>
                  <a:pt x="665" y="611"/>
                </a:cubicBezTo>
                <a:cubicBezTo>
                  <a:pt x="665" y="612"/>
                  <a:pt x="666" y="612"/>
                  <a:pt x="666" y="613"/>
                </a:cubicBezTo>
                <a:cubicBezTo>
                  <a:pt x="667" y="613"/>
                  <a:pt x="667" y="613"/>
                  <a:pt x="668" y="614"/>
                </a:cubicBezTo>
                <a:cubicBezTo>
                  <a:pt x="668" y="614"/>
                  <a:pt x="668" y="614"/>
                  <a:pt x="668" y="614"/>
                </a:cubicBezTo>
                <a:cubicBezTo>
                  <a:pt x="669" y="614"/>
                  <a:pt x="669" y="614"/>
                  <a:pt x="670" y="615"/>
                </a:cubicBezTo>
                <a:cubicBezTo>
                  <a:pt x="670" y="615"/>
                  <a:pt x="670" y="615"/>
                  <a:pt x="670" y="615"/>
                </a:cubicBezTo>
                <a:cubicBezTo>
                  <a:pt x="671" y="614"/>
                  <a:pt x="671" y="614"/>
                  <a:pt x="672" y="614"/>
                </a:cubicBezTo>
                <a:cubicBezTo>
                  <a:pt x="672" y="614"/>
                  <a:pt x="673" y="614"/>
                  <a:pt x="673" y="614"/>
                </a:cubicBezTo>
                <a:cubicBezTo>
                  <a:pt x="674" y="614"/>
                  <a:pt x="674" y="614"/>
                  <a:pt x="674" y="614"/>
                </a:cubicBezTo>
                <a:cubicBezTo>
                  <a:pt x="675" y="614"/>
                  <a:pt x="675" y="614"/>
                  <a:pt x="675" y="614"/>
                </a:cubicBezTo>
                <a:cubicBezTo>
                  <a:pt x="675" y="614"/>
                  <a:pt x="675" y="614"/>
                  <a:pt x="676" y="614"/>
                </a:cubicBezTo>
                <a:cubicBezTo>
                  <a:pt x="676" y="614"/>
                  <a:pt x="676" y="614"/>
                  <a:pt x="676" y="614"/>
                </a:cubicBezTo>
                <a:cubicBezTo>
                  <a:pt x="676" y="614"/>
                  <a:pt x="676" y="615"/>
                  <a:pt x="676" y="615"/>
                </a:cubicBezTo>
                <a:cubicBezTo>
                  <a:pt x="676" y="615"/>
                  <a:pt x="676" y="615"/>
                  <a:pt x="676" y="615"/>
                </a:cubicBezTo>
                <a:cubicBezTo>
                  <a:pt x="676" y="615"/>
                  <a:pt x="677" y="615"/>
                  <a:pt x="677" y="615"/>
                </a:cubicBezTo>
                <a:cubicBezTo>
                  <a:pt x="677" y="615"/>
                  <a:pt x="677" y="615"/>
                  <a:pt x="678" y="614"/>
                </a:cubicBezTo>
                <a:cubicBezTo>
                  <a:pt x="678" y="614"/>
                  <a:pt x="678" y="614"/>
                  <a:pt x="679" y="614"/>
                </a:cubicBezTo>
                <a:cubicBezTo>
                  <a:pt x="679" y="614"/>
                  <a:pt x="679" y="614"/>
                  <a:pt x="680" y="614"/>
                </a:cubicBezTo>
                <a:cubicBezTo>
                  <a:pt x="680" y="614"/>
                  <a:pt x="680" y="614"/>
                  <a:pt x="680" y="614"/>
                </a:cubicBezTo>
                <a:cubicBezTo>
                  <a:pt x="681" y="614"/>
                  <a:pt x="681" y="614"/>
                  <a:pt x="681" y="614"/>
                </a:cubicBezTo>
                <a:cubicBezTo>
                  <a:pt x="681" y="614"/>
                  <a:pt x="681" y="614"/>
                  <a:pt x="682" y="614"/>
                </a:cubicBezTo>
                <a:cubicBezTo>
                  <a:pt x="682" y="614"/>
                  <a:pt x="682" y="614"/>
                  <a:pt x="682" y="614"/>
                </a:cubicBezTo>
                <a:cubicBezTo>
                  <a:pt x="682" y="614"/>
                  <a:pt x="682" y="614"/>
                  <a:pt x="683" y="614"/>
                </a:cubicBezTo>
                <a:cubicBezTo>
                  <a:pt x="683" y="614"/>
                  <a:pt x="683" y="613"/>
                  <a:pt x="683" y="613"/>
                </a:cubicBezTo>
                <a:cubicBezTo>
                  <a:pt x="683" y="613"/>
                  <a:pt x="683" y="613"/>
                  <a:pt x="683" y="613"/>
                </a:cubicBezTo>
                <a:cubicBezTo>
                  <a:pt x="683" y="613"/>
                  <a:pt x="683" y="613"/>
                  <a:pt x="683" y="613"/>
                </a:cubicBezTo>
                <a:cubicBezTo>
                  <a:pt x="684" y="613"/>
                  <a:pt x="684" y="613"/>
                  <a:pt x="685" y="612"/>
                </a:cubicBezTo>
                <a:cubicBezTo>
                  <a:pt x="685" y="612"/>
                  <a:pt x="685" y="612"/>
                  <a:pt x="686" y="611"/>
                </a:cubicBezTo>
                <a:cubicBezTo>
                  <a:pt x="686" y="611"/>
                  <a:pt x="686" y="611"/>
                  <a:pt x="686" y="611"/>
                </a:cubicBezTo>
                <a:cubicBezTo>
                  <a:pt x="686" y="611"/>
                  <a:pt x="686" y="611"/>
                  <a:pt x="686" y="611"/>
                </a:cubicBezTo>
                <a:cubicBezTo>
                  <a:pt x="686" y="611"/>
                  <a:pt x="686" y="610"/>
                  <a:pt x="686" y="610"/>
                </a:cubicBezTo>
                <a:cubicBezTo>
                  <a:pt x="686" y="610"/>
                  <a:pt x="686" y="610"/>
                  <a:pt x="687" y="609"/>
                </a:cubicBezTo>
                <a:cubicBezTo>
                  <a:pt x="687" y="609"/>
                  <a:pt x="686" y="609"/>
                  <a:pt x="686" y="608"/>
                </a:cubicBezTo>
                <a:cubicBezTo>
                  <a:pt x="687" y="608"/>
                  <a:pt x="687" y="608"/>
                  <a:pt x="687" y="607"/>
                </a:cubicBezTo>
                <a:cubicBezTo>
                  <a:pt x="687" y="607"/>
                  <a:pt x="687" y="607"/>
                  <a:pt x="687" y="607"/>
                </a:cubicBezTo>
                <a:cubicBezTo>
                  <a:pt x="688" y="607"/>
                  <a:pt x="688" y="606"/>
                  <a:pt x="689" y="606"/>
                </a:cubicBezTo>
                <a:cubicBezTo>
                  <a:pt x="689" y="605"/>
                  <a:pt x="689" y="605"/>
                  <a:pt x="689" y="605"/>
                </a:cubicBezTo>
                <a:cubicBezTo>
                  <a:pt x="689" y="604"/>
                  <a:pt x="689" y="603"/>
                  <a:pt x="689" y="602"/>
                </a:cubicBezTo>
                <a:cubicBezTo>
                  <a:pt x="689" y="601"/>
                  <a:pt x="690" y="601"/>
                  <a:pt x="690" y="600"/>
                </a:cubicBezTo>
                <a:cubicBezTo>
                  <a:pt x="690" y="600"/>
                  <a:pt x="690" y="600"/>
                  <a:pt x="690" y="600"/>
                </a:cubicBezTo>
                <a:cubicBezTo>
                  <a:pt x="690" y="600"/>
                  <a:pt x="690" y="599"/>
                  <a:pt x="689" y="599"/>
                </a:cubicBezTo>
                <a:cubicBezTo>
                  <a:pt x="689" y="599"/>
                  <a:pt x="689" y="599"/>
                  <a:pt x="689" y="599"/>
                </a:cubicBezTo>
                <a:cubicBezTo>
                  <a:pt x="689" y="598"/>
                  <a:pt x="689" y="598"/>
                  <a:pt x="689" y="598"/>
                </a:cubicBezTo>
                <a:cubicBezTo>
                  <a:pt x="689" y="598"/>
                  <a:pt x="689" y="598"/>
                  <a:pt x="689" y="597"/>
                </a:cubicBezTo>
                <a:cubicBezTo>
                  <a:pt x="689" y="597"/>
                  <a:pt x="689" y="597"/>
                  <a:pt x="689" y="597"/>
                </a:cubicBezTo>
                <a:cubicBezTo>
                  <a:pt x="690" y="597"/>
                  <a:pt x="690" y="596"/>
                  <a:pt x="690" y="596"/>
                </a:cubicBezTo>
                <a:cubicBezTo>
                  <a:pt x="690" y="596"/>
                  <a:pt x="690" y="596"/>
                  <a:pt x="690" y="596"/>
                </a:cubicBezTo>
                <a:cubicBezTo>
                  <a:pt x="690" y="596"/>
                  <a:pt x="690" y="596"/>
                  <a:pt x="690" y="596"/>
                </a:cubicBezTo>
                <a:cubicBezTo>
                  <a:pt x="691" y="596"/>
                  <a:pt x="691" y="596"/>
                  <a:pt x="691" y="596"/>
                </a:cubicBezTo>
                <a:cubicBezTo>
                  <a:pt x="691" y="595"/>
                  <a:pt x="691" y="595"/>
                  <a:pt x="692" y="595"/>
                </a:cubicBezTo>
                <a:cubicBezTo>
                  <a:pt x="692" y="595"/>
                  <a:pt x="692" y="594"/>
                  <a:pt x="692" y="594"/>
                </a:cubicBezTo>
                <a:cubicBezTo>
                  <a:pt x="692" y="594"/>
                  <a:pt x="692" y="594"/>
                  <a:pt x="692" y="594"/>
                </a:cubicBezTo>
                <a:cubicBezTo>
                  <a:pt x="692" y="594"/>
                  <a:pt x="692" y="593"/>
                  <a:pt x="692" y="593"/>
                </a:cubicBezTo>
                <a:cubicBezTo>
                  <a:pt x="692" y="593"/>
                  <a:pt x="692" y="593"/>
                  <a:pt x="692" y="593"/>
                </a:cubicBezTo>
                <a:cubicBezTo>
                  <a:pt x="692" y="593"/>
                  <a:pt x="692" y="593"/>
                  <a:pt x="692" y="593"/>
                </a:cubicBezTo>
                <a:cubicBezTo>
                  <a:pt x="692" y="592"/>
                  <a:pt x="693" y="592"/>
                  <a:pt x="693" y="592"/>
                </a:cubicBezTo>
                <a:cubicBezTo>
                  <a:pt x="692" y="592"/>
                  <a:pt x="692" y="591"/>
                  <a:pt x="692" y="591"/>
                </a:cubicBezTo>
                <a:cubicBezTo>
                  <a:pt x="692" y="591"/>
                  <a:pt x="692" y="591"/>
                  <a:pt x="692" y="591"/>
                </a:cubicBezTo>
                <a:cubicBezTo>
                  <a:pt x="692" y="591"/>
                  <a:pt x="692" y="590"/>
                  <a:pt x="692" y="590"/>
                </a:cubicBezTo>
                <a:cubicBezTo>
                  <a:pt x="691" y="590"/>
                  <a:pt x="691" y="590"/>
                  <a:pt x="691" y="590"/>
                </a:cubicBezTo>
                <a:cubicBezTo>
                  <a:pt x="691" y="590"/>
                  <a:pt x="691" y="590"/>
                  <a:pt x="692" y="590"/>
                </a:cubicBezTo>
                <a:cubicBezTo>
                  <a:pt x="692" y="590"/>
                  <a:pt x="692" y="590"/>
                  <a:pt x="692" y="590"/>
                </a:cubicBezTo>
                <a:cubicBezTo>
                  <a:pt x="693" y="591"/>
                  <a:pt x="693" y="591"/>
                  <a:pt x="694" y="591"/>
                </a:cubicBezTo>
                <a:cubicBezTo>
                  <a:pt x="694" y="591"/>
                  <a:pt x="694" y="591"/>
                  <a:pt x="694" y="591"/>
                </a:cubicBezTo>
                <a:cubicBezTo>
                  <a:pt x="694" y="591"/>
                  <a:pt x="694" y="591"/>
                  <a:pt x="694" y="591"/>
                </a:cubicBezTo>
                <a:cubicBezTo>
                  <a:pt x="694" y="591"/>
                  <a:pt x="695" y="591"/>
                  <a:pt x="695" y="591"/>
                </a:cubicBezTo>
                <a:cubicBezTo>
                  <a:pt x="695" y="591"/>
                  <a:pt x="695" y="591"/>
                  <a:pt x="695" y="592"/>
                </a:cubicBezTo>
                <a:cubicBezTo>
                  <a:pt x="695" y="592"/>
                  <a:pt x="695" y="592"/>
                  <a:pt x="695" y="592"/>
                </a:cubicBezTo>
                <a:cubicBezTo>
                  <a:pt x="694" y="592"/>
                  <a:pt x="694" y="593"/>
                  <a:pt x="694" y="593"/>
                </a:cubicBezTo>
                <a:cubicBezTo>
                  <a:pt x="694" y="594"/>
                  <a:pt x="694" y="594"/>
                  <a:pt x="694" y="595"/>
                </a:cubicBezTo>
                <a:cubicBezTo>
                  <a:pt x="693" y="595"/>
                  <a:pt x="693" y="595"/>
                  <a:pt x="693" y="595"/>
                </a:cubicBezTo>
                <a:cubicBezTo>
                  <a:pt x="693" y="595"/>
                  <a:pt x="693" y="596"/>
                  <a:pt x="693" y="596"/>
                </a:cubicBezTo>
                <a:cubicBezTo>
                  <a:pt x="693" y="596"/>
                  <a:pt x="693" y="596"/>
                  <a:pt x="692" y="596"/>
                </a:cubicBezTo>
                <a:cubicBezTo>
                  <a:pt x="692" y="596"/>
                  <a:pt x="692" y="596"/>
                  <a:pt x="692" y="596"/>
                </a:cubicBezTo>
                <a:cubicBezTo>
                  <a:pt x="692" y="597"/>
                  <a:pt x="692" y="597"/>
                  <a:pt x="691" y="597"/>
                </a:cubicBezTo>
                <a:cubicBezTo>
                  <a:pt x="691" y="597"/>
                  <a:pt x="691" y="597"/>
                  <a:pt x="691" y="598"/>
                </a:cubicBezTo>
                <a:cubicBezTo>
                  <a:pt x="691" y="598"/>
                  <a:pt x="691" y="598"/>
                  <a:pt x="691" y="598"/>
                </a:cubicBezTo>
                <a:cubicBezTo>
                  <a:pt x="691" y="598"/>
                  <a:pt x="690" y="598"/>
                  <a:pt x="690" y="598"/>
                </a:cubicBezTo>
                <a:cubicBezTo>
                  <a:pt x="690" y="598"/>
                  <a:pt x="690" y="598"/>
                  <a:pt x="690" y="599"/>
                </a:cubicBezTo>
                <a:cubicBezTo>
                  <a:pt x="690" y="599"/>
                  <a:pt x="690" y="599"/>
                  <a:pt x="690" y="599"/>
                </a:cubicBezTo>
                <a:cubicBezTo>
                  <a:pt x="690" y="599"/>
                  <a:pt x="690" y="599"/>
                  <a:pt x="691" y="599"/>
                </a:cubicBezTo>
                <a:cubicBezTo>
                  <a:pt x="692" y="598"/>
                  <a:pt x="692" y="597"/>
                  <a:pt x="693" y="597"/>
                </a:cubicBezTo>
                <a:cubicBezTo>
                  <a:pt x="694" y="596"/>
                  <a:pt x="694" y="596"/>
                  <a:pt x="694" y="595"/>
                </a:cubicBezTo>
                <a:cubicBezTo>
                  <a:pt x="695" y="594"/>
                  <a:pt x="695" y="593"/>
                  <a:pt x="696" y="592"/>
                </a:cubicBezTo>
                <a:cubicBezTo>
                  <a:pt x="696" y="591"/>
                  <a:pt x="696" y="591"/>
                  <a:pt x="696" y="590"/>
                </a:cubicBezTo>
                <a:cubicBezTo>
                  <a:pt x="697" y="590"/>
                  <a:pt x="697" y="589"/>
                  <a:pt x="697" y="588"/>
                </a:cubicBezTo>
                <a:cubicBezTo>
                  <a:pt x="697" y="587"/>
                  <a:pt x="698" y="586"/>
                  <a:pt x="698" y="585"/>
                </a:cubicBezTo>
                <a:cubicBezTo>
                  <a:pt x="699" y="584"/>
                  <a:pt x="699" y="583"/>
                  <a:pt x="700" y="582"/>
                </a:cubicBezTo>
                <a:cubicBezTo>
                  <a:pt x="700" y="582"/>
                  <a:pt x="700" y="582"/>
                  <a:pt x="700" y="582"/>
                </a:cubicBezTo>
                <a:cubicBezTo>
                  <a:pt x="700" y="582"/>
                  <a:pt x="700" y="582"/>
                  <a:pt x="700" y="582"/>
                </a:cubicBezTo>
                <a:cubicBezTo>
                  <a:pt x="700" y="582"/>
                  <a:pt x="700" y="581"/>
                  <a:pt x="700" y="581"/>
                </a:cubicBezTo>
                <a:cubicBezTo>
                  <a:pt x="700" y="581"/>
                  <a:pt x="700" y="581"/>
                  <a:pt x="700" y="581"/>
                </a:cubicBezTo>
                <a:cubicBezTo>
                  <a:pt x="700" y="581"/>
                  <a:pt x="701" y="580"/>
                  <a:pt x="701" y="580"/>
                </a:cubicBezTo>
                <a:cubicBezTo>
                  <a:pt x="701" y="580"/>
                  <a:pt x="701" y="580"/>
                  <a:pt x="701" y="580"/>
                </a:cubicBezTo>
                <a:cubicBezTo>
                  <a:pt x="701" y="580"/>
                  <a:pt x="701" y="579"/>
                  <a:pt x="701" y="579"/>
                </a:cubicBezTo>
                <a:cubicBezTo>
                  <a:pt x="701" y="579"/>
                  <a:pt x="701" y="579"/>
                  <a:pt x="701" y="579"/>
                </a:cubicBezTo>
                <a:cubicBezTo>
                  <a:pt x="701" y="579"/>
                  <a:pt x="701" y="578"/>
                  <a:pt x="701" y="578"/>
                </a:cubicBezTo>
                <a:cubicBezTo>
                  <a:pt x="701" y="578"/>
                  <a:pt x="700" y="578"/>
                  <a:pt x="700" y="578"/>
                </a:cubicBezTo>
                <a:cubicBezTo>
                  <a:pt x="700" y="578"/>
                  <a:pt x="700" y="578"/>
                  <a:pt x="700" y="578"/>
                </a:cubicBezTo>
                <a:cubicBezTo>
                  <a:pt x="700" y="577"/>
                  <a:pt x="700" y="577"/>
                  <a:pt x="699" y="577"/>
                </a:cubicBezTo>
                <a:cubicBezTo>
                  <a:pt x="699" y="577"/>
                  <a:pt x="699" y="576"/>
                  <a:pt x="699" y="576"/>
                </a:cubicBezTo>
                <a:cubicBezTo>
                  <a:pt x="699" y="576"/>
                  <a:pt x="699" y="576"/>
                  <a:pt x="699" y="576"/>
                </a:cubicBezTo>
                <a:cubicBezTo>
                  <a:pt x="699" y="576"/>
                  <a:pt x="699" y="575"/>
                  <a:pt x="699" y="575"/>
                </a:cubicBezTo>
                <a:cubicBezTo>
                  <a:pt x="699" y="575"/>
                  <a:pt x="699" y="575"/>
                  <a:pt x="698" y="574"/>
                </a:cubicBezTo>
                <a:cubicBezTo>
                  <a:pt x="698" y="574"/>
                  <a:pt x="698" y="574"/>
                  <a:pt x="698" y="573"/>
                </a:cubicBezTo>
                <a:cubicBezTo>
                  <a:pt x="698" y="573"/>
                  <a:pt x="698" y="573"/>
                  <a:pt x="698" y="573"/>
                </a:cubicBezTo>
                <a:cubicBezTo>
                  <a:pt x="699" y="573"/>
                  <a:pt x="699" y="573"/>
                  <a:pt x="699" y="573"/>
                </a:cubicBezTo>
                <a:cubicBezTo>
                  <a:pt x="699" y="572"/>
                  <a:pt x="699" y="572"/>
                  <a:pt x="699" y="572"/>
                </a:cubicBezTo>
                <a:cubicBezTo>
                  <a:pt x="699" y="572"/>
                  <a:pt x="698" y="572"/>
                  <a:pt x="698" y="572"/>
                </a:cubicBezTo>
                <a:cubicBezTo>
                  <a:pt x="699" y="572"/>
                  <a:pt x="699" y="572"/>
                  <a:pt x="699" y="571"/>
                </a:cubicBezTo>
                <a:cubicBezTo>
                  <a:pt x="699" y="571"/>
                  <a:pt x="699" y="571"/>
                  <a:pt x="699" y="571"/>
                </a:cubicBezTo>
                <a:cubicBezTo>
                  <a:pt x="699" y="571"/>
                  <a:pt x="698" y="571"/>
                  <a:pt x="698" y="571"/>
                </a:cubicBezTo>
                <a:cubicBezTo>
                  <a:pt x="698" y="570"/>
                  <a:pt x="699" y="570"/>
                  <a:pt x="699" y="570"/>
                </a:cubicBezTo>
                <a:cubicBezTo>
                  <a:pt x="699" y="570"/>
                  <a:pt x="699" y="570"/>
                  <a:pt x="699" y="569"/>
                </a:cubicBezTo>
                <a:cubicBezTo>
                  <a:pt x="700" y="569"/>
                  <a:pt x="700" y="570"/>
                  <a:pt x="700" y="570"/>
                </a:cubicBezTo>
                <a:cubicBezTo>
                  <a:pt x="700" y="569"/>
                  <a:pt x="701" y="569"/>
                  <a:pt x="701" y="568"/>
                </a:cubicBezTo>
                <a:cubicBezTo>
                  <a:pt x="701" y="568"/>
                  <a:pt x="702" y="568"/>
                  <a:pt x="702" y="568"/>
                </a:cubicBezTo>
                <a:cubicBezTo>
                  <a:pt x="702" y="568"/>
                  <a:pt x="702" y="567"/>
                  <a:pt x="702" y="567"/>
                </a:cubicBezTo>
                <a:cubicBezTo>
                  <a:pt x="702" y="567"/>
                  <a:pt x="702" y="567"/>
                  <a:pt x="703" y="566"/>
                </a:cubicBezTo>
                <a:cubicBezTo>
                  <a:pt x="703" y="566"/>
                  <a:pt x="704" y="566"/>
                  <a:pt x="704" y="565"/>
                </a:cubicBezTo>
                <a:cubicBezTo>
                  <a:pt x="705" y="565"/>
                  <a:pt x="705" y="564"/>
                  <a:pt x="706" y="563"/>
                </a:cubicBezTo>
                <a:cubicBezTo>
                  <a:pt x="706" y="563"/>
                  <a:pt x="707" y="563"/>
                  <a:pt x="707" y="563"/>
                </a:cubicBezTo>
                <a:cubicBezTo>
                  <a:pt x="707" y="563"/>
                  <a:pt x="708" y="562"/>
                  <a:pt x="708" y="562"/>
                </a:cubicBezTo>
                <a:cubicBezTo>
                  <a:pt x="708" y="562"/>
                  <a:pt x="709" y="562"/>
                  <a:pt x="709" y="561"/>
                </a:cubicBezTo>
                <a:cubicBezTo>
                  <a:pt x="709" y="561"/>
                  <a:pt x="709" y="561"/>
                  <a:pt x="710" y="561"/>
                </a:cubicBezTo>
                <a:cubicBezTo>
                  <a:pt x="710" y="561"/>
                  <a:pt x="710" y="561"/>
                  <a:pt x="710" y="562"/>
                </a:cubicBezTo>
                <a:cubicBezTo>
                  <a:pt x="711" y="562"/>
                  <a:pt x="711" y="562"/>
                  <a:pt x="711" y="562"/>
                </a:cubicBezTo>
                <a:cubicBezTo>
                  <a:pt x="711" y="561"/>
                  <a:pt x="711" y="561"/>
                  <a:pt x="711" y="561"/>
                </a:cubicBezTo>
                <a:cubicBezTo>
                  <a:pt x="711" y="561"/>
                  <a:pt x="711" y="560"/>
                  <a:pt x="712" y="560"/>
                </a:cubicBezTo>
                <a:cubicBezTo>
                  <a:pt x="712" y="560"/>
                  <a:pt x="713" y="559"/>
                  <a:pt x="713" y="559"/>
                </a:cubicBezTo>
                <a:cubicBezTo>
                  <a:pt x="714" y="559"/>
                  <a:pt x="714" y="558"/>
                  <a:pt x="714" y="558"/>
                </a:cubicBezTo>
                <a:cubicBezTo>
                  <a:pt x="714" y="558"/>
                  <a:pt x="714" y="558"/>
                  <a:pt x="714" y="558"/>
                </a:cubicBezTo>
                <a:cubicBezTo>
                  <a:pt x="714" y="558"/>
                  <a:pt x="714" y="558"/>
                  <a:pt x="714" y="558"/>
                </a:cubicBezTo>
                <a:cubicBezTo>
                  <a:pt x="713" y="558"/>
                  <a:pt x="713" y="558"/>
                  <a:pt x="713" y="558"/>
                </a:cubicBezTo>
                <a:cubicBezTo>
                  <a:pt x="713" y="558"/>
                  <a:pt x="713" y="558"/>
                  <a:pt x="713" y="557"/>
                </a:cubicBezTo>
                <a:cubicBezTo>
                  <a:pt x="713" y="557"/>
                  <a:pt x="713" y="557"/>
                  <a:pt x="713" y="557"/>
                </a:cubicBezTo>
                <a:cubicBezTo>
                  <a:pt x="714" y="557"/>
                  <a:pt x="714" y="557"/>
                  <a:pt x="714" y="556"/>
                </a:cubicBezTo>
                <a:cubicBezTo>
                  <a:pt x="714" y="557"/>
                  <a:pt x="715" y="557"/>
                  <a:pt x="715" y="557"/>
                </a:cubicBezTo>
                <a:cubicBezTo>
                  <a:pt x="715" y="556"/>
                  <a:pt x="715" y="556"/>
                  <a:pt x="716" y="556"/>
                </a:cubicBezTo>
                <a:cubicBezTo>
                  <a:pt x="716" y="556"/>
                  <a:pt x="716" y="556"/>
                  <a:pt x="716" y="556"/>
                </a:cubicBezTo>
                <a:cubicBezTo>
                  <a:pt x="716" y="556"/>
                  <a:pt x="717" y="556"/>
                  <a:pt x="717" y="556"/>
                </a:cubicBezTo>
                <a:cubicBezTo>
                  <a:pt x="717" y="556"/>
                  <a:pt x="717" y="556"/>
                  <a:pt x="717" y="556"/>
                </a:cubicBezTo>
                <a:cubicBezTo>
                  <a:pt x="717" y="556"/>
                  <a:pt x="716" y="557"/>
                  <a:pt x="716" y="557"/>
                </a:cubicBezTo>
                <a:cubicBezTo>
                  <a:pt x="716" y="557"/>
                  <a:pt x="715" y="557"/>
                  <a:pt x="715" y="557"/>
                </a:cubicBezTo>
                <a:cubicBezTo>
                  <a:pt x="715" y="557"/>
                  <a:pt x="715" y="557"/>
                  <a:pt x="715" y="557"/>
                </a:cubicBezTo>
                <a:cubicBezTo>
                  <a:pt x="715" y="557"/>
                  <a:pt x="715" y="558"/>
                  <a:pt x="715" y="558"/>
                </a:cubicBezTo>
                <a:cubicBezTo>
                  <a:pt x="716" y="557"/>
                  <a:pt x="716" y="557"/>
                  <a:pt x="717" y="557"/>
                </a:cubicBezTo>
                <a:cubicBezTo>
                  <a:pt x="717" y="556"/>
                  <a:pt x="718" y="556"/>
                  <a:pt x="719" y="556"/>
                </a:cubicBezTo>
                <a:cubicBezTo>
                  <a:pt x="719" y="556"/>
                  <a:pt x="719" y="556"/>
                  <a:pt x="719" y="556"/>
                </a:cubicBezTo>
                <a:cubicBezTo>
                  <a:pt x="719" y="555"/>
                  <a:pt x="719" y="555"/>
                  <a:pt x="719" y="555"/>
                </a:cubicBezTo>
                <a:cubicBezTo>
                  <a:pt x="719" y="555"/>
                  <a:pt x="719" y="555"/>
                  <a:pt x="720" y="555"/>
                </a:cubicBezTo>
                <a:cubicBezTo>
                  <a:pt x="720" y="555"/>
                  <a:pt x="719" y="555"/>
                  <a:pt x="719" y="556"/>
                </a:cubicBezTo>
                <a:cubicBezTo>
                  <a:pt x="719" y="556"/>
                  <a:pt x="720" y="556"/>
                  <a:pt x="720" y="556"/>
                </a:cubicBezTo>
                <a:cubicBezTo>
                  <a:pt x="720" y="556"/>
                  <a:pt x="721" y="556"/>
                  <a:pt x="721" y="556"/>
                </a:cubicBezTo>
                <a:cubicBezTo>
                  <a:pt x="721" y="556"/>
                  <a:pt x="721" y="556"/>
                  <a:pt x="722" y="556"/>
                </a:cubicBezTo>
                <a:cubicBezTo>
                  <a:pt x="722" y="556"/>
                  <a:pt x="723" y="556"/>
                  <a:pt x="723" y="556"/>
                </a:cubicBezTo>
                <a:cubicBezTo>
                  <a:pt x="723" y="555"/>
                  <a:pt x="724" y="555"/>
                  <a:pt x="724" y="555"/>
                </a:cubicBezTo>
                <a:cubicBezTo>
                  <a:pt x="725" y="555"/>
                  <a:pt x="725" y="555"/>
                  <a:pt x="725" y="555"/>
                </a:cubicBezTo>
                <a:cubicBezTo>
                  <a:pt x="725" y="555"/>
                  <a:pt x="725" y="555"/>
                  <a:pt x="725" y="554"/>
                </a:cubicBezTo>
                <a:cubicBezTo>
                  <a:pt x="725" y="554"/>
                  <a:pt x="725" y="554"/>
                  <a:pt x="725" y="554"/>
                </a:cubicBezTo>
                <a:cubicBezTo>
                  <a:pt x="725" y="554"/>
                  <a:pt x="725" y="554"/>
                  <a:pt x="725" y="554"/>
                </a:cubicBezTo>
                <a:cubicBezTo>
                  <a:pt x="726" y="553"/>
                  <a:pt x="726" y="553"/>
                  <a:pt x="727" y="552"/>
                </a:cubicBezTo>
                <a:cubicBezTo>
                  <a:pt x="727" y="552"/>
                  <a:pt x="728" y="552"/>
                  <a:pt x="729" y="552"/>
                </a:cubicBezTo>
                <a:cubicBezTo>
                  <a:pt x="729" y="552"/>
                  <a:pt x="729" y="551"/>
                  <a:pt x="729" y="551"/>
                </a:cubicBezTo>
                <a:cubicBezTo>
                  <a:pt x="729" y="551"/>
                  <a:pt x="730" y="551"/>
                  <a:pt x="730" y="551"/>
                </a:cubicBezTo>
                <a:cubicBezTo>
                  <a:pt x="729" y="551"/>
                  <a:pt x="729" y="551"/>
                  <a:pt x="729" y="550"/>
                </a:cubicBezTo>
                <a:cubicBezTo>
                  <a:pt x="729" y="550"/>
                  <a:pt x="729" y="550"/>
                  <a:pt x="728" y="549"/>
                </a:cubicBezTo>
                <a:cubicBezTo>
                  <a:pt x="728" y="549"/>
                  <a:pt x="729" y="548"/>
                  <a:pt x="729" y="548"/>
                </a:cubicBezTo>
                <a:cubicBezTo>
                  <a:pt x="729" y="548"/>
                  <a:pt x="729" y="548"/>
                  <a:pt x="729" y="547"/>
                </a:cubicBezTo>
                <a:cubicBezTo>
                  <a:pt x="729" y="547"/>
                  <a:pt x="729" y="547"/>
                  <a:pt x="729" y="547"/>
                </a:cubicBezTo>
                <a:cubicBezTo>
                  <a:pt x="729" y="547"/>
                  <a:pt x="729" y="546"/>
                  <a:pt x="730" y="546"/>
                </a:cubicBezTo>
                <a:cubicBezTo>
                  <a:pt x="730" y="546"/>
                  <a:pt x="730" y="546"/>
                  <a:pt x="730" y="546"/>
                </a:cubicBezTo>
                <a:cubicBezTo>
                  <a:pt x="730" y="546"/>
                  <a:pt x="730" y="545"/>
                  <a:pt x="730" y="545"/>
                </a:cubicBezTo>
                <a:cubicBezTo>
                  <a:pt x="730" y="545"/>
                  <a:pt x="730" y="545"/>
                  <a:pt x="730" y="545"/>
                </a:cubicBezTo>
                <a:cubicBezTo>
                  <a:pt x="730" y="544"/>
                  <a:pt x="731" y="544"/>
                  <a:pt x="731" y="543"/>
                </a:cubicBezTo>
                <a:cubicBezTo>
                  <a:pt x="732" y="543"/>
                  <a:pt x="732" y="542"/>
                  <a:pt x="733" y="541"/>
                </a:cubicBezTo>
                <a:cubicBezTo>
                  <a:pt x="733" y="541"/>
                  <a:pt x="733" y="541"/>
                  <a:pt x="733" y="541"/>
                </a:cubicBezTo>
                <a:cubicBezTo>
                  <a:pt x="732" y="540"/>
                  <a:pt x="732" y="539"/>
                  <a:pt x="732" y="538"/>
                </a:cubicBezTo>
                <a:cubicBezTo>
                  <a:pt x="732" y="538"/>
                  <a:pt x="732" y="538"/>
                  <a:pt x="731" y="538"/>
                </a:cubicBezTo>
                <a:cubicBezTo>
                  <a:pt x="732" y="537"/>
                  <a:pt x="732" y="537"/>
                  <a:pt x="732" y="536"/>
                </a:cubicBezTo>
                <a:cubicBezTo>
                  <a:pt x="732" y="536"/>
                  <a:pt x="732" y="536"/>
                  <a:pt x="732" y="536"/>
                </a:cubicBezTo>
                <a:cubicBezTo>
                  <a:pt x="732" y="536"/>
                  <a:pt x="732" y="535"/>
                  <a:pt x="732" y="535"/>
                </a:cubicBezTo>
                <a:cubicBezTo>
                  <a:pt x="733" y="535"/>
                  <a:pt x="733" y="535"/>
                  <a:pt x="733" y="534"/>
                </a:cubicBezTo>
                <a:cubicBezTo>
                  <a:pt x="734" y="534"/>
                  <a:pt x="734" y="534"/>
                  <a:pt x="734" y="534"/>
                </a:cubicBezTo>
                <a:cubicBezTo>
                  <a:pt x="733" y="533"/>
                  <a:pt x="733" y="533"/>
                  <a:pt x="733" y="532"/>
                </a:cubicBezTo>
                <a:cubicBezTo>
                  <a:pt x="733" y="532"/>
                  <a:pt x="733" y="531"/>
                  <a:pt x="734" y="531"/>
                </a:cubicBezTo>
                <a:cubicBezTo>
                  <a:pt x="733" y="530"/>
                  <a:pt x="733" y="530"/>
                  <a:pt x="733" y="529"/>
                </a:cubicBezTo>
                <a:cubicBezTo>
                  <a:pt x="733" y="529"/>
                  <a:pt x="733" y="529"/>
                  <a:pt x="733" y="528"/>
                </a:cubicBezTo>
                <a:cubicBezTo>
                  <a:pt x="733" y="528"/>
                  <a:pt x="733" y="528"/>
                  <a:pt x="733" y="528"/>
                </a:cubicBezTo>
                <a:cubicBezTo>
                  <a:pt x="733" y="527"/>
                  <a:pt x="733" y="527"/>
                  <a:pt x="733" y="527"/>
                </a:cubicBezTo>
                <a:cubicBezTo>
                  <a:pt x="733" y="525"/>
                  <a:pt x="733" y="523"/>
                  <a:pt x="732" y="522"/>
                </a:cubicBezTo>
                <a:cubicBezTo>
                  <a:pt x="732" y="521"/>
                  <a:pt x="732" y="521"/>
                  <a:pt x="732" y="521"/>
                </a:cubicBezTo>
                <a:cubicBezTo>
                  <a:pt x="732" y="520"/>
                  <a:pt x="732" y="520"/>
                  <a:pt x="732" y="520"/>
                </a:cubicBezTo>
                <a:cubicBezTo>
                  <a:pt x="732" y="520"/>
                  <a:pt x="732" y="520"/>
                  <a:pt x="732" y="519"/>
                </a:cubicBezTo>
                <a:cubicBezTo>
                  <a:pt x="732" y="519"/>
                  <a:pt x="732" y="520"/>
                  <a:pt x="732" y="520"/>
                </a:cubicBezTo>
                <a:cubicBezTo>
                  <a:pt x="732" y="520"/>
                  <a:pt x="731" y="519"/>
                  <a:pt x="731" y="519"/>
                </a:cubicBezTo>
                <a:cubicBezTo>
                  <a:pt x="731" y="519"/>
                  <a:pt x="731" y="519"/>
                  <a:pt x="731" y="519"/>
                </a:cubicBezTo>
                <a:cubicBezTo>
                  <a:pt x="731" y="519"/>
                  <a:pt x="731" y="518"/>
                  <a:pt x="732" y="518"/>
                </a:cubicBezTo>
                <a:cubicBezTo>
                  <a:pt x="731" y="518"/>
                  <a:pt x="731" y="518"/>
                  <a:pt x="731" y="517"/>
                </a:cubicBezTo>
                <a:cubicBezTo>
                  <a:pt x="731" y="517"/>
                  <a:pt x="731" y="517"/>
                  <a:pt x="731" y="517"/>
                </a:cubicBezTo>
                <a:cubicBezTo>
                  <a:pt x="732" y="517"/>
                  <a:pt x="732" y="517"/>
                  <a:pt x="732" y="516"/>
                </a:cubicBezTo>
                <a:cubicBezTo>
                  <a:pt x="732" y="516"/>
                  <a:pt x="732" y="516"/>
                  <a:pt x="732" y="516"/>
                </a:cubicBezTo>
                <a:cubicBezTo>
                  <a:pt x="732" y="515"/>
                  <a:pt x="731" y="515"/>
                  <a:pt x="731" y="515"/>
                </a:cubicBezTo>
                <a:cubicBezTo>
                  <a:pt x="731" y="515"/>
                  <a:pt x="730" y="515"/>
                  <a:pt x="730" y="515"/>
                </a:cubicBezTo>
                <a:cubicBezTo>
                  <a:pt x="730" y="515"/>
                  <a:pt x="730" y="514"/>
                  <a:pt x="730" y="514"/>
                </a:cubicBezTo>
                <a:cubicBezTo>
                  <a:pt x="730" y="514"/>
                  <a:pt x="730" y="514"/>
                  <a:pt x="730" y="514"/>
                </a:cubicBezTo>
                <a:cubicBezTo>
                  <a:pt x="730" y="514"/>
                  <a:pt x="730" y="514"/>
                  <a:pt x="731" y="514"/>
                </a:cubicBezTo>
                <a:cubicBezTo>
                  <a:pt x="731" y="515"/>
                  <a:pt x="731" y="515"/>
                  <a:pt x="731" y="515"/>
                </a:cubicBezTo>
                <a:cubicBezTo>
                  <a:pt x="732" y="515"/>
                  <a:pt x="732" y="515"/>
                  <a:pt x="732" y="515"/>
                </a:cubicBezTo>
                <a:cubicBezTo>
                  <a:pt x="732" y="514"/>
                  <a:pt x="732" y="514"/>
                  <a:pt x="732" y="514"/>
                </a:cubicBezTo>
                <a:cubicBezTo>
                  <a:pt x="732" y="514"/>
                  <a:pt x="733" y="514"/>
                  <a:pt x="733" y="514"/>
                </a:cubicBezTo>
                <a:cubicBezTo>
                  <a:pt x="733" y="514"/>
                  <a:pt x="733" y="514"/>
                  <a:pt x="733" y="514"/>
                </a:cubicBezTo>
                <a:cubicBezTo>
                  <a:pt x="733" y="514"/>
                  <a:pt x="734" y="514"/>
                  <a:pt x="734" y="514"/>
                </a:cubicBezTo>
                <a:cubicBezTo>
                  <a:pt x="734" y="515"/>
                  <a:pt x="733" y="515"/>
                  <a:pt x="733" y="515"/>
                </a:cubicBezTo>
                <a:cubicBezTo>
                  <a:pt x="733" y="515"/>
                  <a:pt x="733" y="515"/>
                  <a:pt x="733" y="516"/>
                </a:cubicBezTo>
                <a:cubicBezTo>
                  <a:pt x="733" y="516"/>
                  <a:pt x="733" y="516"/>
                  <a:pt x="733" y="516"/>
                </a:cubicBezTo>
                <a:cubicBezTo>
                  <a:pt x="733" y="516"/>
                  <a:pt x="733" y="516"/>
                  <a:pt x="733" y="516"/>
                </a:cubicBezTo>
                <a:cubicBezTo>
                  <a:pt x="733" y="516"/>
                  <a:pt x="734" y="515"/>
                  <a:pt x="734" y="515"/>
                </a:cubicBezTo>
                <a:cubicBezTo>
                  <a:pt x="734" y="515"/>
                  <a:pt x="735" y="515"/>
                  <a:pt x="735" y="515"/>
                </a:cubicBezTo>
                <a:cubicBezTo>
                  <a:pt x="735" y="514"/>
                  <a:pt x="736" y="513"/>
                  <a:pt x="736" y="512"/>
                </a:cubicBezTo>
                <a:cubicBezTo>
                  <a:pt x="736" y="512"/>
                  <a:pt x="737" y="511"/>
                  <a:pt x="737" y="511"/>
                </a:cubicBezTo>
                <a:cubicBezTo>
                  <a:pt x="737" y="511"/>
                  <a:pt x="737" y="510"/>
                  <a:pt x="737" y="510"/>
                </a:cubicBezTo>
                <a:cubicBezTo>
                  <a:pt x="737" y="510"/>
                  <a:pt x="737" y="510"/>
                  <a:pt x="737" y="510"/>
                </a:cubicBezTo>
                <a:cubicBezTo>
                  <a:pt x="738" y="509"/>
                  <a:pt x="738" y="509"/>
                  <a:pt x="738" y="508"/>
                </a:cubicBezTo>
                <a:cubicBezTo>
                  <a:pt x="738" y="508"/>
                  <a:pt x="738" y="507"/>
                  <a:pt x="738" y="507"/>
                </a:cubicBezTo>
                <a:cubicBezTo>
                  <a:pt x="739" y="506"/>
                  <a:pt x="740" y="506"/>
                  <a:pt x="741" y="505"/>
                </a:cubicBezTo>
                <a:cubicBezTo>
                  <a:pt x="741" y="505"/>
                  <a:pt x="741" y="505"/>
                  <a:pt x="741" y="505"/>
                </a:cubicBezTo>
                <a:cubicBezTo>
                  <a:pt x="741" y="505"/>
                  <a:pt x="741" y="505"/>
                  <a:pt x="742" y="504"/>
                </a:cubicBezTo>
                <a:cubicBezTo>
                  <a:pt x="742" y="504"/>
                  <a:pt x="742" y="504"/>
                  <a:pt x="742" y="504"/>
                </a:cubicBezTo>
                <a:cubicBezTo>
                  <a:pt x="743" y="503"/>
                  <a:pt x="743" y="503"/>
                  <a:pt x="744" y="502"/>
                </a:cubicBezTo>
                <a:cubicBezTo>
                  <a:pt x="745" y="501"/>
                  <a:pt x="745" y="500"/>
                  <a:pt x="746" y="500"/>
                </a:cubicBezTo>
                <a:cubicBezTo>
                  <a:pt x="746" y="500"/>
                  <a:pt x="746" y="499"/>
                  <a:pt x="746" y="499"/>
                </a:cubicBezTo>
                <a:cubicBezTo>
                  <a:pt x="746" y="498"/>
                  <a:pt x="747" y="498"/>
                  <a:pt x="747" y="497"/>
                </a:cubicBezTo>
                <a:cubicBezTo>
                  <a:pt x="747" y="497"/>
                  <a:pt x="747" y="496"/>
                  <a:pt x="747" y="496"/>
                </a:cubicBezTo>
                <a:cubicBezTo>
                  <a:pt x="747" y="496"/>
                  <a:pt x="747" y="496"/>
                  <a:pt x="748" y="495"/>
                </a:cubicBezTo>
                <a:cubicBezTo>
                  <a:pt x="748" y="495"/>
                  <a:pt x="747" y="495"/>
                  <a:pt x="747" y="495"/>
                </a:cubicBezTo>
                <a:cubicBezTo>
                  <a:pt x="747" y="495"/>
                  <a:pt x="747" y="494"/>
                  <a:pt x="747" y="494"/>
                </a:cubicBezTo>
                <a:close/>
                <a:moveTo>
                  <a:pt x="668" y="475"/>
                </a:moveTo>
                <a:cubicBezTo>
                  <a:pt x="668" y="476"/>
                  <a:pt x="668" y="476"/>
                  <a:pt x="668" y="476"/>
                </a:cubicBezTo>
                <a:cubicBezTo>
                  <a:pt x="668" y="476"/>
                  <a:pt x="668" y="476"/>
                  <a:pt x="668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8" y="476"/>
                  <a:pt x="668" y="475"/>
                </a:cubicBezTo>
                <a:close/>
                <a:moveTo>
                  <a:pt x="572" y="448"/>
                </a:moveTo>
                <a:cubicBezTo>
                  <a:pt x="572" y="448"/>
                  <a:pt x="572" y="448"/>
                  <a:pt x="573" y="448"/>
                </a:cubicBezTo>
                <a:cubicBezTo>
                  <a:pt x="573" y="448"/>
                  <a:pt x="573" y="448"/>
                  <a:pt x="573" y="448"/>
                </a:cubicBezTo>
                <a:cubicBezTo>
                  <a:pt x="573" y="448"/>
                  <a:pt x="574" y="448"/>
                  <a:pt x="574" y="448"/>
                </a:cubicBezTo>
                <a:cubicBezTo>
                  <a:pt x="574" y="448"/>
                  <a:pt x="574" y="448"/>
                  <a:pt x="574" y="448"/>
                </a:cubicBezTo>
                <a:cubicBezTo>
                  <a:pt x="574" y="448"/>
                  <a:pt x="573" y="447"/>
                  <a:pt x="573" y="447"/>
                </a:cubicBezTo>
                <a:cubicBezTo>
                  <a:pt x="573" y="447"/>
                  <a:pt x="572" y="448"/>
                  <a:pt x="572" y="448"/>
                </a:cubicBezTo>
                <a:close/>
                <a:moveTo>
                  <a:pt x="564" y="448"/>
                </a:moveTo>
                <a:cubicBezTo>
                  <a:pt x="564" y="448"/>
                  <a:pt x="564" y="449"/>
                  <a:pt x="565" y="449"/>
                </a:cubicBezTo>
                <a:cubicBezTo>
                  <a:pt x="565" y="449"/>
                  <a:pt x="565" y="449"/>
                  <a:pt x="566" y="449"/>
                </a:cubicBezTo>
                <a:cubicBezTo>
                  <a:pt x="565" y="448"/>
                  <a:pt x="565" y="448"/>
                  <a:pt x="565" y="448"/>
                </a:cubicBezTo>
                <a:cubicBezTo>
                  <a:pt x="564" y="448"/>
                  <a:pt x="564" y="448"/>
                  <a:pt x="564" y="448"/>
                </a:cubicBezTo>
                <a:close/>
                <a:moveTo>
                  <a:pt x="593" y="448"/>
                </a:moveTo>
                <a:cubicBezTo>
                  <a:pt x="594" y="448"/>
                  <a:pt x="594" y="448"/>
                  <a:pt x="594" y="448"/>
                </a:cubicBezTo>
                <a:cubicBezTo>
                  <a:pt x="595" y="448"/>
                  <a:pt x="595" y="448"/>
                  <a:pt x="595" y="448"/>
                </a:cubicBezTo>
                <a:cubicBezTo>
                  <a:pt x="596" y="448"/>
                  <a:pt x="596" y="447"/>
                  <a:pt x="596" y="447"/>
                </a:cubicBezTo>
                <a:cubicBezTo>
                  <a:pt x="596" y="447"/>
                  <a:pt x="596" y="447"/>
                  <a:pt x="596" y="447"/>
                </a:cubicBezTo>
                <a:cubicBezTo>
                  <a:pt x="595" y="447"/>
                  <a:pt x="595" y="448"/>
                  <a:pt x="594" y="448"/>
                </a:cubicBezTo>
                <a:cubicBezTo>
                  <a:pt x="594" y="448"/>
                  <a:pt x="594" y="448"/>
                  <a:pt x="594" y="448"/>
                </a:cubicBezTo>
                <a:cubicBezTo>
                  <a:pt x="593" y="448"/>
                  <a:pt x="593" y="448"/>
                  <a:pt x="593" y="448"/>
                </a:cubicBezTo>
                <a:cubicBezTo>
                  <a:pt x="593" y="448"/>
                  <a:pt x="593" y="448"/>
                  <a:pt x="593" y="448"/>
                </a:cubicBezTo>
                <a:close/>
                <a:moveTo>
                  <a:pt x="570" y="449"/>
                </a:moveTo>
                <a:cubicBezTo>
                  <a:pt x="570" y="449"/>
                  <a:pt x="571" y="449"/>
                  <a:pt x="571" y="448"/>
                </a:cubicBezTo>
                <a:cubicBezTo>
                  <a:pt x="570" y="449"/>
                  <a:pt x="570" y="449"/>
                  <a:pt x="570" y="449"/>
                </a:cubicBezTo>
                <a:cubicBezTo>
                  <a:pt x="569" y="448"/>
                  <a:pt x="569" y="448"/>
                  <a:pt x="569" y="448"/>
                </a:cubicBezTo>
                <a:cubicBezTo>
                  <a:pt x="569" y="448"/>
                  <a:pt x="569" y="448"/>
                  <a:pt x="568" y="448"/>
                </a:cubicBezTo>
                <a:cubicBezTo>
                  <a:pt x="569" y="449"/>
                  <a:pt x="569" y="449"/>
                  <a:pt x="569" y="449"/>
                </a:cubicBezTo>
                <a:cubicBezTo>
                  <a:pt x="569" y="449"/>
                  <a:pt x="570" y="449"/>
                  <a:pt x="570" y="449"/>
                </a:cubicBezTo>
                <a:close/>
                <a:moveTo>
                  <a:pt x="530" y="517"/>
                </a:moveTo>
                <a:cubicBezTo>
                  <a:pt x="530" y="517"/>
                  <a:pt x="530" y="518"/>
                  <a:pt x="530" y="518"/>
                </a:cubicBezTo>
                <a:cubicBezTo>
                  <a:pt x="530" y="518"/>
                  <a:pt x="530" y="518"/>
                  <a:pt x="529" y="519"/>
                </a:cubicBezTo>
                <a:cubicBezTo>
                  <a:pt x="529" y="519"/>
                  <a:pt x="529" y="519"/>
                  <a:pt x="530" y="519"/>
                </a:cubicBezTo>
                <a:cubicBezTo>
                  <a:pt x="530" y="519"/>
                  <a:pt x="530" y="519"/>
                  <a:pt x="530" y="519"/>
                </a:cubicBezTo>
                <a:cubicBezTo>
                  <a:pt x="530" y="519"/>
                  <a:pt x="530" y="519"/>
                  <a:pt x="530" y="519"/>
                </a:cubicBezTo>
                <a:cubicBezTo>
                  <a:pt x="530" y="519"/>
                  <a:pt x="531" y="518"/>
                  <a:pt x="531" y="518"/>
                </a:cubicBezTo>
                <a:cubicBezTo>
                  <a:pt x="531" y="518"/>
                  <a:pt x="530" y="518"/>
                  <a:pt x="530" y="518"/>
                </a:cubicBezTo>
                <a:cubicBezTo>
                  <a:pt x="530" y="518"/>
                  <a:pt x="530" y="517"/>
                  <a:pt x="531" y="517"/>
                </a:cubicBezTo>
                <a:cubicBezTo>
                  <a:pt x="530" y="517"/>
                  <a:pt x="530" y="517"/>
                  <a:pt x="530" y="517"/>
                </a:cubicBezTo>
                <a:close/>
                <a:moveTo>
                  <a:pt x="620" y="675"/>
                </a:moveTo>
                <a:cubicBezTo>
                  <a:pt x="620" y="675"/>
                  <a:pt x="621" y="676"/>
                  <a:pt x="621" y="676"/>
                </a:cubicBezTo>
                <a:cubicBezTo>
                  <a:pt x="621" y="675"/>
                  <a:pt x="621" y="675"/>
                  <a:pt x="621" y="675"/>
                </a:cubicBezTo>
                <a:cubicBezTo>
                  <a:pt x="621" y="675"/>
                  <a:pt x="622" y="675"/>
                  <a:pt x="622" y="675"/>
                </a:cubicBezTo>
                <a:cubicBezTo>
                  <a:pt x="622" y="675"/>
                  <a:pt x="622" y="675"/>
                  <a:pt x="622" y="674"/>
                </a:cubicBezTo>
                <a:cubicBezTo>
                  <a:pt x="622" y="675"/>
                  <a:pt x="621" y="675"/>
                  <a:pt x="621" y="675"/>
                </a:cubicBezTo>
                <a:cubicBezTo>
                  <a:pt x="620" y="675"/>
                  <a:pt x="620" y="675"/>
                  <a:pt x="620" y="675"/>
                </a:cubicBezTo>
                <a:close/>
                <a:moveTo>
                  <a:pt x="628" y="696"/>
                </a:moveTo>
                <a:cubicBezTo>
                  <a:pt x="628" y="695"/>
                  <a:pt x="627" y="695"/>
                  <a:pt x="627" y="695"/>
                </a:cubicBezTo>
                <a:cubicBezTo>
                  <a:pt x="627" y="695"/>
                  <a:pt x="627" y="695"/>
                  <a:pt x="626" y="695"/>
                </a:cubicBezTo>
                <a:cubicBezTo>
                  <a:pt x="626" y="695"/>
                  <a:pt x="626" y="695"/>
                  <a:pt x="626" y="695"/>
                </a:cubicBezTo>
                <a:cubicBezTo>
                  <a:pt x="626" y="695"/>
                  <a:pt x="626" y="695"/>
                  <a:pt x="626" y="695"/>
                </a:cubicBezTo>
                <a:cubicBezTo>
                  <a:pt x="626" y="696"/>
                  <a:pt x="626" y="696"/>
                  <a:pt x="626" y="696"/>
                </a:cubicBezTo>
                <a:cubicBezTo>
                  <a:pt x="626" y="697"/>
                  <a:pt x="626" y="697"/>
                  <a:pt x="626" y="697"/>
                </a:cubicBezTo>
                <a:cubicBezTo>
                  <a:pt x="627" y="697"/>
                  <a:pt x="627" y="697"/>
                  <a:pt x="627" y="697"/>
                </a:cubicBezTo>
                <a:cubicBezTo>
                  <a:pt x="627" y="697"/>
                  <a:pt x="627" y="696"/>
                  <a:pt x="627" y="696"/>
                </a:cubicBezTo>
                <a:cubicBezTo>
                  <a:pt x="627" y="696"/>
                  <a:pt x="628" y="696"/>
                  <a:pt x="628" y="696"/>
                </a:cubicBezTo>
                <a:close/>
                <a:moveTo>
                  <a:pt x="625" y="693"/>
                </a:moveTo>
                <a:cubicBezTo>
                  <a:pt x="624" y="693"/>
                  <a:pt x="624" y="693"/>
                  <a:pt x="624" y="693"/>
                </a:cubicBezTo>
                <a:cubicBezTo>
                  <a:pt x="624" y="693"/>
                  <a:pt x="624" y="694"/>
                  <a:pt x="624" y="694"/>
                </a:cubicBezTo>
                <a:cubicBezTo>
                  <a:pt x="625" y="694"/>
                  <a:pt x="625" y="694"/>
                  <a:pt x="625" y="694"/>
                </a:cubicBezTo>
                <a:cubicBezTo>
                  <a:pt x="625" y="694"/>
                  <a:pt x="625" y="694"/>
                  <a:pt x="625" y="695"/>
                </a:cubicBezTo>
                <a:cubicBezTo>
                  <a:pt x="625" y="694"/>
                  <a:pt x="625" y="694"/>
                  <a:pt x="626" y="694"/>
                </a:cubicBezTo>
                <a:cubicBezTo>
                  <a:pt x="626" y="694"/>
                  <a:pt x="626" y="694"/>
                  <a:pt x="626" y="694"/>
                </a:cubicBezTo>
                <a:cubicBezTo>
                  <a:pt x="625" y="694"/>
                  <a:pt x="625" y="693"/>
                  <a:pt x="625" y="693"/>
                </a:cubicBezTo>
                <a:cubicBezTo>
                  <a:pt x="625" y="693"/>
                  <a:pt x="625" y="693"/>
                  <a:pt x="625" y="693"/>
                </a:cubicBezTo>
                <a:close/>
                <a:moveTo>
                  <a:pt x="627" y="699"/>
                </a:moveTo>
                <a:cubicBezTo>
                  <a:pt x="627" y="699"/>
                  <a:pt x="627" y="699"/>
                  <a:pt x="628" y="699"/>
                </a:cubicBezTo>
                <a:cubicBezTo>
                  <a:pt x="628" y="699"/>
                  <a:pt x="628" y="699"/>
                  <a:pt x="628" y="700"/>
                </a:cubicBezTo>
                <a:cubicBezTo>
                  <a:pt x="628" y="700"/>
                  <a:pt x="628" y="700"/>
                  <a:pt x="628" y="700"/>
                </a:cubicBezTo>
                <a:cubicBezTo>
                  <a:pt x="628" y="700"/>
                  <a:pt x="628" y="700"/>
                  <a:pt x="629" y="699"/>
                </a:cubicBezTo>
                <a:cubicBezTo>
                  <a:pt x="629" y="699"/>
                  <a:pt x="629" y="699"/>
                  <a:pt x="629" y="699"/>
                </a:cubicBezTo>
                <a:cubicBezTo>
                  <a:pt x="628" y="699"/>
                  <a:pt x="628" y="698"/>
                  <a:pt x="628" y="698"/>
                </a:cubicBezTo>
                <a:cubicBezTo>
                  <a:pt x="628" y="698"/>
                  <a:pt x="627" y="699"/>
                  <a:pt x="627" y="699"/>
                </a:cubicBezTo>
                <a:close/>
                <a:moveTo>
                  <a:pt x="619" y="673"/>
                </a:moveTo>
                <a:cubicBezTo>
                  <a:pt x="619" y="673"/>
                  <a:pt x="619" y="673"/>
                  <a:pt x="619" y="673"/>
                </a:cubicBezTo>
                <a:cubicBezTo>
                  <a:pt x="619" y="673"/>
                  <a:pt x="620" y="673"/>
                  <a:pt x="620" y="673"/>
                </a:cubicBezTo>
                <a:cubicBezTo>
                  <a:pt x="620" y="673"/>
                  <a:pt x="620" y="673"/>
                  <a:pt x="620" y="673"/>
                </a:cubicBezTo>
                <a:cubicBezTo>
                  <a:pt x="620" y="673"/>
                  <a:pt x="620" y="673"/>
                  <a:pt x="620" y="673"/>
                </a:cubicBezTo>
                <a:cubicBezTo>
                  <a:pt x="620" y="673"/>
                  <a:pt x="620" y="672"/>
                  <a:pt x="620" y="672"/>
                </a:cubicBezTo>
                <a:cubicBezTo>
                  <a:pt x="620" y="672"/>
                  <a:pt x="619" y="672"/>
                  <a:pt x="619" y="672"/>
                </a:cubicBezTo>
                <a:cubicBezTo>
                  <a:pt x="619" y="673"/>
                  <a:pt x="619" y="673"/>
                  <a:pt x="619" y="673"/>
                </a:cubicBezTo>
                <a:close/>
                <a:moveTo>
                  <a:pt x="623" y="674"/>
                </a:moveTo>
                <a:cubicBezTo>
                  <a:pt x="623" y="674"/>
                  <a:pt x="623" y="674"/>
                  <a:pt x="623" y="673"/>
                </a:cubicBezTo>
                <a:cubicBezTo>
                  <a:pt x="623" y="674"/>
                  <a:pt x="623" y="674"/>
                  <a:pt x="622" y="674"/>
                </a:cubicBezTo>
                <a:cubicBezTo>
                  <a:pt x="623" y="674"/>
                  <a:pt x="623" y="674"/>
                  <a:pt x="623" y="674"/>
                </a:cubicBezTo>
                <a:close/>
                <a:moveTo>
                  <a:pt x="621" y="679"/>
                </a:moveTo>
                <a:cubicBezTo>
                  <a:pt x="622" y="679"/>
                  <a:pt x="622" y="680"/>
                  <a:pt x="622" y="680"/>
                </a:cubicBezTo>
                <a:cubicBezTo>
                  <a:pt x="623" y="680"/>
                  <a:pt x="623" y="679"/>
                  <a:pt x="623" y="679"/>
                </a:cubicBezTo>
                <a:cubicBezTo>
                  <a:pt x="623" y="679"/>
                  <a:pt x="623" y="679"/>
                  <a:pt x="623" y="679"/>
                </a:cubicBezTo>
                <a:cubicBezTo>
                  <a:pt x="623" y="679"/>
                  <a:pt x="622" y="679"/>
                  <a:pt x="622" y="679"/>
                </a:cubicBezTo>
                <a:cubicBezTo>
                  <a:pt x="622" y="679"/>
                  <a:pt x="622" y="679"/>
                  <a:pt x="622" y="679"/>
                </a:cubicBezTo>
                <a:cubicBezTo>
                  <a:pt x="622" y="679"/>
                  <a:pt x="622" y="679"/>
                  <a:pt x="621" y="679"/>
                </a:cubicBezTo>
                <a:close/>
                <a:moveTo>
                  <a:pt x="631" y="704"/>
                </a:moveTo>
                <a:cubicBezTo>
                  <a:pt x="631" y="704"/>
                  <a:pt x="631" y="703"/>
                  <a:pt x="631" y="703"/>
                </a:cubicBezTo>
                <a:cubicBezTo>
                  <a:pt x="631" y="703"/>
                  <a:pt x="631" y="703"/>
                  <a:pt x="631" y="703"/>
                </a:cubicBezTo>
                <a:cubicBezTo>
                  <a:pt x="631" y="703"/>
                  <a:pt x="631" y="703"/>
                  <a:pt x="630" y="703"/>
                </a:cubicBezTo>
                <a:cubicBezTo>
                  <a:pt x="630" y="703"/>
                  <a:pt x="631" y="703"/>
                  <a:pt x="631" y="704"/>
                </a:cubicBezTo>
                <a:close/>
                <a:moveTo>
                  <a:pt x="620" y="672"/>
                </a:move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lose/>
                <a:moveTo>
                  <a:pt x="634" y="703"/>
                </a:moveTo>
                <a:cubicBezTo>
                  <a:pt x="635" y="703"/>
                  <a:pt x="635" y="704"/>
                  <a:pt x="635" y="704"/>
                </a:cubicBezTo>
                <a:cubicBezTo>
                  <a:pt x="635" y="704"/>
                  <a:pt x="635" y="703"/>
                  <a:pt x="635" y="703"/>
                </a:cubicBezTo>
                <a:cubicBezTo>
                  <a:pt x="635" y="703"/>
                  <a:pt x="634" y="702"/>
                  <a:pt x="634" y="702"/>
                </a:cubicBezTo>
                <a:cubicBezTo>
                  <a:pt x="634" y="702"/>
                  <a:pt x="634" y="702"/>
                  <a:pt x="634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3"/>
                  <a:pt x="633" y="703"/>
                  <a:pt x="633" y="703"/>
                </a:cubicBezTo>
                <a:cubicBezTo>
                  <a:pt x="634" y="703"/>
                  <a:pt x="634" y="703"/>
                  <a:pt x="634" y="703"/>
                </a:cubicBezTo>
                <a:close/>
                <a:moveTo>
                  <a:pt x="621" y="676"/>
                </a:moveTo>
                <a:cubicBezTo>
                  <a:pt x="621" y="676"/>
                  <a:pt x="622" y="676"/>
                  <a:pt x="622" y="677"/>
                </a:cubicBezTo>
                <a:cubicBezTo>
                  <a:pt x="622" y="676"/>
                  <a:pt x="622" y="676"/>
                  <a:pt x="623" y="676"/>
                </a:cubicBezTo>
                <a:cubicBezTo>
                  <a:pt x="623" y="676"/>
                  <a:pt x="623" y="676"/>
                  <a:pt x="623" y="676"/>
                </a:cubicBezTo>
                <a:cubicBezTo>
                  <a:pt x="623" y="676"/>
                  <a:pt x="622" y="676"/>
                  <a:pt x="622" y="676"/>
                </a:cubicBezTo>
                <a:cubicBezTo>
                  <a:pt x="622" y="676"/>
                  <a:pt x="622" y="676"/>
                  <a:pt x="621" y="676"/>
                </a:cubicBezTo>
                <a:close/>
                <a:moveTo>
                  <a:pt x="632" y="698"/>
                </a:moveTo>
                <a:cubicBezTo>
                  <a:pt x="632" y="698"/>
                  <a:pt x="632" y="698"/>
                  <a:pt x="631" y="698"/>
                </a:cubicBezTo>
                <a:cubicBezTo>
                  <a:pt x="631" y="698"/>
                  <a:pt x="631" y="697"/>
                  <a:pt x="631" y="697"/>
                </a:cubicBezTo>
                <a:cubicBezTo>
                  <a:pt x="631" y="697"/>
                  <a:pt x="631" y="696"/>
                  <a:pt x="631" y="696"/>
                </a:cubicBezTo>
                <a:cubicBezTo>
                  <a:pt x="631" y="696"/>
                  <a:pt x="631" y="696"/>
                  <a:pt x="630" y="695"/>
                </a:cubicBezTo>
                <a:cubicBezTo>
                  <a:pt x="630" y="695"/>
                  <a:pt x="630" y="694"/>
                  <a:pt x="630" y="694"/>
                </a:cubicBezTo>
                <a:cubicBezTo>
                  <a:pt x="629" y="694"/>
                  <a:pt x="629" y="694"/>
                  <a:pt x="629" y="694"/>
                </a:cubicBezTo>
                <a:cubicBezTo>
                  <a:pt x="629" y="694"/>
                  <a:pt x="628" y="694"/>
                  <a:pt x="628" y="694"/>
                </a:cubicBezTo>
                <a:cubicBezTo>
                  <a:pt x="628" y="694"/>
                  <a:pt x="627" y="694"/>
                  <a:pt x="627" y="694"/>
                </a:cubicBezTo>
                <a:cubicBezTo>
                  <a:pt x="627" y="695"/>
                  <a:pt x="628" y="695"/>
                  <a:pt x="628" y="695"/>
                </a:cubicBezTo>
                <a:cubicBezTo>
                  <a:pt x="628" y="695"/>
                  <a:pt x="628" y="695"/>
                  <a:pt x="628" y="695"/>
                </a:cubicBezTo>
                <a:cubicBezTo>
                  <a:pt x="628" y="696"/>
                  <a:pt x="628" y="696"/>
                  <a:pt x="628" y="696"/>
                </a:cubicBezTo>
                <a:cubicBezTo>
                  <a:pt x="628" y="696"/>
                  <a:pt x="628" y="696"/>
                  <a:pt x="628" y="697"/>
                </a:cubicBezTo>
                <a:cubicBezTo>
                  <a:pt x="628" y="696"/>
                  <a:pt x="629" y="696"/>
                  <a:pt x="629" y="696"/>
                </a:cubicBezTo>
                <a:cubicBezTo>
                  <a:pt x="629" y="696"/>
                  <a:pt x="629" y="696"/>
                  <a:pt x="629" y="696"/>
                </a:cubicBezTo>
                <a:cubicBezTo>
                  <a:pt x="629" y="696"/>
                  <a:pt x="629" y="696"/>
                  <a:pt x="629" y="696"/>
                </a:cubicBezTo>
                <a:cubicBezTo>
                  <a:pt x="629" y="697"/>
                  <a:pt x="629" y="697"/>
                  <a:pt x="628" y="697"/>
                </a:cubicBezTo>
                <a:cubicBezTo>
                  <a:pt x="628" y="697"/>
                  <a:pt x="628" y="697"/>
                  <a:pt x="628" y="697"/>
                </a:cubicBezTo>
                <a:cubicBezTo>
                  <a:pt x="628" y="698"/>
                  <a:pt x="628" y="698"/>
                  <a:pt x="629" y="699"/>
                </a:cubicBezTo>
                <a:cubicBezTo>
                  <a:pt x="629" y="699"/>
                  <a:pt x="629" y="699"/>
                  <a:pt x="629" y="699"/>
                </a:cubicBezTo>
                <a:cubicBezTo>
                  <a:pt x="630" y="699"/>
                  <a:pt x="630" y="700"/>
                  <a:pt x="630" y="700"/>
                </a:cubicBezTo>
                <a:cubicBezTo>
                  <a:pt x="630" y="700"/>
                  <a:pt x="630" y="700"/>
                  <a:pt x="631" y="699"/>
                </a:cubicBezTo>
                <a:cubicBezTo>
                  <a:pt x="631" y="699"/>
                  <a:pt x="631" y="699"/>
                  <a:pt x="631" y="699"/>
                </a:cubicBezTo>
                <a:cubicBezTo>
                  <a:pt x="631" y="699"/>
                  <a:pt x="631" y="699"/>
                  <a:pt x="631" y="699"/>
                </a:cubicBezTo>
                <a:cubicBezTo>
                  <a:pt x="631" y="699"/>
                  <a:pt x="631" y="700"/>
                  <a:pt x="631" y="700"/>
                </a:cubicBezTo>
                <a:cubicBezTo>
                  <a:pt x="631" y="700"/>
                  <a:pt x="632" y="700"/>
                  <a:pt x="632" y="700"/>
                </a:cubicBezTo>
                <a:cubicBezTo>
                  <a:pt x="632" y="700"/>
                  <a:pt x="632" y="700"/>
                  <a:pt x="632" y="700"/>
                </a:cubicBezTo>
                <a:cubicBezTo>
                  <a:pt x="632" y="699"/>
                  <a:pt x="632" y="699"/>
                  <a:pt x="632" y="698"/>
                </a:cubicBezTo>
                <a:close/>
                <a:moveTo>
                  <a:pt x="634" y="705"/>
                </a:moveTo>
                <a:cubicBezTo>
                  <a:pt x="635" y="705"/>
                  <a:pt x="635" y="705"/>
                  <a:pt x="635" y="705"/>
                </a:cubicBezTo>
                <a:cubicBezTo>
                  <a:pt x="635" y="705"/>
                  <a:pt x="635" y="705"/>
                  <a:pt x="635" y="705"/>
                </a:cubicBezTo>
                <a:cubicBezTo>
                  <a:pt x="635" y="704"/>
                  <a:pt x="635" y="704"/>
                  <a:pt x="634" y="704"/>
                </a:cubicBezTo>
                <a:cubicBezTo>
                  <a:pt x="634" y="704"/>
                  <a:pt x="634" y="704"/>
                  <a:pt x="633" y="703"/>
                </a:cubicBezTo>
                <a:cubicBezTo>
                  <a:pt x="633" y="703"/>
                  <a:pt x="633" y="704"/>
                  <a:pt x="633" y="704"/>
                </a:cubicBezTo>
                <a:cubicBezTo>
                  <a:pt x="633" y="704"/>
                  <a:pt x="633" y="704"/>
                  <a:pt x="633" y="704"/>
                </a:cubicBezTo>
                <a:cubicBezTo>
                  <a:pt x="634" y="705"/>
                  <a:pt x="634" y="705"/>
                  <a:pt x="634" y="705"/>
                </a:cubicBezTo>
                <a:close/>
                <a:moveTo>
                  <a:pt x="624" y="678"/>
                </a:moveTo>
                <a:cubicBezTo>
                  <a:pt x="624" y="678"/>
                  <a:pt x="623" y="678"/>
                  <a:pt x="623" y="679"/>
                </a:cubicBezTo>
                <a:cubicBezTo>
                  <a:pt x="623" y="679"/>
                  <a:pt x="623" y="679"/>
                  <a:pt x="624" y="679"/>
                </a:cubicBezTo>
                <a:cubicBezTo>
                  <a:pt x="624" y="679"/>
                  <a:pt x="624" y="679"/>
                  <a:pt x="624" y="678"/>
                </a:cubicBezTo>
                <a:close/>
                <a:moveTo>
                  <a:pt x="621" y="679"/>
                </a:moveTo>
                <a:cubicBezTo>
                  <a:pt x="621" y="680"/>
                  <a:pt x="621" y="680"/>
                  <a:pt x="621" y="680"/>
                </a:cubicBezTo>
                <a:cubicBezTo>
                  <a:pt x="621" y="680"/>
                  <a:pt x="621" y="680"/>
                  <a:pt x="621" y="680"/>
                </a:cubicBezTo>
                <a:cubicBezTo>
                  <a:pt x="621" y="680"/>
                  <a:pt x="621" y="679"/>
                  <a:pt x="621" y="679"/>
                </a:cubicBezTo>
                <a:cubicBezTo>
                  <a:pt x="621" y="679"/>
                  <a:pt x="621" y="679"/>
                  <a:pt x="621" y="679"/>
                </a:cubicBezTo>
                <a:close/>
                <a:moveTo>
                  <a:pt x="620" y="675"/>
                </a:moveTo>
                <a:cubicBezTo>
                  <a:pt x="620" y="675"/>
                  <a:pt x="620" y="674"/>
                  <a:pt x="620" y="674"/>
                </a:cubicBezTo>
                <a:cubicBezTo>
                  <a:pt x="620" y="674"/>
                  <a:pt x="621" y="674"/>
                  <a:pt x="621" y="674"/>
                </a:cubicBezTo>
                <a:cubicBezTo>
                  <a:pt x="621" y="674"/>
                  <a:pt x="620" y="674"/>
                  <a:pt x="620" y="674"/>
                </a:cubicBezTo>
                <a:cubicBezTo>
                  <a:pt x="620" y="674"/>
                  <a:pt x="620" y="674"/>
                  <a:pt x="619" y="674"/>
                </a:cubicBezTo>
                <a:cubicBezTo>
                  <a:pt x="619" y="674"/>
                  <a:pt x="620" y="674"/>
                  <a:pt x="620" y="674"/>
                </a:cubicBezTo>
                <a:cubicBezTo>
                  <a:pt x="620" y="674"/>
                  <a:pt x="620" y="674"/>
                  <a:pt x="620" y="675"/>
                </a:cubicBezTo>
                <a:close/>
                <a:moveTo>
                  <a:pt x="618" y="670"/>
                </a:moveTo>
                <a:cubicBezTo>
                  <a:pt x="618" y="670"/>
                  <a:pt x="618" y="670"/>
                  <a:pt x="617" y="670"/>
                </a:cubicBezTo>
                <a:cubicBezTo>
                  <a:pt x="617" y="670"/>
                  <a:pt x="617" y="670"/>
                  <a:pt x="617" y="670"/>
                </a:cubicBezTo>
                <a:cubicBezTo>
                  <a:pt x="617" y="670"/>
                  <a:pt x="617" y="671"/>
                  <a:pt x="617" y="671"/>
                </a:cubicBezTo>
                <a:cubicBezTo>
                  <a:pt x="617" y="671"/>
                  <a:pt x="617" y="671"/>
                  <a:pt x="617" y="671"/>
                </a:cubicBezTo>
                <a:cubicBezTo>
                  <a:pt x="617" y="671"/>
                  <a:pt x="618" y="671"/>
                  <a:pt x="618" y="670"/>
                </a:cubicBezTo>
                <a:close/>
                <a:moveTo>
                  <a:pt x="619" y="670"/>
                </a:moveTo>
                <a:cubicBezTo>
                  <a:pt x="619" y="670"/>
                  <a:pt x="619" y="671"/>
                  <a:pt x="619" y="671"/>
                </a:cubicBezTo>
                <a:cubicBezTo>
                  <a:pt x="619" y="671"/>
                  <a:pt x="620" y="671"/>
                  <a:pt x="620" y="671"/>
                </a:cubicBezTo>
                <a:cubicBezTo>
                  <a:pt x="620" y="671"/>
                  <a:pt x="620" y="671"/>
                  <a:pt x="621" y="670"/>
                </a:cubicBezTo>
                <a:cubicBezTo>
                  <a:pt x="620" y="670"/>
                  <a:pt x="620" y="670"/>
                  <a:pt x="619" y="670"/>
                </a:cubicBezTo>
                <a:close/>
                <a:moveTo>
                  <a:pt x="617" y="676"/>
                </a:moveTo>
                <a:cubicBezTo>
                  <a:pt x="617" y="676"/>
                  <a:pt x="617" y="676"/>
                  <a:pt x="617" y="676"/>
                </a:cubicBezTo>
                <a:cubicBezTo>
                  <a:pt x="618" y="676"/>
                  <a:pt x="618" y="676"/>
                  <a:pt x="618" y="676"/>
                </a:cubicBezTo>
                <a:cubicBezTo>
                  <a:pt x="618" y="676"/>
                  <a:pt x="618" y="676"/>
                  <a:pt x="618" y="676"/>
                </a:cubicBezTo>
                <a:cubicBezTo>
                  <a:pt x="618" y="676"/>
                  <a:pt x="618" y="676"/>
                  <a:pt x="618" y="675"/>
                </a:cubicBezTo>
                <a:cubicBezTo>
                  <a:pt x="618" y="675"/>
                  <a:pt x="617" y="676"/>
                  <a:pt x="617" y="676"/>
                </a:cubicBezTo>
                <a:close/>
                <a:moveTo>
                  <a:pt x="618" y="675"/>
                </a:moveTo>
                <a:cubicBezTo>
                  <a:pt x="619" y="675"/>
                  <a:pt x="619" y="675"/>
                  <a:pt x="619" y="675"/>
                </a:cubicBezTo>
                <a:cubicBezTo>
                  <a:pt x="619" y="675"/>
                  <a:pt x="619" y="675"/>
                  <a:pt x="619" y="675"/>
                </a:cubicBezTo>
                <a:cubicBezTo>
                  <a:pt x="619" y="675"/>
                  <a:pt x="619" y="674"/>
                  <a:pt x="619" y="674"/>
                </a:cubicBezTo>
                <a:cubicBezTo>
                  <a:pt x="619" y="675"/>
                  <a:pt x="619" y="675"/>
                  <a:pt x="618" y="675"/>
                </a:cubicBezTo>
                <a:close/>
                <a:moveTo>
                  <a:pt x="622" y="670"/>
                </a:moveTo>
                <a:cubicBezTo>
                  <a:pt x="622" y="670"/>
                  <a:pt x="621" y="670"/>
                  <a:pt x="621" y="670"/>
                </a:cubicBezTo>
                <a:cubicBezTo>
                  <a:pt x="621" y="671"/>
                  <a:pt x="621" y="671"/>
                  <a:pt x="621" y="671"/>
                </a:cubicBezTo>
                <a:cubicBezTo>
                  <a:pt x="621" y="671"/>
                  <a:pt x="621" y="671"/>
                  <a:pt x="622" y="671"/>
                </a:cubicBezTo>
                <a:cubicBezTo>
                  <a:pt x="622" y="671"/>
                  <a:pt x="622" y="671"/>
                  <a:pt x="622" y="671"/>
                </a:cubicBezTo>
                <a:cubicBezTo>
                  <a:pt x="622" y="671"/>
                  <a:pt x="622" y="671"/>
                  <a:pt x="622" y="671"/>
                </a:cubicBezTo>
                <a:cubicBezTo>
                  <a:pt x="622" y="671"/>
                  <a:pt x="622" y="671"/>
                  <a:pt x="622" y="670"/>
                </a:cubicBezTo>
                <a:close/>
                <a:moveTo>
                  <a:pt x="622" y="674"/>
                </a:moveTo>
                <a:cubicBezTo>
                  <a:pt x="622" y="674"/>
                  <a:pt x="622" y="673"/>
                  <a:pt x="622" y="673"/>
                </a:cubicBezTo>
                <a:cubicBezTo>
                  <a:pt x="622" y="673"/>
                  <a:pt x="621" y="673"/>
                  <a:pt x="621" y="673"/>
                </a:cubicBezTo>
                <a:cubicBezTo>
                  <a:pt x="621" y="673"/>
                  <a:pt x="622" y="674"/>
                  <a:pt x="622" y="674"/>
                </a:cubicBezTo>
                <a:close/>
                <a:moveTo>
                  <a:pt x="623" y="678"/>
                </a:moveTo>
                <a:cubicBezTo>
                  <a:pt x="622" y="678"/>
                  <a:pt x="622" y="678"/>
                  <a:pt x="622" y="678"/>
                </a:cubicBezTo>
                <a:cubicBezTo>
                  <a:pt x="622" y="678"/>
                  <a:pt x="622" y="678"/>
                  <a:pt x="623" y="678"/>
                </a:cubicBezTo>
                <a:cubicBezTo>
                  <a:pt x="623" y="678"/>
                  <a:pt x="623" y="678"/>
                  <a:pt x="623" y="678"/>
                </a:cubicBezTo>
                <a:close/>
                <a:moveTo>
                  <a:pt x="628" y="693"/>
                </a:moveTo>
                <a:cubicBezTo>
                  <a:pt x="628" y="693"/>
                  <a:pt x="628" y="693"/>
                  <a:pt x="628" y="693"/>
                </a:cubicBezTo>
                <a:cubicBezTo>
                  <a:pt x="629" y="693"/>
                  <a:pt x="629" y="693"/>
                  <a:pt x="629" y="693"/>
                </a:cubicBezTo>
                <a:cubicBezTo>
                  <a:pt x="629" y="693"/>
                  <a:pt x="629" y="692"/>
                  <a:pt x="628" y="692"/>
                </a:cubicBezTo>
                <a:cubicBezTo>
                  <a:pt x="628" y="692"/>
                  <a:pt x="628" y="692"/>
                  <a:pt x="628" y="692"/>
                </a:cubicBezTo>
                <a:cubicBezTo>
                  <a:pt x="628" y="691"/>
                  <a:pt x="628" y="691"/>
                  <a:pt x="627" y="691"/>
                </a:cubicBezTo>
                <a:cubicBezTo>
                  <a:pt x="627" y="691"/>
                  <a:pt x="627" y="691"/>
                  <a:pt x="627" y="691"/>
                </a:cubicBezTo>
                <a:cubicBezTo>
                  <a:pt x="626" y="690"/>
                  <a:pt x="626" y="690"/>
                  <a:pt x="626" y="690"/>
                </a:cubicBezTo>
                <a:cubicBezTo>
                  <a:pt x="626" y="690"/>
                  <a:pt x="626" y="690"/>
                  <a:pt x="626" y="690"/>
                </a:cubicBezTo>
                <a:cubicBezTo>
                  <a:pt x="625" y="690"/>
                  <a:pt x="625" y="690"/>
                  <a:pt x="625" y="690"/>
                </a:cubicBezTo>
                <a:cubicBezTo>
                  <a:pt x="625" y="690"/>
                  <a:pt x="625" y="691"/>
                  <a:pt x="625" y="691"/>
                </a:cubicBezTo>
                <a:cubicBezTo>
                  <a:pt x="625" y="691"/>
                  <a:pt x="625" y="691"/>
                  <a:pt x="626" y="691"/>
                </a:cubicBezTo>
                <a:cubicBezTo>
                  <a:pt x="626" y="691"/>
                  <a:pt x="627" y="692"/>
                  <a:pt x="627" y="692"/>
                </a:cubicBezTo>
                <a:cubicBezTo>
                  <a:pt x="627" y="692"/>
                  <a:pt x="627" y="692"/>
                  <a:pt x="627" y="692"/>
                </a:cubicBezTo>
                <a:cubicBezTo>
                  <a:pt x="627" y="692"/>
                  <a:pt x="627" y="692"/>
                  <a:pt x="628" y="692"/>
                </a:cubicBezTo>
                <a:cubicBezTo>
                  <a:pt x="627" y="692"/>
                  <a:pt x="627" y="692"/>
                  <a:pt x="627" y="693"/>
                </a:cubicBezTo>
                <a:cubicBezTo>
                  <a:pt x="627" y="693"/>
                  <a:pt x="627" y="693"/>
                  <a:pt x="628" y="693"/>
                </a:cubicBezTo>
                <a:close/>
                <a:moveTo>
                  <a:pt x="626" y="694"/>
                </a:moveTo>
                <a:cubicBezTo>
                  <a:pt x="626" y="694"/>
                  <a:pt x="627" y="694"/>
                  <a:pt x="627" y="694"/>
                </a:cubicBezTo>
                <a:cubicBezTo>
                  <a:pt x="627" y="694"/>
                  <a:pt x="627" y="694"/>
                  <a:pt x="627" y="694"/>
                </a:cubicBezTo>
                <a:cubicBezTo>
                  <a:pt x="627" y="694"/>
                  <a:pt x="627" y="693"/>
                  <a:pt x="627" y="693"/>
                </a:cubicBezTo>
                <a:cubicBezTo>
                  <a:pt x="627" y="693"/>
                  <a:pt x="626" y="693"/>
                  <a:pt x="626" y="692"/>
                </a:cubicBezTo>
                <a:cubicBezTo>
                  <a:pt x="626" y="692"/>
                  <a:pt x="625" y="692"/>
                  <a:pt x="625" y="691"/>
                </a:cubicBezTo>
                <a:cubicBezTo>
                  <a:pt x="624" y="691"/>
                  <a:pt x="624" y="691"/>
                  <a:pt x="624" y="691"/>
                </a:cubicBezTo>
                <a:cubicBezTo>
                  <a:pt x="624" y="691"/>
                  <a:pt x="624" y="691"/>
                  <a:pt x="624" y="691"/>
                </a:cubicBezTo>
                <a:cubicBezTo>
                  <a:pt x="624" y="692"/>
                  <a:pt x="624" y="692"/>
                  <a:pt x="624" y="692"/>
                </a:cubicBezTo>
                <a:cubicBezTo>
                  <a:pt x="624" y="692"/>
                  <a:pt x="624" y="692"/>
                  <a:pt x="624" y="693"/>
                </a:cubicBezTo>
                <a:cubicBezTo>
                  <a:pt x="624" y="693"/>
                  <a:pt x="625" y="693"/>
                  <a:pt x="625" y="693"/>
                </a:cubicBezTo>
                <a:cubicBezTo>
                  <a:pt x="625" y="693"/>
                  <a:pt x="625" y="693"/>
                  <a:pt x="626" y="693"/>
                </a:cubicBezTo>
                <a:cubicBezTo>
                  <a:pt x="626" y="693"/>
                  <a:pt x="626" y="693"/>
                  <a:pt x="626" y="693"/>
                </a:cubicBezTo>
                <a:cubicBezTo>
                  <a:pt x="626" y="694"/>
                  <a:pt x="626" y="694"/>
                  <a:pt x="626" y="694"/>
                </a:cubicBezTo>
                <a:close/>
                <a:moveTo>
                  <a:pt x="632" y="703"/>
                </a:moveTo>
                <a:cubicBezTo>
                  <a:pt x="632" y="703"/>
                  <a:pt x="632" y="703"/>
                  <a:pt x="632" y="703"/>
                </a:cubicBezTo>
                <a:cubicBezTo>
                  <a:pt x="632" y="704"/>
                  <a:pt x="632" y="704"/>
                  <a:pt x="632" y="704"/>
                </a:cubicBezTo>
                <a:cubicBezTo>
                  <a:pt x="632" y="704"/>
                  <a:pt x="632" y="704"/>
                  <a:pt x="633" y="704"/>
                </a:cubicBezTo>
                <a:cubicBezTo>
                  <a:pt x="632" y="704"/>
                  <a:pt x="632" y="703"/>
                  <a:pt x="632" y="703"/>
                </a:cubicBezTo>
                <a:cubicBezTo>
                  <a:pt x="632" y="703"/>
                  <a:pt x="632" y="703"/>
                  <a:pt x="632" y="703"/>
                </a:cubicBezTo>
                <a:close/>
                <a:moveTo>
                  <a:pt x="642" y="717"/>
                </a:moveTo>
                <a:cubicBezTo>
                  <a:pt x="643" y="717"/>
                  <a:pt x="643" y="717"/>
                  <a:pt x="643" y="717"/>
                </a:cubicBezTo>
                <a:cubicBezTo>
                  <a:pt x="643" y="717"/>
                  <a:pt x="643" y="717"/>
                  <a:pt x="643" y="717"/>
                </a:cubicBezTo>
                <a:cubicBezTo>
                  <a:pt x="642" y="717"/>
                  <a:pt x="642" y="717"/>
                  <a:pt x="642" y="717"/>
                </a:cubicBezTo>
                <a:close/>
                <a:moveTo>
                  <a:pt x="639" y="708"/>
                </a:moveTo>
                <a:cubicBezTo>
                  <a:pt x="639" y="707"/>
                  <a:pt x="638" y="707"/>
                  <a:pt x="638" y="707"/>
                </a:cubicBezTo>
                <a:cubicBezTo>
                  <a:pt x="638" y="707"/>
                  <a:pt x="638" y="707"/>
                  <a:pt x="638" y="707"/>
                </a:cubicBezTo>
                <a:cubicBezTo>
                  <a:pt x="638" y="707"/>
                  <a:pt x="638" y="708"/>
                  <a:pt x="638" y="708"/>
                </a:cubicBezTo>
                <a:cubicBezTo>
                  <a:pt x="638" y="708"/>
                  <a:pt x="638" y="708"/>
                  <a:pt x="639" y="708"/>
                </a:cubicBezTo>
                <a:cubicBezTo>
                  <a:pt x="639" y="709"/>
                  <a:pt x="639" y="709"/>
                  <a:pt x="640" y="709"/>
                </a:cubicBezTo>
                <a:cubicBezTo>
                  <a:pt x="640" y="709"/>
                  <a:pt x="640" y="709"/>
                  <a:pt x="640" y="709"/>
                </a:cubicBezTo>
                <a:cubicBezTo>
                  <a:pt x="640" y="708"/>
                  <a:pt x="640" y="708"/>
                  <a:pt x="640" y="708"/>
                </a:cubicBezTo>
                <a:cubicBezTo>
                  <a:pt x="639" y="708"/>
                  <a:pt x="639" y="708"/>
                  <a:pt x="639" y="708"/>
                </a:cubicBezTo>
                <a:close/>
                <a:moveTo>
                  <a:pt x="639" y="709"/>
                </a:moveTo>
                <a:cubicBezTo>
                  <a:pt x="639" y="710"/>
                  <a:pt x="640" y="710"/>
                  <a:pt x="640" y="710"/>
                </a:cubicBezTo>
                <a:cubicBezTo>
                  <a:pt x="640" y="710"/>
                  <a:pt x="640" y="710"/>
                  <a:pt x="640" y="710"/>
                </a:cubicBezTo>
                <a:cubicBezTo>
                  <a:pt x="640" y="710"/>
                  <a:pt x="640" y="709"/>
                  <a:pt x="640" y="709"/>
                </a:cubicBezTo>
                <a:cubicBezTo>
                  <a:pt x="640" y="709"/>
                  <a:pt x="639" y="709"/>
                  <a:pt x="639" y="709"/>
                </a:cubicBezTo>
                <a:cubicBezTo>
                  <a:pt x="639" y="709"/>
                  <a:pt x="639" y="709"/>
                  <a:pt x="639" y="709"/>
                </a:cubicBezTo>
                <a:close/>
                <a:moveTo>
                  <a:pt x="646" y="716"/>
                </a:moveTo>
                <a:cubicBezTo>
                  <a:pt x="646" y="716"/>
                  <a:pt x="646" y="716"/>
                  <a:pt x="647" y="716"/>
                </a:cubicBezTo>
                <a:cubicBezTo>
                  <a:pt x="647" y="715"/>
                  <a:pt x="647" y="715"/>
                  <a:pt x="647" y="715"/>
                </a:cubicBezTo>
                <a:cubicBezTo>
                  <a:pt x="647" y="715"/>
                  <a:pt x="647" y="715"/>
                  <a:pt x="646" y="715"/>
                </a:cubicBezTo>
                <a:cubicBezTo>
                  <a:pt x="646" y="715"/>
                  <a:pt x="646" y="715"/>
                  <a:pt x="646" y="715"/>
                </a:cubicBezTo>
                <a:cubicBezTo>
                  <a:pt x="646" y="715"/>
                  <a:pt x="645" y="715"/>
                  <a:pt x="645" y="715"/>
                </a:cubicBezTo>
                <a:cubicBezTo>
                  <a:pt x="645" y="715"/>
                  <a:pt x="645" y="715"/>
                  <a:pt x="645" y="715"/>
                </a:cubicBezTo>
                <a:cubicBezTo>
                  <a:pt x="644" y="715"/>
                  <a:pt x="644" y="715"/>
                  <a:pt x="644" y="715"/>
                </a:cubicBezTo>
                <a:cubicBezTo>
                  <a:pt x="644" y="715"/>
                  <a:pt x="643" y="715"/>
                  <a:pt x="643" y="715"/>
                </a:cubicBezTo>
                <a:cubicBezTo>
                  <a:pt x="643" y="715"/>
                  <a:pt x="643" y="715"/>
                  <a:pt x="642" y="714"/>
                </a:cubicBezTo>
                <a:cubicBezTo>
                  <a:pt x="642" y="715"/>
                  <a:pt x="642" y="715"/>
                  <a:pt x="642" y="715"/>
                </a:cubicBezTo>
                <a:cubicBezTo>
                  <a:pt x="641" y="715"/>
                  <a:pt x="641" y="714"/>
                  <a:pt x="641" y="714"/>
                </a:cubicBezTo>
                <a:cubicBezTo>
                  <a:pt x="641" y="714"/>
                  <a:pt x="640" y="714"/>
                  <a:pt x="640" y="714"/>
                </a:cubicBezTo>
                <a:cubicBezTo>
                  <a:pt x="640" y="714"/>
                  <a:pt x="640" y="714"/>
                  <a:pt x="639" y="714"/>
                </a:cubicBezTo>
                <a:cubicBezTo>
                  <a:pt x="639" y="714"/>
                  <a:pt x="639" y="714"/>
                  <a:pt x="639" y="714"/>
                </a:cubicBezTo>
                <a:cubicBezTo>
                  <a:pt x="639" y="714"/>
                  <a:pt x="640" y="714"/>
                  <a:pt x="640" y="715"/>
                </a:cubicBezTo>
                <a:cubicBezTo>
                  <a:pt x="640" y="715"/>
                  <a:pt x="640" y="715"/>
                  <a:pt x="640" y="715"/>
                </a:cubicBezTo>
                <a:cubicBezTo>
                  <a:pt x="641" y="715"/>
                  <a:pt x="641" y="715"/>
                  <a:pt x="641" y="715"/>
                </a:cubicBezTo>
                <a:cubicBezTo>
                  <a:pt x="642" y="715"/>
                  <a:pt x="642" y="715"/>
                  <a:pt x="643" y="715"/>
                </a:cubicBezTo>
                <a:cubicBezTo>
                  <a:pt x="643" y="716"/>
                  <a:pt x="643" y="716"/>
                  <a:pt x="643" y="716"/>
                </a:cubicBezTo>
                <a:cubicBezTo>
                  <a:pt x="643" y="716"/>
                  <a:pt x="643" y="716"/>
                  <a:pt x="644" y="716"/>
                </a:cubicBezTo>
                <a:cubicBezTo>
                  <a:pt x="644" y="716"/>
                  <a:pt x="644" y="716"/>
                  <a:pt x="644" y="716"/>
                </a:cubicBezTo>
                <a:cubicBezTo>
                  <a:pt x="644" y="716"/>
                  <a:pt x="645" y="716"/>
                  <a:pt x="645" y="716"/>
                </a:cubicBezTo>
                <a:cubicBezTo>
                  <a:pt x="645" y="716"/>
                  <a:pt x="646" y="716"/>
                  <a:pt x="646" y="716"/>
                </a:cubicBezTo>
                <a:close/>
                <a:moveTo>
                  <a:pt x="637" y="710"/>
                </a:moveTo>
                <a:cubicBezTo>
                  <a:pt x="637" y="710"/>
                  <a:pt x="637" y="711"/>
                  <a:pt x="638" y="711"/>
                </a:cubicBezTo>
                <a:cubicBezTo>
                  <a:pt x="637" y="711"/>
                  <a:pt x="637" y="711"/>
                  <a:pt x="637" y="711"/>
                </a:cubicBezTo>
                <a:cubicBezTo>
                  <a:pt x="637" y="711"/>
                  <a:pt x="637" y="711"/>
                  <a:pt x="637" y="711"/>
                </a:cubicBezTo>
                <a:cubicBezTo>
                  <a:pt x="638" y="711"/>
                  <a:pt x="638" y="711"/>
                  <a:pt x="638" y="711"/>
                </a:cubicBezTo>
                <a:cubicBezTo>
                  <a:pt x="638" y="711"/>
                  <a:pt x="638" y="710"/>
                  <a:pt x="638" y="710"/>
                </a:cubicBezTo>
                <a:cubicBezTo>
                  <a:pt x="638" y="710"/>
                  <a:pt x="638" y="710"/>
                  <a:pt x="638" y="710"/>
                </a:cubicBezTo>
                <a:cubicBezTo>
                  <a:pt x="638" y="710"/>
                  <a:pt x="637" y="710"/>
                  <a:pt x="637" y="710"/>
                </a:cubicBezTo>
                <a:close/>
                <a:moveTo>
                  <a:pt x="638" y="709"/>
                </a:moveTo>
                <a:cubicBezTo>
                  <a:pt x="638" y="709"/>
                  <a:pt x="638" y="709"/>
                  <a:pt x="638" y="709"/>
                </a:cubicBezTo>
                <a:cubicBezTo>
                  <a:pt x="638" y="709"/>
                  <a:pt x="638" y="709"/>
                  <a:pt x="639" y="709"/>
                </a:cubicBezTo>
                <a:cubicBezTo>
                  <a:pt x="639" y="709"/>
                  <a:pt x="639" y="709"/>
                  <a:pt x="639" y="709"/>
                </a:cubicBezTo>
                <a:cubicBezTo>
                  <a:pt x="639" y="709"/>
                  <a:pt x="639" y="709"/>
                  <a:pt x="638" y="709"/>
                </a:cubicBezTo>
                <a:cubicBezTo>
                  <a:pt x="638" y="709"/>
                  <a:pt x="638" y="709"/>
                  <a:pt x="638" y="709"/>
                </a:cubicBezTo>
                <a:close/>
                <a:moveTo>
                  <a:pt x="641" y="711"/>
                </a:moveTo>
                <a:cubicBezTo>
                  <a:pt x="641" y="711"/>
                  <a:pt x="641" y="711"/>
                  <a:pt x="641" y="711"/>
                </a:cubicBezTo>
                <a:cubicBezTo>
                  <a:pt x="641" y="711"/>
                  <a:pt x="641" y="711"/>
                  <a:pt x="641" y="710"/>
                </a:cubicBezTo>
                <a:cubicBezTo>
                  <a:pt x="640" y="710"/>
                  <a:pt x="640" y="710"/>
                  <a:pt x="639" y="710"/>
                </a:cubicBezTo>
                <a:cubicBezTo>
                  <a:pt x="639" y="710"/>
                  <a:pt x="639" y="710"/>
                  <a:pt x="639" y="710"/>
                </a:cubicBezTo>
                <a:cubicBezTo>
                  <a:pt x="639" y="710"/>
                  <a:pt x="639" y="710"/>
                  <a:pt x="639" y="710"/>
                </a:cubicBezTo>
                <a:cubicBezTo>
                  <a:pt x="640" y="711"/>
                  <a:pt x="640" y="711"/>
                  <a:pt x="641" y="711"/>
                </a:cubicBezTo>
                <a:close/>
                <a:moveTo>
                  <a:pt x="640" y="712"/>
                </a:moveTo>
                <a:cubicBezTo>
                  <a:pt x="640" y="712"/>
                  <a:pt x="640" y="712"/>
                  <a:pt x="640" y="712"/>
                </a:cubicBezTo>
                <a:cubicBezTo>
                  <a:pt x="640" y="712"/>
                  <a:pt x="640" y="712"/>
                  <a:pt x="641" y="712"/>
                </a:cubicBezTo>
                <a:cubicBezTo>
                  <a:pt x="641" y="712"/>
                  <a:pt x="641" y="712"/>
                  <a:pt x="641" y="712"/>
                </a:cubicBezTo>
                <a:cubicBezTo>
                  <a:pt x="641" y="712"/>
                  <a:pt x="641" y="712"/>
                  <a:pt x="641" y="712"/>
                </a:cubicBezTo>
                <a:cubicBezTo>
                  <a:pt x="642" y="712"/>
                  <a:pt x="642" y="713"/>
                  <a:pt x="642" y="713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2" y="712"/>
                  <a:pt x="642" y="711"/>
                  <a:pt x="642" y="711"/>
                </a:cubicBezTo>
                <a:cubicBezTo>
                  <a:pt x="641" y="711"/>
                  <a:pt x="641" y="711"/>
                  <a:pt x="641" y="712"/>
                </a:cubicBezTo>
                <a:cubicBezTo>
                  <a:pt x="641" y="712"/>
                  <a:pt x="640" y="712"/>
                  <a:pt x="640" y="712"/>
                </a:cubicBezTo>
                <a:cubicBezTo>
                  <a:pt x="640" y="712"/>
                  <a:pt x="640" y="712"/>
                  <a:pt x="640" y="712"/>
                </a:cubicBezTo>
                <a:close/>
                <a:moveTo>
                  <a:pt x="637" y="708"/>
                </a:moveTo>
                <a:cubicBezTo>
                  <a:pt x="637" y="708"/>
                  <a:pt x="637" y="708"/>
                  <a:pt x="637" y="708"/>
                </a:cubicBezTo>
                <a:cubicBezTo>
                  <a:pt x="637" y="708"/>
                  <a:pt x="637" y="708"/>
                  <a:pt x="636" y="708"/>
                </a:cubicBezTo>
                <a:cubicBezTo>
                  <a:pt x="636" y="708"/>
                  <a:pt x="636" y="708"/>
                  <a:pt x="636" y="708"/>
                </a:cubicBezTo>
                <a:cubicBezTo>
                  <a:pt x="636" y="708"/>
                  <a:pt x="636" y="708"/>
                  <a:pt x="636" y="709"/>
                </a:cubicBezTo>
                <a:cubicBezTo>
                  <a:pt x="636" y="709"/>
                  <a:pt x="636" y="709"/>
                  <a:pt x="636" y="709"/>
                </a:cubicBezTo>
                <a:cubicBezTo>
                  <a:pt x="636" y="709"/>
                  <a:pt x="636" y="709"/>
                  <a:pt x="637" y="709"/>
                </a:cubicBezTo>
                <a:cubicBezTo>
                  <a:pt x="637" y="709"/>
                  <a:pt x="637" y="709"/>
                  <a:pt x="637" y="710"/>
                </a:cubicBezTo>
                <a:cubicBezTo>
                  <a:pt x="637" y="710"/>
                  <a:pt x="637" y="710"/>
                  <a:pt x="637" y="710"/>
                </a:cubicBezTo>
                <a:cubicBezTo>
                  <a:pt x="637" y="709"/>
                  <a:pt x="637" y="709"/>
                  <a:pt x="637" y="709"/>
                </a:cubicBezTo>
                <a:cubicBezTo>
                  <a:pt x="637" y="709"/>
                  <a:pt x="637" y="709"/>
                  <a:pt x="637" y="708"/>
                </a:cubicBezTo>
                <a:close/>
                <a:moveTo>
                  <a:pt x="617" y="669"/>
                </a:moveTo>
                <a:cubicBezTo>
                  <a:pt x="617" y="669"/>
                  <a:pt x="618" y="669"/>
                  <a:pt x="618" y="669"/>
                </a:cubicBezTo>
                <a:cubicBezTo>
                  <a:pt x="619" y="669"/>
                  <a:pt x="619" y="668"/>
                  <a:pt x="619" y="668"/>
                </a:cubicBezTo>
                <a:cubicBezTo>
                  <a:pt x="619" y="668"/>
                  <a:pt x="619" y="668"/>
                  <a:pt x="619" y="668"/>
                </a:cubicBezTo>
                <a:cubicBezTo>
                  <a:pt x="619" y="668"/>
                  <a:pt x="619" y="668"/>
                  <a:pt x="619" y="667"/>
                </a:cubicBezTo>
                <a:cubicBezTo>
                  <a:pt x="619" y="667"/>
                  <a:pt x="619" y="667"/>
                  <a:pt x="619" y="667"/>
                </a:cubicBezTo>
                <a:cubicBezTo>
                  <a:pt x="620" y="667"/>
                  <a:pt x="620" y="667"/>
                  <a:pt x="620" y="667"/>
                </a:cubicBezTo>
                <a:cubicBezTo>
                  <a:pt x="620" y="667"/>
                  <a:pt x="620" y="667"/>
                  <a:pt x="620" y="667"/>
                </a:cubicBezTo>
                <a:cubicBezTo>
                  <a:pt x="620" y="666"/>
                  <a:pt x="620" y="666"/>
                  <a:pt x="619" y="666"/>
                </a:cubicBezTo>
                <a:cubicBezTo>
                  <a:pt x="619" y="666"/>
                  <a:pt x="619" y="666"/>
                  <a:pt x="620" y="666"/>
                </a:cubicBezTo>
                <a:cubicBezTo>
                  <a:pt x="619" y="665"/>
                  <a:pt x="619" y="665"/>
                  <a:pt x="618" y="665"/>
                </a:cubicBezTo>
                <a:cubicBezTo>
                  <a:pt x="618" y="665"/>
                  <a:pt x="618" y="665"/>
                  <a:pt x="618" y="665"/>
                </a:cubicBezTo>
                <a:cubicBezTo>
                  <a:pt x="618" y="665"/>
                  <a:pt x="619" y="665"/>
                  <a:pt x="619" y="665"/>
                </a:cubicBezTo>
                <a:cubicBezTo>
                  <a:pt x="619" y="665"/>
                  <a:pt x="619" y="665"/>
                  <a:pt x="620" y="665"/>
                </a:cubicBezTo>
                <a:cubicBezTo>
                  <a:pt x="620" y="665"/>
                  <a:pt x="620" y="665"/>
                  <a:pt x="620" y="665"/>
                </a:cubicBezTo>
                <a:cubicBezTo>
                  <a:pt x="620" y="664"/>
                  <a:pt x="619" y="664"/>
                  <a:pt x="619" y="664"/>
                </a:cubicBezTo>
                <a:cubicBezTo>
                  <a:pt x="619" y="664"/>
                  <a:pt x="619" y="664"/>
                  <a:pt x="618" y="664"/>
                </a:cubicBezTo>
                <a:cubicBezTo>
                  <a:pt x="618" y="664"/>
                  <a:pt x="619" y="664"/>
                  <a:pt x="619" y="664"/>
                </a:cubicBezTo>
                <a:cubicBezTo>
                  <a:pt x="619" y="664"/>
                  <a:pt x="619" y="663"/>
                  <a:pt x="619" y="663"/>
                </a:cubicBezTo>
                <a:cubicBezTo>
                  <a:pt x="619" y="663"/>
                  <a:pt x="619" y="663"/>
                  <a:pt x="619" y="663"/>
                </a:cubicBezTo>
                <a:cubicBezTo>
                  <a:pt x="619" y="663"/>
                  <a:pt x="619" y="662"/>
                  <a:pt x="618" y="662"/>
                </a:cubicBezTo>
                <a:cubicBezTo>
                  <a:pt x="618" y="662"/>
                  <a:pt x="618" y="662"/>
                  <a:pt x="618" y="661"/>
                </a:cubicBezTo>
                <a:cubicBezTo>
                  <a:pt x="617" y="661"/>
                  <a:pt x="617" y="661"/>
                  <a:pt x="617" y="661"/>
                </a:cubicBezTo>
                <a:cubicBezTo>
                  <a:pt x="616" y="661"/>
                  <a:pt x="616" y="661"/>
                  <a:pt x="616" y="661"/>
                </a:cubicBezTo>
                <a:cubicBezTo>
                  <a:pt x="616" y="662"/>
                  <a:pt x="615" y="662"/>
                  <a:pt x="615" y="662"/>
                </a:cubicBezTo>
                <a:cubicBezTo>
                  <a:pt x="615" y="662"/>
                  <a:pt x="615" y="662"/>
                  <a:pt x="615" y="662"/>
                </a:cubicBezTo>
                <a:cubicBezTo>
                  <a:pt x="615" y="662"/>
                  <a:pt x="616" y="663"/>
                  <a:pt x="616" y="663"/>
                </a:cubicBezTo>
                <a:cubicBezTo>
                  <a:pt x="616" y="663"/>
                  <a:pt x="616" y="663"/>
                  <a:pt x="616" y="663"/>
                </a:cubicBezTo>
                <a:cubicBezTo>
                  <a:pt x="616" y="663"/>
                  <a:pt x="616" y="664"/>
                  <a:pt x="615" y="664"/>
                </a:cubicBezTo>
                <a:cubicBezTo>
                  <a:pt x="615" y="664"/>
                  <a:pt x="615" y="664"/>
                  <a:pt x="615" y="664"/>
                </a:cubicBezTo>
                <a:cubicBezTo>
                  <a:pt x="615" y="664"/>
                  <a:pt x="616" y="665"/>
                  <a:pt x="616" y="665"/>
                </a:cubicBezTo>
                <a:cubicBezTo>
                  <a:pt x="616" y="665"/>
                  <a:pt x="616" y="665"/>
                  <a:pt x="616" y="665"/>
                </a:cubicBezTo>
                <a:cubicBezTo>
                  <a:pt x="616" y="665"/>
                  <a:pt x="616" y="665"/>
                  <a:pt x="617" y="666"/>
                </a:cubicBezTo>
                <a:cubicBezTo>
                  <a:pt x="617" y="666"/>
                  <a:pt x="617" y="667"/>
                  <a:pt x="617" y="668"/>
                </a:cubicBezTo>
                <a:cubicBezTo>
                  <a:pt x="617" y="668"/>
                  <a:pt x="617" y="668"/>
                  <a:pt x="617" y="669"/>
                </a:cubicBezTo>
                <a:close/>
                <a:moveTo>
                  <a:pt x="636" y="709"/>
                </a:moveTo>
                <a:cubicBezTo>
                  <a:pt x="636" y="709"/>
                  <a:pt x="636" y="708"/>
                  <a:pt x="636" y="708"/>
                </a:cubicBezTo>
                <a:cubicBezTo>
                  <a:pt x="636" y="708"/>
                  <a:pt x="636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9"/>
                  <a:pt x="635" y="709"/>
                  <a:pt x="635" y="709"/>
                </a:cubicBezTo>
                <a:cubicBezTo>
                  <a:pt x="635" y="709"/>
                  <a:pt x="635" y="709"/>
                  <a:pt x="635" y="709"/>
                </a:cubicBezTo>
                <a:cubicBezTo>
                  <a:pt x="635" y="709"/>
                  <a:pt x="635" y="709"/>
                  <a:pt x="635" y="710"/>
                </a:cubicBezTo>
                <a:cubicBezTo>
                  <a:pt x="635" y="710"/>
                  <a:pt x="636" y="710"/>
                  <a:pt x="636" y="710"/>
                </a:cubicBezTo>
                <a:cubicBezTo>
                  <a:pt x="636" y="710"/>
                  <a:pt x="636" y="710"/>
                  <a:pt x="636" y="710"/>
                </a:cubicBezTo>
                <a:cubicBezTo>
                  <a:pt x="636" y="710"/>
                  <a:pt x="636" y="709"/>
                  <a:pt x="636" y="709"/>
                </a:cubicBezTo>
                <a:cubicBezTo>
                  <a:pt x="636" y="709"/>
                  <a:pt x="636" y="709"/>
                  <a:pt x="636" y="709"/>
                </a:cubicBezTo>
                <a:close/>
                <a:moveTo>
                  <a:pt x="624" y="676"/>
                </a:moveTo>
                <a:cubicBezTo>
                  <a:pt x="623" y="676"/>
                  <a:pt x="623" y="676"/>
                  <a:pt x="623" y="676"/>
                </a:cubicBezTo>
                <a:cubicBezTo>
                  <a:pt x="623" y="677"/>
                  <a:pt x="622" y="677"/>
                  <a:pt x="622" y="677"/>
                </a:cubicBezTo>
                <a:cubicBezTo>
                  <a:pt x="622" y="677"/>
                  <a:pt x="623" y="677"/>
                  <a:pt x="623" y="677"/>
                </a:cubicBezTo>
                <a:cubicBezTo>
                  <a:pt x="623" y="677"/>
                  <a:pt x="623" y="678"/>
                  <a:pt x="623" y="678"/>
                </a:cubicBezTo>
                <a:cubicBezTo>
                  <a:pt x="623" y="678"/>
                  <a:pt x="624" y="678"/>
                  <a:pt x="624" y="678"/>
                </a:cubicBezTo>
                <a:cubicBezTo>
                  <a:pt x="624" y="678"/>
                  <a:pt x="624" y="678"/>
                  <a:pt x="624" y="677"/>
                </a:cubicBezTo>
                <a:cubicBezTo>
                  <a:pt x="624" y="677"/>
                  <a:pt x="624" y="677"/>
                  <a:pt x="624" y="676"/>
                </a:cubicBezTo>
                <a:close/>
                <a:moveTo>
                  <a:pt x="623" y="672"/>
                </a:moveTo>
                <a:cubicBezTo>
                  <a:pt x="623" y="672"/>
                  <a:pt x="623" y="672"/>
                  <a:pt x="623" y="672"/>
                </a:cubicBezTo>
                <a:cubicBezTo>
                  <a:pt x="624" y="672"/>
                  <a:pt x="624" y="672"/>
                  <a:pt x="624" y="672"/>
                </a:cubicBezTo>
                <a:cubicBezTo>
                  <a:pt x="624" y="672"/>
                  <a:pt x="624" y="672"/>
                  <a:pt x="623" y="672"/>
                </a:cubicBezTo>
                <a:cubicBezTo>
                  <a:pt x="623" y="672"/>
                  <a:pt x="623" y="672"/>
                  <a:pt x="623" y="672"/>
                </a:cubicBezTo>
                <a:close/>
                <a:moveTo>
                  <a:pt x="625" y="674"/>
                </a:moveTo>
                <a:cubicBezTo>
                  <a:pt x="625" y="674"/>
                  <a:pt x="625" y="674"/>
                  <a:pt x="625" y="674"/>
                </a:cubicBezTo>
                <a:cubicBezTo>
                  <a:pt x="625" y="674"/>
                  <a:pt x="625" y="674"/>
                  <a:pt x="626" y="675"/>
                </a:cubicBezTo>
                <a:cubicBezTo>
                  <a:pt x="626" y="674"/>
                  <a:pt x="626" y="674"/>
                  <a:pt x="626" y="674"/>
                </a:cubicBezTo>
                <a:cubicBezTo>
                  <a:pt x="626" y="674"/>
                  <a:pt x="626" y="674"/>
                  <a:pt x="626" y="674"/>
                </a:cubicBezTo>
                <a:cubicBezTo>
                  <a:pt x="626" y="674"/>
                  <a:pt x="626" y="673"/>
                  <a:pt x="626" y="673"/>
                </a:cubicBezTo>
                <a:cubicBezTo>
                  <a:pt x="626" y="673"/>
                  <a:pt x="626" y="673"/>
                  <a:pt x="626" y="673"/>
                </a:cubicBezTo>
                <a:cubicBezTo>
                  <a:pt x="626" y="672"/>
                  <a:pt x="625" y="672"/>
                  <a:pt x="625" y="672"/>
                </a:cubicBezTo>
                <a:cubicBezTo>
                  <a:pt x="625" y="672"/>
                  <a:pt x="625" y="672"/>
                  <a:pt x="625" y="672"/>
                </a:cubicBezTo>
                <a:cubicBezTo>
                  <a:pt x="624" y="672"/>
                  <a:pt x="624" y="672"/>
                  <a:pt x="624" y="673"/>
                </a:cubicBezTo>
                <a:cubicBezTo>
                  <a:pt x="624" y="673"/>
                  <a:pt x="624" y="673"/>
                  <a:pt x="624" y="674"/>
                </a:cubicBezTo>
                <a:cubicBezTo>
                  <a:pt x="624" y="674"/>
                  <a:pt x="624" y="674"/>
                  <a:pt x="624" y="674"/>
                </a:cubicBezTo>
                <a:cubicBezTo>
                  <a:pt x="624" y="675"/>
                  <a:pt x="624" y="675"/>
                  <a:pt x="624" y="675"/>
                </a:cubicBezTo>
                <a:cubicBezTo>
                  <a:pt x="624" y="675"/>
                  <a:pt x="625" y="675"/>
                  <a:pt x="625" y="674"/>
                </a:cubicBezTo>
                <a:close/>
                <a:moveTo>
                  <a:pt x="620" y="663"/>
                </a:moveTo>
                <a:cubicBezTo>
                  <a:pt x="620" y="663"/>
                  <a:pt x="620" y="663"/>
                  <a:pt x="621" y="663"/>
                </a:cubicBezTo>
                <a:cubicBezTo>
                  <a:pt x="621" y="663"/>
                  <a:pt x="621" y="663"/>
                  <a:pt x="621" y="663"/>
                </a:cubicBezTo>
                <a:cubicBezTo>
                  <a:pt x="621" y="663"/>
                  <a:pt x="620" y="663"/>
                  <a:pt x="620" y="662"/>
                </a:cubicBezTo>
                <a:cubicBezTo>
                  <a:pt x="620" y="663"/>
                  <a:pt x="620" y="663"/>
                  <a:pt x="620" y="663"/>
                </a:cubicBezTo>
                <a:close/>
                <a:moveTo>
                  <a:pt x="623" y="670"/>
                </a:moveTo>
                <a:cubicBezTo>
                  <a:pt x="623" y="670"/>
                  <a:pt x="623" y="670"/>
                  <a:pt x="623" y="671"/>
                </a:cubicBezTo>
                <a:cubicBezTo>
                  <a:pt x="623" y="670"/>
                  <a:pt x="623" y="670"/>
                  <a:pt x="623" y="670"/>
                </a:cubicBezTo>
                <a:cubicBezTo>
                  <a:pt x="623" y="670"/>
                  <a:pt x="623" y="670"/>
                  <a:pt x="623" y="670"/>
                </a:cubicBezTo>
                <a:cubicBezTo>
                  <a:pt x="623" y="670"/>
                  <a:pt x="623" y="670"/>
                  <a:pt x="623" y="670"/>
                </a:cubicBezTo>
                <a:close/>
                <a:moveTo>
                  <a:pt x="635" y="706"/>
                </a:moveTo>
                <a:cubicBezTo>
                  <a:pt x="636" y="706"/>
                  <a:pt x="636" y="706"/>
                  <a:pt x="636" y="706"/>
                </a:cubicBezTo>
                <a:cubicBezTo>
                  <a:pt x="636" y="706"/>
                  <a:pt x="636" y="706"/>
                  <a:pt x="636" y="706"/>
                </a:cubicBezTo>
                <a:cubicBezTo>
                  <a:pt x="635" y="706"/>
                  <a:pt x="635" y="706"/>
                  <a:pt x="635" y="706"/>
                </a:cubicBezTo>
                <a:cubicBezTo>
                  <a:pt x="634" y="706"/>
                  <a:pt x="634" y="706"/>
                  <a:pt x="634" y="706"/>
                </a:cubicBezTo>
                <a:cubicBezTo>
                  <a:pt x="634" y="706"/>
                  <a:pt x="634" y="705"/>
                  <a:pt x="633" y="705"/>
                </a:cubicBezTo>
                <a:cubicBezTo>
                  <a:pt x="633" y="705"/>
                  <a:pt x="633" y="705"/>
                  <a:pt x="633" y="706"/>
                </a:cubicBezTo>
                <a:cubicBezTo>
                  <a:pt x="633" y="706"/>
                  <a:pt x="633" y="706"/>
                  <a:pt x="633" y="706"/>
                </a:cubicBezTo>
                <a:cubicBezTo>
                  <a:pt x="633" y="706"/>
                  <a:pt x="633" y="707"/>
                  <a:pt x="633" y="707"/>
                </a:cubicBezTo>
                <a:cubicBezTo>
                  <a:pt x="633" y="707"/>
                  <a:pt x="633" y="707"/>
                  <a:pt x="633" y="707"/>
                </a:cubicBezTo>
                <a:cubicBezTo>
                  <a:pt x="633" y="707"/>
                  <a:pt x="633" y="707"/>
                  <a:pt x="633" y="707"/>
                </a:cubicBezTo>
                <a:cubicBezTo>
                  <a:pt x="634" y="707"/>
                  <a:pt x="634" y="707"/>
                  <a:pt x="635" y="707"/>
                </a:cubicBezTo>
                <a:cubicBezTo>
                  <a:pt x="635" y="707"/>
                  <a:pt x="635" y="707"/>
                  <a:pt x="635" y="707"/>
                </a:cubicBezTo>
                <a:cubicBezTo>
                  <a:pt x="635" y="707"/>
                  <a:pt x="635" y="707"/>
                  <a:pt x="635" y="706"/>
                </a:cubicBezTo>
                <a:close/>
                <a:moveTo>
                  <a:pt x="677" y="713"/>
                </a:moveTo>
                <a:cubicBezTo>
                  <a:pt x="677" y="714"/>
                  <a:pt x="676" y="714"/>
                  <a:pt x="676" y="714"/>
                </a:cubicBezTo>
                <a:cubicBezTo>
                  <a:pt x="676" y="714"/>
                  <a:pt x="675" y="714"/>
                  <a:pt x="675" y="714"/>
                </a:cubicBezTo>
                <a:cubicBezTo>
                  <a:pt x="675" y="714"/>
                  <a:pt x="674" y="714"/>
                  <a:pt x="674" y="713"/>
                </a:cubicBezTo>
                <a:cubicBezTo>
                  <a:pt x="673" y="713"/>
                  <a:pt x="673" y="713"/>
                  <a:pt x="673" y="713"/>
                </a:cubicBezTo>
                <a:cubicBezTo>
                  <a:pt x="672" y="713"/>
                  <a:pt x="672" y="713"/>
                  <a:pt x="672" y="713"/>
                </a:cubicBezTo>
                <a:cubicBezTo>
                  <a:pt x="671" y="713"/>
                  <a:pt x="670" y="713"/>
                  <a:pt x="669" y="713"/>
                </a:cubicBezTo>
                <a:cubicBezTo>
                  <a:pt x="669" y="713"/>
                  <a:pt x="668" y="713"/>
                  <a:pt x="668" y="713"/>
                </a:cubicBezTo>
                <a:cubicBezTo>
                  <a:pt x="668" y="712"/>
                  <a:pt x="668" y="712"/>
                  <a:pt x="668" y="712"/>
                </a:cubicBezTo>
                <a:cubicBezTo>
                  <a:pt x="667" y="712"/>
                  <a:pt x="667" y="711"/>
                  <a:pt x="666" y="711"/>
                </a:cubicBezTo>
                <a:cubicBezTo>
                  <a:pt x="666" y="711"/>
                  <a:pt x="666" y="711"/>
                  <a:pt x="665" y="711"/>
                </a:cubicBezTo>
                <a:cubicBezTo>
                  <a:pt x="665" y="711"/>
                  <a:pt x="665" y="711"/>
                  <a:pt x="665" y="710"/>
                </a:cubicBezTo>
                <a:cubicBezTo>
                  <a:pt x="664" y="710"/>
                  <a:pt x="664" y="710"/>
                  <a:pt x="664" y="710"/>
                </a:cubicBezTo>
                <a:cubicBezTo>
                  <a:pt x="664" y="710"/>
                  <a:pt x="663" y="710"/>
                  <a:pt x="663" y="710"/>
                </a:cubicBezTo>
                <a:cubicBezTo>
                  <a:pt x="663" y="710"/>
                  <a:pt x="663" y="710"/>
                  <a:pt x="662" y="710"/>
                </a:cubicBezTo>
                <a:cubicBezTo>
                  <a:pt x="662" y="710"/>
                  <a:pt x="662" y="710"/>
                  <a:pt x="662" y="710"/>
                </a:cubicBezTo>
                <a:cubicBezTo>
                  <a:pt x="662" y="710"/>
                  <a:pt x="662" y="710"/>
                  <a:pt x="662" y="710"/>
                </a:cubicBezTo>
                <a:cubicBezTo>
                  <a:pt x="662" y="709"/>
                  <a:pt x="662" y="709"/>
                  <a:pt x="662" y="709"/>
                </a:cubicBezTo>
                <a:cubicBezTo>
                  <a:pt x="662" y="709"/>
                  <a:pt x="663" y="709"/>
                  <a:pt x="663" y="709"/>
                </a:cubicBezTo>
                <a:cubicBezTo>
                  <a:pt x="663" y="709"/>
                  <a:pt x="663" y="709"/>
                  <a:pt x="663" y="709"/>
                </a:cubicBezTo>
                <a:cubicBezTo>
                  <a:pt x="663" y="708"/>
                  <a:pt x="663" y="708"/>
                  <a:pt x="663" y="707"/>
                </a:cubicBezTo>
                <a:cubicBezTo>
                  <a:pt x="662" y="707"/>
                  <a:pt x="661" y="707"/>
                  <a:pt x="661" y="706"/>
                </a:cubicBezTo>
                <a:cubicBezTo>
                  <a:pt x="661" y="706"/>
                  <a:pt x="660" y="706"/>
                  <a:pt x="660" y="706"/>
                </a:cubicBezTo>
                <a:cubicBezTo>
                  <a:pt x="660" y="706"/>
                  <a:pt x="660" y="706"/>
                  <a:pt x="660" y="706"/>
                </a:cubicBezTo>
                <a:cubicBezTo>
                  <a:pt x="660" y="706"/>
                  <a:pt x="659" y="706"/>
                  <a:pt x="659" y="706"/>
                </a:cubicBezTo>
                <a:cubicBezTo>
                  <a:pt x="659" y="707"/>
                  <a:pt x="659" y="707"/>
                  <a:pt x="659" y="707"/>
                </a:cubicBezTo>
                <a:cubicBezTo>
                  <a:pt x="658" y="707"/>
                  <a:pt x="658" y="707"/>
                  <a:pt x="658" y="706"/>
                </a:cubicBezTo>
                <a:cubicBezTo>
                  <a:pt x="658" y="706"/>
                  <a:pt x="658" y="706"/>
                  <a:pt x="657" y="706"/>
                </a:cubicBezTo>
                <a:cubicBezTo>
                  <a:pt x="657" y="707"/>
                  <a:pt x="657" y="707"/>
                  <a:pt x="657" y="707"/>
                </a:cubicBezTo>
                <a:cubicBezTo>
                  <a:pt x="657" y="707"/>
                  <a:pt x="657" y="707"/>
                  <a:pt x="657" y="708"/>
                </a:cubicBezTo>
                <a:cubicBezTo>
                  <a:pt x="657" y="708"/>
                  <a:pt x="657" y="708"/>
                  <a:pt x="657" y="708"/>
                </a:cubicBezTo>
                <a:cubicBezTo>
                  <a:pt x="657" y="708"/>
                  <a:pt x="657" y="709"/>
                  <a:pt x="657" y="709"/>
                </a:cubicBezTo>
                <a:cubicBezTo>
                  <a:pt x="657" y="709"/>
                  <a:pt x="657" y="709"/>
                  <a:pt x="657" y="709"/>
                </a:cubicBezTo>
                <a:cubicBezTo>
                  <a:pt x="656" y="709"/>
                  <a:pt x="656" y="709"/>
                  <a:pt x="656" y="709"/>
                </a:cubicBezTo>
                <a:cubicBezTo>
                  <a:pt x="656" y="709"/>
                  <a:pt x="656" y="709"/>
                  <a:pt x="655" y="709"/>
                </a:cubicBezTo>
                <a:cubicBezTo>
                  <a:pt x="655" y="709"/>
                  <a:pt x="655" y="709"/>
                  <a:pt x="655" y="710"/>
                </a:cubicBezTo>
                <a:cubicBezTo>
                  <a:pt x="655" y="710"/>
                  <a:pt x="655" y="710"/>
                  <a:pt x="656" y="710"/>
                </a:cubicBezTo>
                <a:cubicBezTo>
                  <a:pt x="656" y="710"/>
                  <a:pt x="656" y="710"/>
                  <a:pt x="656" y="710"/>
                </a:cubicBezTo>
                <a:cubicBezTo>
                  <a:pt x="656" y="710"/>
                  <a:pt x="656" y="710"/>
                  <a:pt x="656" y="710"/>
                </a:cubicBezTo>
                <a:cubicBezTo>
                  <a:pt x="656" y="710"/>
                  <a:pt x="656" y="711"/>
                  <a:pt x="656" y="711"/>
                </a:cubicBezTo>
                <a:cubicBezTo>
                  <a:pt x="656" y="711"/>
                  <a:pt x="656" y="711"/>
                  <a:pt x="656" y="711"/>
                </a:cubicBezTo>
                <a:cubicBezTo>
                  <a:pt x="656" y="712"/>
                  <a:pt x="656" y="712"/>
                  <a:pt x="656" y="712"/>
                </a:cubicBezTo>
                <a:cubicBezTo>
                  <a:pt x="657" y="712"/>
                  <a:pt x="657" y="713"/>
                  <a:pt x="657" y="713"/>
                </a:cubicBezTo>
                <a:cubicBezTo>
                  <a:pt x="657" y="713"/>
                  <a:pt x="658" y="713"/>
                  <a:pt x="658" y="713"/>
                </a:cubicBezTo>
                <a:cubicBezTo>
                  <a:pt x="658" y="712"/>
                  <a:pt x="658" y="712"/>
                  <a:pt x="658" y="712"/>
                </a:cubicBezTo>
                <a:cubicBezTo>
                  <a:pt x="659" y="712"/>
                  <a:pt x="659" y="711"/>
                  <a:pt x="659" y="711"/>
                </a:cubicBezTo>
                <a:cubicBezTo>
                  <a:pt x="660" y="711"/>
                  <a:pt x="660" y="711"/>
                  <a:pt x="660" y="711"/>
                </a:cubicBezTo>
                <a:cubicBezTo>
                  <a:pt x="660" y="711"/>
                  <a:pt x="660" y="711"/>
                  <a:pt x="661" y="712"/>
                </a:cubicBezTo>
                <a:cubicBezTo>
                  <a:pt x="660" y="712"/>
                  <a:pt x="660" y="712"/>
                  <a:pt x="660" y="713"/>
                </a:cubicBezTo>
                <a:cubicBezTo>
                  <a:pt x="660" y="713"/>
                  <a:pt x="660" y="713"/>
                  <a:pt x="659" y="713"/>
                </a:cubicBezTo>
                <a:cubicBezTo>
                  <a:pt x="659" y="713"/>
                  <a:pt x="659" y="713"/>
                  <a:pt x="659" y="713"/>
                </a:cubicBezTo>
                <a:cubicBezTo>
                  <a:pt x="659" y="714"/>
                  <a:pt x="659" y="714"/>
                  <a:pt x="658" y="714"/>
                </a:cubicBezTo>
                <a:cubicBezTo>
                  <a:pt x="658" y="714"/>
                  <a:pt x="658" y="714"/>
                  <a:pt x="658" y="714"/>
                </a:cubicBezTo>
                <a:cubicBezTo>
                  <a:pt x="658" y="715"/>
                  <a:pt x="658" y="715"/>
                  <a:pt x="658" y="715"/>
                </a:cubicBezTo>
                <a:cubicBezTo>
                  <a:pt x="659" y="715"/>
                  <a:pt x="659" y="715"/>
                  <a:pt x="659" y="715"/>
                </a:cubicBezTo>
                <a:cubicBezTo>
                  <a:pt x="660" y="715"/>
                  <a:pt x="660" y="715"/>
                  <a:pt x="660" y="716"/>
                </a:cubicBezTo>
                <a:cubicBezTo>
                  <a:pt x="661" y="715"/>
                  <a:pt x="661" y="715"/>
                  <a:pt x="661" y="715"/>
                </a:cubicBezTo>
                <a:cubicBezTo>
                  <a:pt x="661" y="715"/>
                  <a:pt x="662" y="715"/>
                  <a:pt x="662" y="715"/>
                </a:cubicBezTo>
                <a:cubicBezTo>
                  <a:pt x="663" y="716"/>
                  <a:pt x="664" y="716"/>
                  <a:pt x="665" y="716"/>
                </a:cubicBezTo>
                <a:cubicBezTo>
                  <a:pt x="665" y="716"/>
                  <a:pt x="665" y="716"/>
                  <a:pt x="666" y="716"/>
                </a:cubicBezTo>
                <a:cubicBezTo>
                  <a:pt x="666" y="716"/>
                  <a:pt x="666" y="716"/>
                  <a:pt x="666" y="716"/>
                </a:cubicBezTo>
                <a:cubicBezTo>
                  <a:pt x="666" y="716"/>
                  <a:pt x="667" y="716"/>
                  <a:pt x="667" y="716"/>
                </a:cubicBezTo>
                <a:cubicBezTo>
                  <a:pt x="668" y="716"/>
                  <a:pt x="668" y="716"/>
                  <a:pt x="668" y="715"/>
                </a:cubicBezTo>
                <a:cubicBezTo>
                  <a:pt x="669" y="715"/>
                  <a:pt x="669" y="715"/>
                  <a:pt x="669" y="715"/>
                </a:cubicBezTo>
                <a:cubicBezTo>
                  <a:pt x="669" y="715"/>
                  <a:pt x="669" y="715"/>
                  <a:pt x="669" y="715"/>
                </a:cubicBezTo>
                <a:cubicBezTo>
                  <a:pt x="669" y="715"/>
                  <a:pt x="669" y="715"/>
                  <a:pt x="669" y="716"/>
                </a:cubicBezTo>
                <a:cubicBezTo>
                  <a:pt x="668" y="716"/>
                  <a:pt x="668" y="716"/>
                  <a:pt x="668" y="716"/>
                </a:cubicBezTo>
                <a:cubicBezTo>
                  <a:pt x="667" y="716"/>
                  <a:pt x="666" y="716"/>
                  <a:pt x="666" y="717"/>
                </a:cubicBezTo>
                <a:cubicBezTo>
                  <a:pt x="666" y="717"/>
                  <a:pt x="665" y="717"/>
                  <a:pt x="665" y="717"/>
                </a:cubicBezTo>
                <a:cubicBezTo>
                  <a:pt x="665" y="717"/>
                  <a:pt x="665" y="717"/>
                  <a:pt x="664" y="716"/>
                </a:cubicBezTo>
                <a:cubicBezTo>
                  <a:pt x="664" y="716"/>
                  <a:pt x="663" y="716"/>
                  <a:pt x="663" y="716"/>
                </a:cubicBezTo>
                <a:cubicBezTo>
                  <a:pt x="662" y="716"/>
                  <a:pt x="662" y="716"/>
                  <a:pt x="661" y="716"/>
                </a:cubicBezTo>
                <a:cubicBezTo>
                  <a:pt x="660" y="716"/>
                  <a:pt x="660" y="716"/>
                  <a:pt x="660" y="716"/>
                </a:cubicBezTo>
                <a:cubicBezTo>
                  <a:pt x="660" y="716"/>
                  <a:pt x="660" y="716"/>
                  <a:pt x="660" y="716"/>
                </a:cubicBezTo>
                <a:cubicBezTo>
                  <a:pt x="660" y="716"/>
                  <a:pt x="660" y="716"/>
                  <a:pt x="660" y="717"/>
                </a:cubicBezTo>
                <a:cubicBezTo>
                  <a:pt x="660" y="717"/>
                  <a:pt x="660" y="717"/>
                  <a:pt x="660" y="717"/>
                </a:cubicBezTo>
                <a:cubicBezTo>
                  <a:pt x="660" y="717"/>
                  <a:pt x="660" y="717"/>
                  <a:pt x="660" y="717"/>
                </a:cubicBezTo>
                <a:cubicBezTo>
                  <a:pt x="659" y="717"/>
                  <a:pt x="659" y="717"/>
                  <a:pt x="658" y="717"/>
                </a:cubicBezTo>
                <a:cubicBezTo>
                  <a:pt x="658" y="717"/>
                  <a:pt x="658" y="716"/>
                  <a:pt x="657" y="716"/>
                </a:cubicBezTo>
                <a:cubicBezTo>
                  <a:pt x="657" y="716"/>
                  <a:pt x="657" y="717"/>
                  <a:pt x="657" y="717"/>
                </a:cubicBezTo>
                <a:cubicBezTo>
                  <a:pt x="657" y="717"/>
                  <a:pt x="657" y="717"/>
                  <a:pt x="657" y="717"/>
                </a:cubicBezTo>
                <a:cubicBezTo>
                  <a:pt x="658" y="717"/>
                  <a:pt x="659" y="717"/>
                  <a:pt x="659" y="717"/>
                </a:cubicBezTo>
                <a:cubicBezTo>
                  <a:pt x="659" y="717"/>
                  <a:pt x="659" y="717"/>
                  <a:pt x="660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8" y="718"/>
                  <a:pt x="658" y="718"/>
                </a:cubicBezTo>
                <a:cubicBezTo>
                  <a:pt x="658" y="718"/>
                  <a:pt x="658" y="718"/>
                  <a:pt x="657" y="717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5" y="719"/>
                  <a:pt x="655" y="719"/>
                  <a:pt x="655" y="719"/>
                </a:cubicBezTo>
                <a:cubicBezTo>
                  <a:pt x="655" y="719"/>
                  <a:pt x="656" y="719"/>
                  <a:pt x="656" y="719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5" y="719"/>
                  <a:pt x="655" y="719"/>
                  <a:pt x="655" y="719"/>
                </a:cubicBezTo>
                <a:cubicBezTo>
                  <a:pt x="655" y="720"/>
                  <a:pt x="654" y="720"/>
                  <a:pt x="654" y="720"/>
                </a:cubicBezTo>
                <a:cubicBezTo>
                  <a:pt x="654" y="720"/>
                  <a:pt x="654" y="720"/>
                  <a:pt x="654" y="720"/>
                </a:cubicBezTo>
                <a:cubicBezTo>
                  <a:pt x="655" y="720"/>
                  <a:pt x="655" y="720"/>
                  <a:pt x="655" y="720"/>
                </a:cubicBezTo>
                <a:cubicBezTo>
                  <a:pt x="656" y="720"/>
                  <a:pt x="656" y="720"/>
                  <a:pt x="656" y="720"/>
                </a:cubicBezTo>
                <a:cubicBezTo>
                  <a:pt x="656" y="720"/>
                  <a:pt x="656" y="720"/>
                  <a:pt x="656" y="720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7" y="719"/>
                  <a:pt x="657" y="719"/>
                  <a:pt x="657" y="719"/>
                </a:cubicBezTo>
                <a:cubicBezTo>
                  <a:pt x="657" y="720"/>
                  <a:pt x="657" y="720"/>
                  <a:pt x="658" y="720"/>
                </a:cubicBezTo>
                <a:cubicBezTo>
                  <a:pt x="658" y="720"/>
                  <a:pt x="658" y="720"/>
                  <a:pt x="658" y="719"/>
                </a:cubicBezTo>
                <a:cubicBezTo>
                  <a:pt x="658" y="720"/>
                  <a:pt x="658" y="720"/>
                  <a:pt x="658" y="720"/>
                </a:cubicBezTo>
                <a:cubicBezTo>
                  <a:pt x="658" y="720"/>
                  <a:pt x="658" y="720"/>
                  <a:pt x="659" y="720"/>
                </a:cubicBezTo>
                <a:cubicBezTo>
                  <a:pt x="659" y="720"/>
                  <a:pt x="659" y="720"/>
                  <a:pt x="659" y="720"/>
                </a:cubicBezTo>
                <a:cubicBezTo>
                  <a:pt x="659" y="720"/>
                  <a:pt x="659" y="721"/>
                  <a:pt x="659" y="721"/>
                </a:cubicBezTo>
                <a:cubicBezTo>
                  <a:pt x="658" y="721"/>
                  <a:pt x="658" y="721"/>
                  <a:pt x="658" y="721"/>
                </a:cubicBezTo>
                <a:cubicBezTo>
                  <a:pt x="659" y="722"/>
                  <a:pt x="659" y="722"/>
                  <a:pt x="659" y="722"/>
                </a:cubicBezTo>
                <a:cubicBezTo>
                  <a:pt x="659" y="722"/>
                  <a:pt x="659" y="722"/>
                  <a:pt x="659" y="722"/>
                </a:cubicBezTo>
                <a:cubicBezTo>
                  <a:pt x="660" y="722"/>
                  <a:pt x="660" y="722"/>
                  <a:pt x="660" y="722"/>
                </a:cubicBezTo>
                <a:cubicBezTo>
                  <a:pt x="660" y="722"/>
                  <a:pt x="660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1" y="721"/>
                  <a:pt x="661" y="721"/>
                  <a:pt x="661" y="721"/>
                </a:cubicBezTo>
                <a:cubicBezTo>
                  <a:pt x="661" y="721"/>
                  <a:pt x="661" y="720"/>
                  <a:pt x="661" y="720"/>
                </a:cubicBezTo>
                <a:cubicBezTo>
                  <a:pt x="661" y="720"/>
                  <a:pt x="661" y="720"/>
                  <a:pt x="660" y="720"/>
                </a:cubicBezTo>
                <a:cubicBezTo>
                  <a:pt x="660" y="720"/>
                  <a:pt x="660" y="720"/>
                  <a:pt x="660" y="720"/>
                </a:cubicBezTo>
                <a:cubicBezTo>
                  <a:pt x="660" y="720"/>
                  <a:pt x="661" y="719"/>
                  <a:pt x="661" y="719"/>
                </a:cubicBezTo>
                <a:cubicBezTo>
                  <a:pt x="662" y="719"/>
                  <a:pt x="662" y="719"/>
                  <a:pt x="662" y="719"/>
                </a:cubicBezTo>
                <a:cubicBezTo>
                  <a:pt x="663" y="719"/>
                  <a:pt x="664" y="719"/>
                  <a:pt x="665" y="719"/>
                </a:cubicBezTo>
                <a:cubicBezTo>
                  <a:pt x="665" y="719"/>
                  <a:pt x="666" y="719"/>
                  <a:pt x="666" y="718"/>
                </a:cubicBezTo>
                <a:cubicBezTo>
                  <a:pt x="666" y="718"/>
                  <a:pt x="666" y="718"/>
                  <a:pt x="666" y="718"/>
                </a:cubicBezTo>
                <a:cubicBezTo>
                  <a:pt x="666" y="718"/>
                  <a:pt x="666" y="718"/>
                  <a:pt x="666" y="718"/>
                </a:cubicBezTo>
                <a:cubicBezTo>
                  <a:pt x="667" y="718"/>
                  <a:pt x="667" y="718"/>
                  <a:pt x="667" y="718"/>
                </a:cubicBezTo>
                <a:cubicBezTo>
                  <a:pt x="667" y="718"/>
                  <a:pt x="668" y="717"/>
                  <a:pt x="668" y="717"/>
                </a:cubicBezTo>
                <a:cubicBezTo>
                  <a:pt x="669" y="717"/>
                  <a:pt x="669" y="717"/>
                  <a:pt x="670" y="717"/>
                </a:cubicBezTo>
                <a:cubicBezTo>
                  <a:pt x="670" y="717"/>
                  <a:pt x="671" y="717"/>
                  <a:pt x="671" y="717"/>
                </a:cubicBezTo>
                <a:cubicBezTo>
                  <a:pt x="672" y="717"/>
                  <a:pt x="672" y="716"/>
                  <a:pt x="673" y="716"/>
                </a:cubicBezTo>
                <a:cubicBezTo>
                  <a:pt x="673" y="716"/>
                  <a:pt x="673" y="717"/>
                  <a:pt x="674" y="717"/>
                </a:cubicBezTo>
                <a:cubicBezTo>
                  <a:pt x="674" y="717"/>
                  <a:pt x="674" y="717"/>
                  <a:pt x="675" y="717"/>
                </a:cubicBezTo>
                <a:cubicBezTo>
                  <a:pt x="675" y="717"/>
                  <a:pt x="675" y="717"/>
                  <a:pt x="676" y="716"/>
                </a:cubicBezTo>
                <a:cubicBezTo>
                  <a:pt x="676" y="716"/>
                  <a:pt x="676" y="716"/>
                  <a:pt x="676" y="716"/>
                </a:cubicBezTo>
                <a:cubicBezTo>
                  <a:pt x="676" y="715"/>
                  <a:pt x="676" y="715"/>
                  <a:pt x="676" y="715"/>
                </a:cubicBezTo>
                <a:cubicBezTo>
                  <a:pt x="676" y="715"/>
                  <a:pt x="677" y="715"/>
                  <a:pt x="677" y="715"/>
                </a:cubicBezTo>
                <a:cubicBezTo>
                  <a:pt x="677" y="715"/>
                  <a:pt x="677" y="715"/>
                  <a:pt x="677" y="715"/>
                </a:cubicBezTo>
                <a:cubicBezTo>
                  <a:pt x="678" y="714"/>
                  <a:pt x="678" y="714"/>
                  <a:pt x="678" y="714"/>
                </a:cubicBezTo>
                <a:cubicBezTo>
                  <a:pt x="678" y="714"/>
                  <a:pt x="678" y="714"/>
                  <a:pt x="678" y="713"/>
                </a:cubicBezTo>
                <a:cubicBezTo>
                  <a:pt x="678" y="713"/>
                  <a:pt x="678" y="713"/>
                  <a:pt x="677" y="713"/>
                </a:cubicBezTo>
                <a:close/>
                <a:moveTo>
                  <a:pt x="682" y="713"/>
                </a:moveTo>
                <a:cubicBezTo>
                  <a:pt x="682" y="713"/>
                  <a:pt x="681" y="713"/>
                  <a:pt x="681" y="713"/>
                </a:cubicBezTo>
                <a:cubicBezTo>
                  <a:pt x="681" y="713"/>
                  <a:pt x="681" y="714"/>
                  <a:pt x="681" y="714"/>
                </a:cubicBezTo>
                <a:cubicBezTo>
                  <a:pt x="681" y="714"/>
                  <a:pt x="681" y="714"/>
                  <a:pt x="681" y="714"/>
                </a:cubicBezTo>
                <a:cubicBezTo>
                  <a:pt x="682" y="714"/>
                  <a:pt x="682" y="714"/>
                  <a:pt x="682" y="713"/>
                </a:cubicBezTo>
                <a:cubicBezTo>
                  <a:pt x="682" y="713"/>
                  <a:pt x="683" y="713"/>
                  <a:pt x="683" y="713"/>
                </a:cubicBezTo>
                <a:cubicBezTo>
                  <a:pt x="683" y="713"/>
                  <a:pt x="683" y="713"/>
                  <a:pt x="684" y="712"/>
                </a:cubicBezTo>
                <a:cubicBezTo>
                  <a:pt x="683" y="712"/>
                  <a:pt x="683" y="712"/>
                  <a:pt x="683" y="712"/>
                </a:cubicBezTo>
                <a:cubicBezTo>
                  <a:pt x="682" y="713"/>
                  <a:pt x="682" y="713"/>
                  <a:pt x="682" y="713"/>
                </a:cubicBezTo>
                <a:close/>
                <a:moveTo>
                  <a:pt x="651" y="717"/>
                </a:moveTo>
                <a:cubicBezTo>
                  <a:pt x="651" y="717"/>
                  <a:pt x="651" y="717"/>
                  <a:pt x="651" y="717"/>
                </a:cubicBezTo>
                <a:cubicBezTo>
                  <a:pt x="651" y="717"/>
                  <a:pt x="651" y="717"/>
                  <a:pt x="651" y="717"/>
                </a:cubicBezTo>
                <a:cubicBezTo>
                  <a:pt x="651" y="717"/>
                  <a:pt x="651" y="717"/>
                  <a:pt x="652" y="717"/>
                </a:cubicBezTo>
                <a:cubicBezTo>
                  <a:pt x="651" y="716"/>
                  <a:pt x="651" y="716"/>
                  <a:pt x="651" y="716"/>
                </a:cubicBezTo>
                <a:cubicBezTo>
                  <a:pt x="651" y="716"/>
                  <a:pt x="651" y="716"/>
                  <a:pt x="651" y="716"/>
                </a:cubicBezTo>
                <a:cubicBezTo>
                  <a:pt x="650" y="716"/>
                  <a:pt x="650" y="716"/>
                  <a:pt x="650" y="716"/>
                </a:cubicBezTo>
                <a:cubicBezTo>
                  <a:pt x="650" y="716"/>
                  <a:pt x="650" y="716"/>
                  <a:pt x="650" y="716"/>
                </a:cubicBezTo>
                <a:cubicBezTo>
                  <a:pt x="649" y="716"/>
                  <a:pt x="649" y="716"/>
                  <a:pt x="649" y="716"/>
                </a:cubicBezTo>
                <a:cubicBezTo>
                  <a:pt x="649" y="716"/>
                  <a:pt x="648" y="716"/>
                  <a:pt x="648" y="716"/>
                </a:cubicBezTo>
                <a:cubicBezTo>
                  <a:pt x="647" y="716"/>
                  <a:pt x="647" y="716"/>
                  <a:pt x="647" y="716"/>
                </a:cubicBezTo>
                <a:cubicBezTo>
                  <a:pt x="647" y="716"/>
                  <a:pt x="646" y="716"/>
                  <a:pt x="646" y="716"/>
                </a:cubicBezTo>
                <a:cubicBezTo>
                  <a:pt x="646" y="716"/>
                  <a:pt x="646" y="716"/>
                  <a:pt x="646" y="716"/>
                </a:cubicBezTo>
                <a:cubicBezTo>
                  <a:pt x="646" y="716"/>
                  <a:pt x="645" y="716"/>
                  <a:pt x="645" y="716"/>
                </a:cubicBezTo>
                <a:cubicBezTo>
                  <a:pt x="645" y="716"/>
                  <a:pt x="645" y="716"/>
                  <a:pt x="645" y="716"/>
                </a:cubicBezTo>
                <a:cubicBezTo>
                  <a:pt x="645" y="716"/>
                  <a:pt x="645" y="716"/>
                  <a:pt x="645" y="716"/>
                </a:cubicBezTo>
                <a:cubicBezTo>
                  <a:pt x="645" y="717"/>
                  <a:pt x="645" y="717"/>
                  <a:pt x="645" y="717"/>
                </a:cubicBezTo>
                <a:cubicBezTo>
                  <a:pt x="645" y="717"/>
                  <a:pt x="645" y="717"/>
                  <a:pt x="646" y="717"/>
                </a:cubicBezTo>
                <a:cubicBezTo>
                  <a:pt x="646" y="717"/>
                  <a:pt x="646" y="717"/>
                  <a:pt x="646" y="718"/>
                </a:cubicBezTo>
                <a:cubicBezTo>
                  <a:pt x="646" y="718"/>
                  <a:pt x="646" y="718"/>
                  <a:pt x="647" y="718"/>
                </a:cubicBezTo>
                <a:cubicBezTo>
                  <a:pt x="647" y="718"/>
                  <a:pt x="647" y="718"/>
                  <a:pt x="648" y="718"/>
                </a:cubicBezTo>
                <a:cubicBezTo>
                  <a:pt x="648" y="718"/>
                  <a:pt x="648" y="718"/>
                  <a:pt x="648" y="718"/>
                </a:cubicBezTo>
                <a:cubicBezTo>
                  <a:pt x="649" y="718"/>
                  <a:pt x="649" y="718"/>
                  <a:pt x="649" y="718"/>
                </a:cubicBezTo>
                <a:cubicBezTo>
                  <a:pt x="649" y="718"/>
                  <a:pt x="650" y="718"/>
                  <a:pt x="650" y="718"/>
                </a:cubicBezTo>
                <a:cubicBezTo>
                  <a:pt x="650" y="718"/>
                  <a:pt x="650" y="718"/>
                  <a:pt x="650" y="718"/>
                </a:cubicBezTo>
                <a:cubicBezTo>
                  <a:pt x="650" y="719"/>
                  <a:pt x="650" y="719"/>
                  <a:pt x="650" y="719"/>
                </a:cubicBezTo>
                <a:cubicBezTo>
                  <a:pt x="651" y="719"/>
                  <a:pt x="651" y="719"/>
                  <a:pt x="651" y="718"/>
                </a:cubicBezTo>
                <a:cubicBezTo>
                  <a:pt x="651" y="718"/>
                  <a:pt x="651" y="718"/>
                  <a:pt x="651" y="718"/>
                </a:cubicBezTo>
                <a:cubicBezTo>
                  <a:pt x="651" y="718"/>
                  <a:pt x="651" y="718"/>
                  <a:pt x="651" y="717"/>
                </a:cubicBezTo>
                <a:cubicBezTo>
                  <a:pt x="651" y="717"/>
                  <a:pt x="651" y="717"/>
                  <a:pt x="651" y="717"/>
                </a:cubicBezTo>
                <a:close/>
                <a:moveTo>
                  <a:pt x="649" y="718"/>
                </a:moveTo>
                <a:cubicBezTo>
                  <a:pt x="649" y="718"/>
                  <a:pt x="649" y="719"/>
                  <a:pt x="649" y="719"/>
                </a:cubicBezTo>
                <a:cubicBezTo>
                  <a:pt x="649" y="719"/>
                  <a:pt x="649" y="719"/>
                  <a:pt x="649" y="719"/>
                </a:cubicBezTo>
                <a:cubicBezTo>
                  <a:pt x="649" y="719"/>
                  <a:pt x="649" y="718"/>
                  <a:pt x="649" y="718"/>
                </a:cubicBezTo>
                <a:cubicBezTo>
                  <a:pt x="649" y="718"/>
                  <a:pt x="649" y="718"/>
                  <a:pt x="649" y="718"/>
                </a:cubicBezTo>
                <a:cubicBezTo>
                  <a:pt x="649" y="718"/>
                  <a:pt x="649" y="718"/>
                  <a:pt x="649" y="718"/>
                </a:cubicBezTo>
                <a:close/>
                <a:moveTo>
                  <a:pt x="672" y="722"/>
                </a:moveTo>
                <a:cubicBezTo>
                  <a:pt x="672" y="722"/>
                  <a:pt x="672" y="722"/>
                  <a:pt x="672" y="722"/>
                </a:cubicBezTo>
                <a:cubicBezTo>
                  <a:pt x="673" y="722"/>
                  <a:pt x="673" y="722"/>
                  <a:pt x="673" y="722"/>
                </a:cubicBezTo>
                <a:cubicBezTo>
                  <a:pt x="673" y="722"/>
                  <a:pt x="673" y="722"/>
                  <a:pt x="672" y="722"/>
                </a:cubicBezTo>
                <a:cubicBezTo>
                  <a:pt x="672" y="722"/>
                  <a:pt x="672" y="722"/>
                  <a:pt x="672" y="722"/>
                </a:cubicBezTo>
                <a:close/>
                <a:moveTo>
                  <a:pt x="652" y="718"/>
                </a:moveTo>
                <a:cubicBezTo>
                  <a:pt x="652" y="718"/>
                  <a:pt x="652" y="718"/>
                  <a:pt x="652" y="719"/>
                </a:cubicBezTo>
                <a:cubicBezTo>
                  <a:pt x="652" y="719"/>
                  <a:pt x="652" y="719"/>
                  <a:pt x="652" y="719"/>
                </a:cubicBezTo>
                <a:cubicBezTo>
                  <a:pt x="652" y="719"/>
                  <a:pt x="652" y="719"/>
                  <a:pt x="652" y="719"/>
                </a:cubicBezTo>
                <a:cubicBezTo>
                  <a:pt x="652" y="719"/>
                  <a:pt x="652" y="718"/>
                  <a:pt x="652" y="718"/>
                </a:cubicBezTo>
                <a:cubicBezTo>
                  <a:pt x="652" y="718"/>
                  <a:pt x="652" y="718"/>
                  <a:pt x="653" y="718"/>
                </a:cubicBezTo>
                <a:cubicBezTo>
                  <a:pt x="652" y="718"/>
                  <a:pt x="652" y="718"/>
                  <a:pt x="652" y="718"/>
                </a:cubicBezTo>
                <a:cubicBezTo>
                  <a:pt x="652" y="718"/>
                  <a:pt x="652" y="718"/>
                  <a:pt x="652" y="718"/>
                </a:cubicBezTo>
                <a:close/>
                <a:moveTo>
                  <a:pt x="673" y="720"/>
                </a:moveTo>
                <a:cubicBezTo>
                  <a:pt x="673" y="720"/>
                  <a:pt x="673" y="720"/>
                  <a:pt x="673" y="720"/>
                </a:cubicBezTo>
                <a:cubicBezTo>
                  <a:pt x="673" y="720"/>
                  <a:pt x="673" y="721"/>
                  <a:pt x="673" y="721"/>
                </a:cubicBezTo>
                <a:cubicBezTo>
                  <a:pt x="673" y="721"/>
                  <a:pt x="673" y="721"/>
                  <a:pt x="673" y="721"/>
                </a:cubicBezTo>
                <a:cubicBezTo>
                  <a:pt x="673" y="721"/>
                  <a:pt x="673" y="721"/>
                  <a:pt x="673" y="722"/>
                </a:cubicBezTo>
                <a:cubicBezTo>
                  <a:pt x="673" y="722"/>
                  <a:pt x="674" y="722"/>
                  <a:pt x="674" y="721"/>
                </a:cubicBezTo>
                <a:cubicBezTo>
                  <a:pt x="674" y="721"/>
                  <a:pt x="674" y="721"/>
                  <a:pt x="674" y="721"/>
                </a:cubicBezTo>
                <a:cubicBezTo>
                  <a:pt x="674" y="721"/>
                  <a:pt x="673" y="721"/>
                  <a:pt x="673" y="720"/>
                </a:cubicBezTo>
                <a:close/>
                <a:moveTo>
                  <a:pt x="656" y="715"/>
                </a:moveTo>
                <a:cubicBezTo>
                  <a:pt x="656" y="715"/>
                  <a:pt x="656" y="715"/>
                  <a:pt x="656" y="715"/>
                </a:cubicBezTo>
                <a:cubicBezTo>
                  <a:pt x="656" y="715"/>
                  <a:pt x="656" y="716"/>
                  <a:pt x="656" y="716"/>
                </a:cubicBezTo>
                <a:cubicBezTo>
                  <a:pt x="657" y="716"/>
                  <a:pt x="657" y="716"/>
                  <a:pt x="657" y="716"/>
                </a:cubicBezTo>
                <a:cubicBezTo>
                  <a:pt x="657" y="716"/>
                  <a:pt x="658" y="716"/>
                  <a:pt x="658" y="716"/>
                </a:cubicBezTo>
                <a:cubicBezTo>
                  <a:pt x="658" y="716"/>
                  <a:pt x="658" y="716"/>
                  <a:pt x="658" y="716"/>
                </a:cubicBezTo>
                <a:cubicBezTo>
                  <a:pt x="658" y="716"/>
                  <a:pt x="658" y="716"/>
                  <a:pt x="658" y="716"/>
                </a:cubicBezTo>
                <a:cubicBezTo>
                  <a:pt x="658" y="716"/>
                  <a:pt x="658" y="715"/>
                  <a:pt x="657" y="715"/>
                </a:cubicBezTo>
                <a:cubicBezTo>
                  <a:pt x="658" y="715"/>
                  <a:pt x="658" y="715"/>
                  <a:pt x="658" y="715"/>
                </a:cubicBezTo>
                <a:cubicBezTo>
                  <a:pt x="658" y="715"/>
                  <a:pt x="658" y="715"/>
                  <a:pt x="657" y="714"/>
                </a:cubicBezTo>
                <a:cubicBezTo>
                  <a:pt x="657" y="714"/>
                  <a:pt x="657" y="714"/>
                  <a:pt x="657" y="714"/>
                </a:cubicBezTo>
                <a:cubicBezTo>
                  <a:pt x="657" y="714"/>
                  <a:pt x="657" y="714"/>
                  <a:pt x="657" y="714"/>
                </a:cubicBezTo>
                <a:cubicBezTo>
                  <a:pt x="657" y="713"/>
                  <a:pt x="657" y="713"/>
                  <a:pt x="656" y="713"/>
                </a:cubicBezTo>
                <a:cubicBezTo>
                  <a:pt x="656" y="713"/>
                  <a:pt x="656" y="713"/>
                  <a:pt x="656" y="713"/>
                </a:cubicBezTo>
                <a:cubicBezTo>
                  <a:pt x="656" y="713"/>
                  <a:pt x="656" y="713"/>
                  <a:pt x="656" y="713"/>
                </a:cubicBezTo>
                <a:cubicBezTo>
                  <a:pt x="656" y="714"/>
                  <a:pt x="656" y="714"/>
                  <a:pt x="656" y="714"/>
                </a:cubicBezTo>
                <a:cubicBezTo>
                  <a:pt x="656" y="714"/>
                  <a:pt x="656" y="714"/>
                  <a:pt x="656" y="715"/>
                </a:cubicBezTo>
                <a:close/>
                <a:moveTo>
                  <a:pt x="672" y="717"/>
                </a:moveTo>
                <a:cubicBezTo>
                  <a:pt x="672" y="717"/>
                  <a:pt x="672" y="717"/>
                  <a:pt x="671" y="717"/>
                </a:cubicBezTo>
                <a:cubicBezTo>
                  <a:pt x="671" y="717"/>
                  <a:pt x="670" y="717"/>
                  <a:pt x="670" y="717"/>
                </a:cubicBezTo>
                <a:cubicBezTo>
                  <a:pt x="670" y="717"/>
                  <a:pt x="669" y="718"/>
                  <a:pt x="669" y="718"/>
                </a:cubicBezTo>
                <a:cubicBezTo>
                  <a:pt x="669" y="718"/>
                  <a:pt x="668" y="718"/>
                  <a:pt x="668" y="718"/>
                </a:cubicBezTo>
                <a:cubicBezTo>
                  <a:pt x="668" y="718"/>
                  <a:pt x="667" y="718"/>
                  <a:pt x="667" y="718"/>
                </a:cubicBezTo>
                <a:cubicBezTo>
                  <a:pt x="666" y="719"/>
                  <a:pt x="666" y="719"/>
                  <a:pt x="665" y="719"/>
                </a:cubicBezTo>
                <a:cubicBezTo>
                  <a:pt x="665" y="719"/>
                  <a:pt x="664" y="719"/>
                  <a:pt x="664" y="719"/>
                </a:cubicBezTo>
                <a:cubicBezTo>
                  <a:pt x="664" y="719"/>
                  <a:pt x="664" y="719"/>
                  <a:pt x="664" y="719"/>
                </a:cubicBezTo>
                <a:cubicBezTo>
                  <a:pt x="664" y="720"/>
                  <a:pt x="663" y="720"/>
                  <a:pt x="663" y="720"/>
                </a:cubicBezTo>
                <a:cubicBezTo>
                  <a:pt x="663" y="720"/>
                  <a:pt x="663" y="720"/>
                  <a:pt x="663" y="720"/>
                </a:cubicBezTo>
                <a:cubicBezTo>
                  <a:pt x="663" y="720"/>
                  <a:pt x="663" y="720"/>
                  <a:pt x="663" y="720"/>
                </a:cubicBezTo>
                <a:cubicBezTo>
                  <a:pt x="663" y="720"/>
                  <a:pt x="663" y="720"/>
                  <a:pt x="664" y="720"/>
                </a:cubicBezTo>
                <a:cubicBezTo>
                  <a:pt x="664" y="720"/>
                  <a:pt x="664" y="720"/>
                  <a:pt x="664" y="720"/>
                </a:cubicBezTo>
                <a:cubicBezTo>
                  <a:pt x="664" y="720"/>
                  <a:pt x="664" y="721"/>
                  <a:pt x="663" y="721"/>
                </a:cubicBezTo>
                <a:cubicBezTo>
                  <a:pt x="663" y="721"/>
                  <a:pt x="663" y="721"/>
                  <a:pt x="663" y="721"/>
                </a:cubicBezTo>
                <a:cubicBezTo>
                  <a:pt x="663" y="721"/>
                  <a:pt x="663" y="721"/>
                  <a:pt x="663" y="721"/>
                </a:cubicBezTo>
                <a:cubicBezTo>
                  <a:pt x="663" y="722"/>
                  <a:pt x="663" y="722"/>
                  <a:pt x="663" y="722"/>
                </a:cubicBezTo>
                <a:cubicBezTo>
                  <a:pt x="664" y="722"/>
                  <a:pt x="664" y="721"/>
                  <a:pt x="664" y="721"/>
                </a:cubicBezTo>
                <a:cubicBezTo>
                  <a:pt x="664" y="721"/>
                  <a:pt x="664" y="722"/>
                  <a:pt x="664" y="722"/>
                </a:cubicBezTo>
                <a:cubicBezTo>
                  <a:pt x="664" y="722"/>
                  <a:pt x="664" y="722"/>
                  <a:pt x="664" y="722"/>
                </a:cubicBezTo>
                <a:cubicBezTo>
                  <a:pt x="664" y="722"/>
                  <a:pt x="664" y="722"/>
                  <a:pt x="665" y="722"/>
                </a:cubicBezTo>
                <a:cubicBezTo>
                  <a:pt x="665" y="722"/>
                  <a:pt x="665" y="722"/>
                  <a:pt x="665" y="722"/>
                </a:cubicBezTo>
                <a:cubicBezTo>
                  <a:pt x="665" y="722"/>
                  <a:pt x="666" y="722"/>
                  <a:pt x="666" y="722"/>
                </a:cubicBezTo>
                <a:cubicBezTo>
                  <a:pt x="666" y="722"/>
                  <a:pt x="666" y="722"/>
                  <a:pt x="666" y="722"/>
                </a:cubicBezTo>
                <a:cubicBezTo>
                  <a:pt x="666" y="722"/>
                  <a:pt x="666" y="722"/>
                  <a:pt x="666" y="721"/>
                </a:cubicBezTo>
                <a:cubicBezTo>
                  <a:pt x="666" y="721"/>
                  <a:pt x="666" y="721"/>
                  <a:pt x="666" y="721"/>
                </a:cubicBezTo>
                <a:cubicBezTo>
                  <a:pt x="666" y="721"/>
                  <a:pt x="666" y="721"/>
                  <a:pt x="666" y="721"/>
                </a:cubicBezTo>
                <a:cubicBezTo>
                  <a:pt x="666" y="721"/>
                  <a:pt x="666" y="721"/>
                  <a:pt x="667" y="721"/>
                </a:cubicBezTo>
                <a:cubicBezTo>
                  <a:pt x="667" y="721"/>
                  <a:pt x="667" y="721"/>
                  <a:pt x="667" y="721"/>
                </a:cubicBezTo>
                <a:cubicBezTo>
                  <a:pt x="667" y="721"/>
                  <a:pt x="667" y="721"/>
                  <a:pt x="668" y="721"/>
                </a:cubicBezTo>
                <a:cubicBezTo>
                  <a:pt x="668" y="721"/>
                  <a:pt x="668" y="721"/>
                  <a:pt x="668" y="721"/>
                </a:cubicBezTo>
                <a:cubicBezTo>
                  <a:pt x="668" y="721"/>
                  <a:pt x="669" y="721"/>
                  <a:pt x="669" y="721"/>
                </a:cubicBezTo>
                <a:cubicBezTo>
                  <a:pt x="669" y="721"/>
                  <a:pt x="669" y="721"/>
                  <a:pt x="670" y="722"/>
                </a:cubicBezTo>
                <a:cubicBezTo>
                  <a:pt x="670" y="722"/>
                  <a:pt x="670" y="722"/>
                  <a:pt x="670" y="722"/>
                </a:cubicBezTo>
                <a:cubicBezTo>
                  <a:pt x="670" y="721"/>
                  <a:pt x="670" y="721"/>
                  <a:pt x="670" y="721"/>
                </a:cubicBezTo>
                <a:cubicBezTo>
                  <a:pt x="670" y="721"/>
                  <a:pt x="669" y="721"/>
                  <a:pt x="669" y="720"/>
                </a:cubicBezTo>
                <a:cubicBezTo>
                  <a:pt x="669" y="720"/>
                  <a:pt x="669" y="720"/>
                  <a:pt x="668" y="720"/>
                </a:cubicBezTo>
                <a:cubicBezTo>
                  <a:pt x="668" y="720"/>
                  <a:pt x="668" y="720"/>
                  <a:pt x="668" y="720"/>
                </a:cubicBezTo>
                <a:cubicBezTo>
                  <a:pt x="668" y="720"/>
                  <a:pt x="668" y="720"/>
                  <a:pt x="668" y="720"/>
                </a:cubicBezTo>
                <a:cubicBezTo>
                  <a:pt x="668" y="720"/>
                  <a:pt x="667" y="720"/>
                  <a:pt x="667" y="720"/>
                </a:cubicBezTo>
                <a:cubicBezTo>
                  <a:pt x="667" y="720"/>
                  <a:pt x="667" y="720"/>
                  <a:pt x="667" y="720"/>
                </a:cubicBezTo>
                <a:cubicBezTo>
                  <a:pt x="667" y="720"/>
                  <a:pt x="666" y="720"/>
                  <a:pt x="666" y="720"/>
                </a:cubicBezTo>
                <a:cubicBezTo>
                  <a:pt x="666" y="720"/>
                  <a:pt x="667" y="719"/>
                  <a:pt x="667" y="719"/>
                </a:cubicBezTo>
                <a:cubicBezTo>
                  <a:pt x="667" y="719"/>
                  <a:pt x="667" y="719"/>
                  <a:pt x="667" y="719"/>
                </a:cubicBezTo>
                <a:cubicBezTo>
                  <a:pt x="668" y="719"/>
                  <a:pt x="668" y="719"/>
                  <a:pt x="668" y="718"/>
                </a:cubicBezTo>
                <a:cubicBezTo>
                  <a:pt x="668" y="718"/>
                  <a:pt x="668" y="718"/>
                  <a:pt x="669" y="718"/>
                </a:cubicBezTo>
                <a:cubicBezTo>
                  <a:pt x="669" y="719"/>
                  <a:pt x="669" y="719"/>
                  <a:pt x="669" y="719"/>
                </a:cubicBezTo>
                <a:cubicBezTo>
                  <a:pt x="669" y="719"/>
                  <a:pt x="669" y="719"/>
                  <a:pt x="669" y="719"/>
                </a:cubicBezTo>
                <a:cubicBezTo>
                  <a:pt x="670" y="719"/>
                  <a:pt x="670" y="719"/>
                  <a:pt x="670" y="719"/>
                </a:cubicBezTo>
                <a:cubicBezTo>
                  <a:pt x="671" y="719"/>
                  <a:pt x="671" y="719"/>
                  <a:pt x="671" y="719"/>
                </a:cubicBezTo>
                <a:cubicBezTo>
                  <a:pt x="671" y="719"/>
                  <a:pt x="671" y="719"/>
                  <a:pt x="671" y="719"/>
                </a:cubicBezTo>
                <a:cubicBezTo>
                  <a:pt x="672" y="719"/>
                  <a:pt x="672" y="719"/>
                  <a:pt x="672" y="719"/>
                </a:cubicBezTo>
                <a:cubicBezTo>
                  <a:pt x="672" y="719"/>
                  <a:pt x="672" y="719"/>
                  <a:pt x="672" y="718"/>
                </a:cubicBezTo>
                <a:cubicBezTo>
                  <a:pt x="673" y="718"/>
                  <a:pt x="673" y="718"/>
                  <a:pt x="673" y="718"/>
                </a:cubicBezTo>
                <a:cubicBezTo>
                  <a:pt x="673" y="718"/>
                  <a:pt x="672" y="718"/>
                  <a:pt x="672" y="718"/>
                </a:cubicBezTo>
                <a:cubicBezTo>
                  <a:pt x="672" y="718"/>
                  <a:pt x="672" y="717"/>
                  <a:pt x="672" y="717"/>
                </a:cubicBezTo>
                <a:close/>
                <a:moveTo>
                  <a:pt x="657" y="722"/>
                </a:moveTo>
                <a:cubicBezTo>
                  <a:pt x="657" y="722"/>
                  <a:pt x="657" y="722"/>
                  <a:pt x="657" y="722"/>
                </a:cubicBezTo>
                <a:cubicBezTo>
                  <a:pt x="657" y="722"/>
                  <a:pt x="658" y="722"/>
                  <a:pt x="658" y="721"/>
                </a:cubicBezTo>
                <a:cubicBezTo>
                  <a:pt x="658" y="721"/>
                  <a:pt x="657" y="721"/>
                  <a:pt x="657" y="721"/>
                </a:cubicBezTo>
                <a:cubicBezTo>
                  <a:pt x="657" y="721"/>
                  <a:pt x="657" y="722"/>
                  <a:pt x="657" y="722"/>
                </a:cubicBezTo>
                <a:close/>
                <a:moveTo>
                  <a:pt x="655" y="717"/>
                </a:moveTo>
                <a:cubicBezTo>
                  <a:pt x="655" y="718"/>
                  <a:pt x="655" y="718"/>
                  <a:pt x="655" y="718"/>
                </a:cubicBezTo>
                <a:cubicBezTo>
                  <a:pt x="655" y="718"/>
                  <a:pt x="656" y="718"/>
                  <a:pt x="656" y="718"/>
                </a:cubicBezTo>
                <a:cubicBezTo>
                  <a:pt x="656" y="718"/>
                  <a:pt x="656" y="718"/>
                  <a:pt x="656" y="717"/>
                </a:cubicBezTo>
                <a:cubicBezTo>
                  <a:pt x="656" y="717"/>
                  <a:pt x="656" y="717"/>
                  <a:pt x="656" y="717"/>
                </a:cubicBezTo>
                <a:cubicBezTo>
                  <a:pt x="656" y="717"/>
                  <a:pt x="656" y="717"/>
                  <a:pt x="656" y="716"/>
                </a:cubicBezTo>
                <a:cubicBezTo>
                  <a:pt x="656" y="716"/>
                  <a:pt x="656" y="716"/>
                  <a:pt x="656" y="716"/>
                </a:cubicBezTo>
                <a:cubicBezTo>
                  <a:pt x="656" y="716"/>
                  <a:pt x="656" y="716"/>
                  <a:pt x="656" y="716"/>
                </a:cubicBezTo>
                <a:cubicBezTo>
                  <a:pt x="655" y="717"/>
                  <a:pt x="655" y="717"/>
                  <a:pt x="655" y="717"/>
                </a:cubicBezTo>
                <a:cubicBezTo>
                  <a:pt x="655" y="717"/>
                  <a:pt x="655" y="717"/>
                  <a:pt x="655" y="716"/>
                </a:cubicBezTo>
                <a:cubicBezTo>
                  <a:pt x="654" y="716"/>
                  <a:pt x="654" y="716"/>
                  <a:pt x="653" y="716"/>
                </a:cubicBezTo>
                <a:cubicBezTo>
                  <a:pt x="653" y="717"/>
                  <a:pt x="653" y="717"/>
                  <a:pt x="653" y="717"/>
                </a:cubicBezTo>
                <a:cubicBezTo>
                  <a:pt x="653" y="717"/>
                  <a:pt x="652" y="717"/>
                  <a:pt x="652" y="717"/>
                </a:cubicBezTo>
                <a:cubicBezTo>
                  <a:pt x="652" y="717"/>
                  <a:pt x="652" y="717"/>
                  <a:pt x="652" y="717"/>
                </a:cubicBezTo>
                <a:cubicBezTo>
                  <a:pt x="652" y="717"/>
                  <a:pt x="652" y="717"/>
                  <a:pt x="653" y="718"/>
                </a:cubicBezTo>
                <a:cubicBezTo>
                  <a:pt x="653" y="718"/>
                  <a:pt x="653" y="718"/>
                  <a:pt x="653" y="718"/>
                </a:cubicBezTo>
                <a:cubicBezTo>
                  <a:pt x="653" y="718"/>
                  <a:pt x="653" y="718"/>
                  <a:pt x="653" y="718"/>
                </a:cubicBezTo>
                <a:cubicBezTo>
                  <a:pt x="654" y="718"/>
                  <a:pt x="654" y="718"/>
                  <a:pt x="654" y="718"/>
                </a:cubicBezTo>
                <a:cubicBezTo>
                  <a:pt x="654" y="718"/>
                  <a:pt x="654" y="718"/>
                  <a:pt x="655" y="718"/>
                </a:cubicBezTo>
                <a:cubicBezTo>
                  <a:pt x="655" y="718"/>
                  <a:pt x="655" y="718"/>
                  <a:pt x="655" y="717"/>
                </a:cubicBezTo>
                <a:close/>
                <a:moveTo>
                  <a:pt x="657" y="721"/>
                </a:moveTo>
                <a:cubicBezTo>
                  <a:pt x="657" y="721"/>
                  <a:pt x="657" y="721"/>
                  <a:pt x="657" y="720"/>
                </a:cubicBezTo>
                <a:cubicBezTo>
                  <a:pt x="657" y="720"/>
                  <a:pt x="657" y="720"/>
                  <a:pt x="657" y="720"/>
                </a:cubicBezTo>
                <a:cubicBezTo>
                  <a:pt x="657" y="720"/>
                  <a:pt x="657" y="721"/>
                  <a:pt x="656" y="721"/>
                </a:cubicBezTo>
                <a:cubicBezTo>
                  <a:pt x="657" y="721"/>
                  <a:pt x="657" y="721"/>
                  <a:pt x="657" y="721"/>
                </a:cubicBezTo>
                <a:cubicBezTo>
                  <a:pt x="657" y="721"/>
                  <a:pt x="657" y="721"/>
                  <a:pt x="657" y="721"/>
                </a:cubicBezTo>
                <a:close/>
                <a:moveTo>
                  <a:pt x="631" y="701"/>
                </a:move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2"/>
                  <a:pt x="630" y="702"/>
                </a:cubicBezTo>
                <a:cubicBezTo>
                  <a:pt x="630" y="702"/>
                  <a:pt x="630" y="702"/>
                  <a:pt x="630" y="702"/>
                </a:cubicBezTo>
                <a:cubicBezTo>
                  <a:pt x="631" y="702"/>
                  <a:pt x="631" y="702"/>
                  <a:pt x="631" y="702"/>
                </a:cubicBezTo>
                <a:cubicBezTo>
                  <a:pt x="631" y="702"/>
                  <a:pt x="631" y="702"/>
                  <a:pt x="631" y="702"/>
                </a:cubicBezTo>
                <a:cubicBezTo>
                  <a:pt x="631" y="702"/>
                  <a:pt x="631" y="702"/>
                  <a:pt x="632" y="702"/>
                </a:cubicBezTo>
                <a:cubicBezTo>
                  <a:pt x="631" y="702"/>
                  <a:pt x="631" y="702"/>
                  <a:pt x="631" y="701"/>
                </a:cubicBezTo>
                <a:cubicBezTo>
                  <a:pt x="631" y="701"/>
                  <a:pt x="631" y="701"/>
                  <a:pt x="632" y="701"/>
                </a:cubicBezTo>
                <a:cubicBezTo>
                  <a:pt x="631" y="701"/>
                  <a:pt x="631" y="701"/>
                  <a:pt x="631" y="701"/>
                </a:cubicBezTo>
                <a:close/>
                <a:moveTo>
                  <a:pt x="600" y="424"/>
                </a:moveTo>
                <a:cubicBezTo>
                  <a:pt x="600" y="424"/>
                  <a:pt x="600" y="424"/>
                  <a:pt x="599" y="424"/>
                </a:cubicBezTo>
                <a:cubicBezTo>
                  <a:pt x="599" y="424"/>
                  <a:pt x="599" y="424"/>
                  <a:pt x="599" y="425"/>
                </a:cubicBezTo>
                <a:cubicBezTo>
                  <a:pt x="599" y="424"/>
                  <a:pt x="600" y="424"/>
                  <a:pt x="600" y="424"/>
                </a:cubicBezTo>
                <a:close/>
                <a:moveTo>
                  <a:pt x="604" y="425"/>
                </a:moveTo>
                <a:cubicBezTo>
                  <a:pt x="603" y="425"/>
                  <a:pt x="603" y="425"/>
                  <a:pt x="603" y="425"/>
                </a:cubicBezTo>
                <a:cubicBezTo>
                  <a:pt x="602" y="425"/>
                  <a:pt x="602" y="425"/>
                  <a:pt x="602" y="425"/>
                </a:cubicBezTo>
                <a:cubicBezTo>
                  <a:pt x="602" y="425"/>
                  <a:pt x="602" y="425"/>
                  <a:pt x="602" y="426"/>
                </a:cubicBezTo>
                <a:cubicBezTo>
                  <a:pt x="602" y="426"/>
                  <a:pt x="603" y="426"/>
                  <a:pt x="603" y="427"/>
                </a:cubicBezTo>
                <a:cubicBezTo>
                  <a:pt x="603" y="426"/>
                  <a:pt x="604" y="426"/>
                  <a:pt x="604" y="425"/>
                </a:cubicBezTo>
                <a:close/>
                <a:moveTo>
                  <a:pt x="605" y="427"/>
                </a:moveTo>
                <a:cubicBezTo>
                  <a:pt x="605" y="426"/>
                  <a:pt x="605" y="426"/>
                  <a:pt x="605" y="426"/>
                </a:cubicBezTo>
                <a:cubicBezTo>
                  <a:pt x="605" y="426"/>
                  <a:pt x="605" y="426"/>
                  <a:pt x="605" y="426"/>
                </a:cubicBezTo>
                <a:cubicBezTo>
                  <a:pt x="605" y="426"/>
                  <a:pt x="605" y="427"/>
                  <a:pt x="605" y="427"/>
                </a:cubicBezTo>
                <a:close/>
                <a:moveTo>
                  <a:pt x="605" y="425"/>
                </a:moveTo>
                <a:cubicBezTo>
                  <a:pt x="605" y="424"/>
                  <a:pt x="605" y="424"/>
                  <a:pt x="604" y="424"/>
                </a:cubicBezTo>
                <a:cubicBezTo>
                  <a:pt x="604" y="424"/>
                  <a:pt x="604" y="424"/>
                  <a:pt x="603" y="424"/>
                </a:cubicBezTo>
                <a:cubicBezTo>
                  <a:pt x="604" y="425"/>
                  <a:pt x="604" y="425"/>
                  <a:pt x="604" y="425"/>
                </a:cubicBezTo>
                <a:cubicBezTo>
                  <a:pt x="605" y="425"/>
                  <a:pt x="605" y="425"/>
                  <a:pt x="605" y="425"/>
                </a:cubicBezTo>
                <a:close/>
                <a:moveTo>
                  <a:pt x="606" y="429"/>
                </a:moveTo>
                <a:cubicBezTo>
                  <a:pt x="605" y="429"/>
                  <a:pt x="605" y="428"/>
                  <a:pt x="605" y="428"/>
                </a:cubicBezTo>
                <a:cubicBezTo>
                  <a:pt x="605" y="428"/>
                  <a:pt x="605" y="428"/>
                  <a:pt x="604" y="428"/>
                </a:cubicBezTo>
                <a:cubicBezTo>
                  <a:pt x="604" y="428"/>
                  <a:pt x="604" y="428"/>
                  <a:pt x="604" y="428"/>
                </a:cubicBezTo>
                <a:cubicBezTo>
                  <a:pt x="604" y="429"/>
                  <a:pt x="604" y="429"/>
                  <a:pt x="605" y="429"/>
                </a:cubicBezTo>
                <a:cubicBezTo>
                  <a:pt x="605" y="429"/>
                  <a:pt x="605" y="429"/>
                  <a:pt x="606" y="429"/>
                </a:cubicBezTo>
                <a:close/>
                <a:moveTo>
                  <a:pt x="606" y="432"/>
                </a:moveTo>
                <a:cubicBezTo>
                  <a:pt x="606" y="432"/>
                  <a:pt x="606" y="432"/>
                  <a:pt x="606" y="432"/>
                </a:cubicBezTo>
                <a:cubicBezTo>
                  <a:pt x="607" y="432"/>
                  <a:pt x="607" y="432"/>
                  <a:pt x="607" y="432"/>
                </a:cubicBezTo>
                <a:cubicBezTo>
                  <a:pt x="607" y="432"/>
                  <a:pt x="608" y="432"/>
                  <a:pt x="608" y="432"/>
                </a:cubicBezTo>
                <a:cubicBezTo>
                  <a:pt x="608" y="432"/>
                  <a:pt x="608" y="432"/>
                  <a:pt x="608" y="431"/>
                </a:cubicBezTo>
                <a:cubicBezTo>
                  <a:pt x="608" y="431"/>
                  <a:pt x="607" y="431"/>
                  <a:pt x="607" y="430"/>
                </a:cubicBezTo>
                <a:cubicBezTo>
                  <a:pt x="606" y="430"/>
                  <a:pt x="606" y="430"/>
                  <a:pt x="605" y="430"/>
                </a:cubicBezTo>
                <a:cubicBezTo>
                  <a:pt x="605" y="431"/>
                  <a:pt x="605" y="431"/>
                  <a:pt x="605" y="431"/>
                </a:cubicBezTo>
                <a:cubicBezTo>
                  <a:pt x="606" y="431"/>
                  <a:pt x="606" y="431"/>
                  <a:pt x="606" y="432"/>
                </a:cubicBezTo>
                <a:close/>
                <a:moveTo>
                  <a:pt x="608" y="434"/>
                </a:moveTo>
                <a:cubicBezTo>
                  <a:pt x="608" y="434"/>
                  <a:pt x="608" y="433"/>
                  <a:pt x="608" y="433"/>
                </a:cubicBezTo>
                <a:cubicBezTo>
                  <a:pt x="607" y="433"/>
                  <a:pt x="607" y="434"/>
                  <a:pt x="607" y="434"/>
                </a:cubicBezTo>
                <a:cubicBezTo>
                  <a:pt x="607" y="435"/>
                  <a:pt x="607" y="435"/>
                  <a:pt x="607" y="435"/>
                </a:cubicBezTo>
                <a:cubicBezTo>
                  <a:pt x="607" y="435"/>
                  <a:pt x="608" y="435"/>
                  <a:pt x="608" y="435"/>
                </a:cubicBezTo>
                <a:cubicBezTo>
                  <a:pt x="608" y="435"/>
                  <a:pt x="608" y="434"/>
                  <a:pt x="608" y="434"/>
                </a:cubicBezTo>
                <a:close/>
                <a:moveTo>
                  <a:pt x="615" y="435"/>
                </a:moveTo>
                <a:cubicBezTo>
                  <a:pt x="615" y="435"/>
                  <a:pt x="615" y="436"/>
                  <a:pt x="615" y="436"/>
                </a:cubicBezTo>
                <a:cubicBezTo>
                  <a:pt x="616" y="436"/>
                  <a:pt x="616" y="436"/>
                  <a:pt x="617" y="435"/>
                </a:cubicBezTo>
                <a:cubicBezTo>
                  <a:pt x="617" y="435"/>
                  <a:pt x="616" y="435"/>
                  <a:pt x="616" y="435"/>
                </a:cubicBezTo>
                <a:cubicBezTo>
                  <a:pt x="616" y="435"/>
                  <a:pt x="616" y="434"/>
                  <a:pt x="615" y="434"/>
                </a:cubicBezTo>
                <a:cubicBezTo>
                  <a:pt x="615" y="435"/>
                  <a:pt x="615" y="435"/>
                  <a:pt x="615" y="435"/>
                </a:cubicBezTo>
                <a:close/>
                <a:moveTo>
                  <a:pt x="607" y="436"/>
                </a:moveTo>
                <a:cubicBezTo>
                  <a:pt x="607" y="436"/>
                  <a:pt x="607" y="437"/>
                  <a:pt x="607" y="438"/>
                </a:cubicBezTo>
                <a:cubicBezTo>
                  <a:pt x="607" y="437"/>
                  <a:pt x="607" y="437"/>
                  <a:pt x="607" y="437"/>
                </a:cubicBezTo>
                <a:cubicBezTo>
                  <a:pt x="607" y="436"/>
                  <a:pt x="607" y="436"/>
                  <a:pt x="607" y="436"/>
                </a:cubicBezTo>
                <a:close/>
                <a:moveTo>
                  <a:pt x="607" y="441"/>
                </a:moveTo>
                <a:cubicBezTo>
                  <a:pt x="606" y="441"/>
                  <a:pt x="606" y="441"/>
                  <a:pt x="606" y="441"/>
                </a:cubicBezTo>
                <a:cubicBezTo>
                  <a:pt x="606" y="441"/>
                  <a:pt x="605" y="441"/>
                  <a:pt x="605" y="441"/>
                </a:cubicBezTo>
                <a:cubicBezTo>
                  <a:pt x="605" y="441"/>
                  <a:pt x="605" y="442"/>
                  <a:pt x="605" y="442"/>
                </a:cubicBezTo>
                <a:cubicBezTo>
                  <a:pt x="605" y="442"/>
                  <a:pt x="606" y="442"/>
                  <a:pt x="606" y="442"/>
                </a:cubicBezTo>
                <a:cubicBezTo>
                  <a:pt x="606" y="441"/>
                  <a:pt x="606" y="441"/>
                  <a:pt x="607" y="441"/>
                </a:cubicBezTo>
                <a:close/>
                <a:moveTo>
                  <a:pt x="607" y="440"/>
                </a:moveTo>
                <a:cubicBezTo>
                  <a:pt x="607" y="440"/>
                  <a:pt x="607" y="440"/>
                  <a:pt x="607" y="440"/>
                </a:cubicBezTo>
                <a:cubicBezTo>
                  <a:pt x="607" y="440"/>
                  <a:pt x="607" y="439"/>
                  <a:pt x="607" y="439"/>
                </a:cubicBezTo>
                <a:cubicBezTo>
                  <a:pt x="607" y="439"/>
                  <a:pt x="607" y="440"/>
                  <a:pt x="607" y="440"/>
                </a:cubicBezTo>
                <a:close/>
                <a:moveTo>
                  <a:pt x="610" y="445"/>
                </a:moveTo>
                <a:cubicBezTo>
                  <a:pt x="609" y="445"/>
                  <a:pt x="609" y="446"/>
                  <a:pt x="608" y="446"/>
                </a:cubicBezTo>
                <a:cubicBezTo>
                  <a:pt x="608" y="446"/>
                  <a:pt x="608" y="446"/>
                  <a:pt x="607" y="446"/>
                </a:cubicBezTo>
                <a:cubicBezTo>
                  <a:pt x="607" y="446"/>
                  <a:pt x="607" y="446"/>
                  <a:pt x="606" y="446"/>
                </a:cubicBezTo>
                <a:cubicBezTo>
                  <a:pt x="606" y="446"/>
                  <a:pt x="606" y="447"/>
                  <a:pt x="606" y="447"/>
                </a:cubicBezTo>
                <a:cubicBezTo>
                  <a:pt x="607" y="447"/>
                  <a:pt x="607" y="447"/>
                  <a:pt x="607" y="447"/>
                </a:cubicBezTo>
                <a:cubicBezTo>
                  <a:pt x="607" y="447"/>
                  <a:pt x="607" y="448"/>
                  <a:pt x="607" y="448"/>
                </a:cubicBezTo>
                <a:cubicBezTo>
                  <a:pt x="607" y="448"/>
                  <a:pt x="607" y="448"/>
                  <a:pt x="607" y="449"/>
                </a:cubicBezTo>
                <a:cubicBezTo>
                  <a:pt x="606" y="449"/>
                  <a:pt x="606" y="449"/>
                  <a:pt x="606" y="449"/>
                </a:cubicBezTo>
                <a:cubicBezTo>
                  <a:pt x="606" y="449"/>
                  <a:pt x="607" y="449"/>
                  <a:pt x="607" y="449"/>
                </a:cubicBezTo>
                <a:cubicBezTo>
                  <a:pt x="608" y="449"/>
                  <a:pt x="608" y="449"/>
                  <a:pt x="609" y="448"/>
                </a:cubicBezTo>
                <a:cubicBezTo>
                  <a:pt x="610" y="448"/>
                  <a:pt x="610" y="448"/>
                  <a:pt x="610" y="448"/>
                </a:cubicBezTo>
                <a:cubicBezTo>
                  <a:pt x="610" y="447"/>
                  <a:pt x="610" y="447"/>
                  <a:pt x="610" y="447"/>
                </a:cubicBezTo>
                <a:cubicBezTo>
                  <a:pt x="610" y="447"/>
                  <a:pt x="609" y="446"/>
                  <a:pt x="609" y="446"/>
                </a:cubicBezTo>
                <a:cubicBezTo>
                  <a:pt x="610" y="446"/>
                  <a:pt x="610" y="446"/>
                  <a:pt x="610" y="445"/>
                </a:cubicBezTo>
                <a:cubicBezTo>
                  <a:pt x="610" y="445"/>
                  <a:pt x="610" y="445"/>
                  <a:pt x="610" y="445"/>
                </a:cubicBezTo>
                <a:close/>
                <a:moveTo>
                  <a:pt x="611" y="444"/>
                </a:moveTo>
                <a:cubicBezTo>
                  <a:pt x="611" y="444"/>
                  <a:pt x="611" y="444"/>
                  <a:pt x="611" y="444"/>
                </a:cubicBezTo>
                <a:cubicBezTo>
                  <a:pt x="611" y="444"/>
                  <a:pt x="611" y="444"/>
                  <a:pt x="610" y="444"/>
                </a:cubicBezTo>
                <a:cubicBezTo>
                  <a:pt x="611" y="444"/>
                  <a:pt x="611" y="444"/>
                  <a:pt x="611" y="444"/>
                </a:cubicBezTo>
                <a:close/>
              </a:path>
            </a:pathLst>
          </a:custGeom>
          <a:solidFill>
            <a:srgbClr val="BBBAC6">
              <a:alpha val="39000"/>
            </a:srgb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endParaRPr lang="en-US" sz="3600" dirty="0">
              <a:solidFill>
                <a:schemeClr val="dk1">
                  <a:alpha val="35000"/>
                </a:schemeClr>
              </a:solidFill>
              <a:latin typeface="Source Sans Pro"/>
              <a:ea typeface="Source Sans Pro"/>
              <a:cs typeface="Source Sans Pro"/>
            </a:endParaRPr>
          </a:p>
        </p:txBody>
      </p:sp>
      <p:graphicFrame>
        <p:nvGraphicFramePr>
          <p:cNvPr id="1338" name="Chart 1337"/>
          <p:cNvGraphicFramePr/>
          <p:nvPr>
            <p:extLst>
              <p:ext uri="{D42A27DB-BD31-4B8C-83A1-F6EECF244321}">
                <p14:modId xmlns:p14="http://schemas.microsoft.com/office/powerpoint/2010/main" val="4243510282"/>
              </p:ext>
            </p:extLst>
          </p:nvPr>
        </p:nvGraphicFramePr>
        <p:xfrm>
          <a:off x="800100" y="2664883"/>
          <a:ext cx="2476500" cy="2620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39" name="Oval 1338"/>
          <p:cNvSpPr/>
          <p:nvPr/>
        </p:nvSpPr>
        <p:spPr>
          <a:xfrm>
            <a:off x="1106487" y="3043236"/>
            <a:ext cx="1863725" cy="18637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rgbClr val="14CE9F"/>
                </a:solidFill>
              </a:rPr>
              <a:t>157 k</a:t>
            </a:r>
          </a:p>
          <a:p>
            <a:pPr algn="ctr"/>
            <a:r>
              <a:rPr lang="en-US" sz="1200" dirty="0">
                <a:solidFill>
                  <a:srgbClr val="BBBAC6"/>
                </a:solidFill>
              </a:rPr>
              <a:t>America</a:t>
            </a:r>
          </a:p>
        </p:txBody>
      </p:sp>
      <p:graphicFrame>
        <p:nvGraphicFramePr>
          <p:cNvPr id="1340" name="Chart 1339"/>
          <p:cNvGraphicFramePr/>
          <p:nvPr>
            <p:extLst>
              <p:ext uri="{D42A27DB-BD31-4B8C-83A1-F6EECF244321}">
                <p14:modId xmlns:p14="http://schemas.microsoft.com/office/powerpoint/2010/main" val="1017435667"/>
              </p:ext>
            </p:extLst>
          </p:nvPr>
        </p:nvGraphicFramePr>
        <p:xfrm>
          <a:off x="8051800" y="1483783"/>
          <a:ext cx="2476500" cy="2620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41" name="Oval 1340"/>
          <p:cNvSpPr/>
          <p:nvPr/>
        </p:nvSpPr>
        <p:spPr>
          <a:xfrm>
            <a:off x="8358187" y="1862136"/>
            <a:ext cx="1863725" cy="18637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rgbClr val="14CE9F"/>
                </a:solidFill>
              </a:rPr>
              <a:t>25 k</a:t>
            </a:r>
          </a:p>
          <a:p>
            <a:pPr algn="ctr"/>
            <a:r>
              <a:rPr lang="en-US" sz="1200" dirty="0">
                <a:solidFill>
                  <a:srgbClr val="BBBAC6"/>
                </a:solidFill>
              </a:rPr>
              <a:t>Europe</a:t>
            </a:r>
          </a:p>
        </p:txBody>
      </p:sp>
      <p:sp>
        <p:nvSpPr>
          <p:cNvPr id="1342" name="Oval 1341"/>
          <p:cNvSpPr/>
          <p:nvPr/>
        </p:nvSpPr>
        <p:spPr>
          <a:xfrm>
            <a:off x="685659" y="5988504"/>
            <a:ext cx="162209" cy="162209"/>
          </a:xfrm>
          <a:prstGeom prst="ellipse">
            <a:avLst/>
          </a:prstGeom>
          <a:solidFill>
            <a:srgbClr val="DDF9B8"/>
          </a:solidFill>
          <a:ln>
            <a:solidFill>
              <a:srgbClr val="5D5B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3" name="TextBox 1342"/>
          <p:cNvSpPr txBox="1"/>
          <p:nvPr/>
        </p:nvSpPr>
        <p:spPr>
          <a:xfrm>
            <a:off x="899851" y="5988817"/>
            <a:ext cx="48731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50" dirty="0">
                <a:solidFill>
                  <a:srgbClr val="5D5B6F"/>
                </a:solidFill>
              </a:rPr>
              <a:t>Carbon</a:t>
            </a:r>
          </a:p>
        </p:txBody>
      </p:sp>
      <p:sp>
        <p:nvSpPr>
          <p:cNvPr id="1345" name="TextBox 1344"/>
          <p:cNvSpPr txBox="1"/>
          <p:nvPr/>
        </p:nvSpPr>
        <p:spPr>
          <a:xfrm>
            <a:off x="1805739" y="5988817"/>
            <a:ext cx="503343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50" dirty="0">
                <a:solidFill>
                  <a:srgbClr val="5D5B6F"/>
                </a:solidFill>
              </a:rPr>
              <a:t>Oxygen</a:t>
            </a:r>
          </a:p>
        </p:txBody>
      </p:sp>
      <p:sp>
        <p:nvSpPr>
          <p:cNvPr id="1346" name="TextBox 1345"/>
          <p:cNvSpPr txBox="1"/>
          <p:nvPr/>
        </p:nvSpPr>
        <p:spPr>
          <a:xfrm>
            <a:off x="3699272" y="5988817"/>
            <a:ext cx="58509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50" dirty="0">
                <a:solidFill>
                  <a:srgbClr val="5D5B6F"/>
                </a:solidFill>
              </a:rPr>
              <a:t>Nitrogen</a:t>
            </a:r>
          </a:p>
        </p:txBody>
      </p:sp>
      <p:sp>
        <p:nvSpPr>
          <p:cNvPr id="1347" name="TextBox 1346"/>
          <p:cNvSpPr txBox="1"/>
          <p:nvPr/>
        </p:nvSpPr>
        <p:spPr>
          <a:xfrm>
            <a:off x="2727657" y="5988817"/>
            <a:ext cx="553037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050" dirty="0">
                <a:solidFill>
                  <a:srgbClr val="5D5B6F"/>
                </a:solidFill>
              </a:rPr>
              <a:t>Calcium</a:t>
            </a:r>
          </a:p>
        </p:txBody>
      </p:sp>
      <p:sp>
        <p:nvSpPr>
          <p:cNvPr id="1348" name="Oval 1347"/>
          <p:cNvSpPr/>
          <p:nvPr/>
        </p:nvSpPr>
        <p:spPr>
          <a:xfrm>
            <a:off x="1591547" y="5988504"/>
            <a:ext cx="162209" cy="162209"/>
          </a:xfrm>
          <a:prstGeom prst="ellipse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9" name="Oval 1348"/>
          <p:cNvSpPr/>
          <p:nvPr/>
        </p:nvSpPr>
        <p:spPr>
          <a:xfrm>
            <a:off x="2513465" y="5988504"/>
            <a:ext cx="162209" cy="162209"/>
          </a:xfrm>
          <a:prstGeom prst="ellipse">
            <a:avLst/>
          </a:prstGeom>
          <a:solidFill>
            <a:srgbClr val="5D5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0" name="Oval 1349"/>
          <p:cNvSpPr/>
          <p:nvPr/>
        </p:nvSpPr>
        <p:spPr>
          <a:xfrm>
            <a:off x="3485077" y="5988504"/>
            <a:ext cx="162209" cy="162209"/>
          </a:xfrm>
          <a:prstGeom prst="ellipse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1" name="Rectangle 1350"/>
          <p:cNvSpPr/>
          <p:nvPr/>
        </p:nvSpPr>
        <p:spPr>
          <a:xfrm>
            <a:off x="3077583" y="4156186"/>
            <a:ext cx="16383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5D5B6F"/>
                </a:solidFill>
                <a:latin typeface="Montserrat Medium" panose="00000600000000000000" pitchFamily="2" charset="-18"/>
              </a:rPr>
              <a:t>2017</a:t>
            </a:r>
            <a:endParaRPr lang="en-US" sz="11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352" name="Rectangle 1351"/>
          <p:cNvSpPr/>
          <p:nvPr/>
        </p:nvSpPr>
        <p:spPr>
          <a:xfrm>
            <a:off x="3077582" y="4626086"/>
            <a:ext cx="26247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000"/>
              </a:lnSpc>
            </a:pPr>
            <a:r>
              <a:rPr lang="en-US" sz="110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/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/>
                </a:solidFill>
                <a:latin typeface="Montserrat Light" panose="00000400000000000000" pitchFamily="2" charset="-18"/>
              </a:rPr>
              <a:t> tote bag poke echo park banjo gochujang pork belly sustainable.</a:t>
            </a:r>
          </a:p>
        </p:txBody>
      </p:sp>
      <p:sp>
        <p:nvSpPr>
          <p:cNvPr id="1353" name="Rectangle 1352"/>
          <p:cNvSpPr/>
          <p:nvPr/>
        </p:nvSpPr>
        <p:spPr>
          <a:xfrm>
            <a:off x="9355137" y="3493267"/>
            <a:ext cx="16383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dirty="0">
                <a:solidFill>
                  <a:srgbClr val="5D5B6F"/>
                </a:solidFill>
                <a:latin typeface="Montserrat Medium" panose="00000600000000000000" pitchFamily="2" charset="-18"/>
              </a:rPr>
              <a:t>2017</a:t>
            </a:r>
            <a:endParaRPr lang="en-US" sz="11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354" name="Rectangle 1353"/>
          <p:cNvSpPr/>
          <p:nvPr/>
        </p:nvSpPr>
        <p:spPr>
          <a:xfrm>
            <a:off x="8368720" y="3963167"/>
            <a:ext cx="26247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2000"/>
              </a:lnSpc>
            </a:pPr>
            <a:r>
              <a:rPr lang="en-US" sz="110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/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/>
                </a:solidFill>
                <a:latin typeface="Montserrat Light" panose="00000400000000000000" pitchFamily="2" charset="-18"/>
              </a:rPr>
              <a:t> tote bag poke echo park banjo gochujang pork belly sustainable.</a:t>
            </a:r>
          </a:p>
        </p:txBody>
      </p:sp>
    </p:spTree>
    <p:extLst>
      <p:ext uri="{BB962C8B-B14F-4D97-AF65-F5344CB8AC3E}">
        <p14:creationId xmlns:p14="http://schemas.microsoft.com/office/powerpoint/2010/main" val="352015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900"/>
                                        <p:tgtEl>
                                          <p:spTgt spid="1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1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33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133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134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2000"/>
                                        <p:tgtEl>
                                          <p:spTgt spid="134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38" grpId="0" uiExpand="1">
        <p:bldSub>
          <a:bldChart bld="series"/>
        </p:bldSub>
      </p:bldGraphic>
      <p:bldP spid="1339" grpId="0" animBg="1"/>
      <p:bldGraphic spid="1340" grpId="0" uiExpand="1">
        <p:bldSub>
          <a:bldChart bld="series"/>
        </p:bldSub>
      </p:bldGraphic>
      <p:bldP spid="134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973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/>
          <p:cNvSpPr/>
          <p:nvPr/>
        </p:nvSpPr>
        <p:spPr>
          <a:xfrm rot="5400000">
            <a:off x="5032241" y="-2134837"/>
            <a:ext cx="2139656" cy="10859065"/>
          </a:xfrm>
          <a:prstGeom prst="rect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Pricing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2134755" y="2110839"/>
            <a:ext cx="2309091" cy="3463636"/>
            <a:chOff x="2134755" y="2110839"/>
            <a:chExt cx="2309091" cy="3463636"/>
          </a:xfrm>
        </p:grpSpPr>
        <p:sp>
          <p:nvSpPr>
            <p:cNvPr id="3" name="Rectangle 2"/>
            <p:cNvSpPr/>
            <p:nvPr/>
          </p:nvSpPr>
          <p:spPr>
            <a:xfrm>
              <a:off x="2134755" y="2110839"/>
              <a:ext cx="2309091" cy="346363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4CE9F"/>
              </a:solidFill>
            </a:ln>
            <a:effectLst>
              <a:outerShdw blurRad="139700" sx="102000" sy="102000" algn="ctr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t"/>
            <a:lstStyle/>
            <a:p>
              <a:pPr algn="ctr"/>
              <a:r>
                <a:rPr lang="pl-PL" sz="1600" dirty="0" err="1">
                  <a:solidFill>
                    <a:srgbClr val="14CE9F"/>
                  </a:solidFill>
                  <a:latin typeface="Montserrat Medium" panose="00000600000000000000" pitchFamily="2" charset="-18"/>
                </a:rPr>
                <a:t>Bronze</a:t>
              </a:r>
              <a:r>
                <a:rPr lang="pl-PL" sz="1600" dirty="0">
                  <a:solidFill>
                    <a:srgbClr val="14CE9F"/>
                  </a:solidFill>
                  <a:latin typeface="Montserrat Medium" panose="00000600000000000000" pitchFamily="2" charset="-18"/>
                </a:rPr>
                <a:t> </a:t>
              </a:r>
              <a:r>
                <a:rPr lang="pl-PL" sz="1600" dirty="0" err="1">
                  <a:solidFill>
                    <a:srgbClr val="14CE9F"/>
                  </a:solidFill>
                  <a:latin typeface="Montserrat Medium" panose="00000600000000000000" pitchFamily="2" charset="-18"/>
                </a:rPr>
                <a:t>Package</a:t>
              </a:r>
              <a:endParaRPr lang="en-US" sz="1600" dirty="0">
                <a:solidFill>
                  <a:srgbClr val="14CE9F"/>
                </a:solidFill>
                <a:latin typeface="Montserrat Medium" panose="00000600000000000000" pitchFamily="2" charset="-18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2925593" y="2612569"/>
              <a:ext cx="727415" cy="0"/>
            </a:xfrm>
            <a:prstGeom prst="line">
              <a:avLst/>
            </a:prstGeom>
            <a:ln>
              <a:solidFill>
                <a:srgbClr val="14CE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2523230" y="4411579"/>
              <a:ext cx="153214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l-PL" sz="2000" dirty="0">
                  <a:solidFill>
                    <a:srgbClr val="BBBAC6"/>
                  </a:solidFill>
                  <a:latin typeface="Montserrat SemiBold" panose="00000700000000000000" pitchFamily="2" charset="-18"/>
                </a:rPr>
                <a:t>99 EUR</a:t>
              </a:r>
              <a:endParaRPr lang="en-US" sz="2000" kern="2000" dirty="0">
                <a:solidFill>
                  <a:srgbClr val="BBBAC6"/>
                </a:solidFill>
                <a:latin typeface="Montserrat SemiBold" panose="00000700000000000000" pitchFamily="2" charset="-18"/>
              </a:endParaRP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2294075" y="4289287"/>
              <a:ext cx="2062685" cy="0"/>
            </a:xfrm>
            <a:prstGeom prst="line">
              <a:avLst/>
            </a:prstGeom>
            <a:ln>
              <a:solidFill>
                <a:srgbClr val="BBBAC6">
                  <a:alpha val="33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ounded Rectangle 25">
              <a:hlinkClick r:id="" action="ppaction://noaction"/>
            </p:cNvPr>
            <p:cNvSpPr/>
            <p:nvPr/>
          </p:nvSpPr>
          <p:spPr>
            <a:xfrm>
              <a:off x="2777150" y="5068515"/>
              <a:ext cx="1024300" cy="305377"/>
            </a:xfrm>
            <a:prstGeom prst="roundRect">
              <a:avLst>
                <a:gd name="adj" fmla="val 50000"/>
              </a:avLst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pl-PL" sz="1000" dirty="0"/>
                <a:t>REED MORE</a:t>
              </a:r>
              <a:endParaRPr lang="en-US" sz="1000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381161" y="4713330"/>
              <a:ext cx="181346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r>
                <a:rPr lang="pl-PL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pecial </a:t>
              </a:r>
              <a:r>
                <a:rPr lang="pl-PL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promotion</a:t>
              </a:r>
              <a:endPara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 flipH="1">
              <a:off x="2353481" y="2839513"/>
              <a:ext cx="1890859" cy="12824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Veniam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id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thundercats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treet art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horeditch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,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ed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icrodosing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raclette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ut a bird on it. Vaporware craft beer four dollar toast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tumeric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. 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925955" y="2110839"/>
            <a:ext cx="2309091" cy="3463636"/>
            <a:chOff x="7925955" y="2110839"/>
            <a:chExt cx="2309091" cy="3463636"/>
          </a:xfrm>
        </p:grpSpPr>
        <p:sp>
          <p:nvSpPr>
            <p:cNvPr id="8" name="Rectangle 7"/>
            <p:cNvSpPr/>
            <p:nvPr/>
          </p:nvSpPr>
          <p:spPr>
            <a:xfrm>
              <a:off x="7925955" y="2110839"/>
              <a:ext cx="2309091" cy="346363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4CE9F"/>
              </a:solidFill>
            </a:ln>
            <a:effectLst>
              <a:outerShdw blurRad="139700" sx="102000" sy="102000" algn="ctr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4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l-PL" sz="1600" dirty="0">
                  <a:solidFill>
                    <a:srgbClr val="14CE9F"/>
                  </a:solidFill>
                  <a:latin typeface="Montserrat Medium" panose="00000600000000000000" pitchFamily="2" charset="-18"/>
                </a:rPr>
                <a:t>Silver </a:t>
              </a:r>
              <a:r>
                <a:rPr lang="pl-PL" sz="1600" dirty="0" err="1">
                  <a:solidFill>
                    <a:srgbClr val="14CE9F"/>
                  </a:solidFill>
                  <a:latin typeface="Montserrat Medium" panose="00000600000000000000" pitchFamily="2" charset="-18"/>
                </a:rPr>
                <a:t>Package</a:t>
              </a:r>
              <a:endParaRPr lang="en-US" sz="1600" dirty="0">
                <a:solidFill>
                  <a:srgbClr val="14CE9F"/>
                </a:solidFill>
                <a:latin typeface="Montserrat Medium" panose="00000600000000000000" pitchFamily="2" charset="-18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8716793" y="2612569"/>
              <a:ext cx="727415" cy="0"/>
            </a:xfrm>
            <a:prstGeom prst="line">
              <a:avLst/>
            </a:prstGeom>
            <a:ln>
              <a:solidFill>
                <a:srgbClr val="14CE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8329670" y="4411579"/>
              <a:ext cx="153214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l-PL" sz="2000" dirty="0">
                  <a:solidFill>
                    <a:srgbClr val="BBBAC6"/>
                  </a:solidFill>
                  <a:latin typeface="Montserrat SemiBold" panose="00000700000000000000" pitchFamily="2" charset="-18"/>
                </a:rPr>
                <a:t>129 EUR</a:t>
              </a:r>
              <a:endParaRPr lang="en-US" sz="2000" kern="2000" dirty="0">
                <a:solidFill>
                  <a:srgbClr val="BBBAC6"/>
                </a:solidFill>
                <a:latin typeface="Montserrat SemiBold" panose="00000700000000000000" pitchFamily="2" charset="-18"/>
              </a:endParaRP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8100515" y="4289287"/>
              <a:ext cx="2062685" cy="0"/>
            </a:xfrm>
            <a:prstGeom prst="line">
              <a:avLst/>
            </a:prstGeom>
            <a:ln>
              <a:solidFill>
                <a:srgbClr val="BBBAC6">
                  <a:alpha val="33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ounded Rectangle 30">
              <a:hlinkClick r:id="" action="ppaction://noaction"/>
            </p:cNvPr>
            <p:cNvSpPr/>
            <p:nvPr/>
          </p:nvSpPr>
          <p:spPr>
            <a:xfrm>
              <a:off x="8583590" y="5068515"/>
              <a:ext cx="1024300" cy="305377"/>
            </a:xfrm>
            <a:prstGeom prst="roundRect">
              <a:avLst>
                <a:gd name="adj" fmla="val 50000"/>
              </a:avLst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pl-PL" sz="1000" dirty="0"/>
                <a:t>REED MORE</a:t>
              </a:r>
              <a:endParaRPr lang="en-US" sz="10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187601" y="4713330"/>
              <a:ext cx="181346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r>
                <a:rPr lang="pl-PL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pecial </a:t>
              </a:r>
              <a:r>
                <a:rPr lang="pl-PL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promotion</a:t>
              </a:r>
              <a:endPara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 flipH="1">
              <a:off x="8159921" y="2839513"/>
              <a:ext cx="1890859" cy="12824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Veniam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id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thundercats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treet art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horeditch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,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sed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microdosing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raclette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put a bird on it. Vaporware craft beer four dollar toast </a:t>
              </a:r>
              <a:r>
                <a:rPr lang="en-US" sz="10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tumeric</a:t>
              </a:r>
              <a:r>
                <a:rPr lang="en-US" sz="10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.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914900" y="1937657"/>
            <a:ext cx="2540000" cy="3824514"/>
            <a:chOff x="4914900" y="1937657"/>
            <a:chExt cx="2540000" cy="382451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14900" y="1937657"/>
              <a:ext cx="2540000" cy="3824514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4914900" y="1937657"/>
              <a:ext cx="2540000" cy="3824288"/>
            </a:xfrm>
            <a:prstGeom prst="rect">
              <a:avLst/>
            </a:prstGeom>
            <a:solidFill>
              <a:srgbClr val="5D5B6F">
                <a:alpha val="79000"/>
              </a:srgbClr>
            </a:solidFill>
            <a:ln>
              <a:solidFill>
                <a:srgbClr val="14CE9F"/>
              </a:solidFill>
            </a:ln>
            <a:effectLst>
              <a:outerShdw blurRad="139700" sx="102000" sy="102000" algn="ctr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4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l-PL" sz="2000" dirty="0">
                  <a:solidFill>
                    <a:schemeClr val="bg1"/>
                  </a:solidFill>
                  <a:latin typeface="Montserrat Medium" panose="00000600000000000000" pitchFamily="2" charset="-18"/>
                </a:rPr>
                <a:t>Gold </a:t>
              </a:r>
              <a:r>
                <a:rPr lang="pl-PL" sz="2000" dirty="0" err="1">
                  <a:solidFill>
                    <a:schemeClr val="bg1"/>
                  </a:solidFill>
                  <a:latin typeface="Montserrat Medium" panose="00000600000000000000" pitchFamily="2" charset="-18"/>
                </a:rPr>
                <a:t>Package</a:t>
              </a:r>
              <a:endParaRPr lang="en-US" sz="2000" dirty="0">
                <a:solidFill>
                  <a:schemeClr val="bg1"/>
                </a:solidFill>
                <a:latin typeface="Montserrat Medium" panose="00000600000000000000" pitchFamily="2" charset="-18"/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5784822" y="2452912"/>
              <a:ext cx="80015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5115072" y="4506338"/>
              <a:ext cx="2139656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l-PL" sz="3200" dirty="0">
                  <a:solidFill>
                    <a:schemeClr val="bg1"/>
                  </a:solidFill>
                  <a:latin typeface="Montserrat SemiBold" panose="00000700000000000000" pitchFamily="2" charset="-18"/>
                </a:rPr>
                <a:t>169 EUR</a:t>
              </a:r>
              <a:endParaRPr lang="en-US" sz="3200" kern="2000" dirty="0">
                <a:solidFill>
                  <a:schemeClr val="bg1"/>
                </a:solidFill>
                <a:latin typeface="Montserrat SemiBold" panose="00000700000000000000" pitchFamily="2" charset="-18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 flipH="1">
              <a:off x="5210981" y="2682829"/>
              <a:ext cx="2012778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Veniam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 id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thundercats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 street art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shoreditch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,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sed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microdosing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raclette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 put a bird on it. Vaporware craft beer four dollar toast </a:t>
              </a:r>
              <a:r>
                <a:rPr lang="en-US" sz="1100" dirty="0" err="1">
                  <a:solidFill>
                    <a:schemeClr val="bg1"/>
                  </a:solidFill>
                  <a:latin typeface="Montserrat Light" panose="00000400000000000000" pitchFamily="2" charset="-18"/>
                </a:rPr>
                <a:t>tumeric</a:t>
              </a:r>
              <a:r>
                <a:rPr lang="en-US" sz="1100" dirty="0">
                  <a:solidFill>
                    <a:schemeClr val="bg1"/>
                  </a:solidFill>
                  <a:latin typeface="Montserrat Light" panose="00000400000000000000" pitchFamily="2" charset="-18"/>
                </a:rPr>
                <a:t>. 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5143955" y="4411579"/>
              <a:ext cx="2062685" cy="0"/>
            </a:xfrm>
            <a:prstGeom prst="line">
              <a:avLst/>
            </a:prstGeom>
            <a:ln>
              <a:solidFill>
                <a:srgbClr val="BBBAC6">
                  <a:alpha val="33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5276761" y="4952869"/>
              <a:ext cx="181346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r>
                <a:rPr lang="pl-PL" sz="1000" dirty="0">
                  <a:solidFill>
                    <a:schemeClr val="bg1">
                      <a:alpha val="60000"/>
                    </a:schemeClr>
                  </a:solidFill>
                  <a:latin typeface="Montserrat Light" panose="00000400000000000000" pitchFamily="2" charset="-18"/>
                </a:rPr>
                <a:t>Special </a:t>
              </a:r>
              <a:r>
                <a:rPr lang="pl-PL" sz="1000" dirty="0" err="1">
                  <a:solidFill>
                    <a:schemeClr val="bg1">
                      <a:alpha val="60000"/>
                    </a:schemeClr>
                  </a:solidFill>
                  <a:latin typeface="Montserrat Light" panose="00000400000000000000" pitchFamily="2" charset="-18"/>
                </a:rPr>
                <a:t>promotion</a:t>
              </a:r>
              <a:endParaRPr lang="en-US" sz="1000" dirty="0">
                <a:solidFill>
                  <a:schemeClr val="bg1">
                    <a:alpha val="60000"/>
                  </a:scheme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37" name="Rounded Rectangle 36">
              <a:hlinkClick r:id="" action="ppaction://noaction"/>
            </p:cNvPr>
            <p:cNvSpPr/>
            <p:nvPr/>
          </p:nvSpPr>
          <p:spPr>
            <a:xfrm>
              <a:off x="5621535" y="5266635"/>
              <a:ext cx="1126730" cy="305377"/>
            </a:xfrm>
            <a:prstGeom prst="roundRect">
              <a:avLst>
                <a:gd name="adj" fmla="val 50000"/>
              </a:avLst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pl-PL" sz="1000" dirty="0"/>
                <a:t>REED MORE</a:t>
              </a:r>
              <a:endParaRPr lang="en-US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8341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70460" y="5692014"/>
            <a:ext cx="1891543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4000" dirty="0">
                <a:solidFill>
                  <a:schemeClr val="lt1"/>
                </a:solidFill>
                <a:latin typeface="Gabriela" panose="00000500000000000000" pitchFamily="2" charset="0"/>
              </a:rPr>
              <a:t>Agenda</a:t>
            </a:r>
          </a:p>
        </p:txBody>
      </p:sp>
      <p:sp>
        <p:nvSpPr>
          <p:cNvPr id="40" name="Rectangle 14"/>
          <p:cNvSpPr/>
          <p:nvPr/>
        </p:nvSpPr>
        <p:spPr>
          <a:xfrm>
            <a:off x="437191" y="5660840"/>
            <a:ext cx="1317240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30" y="5569526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1065387" y="4938520"/>
            <a:ext cx="354157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7896" y="1389556"/>
            <a:ext cx="197329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Introductio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697896" y="2306497"/>
            <a:ext cx="244618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About our team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97896" y="3223438"/>
            <a:ext cx="262571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Company history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3" y="1431347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358736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328612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3901523" y="4213514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Oval 58"/>
          <p:cNvSpPr/>
          <p:nvPr/>
        </p:nvSpPr>
        <p:spPr>
          <a:xfrm>
            <a:off x="3901523" y="5140903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4697896" y="4140379"/>
            <a:ext cx="183223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Who we are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697896" y="5057321"/>
            <a:ext cx="192039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Our </a:t>
            </a:r>
            <a:r>
              <a:rPr lang="en-US" sz="2400" kern="2000" dirty="0" err="1">
                <a:solidFill>
                  <a:srgbClr val="5D5B6F"/>
                </a:solidFill>
                <a:latin typeface="Montserrat Medium" panose="00000600000000000000" pitchFamily="2" charset="-18"/>
              </a:rPr>
              <a:t>priceing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714735" y="1508329"/>
            <a:ext cx="25087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YOUR INTRODUCTION TITL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220819" y="2423939"/>
            <a:ext cx="218168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ABOUT OUR TEAM TITL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396185" y="3333784"/>
            <a:ext cx="230672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COMPANY HISTORY TIT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02699" y="4259504"/>
            <a:ext cx="176650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WHO WE ARE TITL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14735" y="5174480"/>
            <a:ext cx="18498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OUR PRICEING TITLE</a:t>
            </a:r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34000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 p14:presetBounceEnd="34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31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32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 p14:presetBounceEnd="34000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35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36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fill="hold" grpId="0" nodeType="withEffect" p14:presetBounceEnd="34000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39" dur="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40" dur="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fill="hold" grpId="0" nodeType="withEffect" p14:presetBounceEnd="34000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43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44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  <p:bldP spid="62" grpId="0"/>
          <p:bldP spid="19" grpId="0"/>
          <p:bldP spid="20" grpId="0"/>
          <p:bldP spid="22" grpId="0"/>
          <p:bldP spid="23" grpId="0"/>
          <p:bldP spid="2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fill="hold" grpId="0" nodeType="withEffect">
                                      <p:stCondLst>
                                        <p:cond delay="22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61" grpId="0"/>
          <p:bldP spid="62" grpId="0"/>
          <p:bldP spid="19" grpId="0"/>
          <p:bldP spid="20" grpId="0"/>
          <p:bldP spid="22" grpId="0"/>
          <p:bldP spid="23" grpId="0"/>
          <p:bldP spid="24" grpId="0"/>
        </p:bldLst>
      </p:timing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308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/>
              <a:t>Testimonials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 flipH="1">
            <a:off x="658813" y="1800312"/>
            <a:ext cx="2804388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8814" y="1498508"/>
            <a:ext cx="2804880" cy="2430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pl-PL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OUR CLIENTS OPINIONS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6941" y="4440833"/>
            <a:ext cx="1553634" cy="155363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4649" y="2887162"/>
            <a:ext cx="1553634" cy="155363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70602" y="2887162"/>
            <a:ext cx="1553665" cy="155366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977935" y="1333502"/>
            <a:ext cx="1553665" cy="1553665"/>
          </a:xfrm>
          <a:prstGeom prst="rect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300"/>
              </a:lnSpc>
            </a:pPr>
            <a:r>
              <a:rPr lang="pl-PL" sz="1400" dirty="0">
                <a:solidFill>
                  <a:srgbClr val="5D5B6F"/>
                </a:solidFill>
                <a:latin typeface="+mj-lt"/>
              </a:rPr>
              <a:t>„</a:t>
            </a:r>
            <a:r>
              <a:rPr lang="en-US" sz="1400" dirty="0">
                <a:solidFill>
                  <a:srgbClr val="5D5B6F"/>
                </a:solidFill>
                <a:latin typeface="+mj-lt"/>
              </a:rPr>
              <a:t>Pickled </a:t>
            </a:r>
            <a:r>
              <a:rPr lang="en-US" sz="1400" dirty="0" err="1">
                <a:solidFill>
                  <a:srgbClr val="5D5B6F"/>
                </a:solidFill>
                <a:latin typeface="+mj-lt"/>
              </a:rPr>
              <a:t>bushwick</a:t>
            </a:r>
            <a:r>
              <a:rPr lang="en-US" sz="1400" dirty="0">
                <a:solidFill>
                  <a:srgbClr val="5D5B6F"/>
                </a:solidFill>
                <a:latin typeface="+mj-lt"/>
              </a:rPr>
              <a:t> ugh tofu activated </a:t>
            </a:r>
            <a:r>
              <a:rPr lang="en-US" sz="1400" dirty="0" err="1">
                <a:solidFill>
                  <a:srgbClr val="5D5B6F"/>
                </a:solidFill>
                <a:latin typeface="+mj-lt"/>
              </a:rPr>
              <a:t>charcoa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l”</a:t>
            </a:r>
            <a:endParaRPr lang="en-US" sz="1400" dirty="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424269" y="2887166"/>
            <a:ext cx="1553665" cy="1553665"/>
          </a:xfrm>
          <a:prstGeom prst="rect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300"/>
              </a:lnSpc>
            </a:pPr>
            <a:r>
              <a:rPr lang="pl-PL" sz="1400" dirty="0">
                <a:solidFill>
                  <a:srgbClr val="5D5B6F"/>
                </a:solidFill>
                <a:latin typeface="+mj-lt"/>
              </a:rPr>
              <a:t>„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Fanny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 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pack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 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cronut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 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lomo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 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chambray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 </a:t>
            </a:r>
            <a:r>
              <a:rPr lang="pl-PL" sz="1400" dirty="0" err="1">
                <a:solidFill>
                  <a:srgbClr val="5D5B6F"/>
                </a:solidFill>
                <a:latin typeface="+mj-lt"/>
              </a:rPr>
              <a:t>selvage</a:t>
            </a:r>
            <a:r>
              <a:rPr lang="pl-PL" sz="1400" dirty="0">
                <a:solidFill>
                  <a:srgbClr val="5D5B6F"/>
                </a:solidFill>
                <a:latin typeface="+mj-lt"/>
              </a:rPr>
              <a:t>”</a:t>
            </a:r>
            <a:endParaRPr lang="en-US" sz="1400" dirty="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70605" y="4440833"/>
            <a:ext cx="1553665" cy="1553665"/>
          </a:xfrm>
          <a:prstGeom prst="rect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2300"/>
              </a:lnSpc>
            </a:pPr>
            <a:r>
              <a:rPr lang="pl-PL" sz="1400" dirty="0">
                <a:solidFill>
                  <a:schemeClr val="bg1"/>
                </a:solidFill>
                <a:latin typeface="Gabriela"/>
              </a:rPr>
              <a:t>„</a:t>
            </a:r>
            <a:r>
              <a:rPr lang="en-US" sz="1400" dirty="0">
                <a:solidFill>
                  <a:schemeClr val="bg1"/>
                </a:solidFill>
                <a:latin typeface="Gabriela"/>
              </a:rPr>
              <a:t>Tousled vice </a:t>
            </a:r>
            <a:r>
              <a:rPr lang="en-US" sz="1400" dirty="0" err="1">
                <a:solidFill>
                  <a:schemeClr val="bg1"/>
                </a:solidFill>
                <a:latin typeface="Gabriela"/>
              </a:rPr>
              <a:t>pinterest</a:t>
            </a:r>
            <a:r>
              <a:rPr lang="en-US" sz="1400" dirty="0">
                <a:solidFill>
                  <a:schemeClr val="bg1"/>
                </a:solidFill>
                <a:latin typeface="Gabriela"/>
              </a:rPr>
              <a:t> hexagon readymade.</a:t>
            </a:r>
            <a:r>
              <a:rPr lang="pl-PL" sz="1400" dirty="0">
                <a:solidFill>
                  <a:schemeClr val="bg1"/>
                </a:solidFill>
                <a:latin typeface="Gabriela"/>
              </a:rPr>
              <a:t>”</a:t>
            </a:r>
            <a:endParaRPr lang="en-US" sz="1400" dirty="0">
              <a:solidFill>
                <a:schemeClr val="bg1"/>
              </a:solidFill>
              <a:latin typeface="Gabriel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62603" y="4440833"/>
            <a:ext cx="1553665" cy="1553665"/>
          </a:xfrm>
          <a:prstGeom prst="rect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19569" y="2887166"/>
            <a:ext cx="1553665" cy="1553665"/>
          </a:xfrm>
          <a:prstGeom prst="rect">
            <a:avLst/>
          </a:prstGeom>
          <a:solidFill>
            <a:srgbClr val="5D5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319569" y="1333500"/>
            <a:ext cx="1553665" cy="1553665"/>
          </a:xfrm>
          <a:prstGeom prst="rect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269" y="1333500"/>
            <a:ext cx="1553665" cy="1553665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2222925" y="2887166"/>
            <a:ext cx="1553665" cy="1553665"/>
          </a:xfrm>
          <a:prstGeom prst="rect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2300"/>
              </a:lnSpc>
            </a:pPr>
            <a:r>
              <a:rPr lang="pl-PL" sz="1400" dirty="0">
                <a:solidFill>
                  <a:srgbClr val="14CE9F"/>
                </a:solidFill>
                <a:latin typeface="Gabriela"/>
              </a:rPr>
              <a:t>„</a:t>
            </a:r>
            <a:r>
              <a:rPr lang="en-US" sz="1400" dirty="0">
                <a:solidFill>
                  <a:srgbClr val="14CE9F"/>
                </a:solidFill>
                <a:latin typeface="Gabriela"/>
              </a:rPr>
              <a:t>Typewriter </a:t>
            </a:r>
            <a:r>
              <a:rPr lang="en-US" sz="1400" dirty="0" err="1">
                <a:solidFill>
                  <a:srgbClr val="14CE9F"/>
                </a:solidFill>
                <a:latin typeface="Gabriela"/>
              </a:rPr>
              <a:t>jianbing</a:t>
            </a:r>
            <a:r>
              <a:rPr lang="en-US" sz="1400" dirty="0">
                <a:solidFill>
                  <a:srgbClr val="14CE9F"/>
                </a:solidFill>
                <a:latin typeface="Gabriela"/>
              </a:rPr>
              <a:t> </a:t>
            </a:r>
            <a:r>
              <a:rPr lang="en-US" sz="1400" dirty="0" err="1">
                <a:solidFill>
                  <a:srgbClr val="14CE9F"/>
                </a:solidFill>
                <a:latin typeface="Gabriela"/>
              </a:rPr>
              <a:t>chole</a:t>
            </a:r>
            <a:r>
              <a:rPr lang="en-US" sz="1400" dirty="0">
                <a:solidFill>
                  <a:srgbClr val="14CE9F"/>
                </a:solidFill>
                <a:latin typeface="Gabriela"/>
              </a:rPr>
              <a:t> waistcoat trust fund</a:t>
            </a:r>
            <a:r>
              <a:rPr lang="pl-PL" sz="1400" dirty="0">
                <a:solidFill>
                  <a:srgbClr val="14CE9F"/>
                </a:solidFill>
                <a:latin typeface="Gabriela"/>
              </a:rPr>
              <a:t>”</a:t>
            </a:r>
            <a:endParaRPr lang="en-US" sz="1400" dirty="0">
              <a:solidFill>
                <a:srgbClr val="14CE9F"/>
              </a:solidFill>
              <a:latin typeface="Gabriela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766935" y="4503066"/>
            <a:ext cx="205558" cy="205558"/>
          </a:xfrm>
          <a:prstGeom prst="ellipse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3660305" y="2944819"/>
            <a:ext cx="205558" cy="205558"/>
          </a:xfrm>
          <a:prstGeom prst="ellipse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8306779" y="2944819"/>
            <a:ext cx="205558" cy="205558"/>
          </a:xfrm>
          <a:prstGeom prst="ellipse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9875155" y="1383412"/>
            <a:ext cx="205558" cy="205558"/>
          </a:xfrm>
          <a:prstGeom prst="ellipse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53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4" grpId="0" animBg="1"/>
      <p:bldP spid="9" grpId="0" animBg="1"/>
      <p:bldP spid="10" grpId="0" animBg="1"/>
      <p:bldP spid="1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25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101600" y="483170"/>
            <a:ext cx="12128500" cy="3907796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3100"/>
            <a:ext cx="12192000" cy="35279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58811" y="4482760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en-US" sz="6000" dirty="0">
                <a:solidFill>
                  <a:srgbClr val="14CE9F"/>
                </a:solidFill>
                <a:latin typeface="Gabriela" panose="00000500000000000000" pitchFamily="2" charset="0"/>
              </a:rPr>
              <a:t>Thank yo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41561" y="5687814"/>
            <a:ext cx="7507290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0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529223" y="5490616"/>
            <a:ext cx="1133554" cy="61873"/>
          </a:xfrm>
          <a:prstGeom prst="rect">
            <a:avLst/>
          </a:prstGeom>
          <a:gradFill>
            <a:gsLst>
              <a:gs pos="77000">
                <a:srgbClr val="14CE9F"/>
              </a:gs>
              <a:gs pos="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8" name="Freeform 7"/>
          <p:cNvSpPr/>
          <p:nvPr/>
        </p:nvSpPr>
        <p:spPr>
          <a:xfrm>
            <a:off x="11025987" y="3775979"/>
            <a:ext cx="486562" cy="311547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634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658814" y="2172609"/>
            <a:ext cx="3833811" cy="1282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cte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whatever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ui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ria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typewrite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rirach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rm-to-table aesthetic you probably haven't heard of the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empo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olli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ingle origin coffee drinking vinega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celan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master cleanse. Aesthetic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xillologi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vinyl biodies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ru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90310" y="0"/>
            <a:ext cx="6639790" cy="6858000"/>
          </a:xfrm>
          <a:prstGeom prst="rect">
            <a:avLst/>
          </a:prstGeom>
        </p:spPr>
      </p:pic>
      <p:grpSp>
        <p:nvGrpSpPr>
          <p:cNvPr id="127" name="Group 126"/>
          <p:cNvGrpSpPr/>
          <p:nvPr/>
        </p:nvGrpSpPr>
        <p:grpSpPr>
          <a:xfrm>
            <a:off x="6060605" y="5565422"/>
            <a:ext cx="799264" cy="511771"/>
            <a:chOff x="2998091" y="-1444978"/>
            <a:chExt cx="799264" cy="511771"/>
          </a:xfrm>
          <a:gradFill>
            <a:gsLst>
              <a:gs pos="79000">
                <a:srgbClr val="14CE9F"/>
              </a:gs>
              <a:gs pos="0">
                <a:srgbClr val="DDF9B8"/>
              </a:gs>
            </a:gsLst>
            <a:lin ang="6900000" scaled="0"/>
          </a:gradFill>
        </p:grpSpPr>
        <p:sp>
          <p:nvSpPr>
            <p:cNvPr id="125" name="Freeform 9"/>
            <p:cNvSpPr>
              <a:spLocks/>
            </p:cNvSpPr>
            <p:nvPr/>
          </p:nvSpPr>
          <p:spPr bwMode="auto">
            <a:xfrm>
              <a:off x="2998091" y="-1444978"/>
              <a:ext cx="459815" cy="501380"/>
            </a:xfrm>
            <a:custGeom>
              <a:avLst/>
              <a:gdLst>
                <a:gd name="T0" fmla="*/ 151 w 224"/>
                <a:gd name="T1" fmla="*/ 46 h 244"/>
                <a:gd name="T2" fmla="*/ 157 w 224"/>
                <a:gd name="T3" fmla="*/ 35 h 244"/>
                <a:gd name="T4" fmla="*/ 158 w 224"/>
                <a:gd name="T5" fmla="*/ 27 h 244"/>
                <a:gd name="T6" fmla="*/ 154 w 224"/>
                <a:gd name="T7" fmla="*/ 12 h 244"/>
                <a:gd name="T8" fmla="*/ 151 w 224"/>
                <a:gd name="T9" fmla="*/ 5 h 244"/>
                <a:gd name="T10" fmla="*/ 157 w 224"/>
                <a:gd name="T11" fmla="*/ 0 h 244"/>
                <a:gd name="T12" fmla="*/ 220 w 224"/>
                <a:gd name="T13" fmla="*/ 0 h 244"/>
                <a:gd name="T14" fmla="*/ 224 w 224"/>
                <a:gd name="T15" fmla="*/ 12 h 244"/>
                <a:gd name="T16" fmla="*/ 216 w 224"/>
                <a:gd name="T17" fmla="*/ 14 h 244"/>
                <a:gd name="T18" fmla="*/ 201 w 224"/>
                <a:gd name="T19" fmla="*/ 20 h 244"/>
                <a:gd name="T20" fmla="*/ 190 w 224"/>
                <a:gd name="T21" fmla="*/ 32 h 244"/>
                <a:gd name="T22" fmla="*/ 130 w 224"/>
                <a:gd name="T23" fmla="*/ 118 h 244"/>
                <a:gd name="T24" fmla="*/ 191 w 224"/>
                <a:gd name="T25" fmla="*/ 205 h 244"/>
                <a:gd name="T26" fmla="*/ 206 w 224"/>
                <a:gd name="T27" fmla="*/ 224 h 244"/>
                <a:gd name="T28" fmla="*/ 221 w 224"/>
                <a:gd name="T29" fmla="*/ 239 h 244"/>
                <a:gd name="T30" fmla="*/ 216 w 224"/>
                <a:gd name="T31" fmla="*/ 244 h 244"/>
                <a:gd name="T32" fmla="*/ 136 w 224"/>
                <a:gd name="T33" fmla="*/ 244 h 244"/>
                <a:gd name="T34" fmla="*/ 132 w 224"/>
                <a:gd name="T35" fmla="*/ 232 h 244"/>
                <a:gd name="T36" fmla="*/ 140 w 224"/>
                <a:gd name="T37" fmla="*/ 230 h 244"/>
                <a:gd name="T38" fmla="*/ 153 w 224"/>
                <a:gd name="T39" fmla="*/ 216 h 244"/>
                <a:gd name="T40" fmla="*/ 145 w 224"/>
                <a:gd name="T41" fmla="*/ 196 h 244"/>
                <a:gd name="T42" fmla="*/ 108 w 224"/>
                <a:gd name="T43" fmla="*/ 144 h 244"/>
                <a:gd name="T44" fmla="*/ 72 w 224"/>
                <a:gd name="T45" fmla="*/ 198 h 244"/>
                <a:gd name="T46" fmla="*/ 67 w 224"/>
                <a:gd name="T47" fmla="*/ 209 h 244"/>
                <a:gd name="T48" fmla="*/ 65 w 224"/>
                <a:gd name="T49" fmla="*/ 217 h 244"/>
                <a:gd name="T50" fmla="*/ 70 w 224"/>
                <a:gd name="T51" fmla="*/ 232 h 244"/>
                <a:gd name="T52" fmla="*/ 73 w 224"/>
                <a:gd name="T53" fmla="*/ 239 h 244"/>
                <a:gd name="T54" fmla="*/ 66 w 224"/>
                <a:gd name="T55" fmla="*/ 244 h 244"/>
                <a:gd name="T56" fmla="*/ 4 w 224"/>
                <a:gd name="T57" fmla="*/ 244 h 244"/>
                <a:gd name="T58" fmla="*/ 0 w 224"/>
                <a:gd name="T59" fmla="*/ 232 h 244"/>
                <a:gd name="T60" fmla="*/ 7 w 224"/>
                <a:gd name="T61" fmla="*/ 230 h 244"/>
                <a:gd name="T62" fmla="*/ 22 w 224"/>
                <a:gd name="T63" fmla="*/ 224 h 244"/>
                <a:gd name="T64" fmla="*/ 34 w 224"/>
                <a:gd name="T65" fmla="*/ 212 h 244"/>
                <a:gd name="T66" fmla="*/ 95 w 224"/>
                <a:gd name="T67" fmla="*/ 124 h 244"/>
                <a:gd name="T68" fmla="*/ 37 w 224"/>
                <a:gd name="T69" fmla="*/ 42 h 244"/>
                <a:gd name="T70" fmla="*/ 6 w 224"/>
                <a:gd name="T71" fmla="*/ 5 h 244"/>
                <a:gd name="T72" fmla="*/ 10 w 224"/>
                <a:gd name="T73" fmla="*/ 0 h 244"/>
                <a:gd name="T74" fmla="*/ 91 w 224"/>
                <a:gd name="T75" fmla="*/ 0 h 244"/>
                <a:gd name="T76" fmla="*/ 95 w 224"/>
                <a:gd name="T77" fmla="*/ 12 h 244"/>
                <a:gd name="T78" fmla="*/ 87 w 224"/>
                <a:gd name="T79" fmla="*/ 14 h 244"/>
                <a:gd name="T80" fmla="*/ 74 w 224"/>
                <a:gd name="T81" fmla="*/ 28 h 244"/>
                <a:gd name="T82" fmla="*/ 81 w 224"/>
                <a:gd name="T83" fmla="*/ 48 h 244"/>
                <a:gd name="T84" fmla="*/ 116 w 224"/>
                <a:gd name="T85" fmla="*/ 98 h 244"/>
                <a:gd name="T86" fmla="*/ 151 w 224"/>
                <a:gd name="T87" fmla="*/ 4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244">
                  <a:moveTo>
                    <a:pt x="151" y="46"/>
                  </a:moveTo>
                  <a:cubicBezTo>
                    <a:pt x="154" y="41"/>
                    <a:pt x="156" y="38"/>
                    <a:pt x="157" y="35"/>
                  </a:cubicBezTo>
                  <a:cubicBezTo>
                    <a:pt x="158" y="33"/>
                    <a:pt x="158" y="30"/>
                    <a:pt x="158" y="27"/>
                  </a:cubicBezTo>
                  <a:cubicBezTo>
                    <a:pt x="158" y="23"/>
                    <a:pt x="157" y="18"/>
                    <a:pt x="154" y="12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16" y="14"/>
                    <a:pt x="216" y="14"/>
                    <a:pt x="216" y="14"/>
                  </a:cubicBezTo>
                  <a:cubicBezTo>
                    <a:pt x="210" y="15"/>
                    <a:pt x="206" y="17"/>
                    <a:pt x="201" y="20"/>
                  </a:cubicBezTo>
                  <a:cubicBezTo>
                    <a:pt x="197" y="23"/>
                    <a:pt x="193" y="27"/>
                    <a:pt x="190" y="32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91" y="205"/>
                    <a:pt x="191" y="205"/>
                    <a:pt x="191" y="205"/>
                  </a:cubicBezTo>
                  <a:cubicBezTo>
                    <a:pt x="197" y="213"/>
                    <a:pt x="202" y="220"/>
                    <a:pt x="206" y="224"/>
                  </a:cubicBezTo>
                  <a:cubicBezTo>
                    <a:pt x="210" y="229"/>
                    <a:pt x="215" y="234"/>
                    <a:pt x="221" y="239"/>
                  </a:cubicBezTo>
                  <a:cubicBezTo>
                    <a:pt x="216" y="244"/>
                    <a:pt x="216" y="244"/>
                    <a:pt x="216" y="244"/>
                  </a:cubicBezTo>
                  <a:cubicBezTo>
                    <a:pt x="136" y="244"/>
                    <a:pt x="136" y="244"/>
                    <a:pt x="136" y="244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40" y="230"/>
                    <a:pt x="140" y="230"/>
                    <a:pt x="140" y="230"/>
                  </a:cubicBezTo>
                  <a:cubicBezTo>
                    <a:pt x="148" y="228"/>
                    <a:pt x="153" y="223"/>
                    <a:pt x="153" y="216"/>
                  </a:cubicBezTo>
                  <a:cubicBezTo>
                    <a:pt x="153" y="210"/>
                    <a:pt x="150" y="203"/>
                    <a:pt x="145" y="196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69" y="203"/>
                    <a:pt x="67" y="206"/>
                    <a:pt x="67" y="209"/>
                  </a:cubicBezTo>
                  <a:cubicBezTo>
                    <a:pt x="66" y="211"/>
                    <a:pt x="65" y="214"/>
                    <a:pt x="65" y="217"/>
                  </a:cubicBezTo>
                  <a:cubicBezTo>
                    <a:pt x="65" y="221"/>
                    <a:pt x="67" y="226"/>
                    <a:pt x="70" y="232"/>
                  </a:cubicBezTo>
                  <a:cubicBezTo>
                    <a:pt x="73" y="239"/>
                    <a:pt x="73" y="239"/>
                    <a:pt x="73" y="239"/>
                  </a:cubicBezTo>
                  <a:cubicBezTo>
                    <a:pt x="66" y="244"/>
                    <a:pt x="66" y="244"/>
                    <a:pt x="66" y="244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7" y="230"/>
                    <a:pt x="7" y="230"/>
                    <a:pt x="7" y="230"/>
                  </a:cubicBezTo>
                  <a:cubicBezTo>
                    <a:pt x="13" y="229"/>
                    <a:pt x="18" y="227"/>
                    <a:pt x="22" y="224"/>
                  </a:cubicBezTo>
                  <a:cubicBezTo>
                    <a:pt x="26" y="222"/>
                    <a:pt x="30" y="218"/>
                    <a:pt x="34" y="212"/>
                  </a:cubicBezTo>
                  <a:cubicBezTo>
                    <a:pt x="95" y="124"/>
                    <a:pt x="95" y="124"/>
                    <a:pt x="95" y="124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25" y="25"/>
                    <a:pt x="15" y="13"/>
                    <a:pt x="6" y="5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78" y="16"/>
                    <a:pt x="74" y="21"/>
                    <a:pt x="74" y="28"/>
                  </a:cubicBezTo>
                  <a:cubicBezTo>
                    <a:pt x="74" y="34"/>
                    <a:pt x="76" y="41"/>
                    <a:pt x="81" y="48"/>
                  </a:cubicBezTo>
                  <a:cubicBezTo>
                    <a:pt x="116" y="98"/>
                    <a:pt x="116" y="98"/>
                    <a:pt x="116" y="98"/>
                  </a:cubicBezTo>
                  <a:lnTo>
                    <a:pt x="151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0"/>
            <p:cNvSpPr>
              <a:spLocks/>
            </p:cNvSpPr>
            <p:nvPr/>
          </p:nvSpPr>
          <p:spPr bwMode="auto">
            <a:xfrm>
              <a:off x="3496873" y="-1298634"/>
              <a:ext cx="300482" cy="365427"/>
            </a:xfrm>
            <a:custGeom>
              <a:avLst/>
              <a:gdLst>
                <a:gd name="T0" fmla="*/ 115 w 146"/>
                <a:gd name="T1" fmla="*/ 170 h 178"/>
                <a:gd name="T2" fmla="*/ 78 w 146"/>
                <a:gd name="T3" fmla="*/ 178 h 178"/>
                <a:gd name="T4" fmla="*/ 37 w 146"/>
                <a:gd name="T5" fmla="*/ 167 h 178"/>
                <a:gd name="T6" fmla="*/ 9 w 146"/>
                <a:gd name="T7" fmla="*/ 136 h 178"/>
                <a:gd name="T8" fmla="*/ 0 w 146"/>
                <a:gd name="T9" fmla="*/ 91 h 178"/>
                <a:gd name="T10" fmla="*/ 10 w 146"/>
                <a:gd name="T11" fmla="*/ 43 h 178"/>
                <a:gd name="T12" fmla="*/ 41 w 146"/>
                <a:gd name="T13" fmla="*/ 11 h 178"/>
                <a:gd name="T14" fmla="*/ 88 w 146"/>
                <a:gd name="T15" fmla="*/ 0 h 178"/>
                <a:gd name="T16" fmla="*/ 119 w 146"/>
                <a:gd name="T17" fmla="*/ 7 h 178"/>
                <a:gd name="T18" fmla="*/ 139 w 146"/>
                <a:gd name="T19" fmla="*/ 25 h 178"/>
                <a:gd name="T20" fmla="*/ 145 w 146"/>
                <a:gd name="T21" fmla="*/ 50 h 178"/>
                <a:gd name="T22" fmla="*/ 138 w 146"/>
                <a:gd name="T23" fmla="*/ 77 h 178"/>
                <a:gd name="T24" fmla="*/ 115 w 146"/>
                <a:gd name="T25" fmla="*/ 99 h 178"/>
                <a:gd name="T26" fmla="*/ 80 w 146"/>
                <a:gd name="T27" fmla="*/ 107 h 178"/>
                <a:gd name="T28" fmla="*/ 56 w 146"/>
                <a:gd name="T29" fmla="*/ 103 h 178"/>
                <a:gd name="T30" fmla="*/ 43 w 146"/>
                <a:gd name="T31" fmla="*/ 91 h 178"/>
                <a:gd name="T32" fmla="*/ 45 w 146"/>
                <a:gd name="T33" fmla="*/ 86 h 178"/>
                <a:gd name="T34" fmla="*/ 48 w 146"/>
                <a:gd name="T35" fmla="*/ 84 h 178"/>
                <a:gd name="T36" fmla="*/ 55 w 146"/>
                <a:gd name="T37" fmla="*/ 86 h 178"/>
                <a:gd name="T38" fmla="*/ 70 w 146"/>
                <a:gd name="T39" fmla="*/ 88 h 178"/>
                <a:gd name="T40" fmla="*/ 102 w 146"/>
                <a:gd name="T41" fmla="*/ 77 h 178"/>
                <a:gd name="T42" fmla="*/ 113 w 146"/>
                <a:gd name="T43" fmla="*/ 49 h 178"/>
                <a:gd name="T44" fmla="*/ 105 w 146"/>
                <a:gd name="T45" fmla="*/ 26 h 178"/>
                <a:gd name="T46" fmla="*/ 81 w 146"/>
                <a:gd name="T47" fmla="*/ 17 h 178"/>
                <a:gd name="T48" fmla="*/ 47 w 146"/>
                <a:gd name="T49" fmla="*/ 36 h 178"/>
                <a:gd name="T50" fmla="*/ 35 w 146"/>
                <a:gd name="T51" fmla="*/ 91 h 178"/>
                <a:gd name="T52" fmla="*/ 47 w 146"/>
                <a:gd name="T53" fmla="*/ 138 h 178"/>
                <a:gd name="T54" fmla="*/ 85 w 146"/>
                <a:gd name="T55" fmla="*/ 155 h 178"/>
                <a:gd name="T56" fmla="*/ 134 w 146"/>
                <a:gd name="T57" fmla="*/ 136 h 178"/>
                <a:gd name="T58" fmla="*/ 138 w 146"/>
                <a:gd name="T59" fmla="*/ 135 h 178"/>
                <a:gd name="T60" fmla="*/ 143 w 146"/>
                <a:gd name="T61" fmla="*/ 138 h 178"/>
                <a:gd name="T62" fmla="*/ 146 w 146"/>
                <a:gd name="T63" fmla="*/ 145 h 178"/>
                <a:gd name="T64" fmla="*/ 145 w 146"/>
                <a:gd name="T65" fmla="*/ 148 h 178"/>
                <a:gd name="T66" fmla="*/ 115 w 146"/>
                <a:gd name="T67" fmla="*/ 17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6" h="178">
                  <a:moveTo>
                    <a:pt x="115" y="170"/>
                  </a:moveTo>
                  <a:cubicBezTo>
                    <a:pt x="104" y="175"/>
                    <a:pt x="91" y="178"/>
                    <a:pt x="78" y="178"/>
                  </a:cubicBezTo>
                  <a:cubicBezTo>
                    <a:pt x="62" y="178"/>
                    <a:pt x="48" y="174"/>
                    <a:pt x="37" y="167"/>
                  </a:cubicBezTo>
                  <a:cubicBezTo>
                    <a:pt x="25" y="160"/>
                    <a:pt x="16" y="149"/>
                    <a:pt x="9" y="136"/>
                  </a:cubicBezTo>
                  <a:cubicBezTo>
                    <a:pt x="3" y="123"/>
                    <a:pt x="0" y="108"/>
                    <a:pt x="0" y="91"/>
                  </a:cubicBezTo>
                  <a:cubicBezTo>
                    <a:pt x="0" y="73"/>
                    <a:pt x="3" y="57"/>
                    <a:pt x="10" y="43"/>
                  </a:cubicBezTo>
                  <a:cubicBezTo>
                    <a:pt x="18" y="29"/>
                    <a:pt x="28" y="19"/>
                    <a:pt x="41" y="11"/>
                  </a:cubicBezTo>
                  <a:cubicBezTo>
                    <a:pt x="54" y="4"/>
                    <a:pt x="70" y="0"/>
                    <a:pt x="88" y="0"/>
                  </a:cubicBezTo>
                  <a:cubicBezTo>
                    <a:pt x="100" y="0"/>
                    <a:pt x="111" y="2"/>
                    <a:pt x="119" y="7"/>
                  </a:cubicBezTo>
                  <a:cubicBezTo>
                    <a:pt x="128" y="11"/>
                    <a:pt x="135" y="17"/>
                    <a:pt x="139" y="25"/>
                  </a:cubicBezTo>
                  <a:cubicBezTo>
                    <a:pt x="143" y="33"/>
                    <a:pt x="145" y="41"/>
                    <a:pt x="145" y="50"/>
                  </a:cubicBezTo>
                  <a:cubicBezTo>
                    <a:pt x="145" y="59"/>
                    <a:pt x="143" y="68"/>
                    <a:pt x="138" y="77"/>
                  </a:cubicBezTo>
                  <a:cubicBezTo>
                    <a:pt x="133" y="86"/>
                    <a:pt x="125" y="93"/>
                    <a:pt x="115" y="99"/>
                  </a:cubicBezTo>
                  <a:cubicBezTo>
                    <a:pt x="106" y="104"/>
                    <a:pt x="94" y="107"/>
                    <a:pt x="80" y="107"/>
                  </a:cubicBezTo>
                  <a:cubicBezTo>
                    <a:pt x="73" y="107"/>
                    <a:pt x="65" y="106"/>
                    <a:pt x="56" y="103"/>
                  </a:cubicBezTo>
                  <a:cubicBezTo>
                    <a:pt x="47" y="100"/>
                    <a:pt x="43" y="96"/>
                    <a:pt x="43" y="91"/>
                  </a:cubicBezTo>
                  <a:cubicBezTo>
                    <a:pt x="43" y="89"/>
                    <a:pt x="44" y="88"/>
                    <a:pt x="45" y="86"/>
                  </a:cubicBezTo>
                  <a:cubicBezTo>
                    <a:pt x="46" y="84"/>
                    <a:pt x="47" y="84"/>
                    <a:pt x="48" y="84"/>
                  </a:cubicBezTo>
                  <a:cubicBezTo>
                    <a:pt x="49" y="84"/>
                    <a:pt x="51" y="84"/>
                    <a:pt x="55" y="86"/>
                  </a:cubicBezTo>
                  <a:cubicBezTo>
                    <a:pt x="59" y="87"/>
                    <a:pt x="64" y="88"/>
                    <a:pt x="70" y="88"/>
                  </a:cubicBezTo>
                  <a:cubicBezTo>
                    <a:pt x="84" y="88"/>
                    <a:pt x="94" y="84"/>
                    <a:pt x="102" y="77"/>
                  </a:cubicBezTo>
                  <a:cubicBezTo>
                    <a:pt x="109" y="69"/>
                    <a:pt x="113" y="60"/>
                    <a:pt x="113" y="49"/>
                  </a:cubicBezTo>
                  <a:cubicBezTo>
                    <a:pt x="113" y="41"/>
                    <a:pt x="110" y="33"/>
                    <a:pt x="105" y="26"/>
                  </a:cubicBezTo>
                  <a:cubicBezTo>
                    <a:pt x="99" y="20"/>
                    <a:pt x="91" y="17"/>
                    <a:pt x="81" y="17"/>
                  </a:cubicBezTo>
                  <a:cubicBezTo>
                    <a:pt x="66" y="17"/>
                    <a:pt x="55" y="23"/>
                    <a:pt x="47" y="36"/>
                  </a:cubicBezTo>
                  <a:cubicBezTo>
                    <a:pt x="39" y="49"/>
                    <a:pt x="35" y="67"/>
                    <a:pt x="35" y="91"/>
                  </a:cubicBezTo>
                  <a:cubicBezTo>
                    <a:pt x="35" y="111"/>
                    <a:pt x="39" y="127"/>
                    <a:pt x="47" y="138"/>
                  </a:cubicBezTo>
                  <a:cubicBezTo>
                    <a:pt x="56" y="150"/>
                    <a:pt x="69" y="155"/>
                    <a:pt x="85" y="155"/>
                  </a:cubicBezTo>
                  <a:cubicBezTo>
                    <a:pt x="105" y="155"/>
                    <a:pt x="121" y="149"/>
                    <a:pt x="134" y="136"/>
                  </a:cubicBezTo>
                  <a:cubicBezTo>
                    <a:pt x="135" y="135"/>
                    <a:pt x="136" y="135"/>
                    <a:pt x="138" y="135"/>
                  </a:cubicBezTo>
                  <a:cubicBezTo>
                    <a:pt x="139" y="135"/>
                    <a:pt x="141" y="136"/>
                    <a:pt x="143" y="138"/>
                  </a:cubicBezTo>
                  <a:cubicBezTo>
                    <a:pt x="145" y="140"/>
                    <a:pt x="146" y="142"/>
                    <a:pt x="146" y="145"/>
                  </a:cubicBezTo>
                  <a:cubicBezTo>
                    <a:pt x="146" y="146"/>
                    <a:pt x="146" y="147"/>
                    <a:pt x="145" y="148"/>
                  </a:cubicBezTo>
                  <a:cubicBezTo>
                    <a:pt x="137" y="157"/>
                    <a:pt x="127" y="165"/>
                    <a:pt x="115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8" name="TextBox 127"/>
          <p:cNvSpPr txBox="1"/>
          <p:nvPr/>
        </p:nvSpPr>
        <p:spPr>
          <a:xfrm>
            <a:off x="658814" y="3916403"/>
            <a:ext cx="3833811" cy="17953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4185841" cy="1803400"/>
          </a:xfrm>
        </p:spPr>
        <p:txBody>
          <a:bodyPr/>
          <a:lstStyle/>
          <a:p>
            <a:r>
              <a:rPr lang="en-US" b="1" dirty="0">
                <a:latin typeface="Gabriela" panose="00000500000000000000" pitchFamily="2" charset="0"/>
              </a:rPr>
              <a:t>Introduction</a:t>
            </a:r>
            <a:br>
              <a:rPr lang="en-US" b="1" dirty="0">
                <a:latin typeface="Gabriela" panose="00000500000000000000" pitchFamily="2" charset="0"/>
              </a:rPr>
            </a:br>
            <a:r>
              <a:rPr lang="en-US" b="1" dirty="0">
                <a:latin typeface="Gabriela" panose="00000500000000000000" pitchFamily="2" charset="0"/>
              </a:rPr>
              <a:t>Company story.</a:t>
            </a:r>
            <a:br>
              <a:rPr lang="en-US" b="1" dirty="0">
                <a:latin typeface="Gabriela" panose="00000500000000000000" pitchFamily="2" charset="0"/>
              </a:rPr>
            </a:b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853113" y="660401"/>
            <a:ext cx="3682415" cy="592137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D5B6F"/>
              </a:solidFill>
            </a:endParaRPr>
          </a:p>
        </p:txBody>
      </p:sp>
      <p:sp>
        <p:nvSpPr>
          <p:cNvPr id="16" name="Rectangle 14"/>
          <p:cNvSpPr/>
          <p:nvPr/>
        </p:nvSpPr>
        <p:spPr>
          <a:xfrm rot="10800000">
            <a:off x="10084278" y="419098"/>
            <a:ext cx="1739421" cy="435791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8033088" y="-1741530"/>
            <a:ext cx="782386" cy="485684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4"/>
          <p:cNvSpPr/>
          <p:nvPr/>
        </p:nvSpPr>
        <p:spPr>
          <a:xfrm flipH="1">
            <a:off x="9246005" y="2486130"/>
            <a:ext cx="2425294" cy="39508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3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6000">
                                          <p:cBhvr additive="base">
                                            <p:cTn id="7" dur="11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6000">
                                          <p:cBhvr additive="base">
                                            <p:cTn id="8" dur="11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2" presetClass="entr" presetSubtype="1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4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2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1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20" dur="20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P spid="16" grpId="0" animBg="1"/>
          <p:bldP spid="17" grpId="0" animBg="1"/>
          <p:bldP spid="1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1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100" fill="hold"/>
                                            <p:tgtEl>
                                              <p:spTgt spid="1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2" presetID="22" presetClass="entr" presetSubtype="1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4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22" presetClass="entr" presetSubtype="2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7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1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20" dur="20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P spid="16" grpId="0" animBg="1"/>
          <p:bldP spid="17" grpId="0" animBg="1"/>
          <p:bldP spid="18" grpId="0" animBg="1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11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mputer Keyboard - 317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144393"/>
            <a:ext cx="4214295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en-US" sz="6000" dirty="0">
                <a:solidFill>
                  <a:schemeClr val="lt1"/>
                </a:solidFill>
                <a:latin typeface="Gabriela" panose="00000500000000000000" pitchFamily="2" charset="0"/>
              </a:rPr>
              <a:t>Our history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8439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8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475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900" y="0"/>
            <a:ext cx="6896100" cy="6858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58813" y="1707851"/>
            <a:ext cx="3201987" cy="17953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cte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whatever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ui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ria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typewrite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rirach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rm-to-table aesthetic you probably haven't heard of the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empo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olli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ingle origin coffee drinking vinega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celan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master cleanse. Aesthetic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xillologi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vinyl biodies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ru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4330700" y="1571382"/>
            <a:ext cx="7230006" cy="4629393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14"/>
          <p:cNvSpPr/>
          <p:nvPr/>
        </p:nvSpPr>
        <p:spPr>
          <a:xfrm rot="10800000">
            <a:off x="6899355" y="660400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title he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58813" y="3765251"/>
            <a:ext cx="3201987" cy="17953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cte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whatever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ui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riatu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locavore typewrite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ok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rirach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rm-to-table aesthetic you probably haven't heard of the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empor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olli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ingle origin coffee drinking vinegar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celan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master cleanse. Aesthetic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xillologis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vinyl biodies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irur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35019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006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37075" y="864561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Start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1500374" y="1403287"/>
            <a:ext cx="0" cy="14827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313084" y="306527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1412035" y="316422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1434029" y="318622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252759" y="300495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1809750" y="3228946"/>
            <a:ext cx="9445721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3818567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/>
          <p:cNvSpPr/>
          <p:nvPr/>
        </p:nvSpPr>
        <p:spPr>
          <a:xfrm>
            <a:off x="6240396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8662225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37"/>
          <p:cNvSpPr/>
          <p:nvPr/>
        </p:nvSpPr>
        <p:spPr>
          <a:xfrm>
            <a:off x="11084053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rot="16200000">
            <a:off x="1060118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/>
                </a:solidFill>
              </a:rPr>
              <a:t>201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809751" y="3546711"/>
            <a:ext cx="172085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ronut asymmetrical copper mug cray, succulents umami raw deni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qu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stainable flannel master.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3469889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11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219522" y="3546711"/>
            <a:ext cx="172085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ronut asymmetrical copper mug cray, succulents umami raw deni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qu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stainable flannel master.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5892360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12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641993" y="3546711"/>
            <a:ext cx="172085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ronut asymmetrical copper mug cray, succulents umami raw deni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qu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stainable flannel master.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7" name="TextBox 46"/>
          <p:cNvSpPr txBox="1"/>
          <p:nvPr/>
        </p:nvSpPr>
        <p:spPr>
          <a:xfrm rot="16200000">
            <a:off x="8314831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1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064464" y="3546711"/>
            <a:ext cx="172085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ronut asymmetrical copper mug cray, succulents umami raw deni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onsequ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stainable flannel master.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9" name="TextBox 48"/>
          <p:cNvSpPr txBox="1"/>
          <p:nvPr/>
        </p:nvSpPr>
        <p:spPr>
          <a:xfrm rot="16200000">
            <a:off x="10729506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15000"/>
                  </a:srgbClr>
                </a:solidFill>
              </a:rPr>
              <a:t>2014</a:t>
            </a:r>
          </a:p>
        </p:txBody>
      </p:sp>
      <p:cxnSp>
        <p:nvCxnSpPr>
          <p:cNvPr id="51" name="Straight Connector 50"/>
          <p:cNvCxnSpPr/>
          <p:nvPr/>
        </p:nvCxnSpPr>
        <p:spPr>
          <a:xfrm>
            <a:off x="11255471" y="3228946"/>
            <a:ext cx="1060354" cy="0"/>
          </a:xfrm>
          <a:prstGeom prst="line">
            <a:avLst/>
          </a:prstGeom>
          <a:ln>
            <a:solidFill>
              <a:srgbClr val="5D5B6F">
                <a:alpha val="27059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2523" y="2224469"/>
            <a:ext cx="902271" cy="546567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2724" y="2198724"/>
            <a:ext cx="385844" cy="59805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8995" y="2254426"/>
            <a:ext cx="586845" cy="48665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2487" y="2223414"/>
            <a:ext cx="515277" cy="54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29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 p14:presetBounceEnd="46000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 p14:presetBounceEnd="46000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 p14:presetBounceEnd="46000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 p14:presetBounceEnd="46000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094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0473405" y="864561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Now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11136704" y="1403287"/>
            <a:ext cx="0" cy="14827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0963109" y="306527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11062060" y="316422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11084054" y="318622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0902784" y="300495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-97574" y="3148931"/>
            <a:ext cx="10931587" cy="1936663"/>
            <a:chOff x="-97574" y="3148931"/>
            <a:chExt cx="10931587" cy="1936663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998971" y="3228946"/>
              <a:ext cx="9835042" cy="0"/>
            </a:xfrm>
            <a:prstGeom prst="line">
              <a:avLst/>
            </a:prstGeom>
            <a:ln>
              <a:solidFill>
                <a:srgbClr val="14CE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/>
            <p:nvPr/>
          </p:nvSpPr>
          <p:spPr>
            <a:xfrm>
              <a:off x="3352348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Oval 35"/>
            <p:cNvSpPr/>
            <p:nvPr/>
          </p:nvSpPr>
          <p:spPr>
            <a:xfrm>
              <a:off x="5778149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Oval 36"/>
            <p:cNvSpPr/>
            <p:nvPr/>
          </p:nvSpPr>
          <p:spPr>
            <a:xfrm>
              <a:off x="8203951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TextBox 38"/>
            <p:cNvSpPr txBox="1"/>
            <p:nvPr/>
          </p:nvSpPr>
          <p:spPr>
            <a:xfrm rot="16200000">
              <a:off x="594692" y="3911146"/>
              <a:ext cx="880511" cy="2593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500" b="1" dirty="0">
                  <a:solidFill>
                    <a:srgbClr val="5D5B6F">
                      <a:alpha val="50000"/>
                    </a:srgbClr>
                  </a:solidFill>
                </a:rPr>
                <a:t>2014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344325" y="3546711"/>
              <a:ext cx="1720850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ronut asymmetrical copper mug cray, succulents umami raw denim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onsequat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ustainable flannel master.</a:t>
              </a:r>
              <a:endParaRPr lang="en-US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 rot="16200000">
              <a:off x="3004463" y="3911146"/>
              <a:ext cx="880511" cy="2593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500" b="1" dirty="0">
                  <a:solidFill>
                    <a:srgbClr val="5D5B6F">
                      <a:alpha val="50000"/>
                    </a:srgbClr>
                  </a:solidFill>
                </a:rPr>
                <a:t>2015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754096" y="3546711"/>
              <a:ext cx="1720850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ronut asymmetrical copper mug cray, succulents umami raw denim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onsequat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ustainable flannel master.</a:t>
              </a:r>
              <a:endParaRPr lang="en-US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 rot="16200000">
              <a:off x="5426934" y="3911146"/>
              <a:ext cx="880511" cy="2593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500" b="1" dirty="0">
                  <a:solidFill>
                    <a:srgbClr val="5D5B6F">
                      <a:alpha val="50000"/>
                    </a:srgbClr>
                  </a:solidFill>
                </a:rPr>
                <a:t>2016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176567" y="3546711"/>
              <a:ext cx="1720850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ronut asymmetrical copper mug cray, succulents umami raw denim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onsequat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ustainable flannel master.</a:t>
              </a:r>
              <a:endParaRPr lang="en-US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 rot="16200000">
              <a:off x="7849405" y="3911146"/>
              <a:ext cx="880511" cy="2593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/>
              <a:r>
                <a:rPr lang="en-US" sz="1500" b="1" dirty="0">
                  <a:solidFill>
                    <a:srgbClr val="5D5B6F">
                      <a:alpha val="50000"/>
                    </a:srgbClr>
                  </a:solidFill>
                </a:rPr>
                <a:t>2017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99038" y="3546711"/>
              <a:ext cx="1720850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ronut asymmetrical copper mug cray, succulents umami raw denim </a:t>
              </a:r>
              <a:r>
                <a:rPr lang="en-US" sz="1100" dirty="0" err="1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consequat</a:t>
              </a:r>
              <a:r>
                <a:rPr lang="en-US" sz="1100" dirty="0">
                  <a:solidFill>
                    <a:srgbClr val="5D5B6F">
                      <a:alpha val="60000"/>
                    </a:srgbClr>
                  </a:solidFill>
                  <a:latin typeface="Montserrat Light" panose="00000400000000000000" pitchFamily="2" charset="-18"/>
                </a:rPr>
                <a:t> sustainable flannel master.</a:t>
              </a:r>
              <a:endParaRPr lang="en-US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>
              <a:off x="-97574" y="3228946"/>
              <a:ext cx="1060354" cy="0"/>
            </a:xfrm>
            <a:prstGeom prst="line">
              <a:avLst/>
            </a:prstGeom>
            <a:ln>
              <a:solidFill>
                <a:srgbClr val="5D5B6F">
                  <a:alpha val="27059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l 37"/>
            <p:cNvSpPr/>
            <p:nvPr/>
          </p:nvSpPr>
          <p:spPr>
            <a:xfrm>
              <a:off x="926547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7100" y="2224469"/>
            <a:ext cx="902271" cy="546567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7301" y="2198724"/>
            <a:ext cx="385844" cy="59805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3572" y="2254426"/>
            <a:ext cx="586845" cy="48665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2930" y="2223414"/>
            <a:ext cx="515277" cy="54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5888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with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nodeType="withEffect" p14:presetBounceEnd="46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nodeType="withEffect" p14:presetBounceEnd="46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9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20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9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12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1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3" dur="1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1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9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12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1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3" dur="1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1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048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>
            <a:off x="695779" y="-41729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>
            <a:off x="650420" y="-57151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998" r="-79900"/>
          <a:stretch/>
        </p:blipFill>
        <p:spPr>
          <a:xfrm>
            <a:off x="0" y="-1166068"/>
            <a:ext cx="11944350" cy="8024068"/>
          </a:xfrm>
          <a:prstGeom prst="rtTriangle">
            <a:avLst/>
          </a:prstGeom>
        </p:spPr>
      </p:pic>
      <p:sp>
        <p:nvSpPr>
          <p:cNvPr id="71" name="Rectangle 14"/>
          <p:cNvSpPr/>
          <p:nvPr/>
        </p:nvSpPr>
        <p:spPr>
          <a:xfrm>
            <a:off x="65042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8206217" y="35125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7794724" y="1706713"/>
            <a:ext cx="3736876" cy="1795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Veniam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d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hundercat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treet ar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horeditc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e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crodosing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raclette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put a bird on it. Vaporware craft beer four dollar toast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umeric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.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liqu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ormcore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arfa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tote bag poke echo park, banjo gochujang pork belly sustainable. Letterpres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pal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anto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next level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chlitz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, kitsch jean shor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eiusmod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succulents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cupidatat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keffiyeh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ipsum </a:t>
            </a:r>
            <a:r>
              <a:rPr lang="en-US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igas</a:t>
            </a:r>
            <a:r>
              <a:rPr lang="en-US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fashion axe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794724" y="1230974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en-US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YOUR TITLE HERE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58251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8</TotalTime>
  <Words>1748</Words>
  <Application>Microsoft Office PowerPoint</Application>
  <PresentationFormat>Широкоэкранный</PresentationFormat>
  <Paragraphs>237</Paragraphs>
  <Slides>31</Slides>
  <Notes>26</Notes>
  <HiddenSlides>0</HiddenSlides>
  <MMClips>5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41" baseType="lpstr">
      <vt:lpstr>Arial</vt:lpstr>
      <vt:lpstr>Calibri</vt:lpstr>
      <vt:lpstr>Gabriela</vt:lpstr>
      <vt:lpstr>Montserrat</vt:lpstr>
      <vt:lpstr>Montserrat Light</vt:lpstr>
      <vt:lpstr>Montserrat Medium</vt:lpstr>
      <vt:lpstr>Montserrat SemiBold</vt:lpstr>
      <vt:lpstr>Source Sans Pro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Introduction Company story. </vt:lpstr>
      <vt:lpstr>Презентация PowerPoint</vt:lpstr>
      <vt:lpstr>Your title her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Meet our team</vt:lpstr>
      <vt:lpstr>Презентация PowerPoint</vt:lpstr>
      <vt:lpstr>Презентация PowerPoint</vt:lpstr>
      <vt:lpstr>Know how</vt:lpstr>
      <vt:lpstr>Production steps</vt:lpstr>
      <vt:lpstr>This is amazing</vt:lpstr>
      <vt:lpstr>Our values</vt:lpstr>
      <vt:lpstr>Statistic chapter</vt:lpstr>
      <vt:lpstr>Chart with data</vt:lpstr>
      <vt:lpstr>Charts and graphs</vt:lpstr>
      <vt:lpstr>Презентация PowerPoint</vt:lpstr>
      <vt:lpstr>Application devices</vt:lpstr>
      <vt:lpstr>Application devices</vt:lpstr>
      <vt:lpstr>Презентация PowerPoint</vt:lpstr>
      <vt:lpstr>Презентация PowerPoint</vt:lpstr>
      <vt:lpstr>Maps and localization</vt:lpstr>
      <vt:lpstr>Pricing</vt:lpstr>
      <vt:lpstr>Testimonials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Арина Сычева</cp:lastModifiedBy>
  <cp:revision>175</cp:revision>
  <dcterms:created xsi:type="dcterms:W3CDTF">2017-06-30T07:56:32Z</dcterms:created>
  <dcterms:modified xsi:type="dcterms:W3CDTF">2021-04-21T10:08:46Z</dcterms:modified>
</cp:coreProperties>
</file>